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7.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notesSlides/notesSlide1.xml" ContentType="application/vnd.openxmlformats-officedocument.presentationml.notesSlide+xml"/>
  <Override PartName="/ppt/tags/tag54.xml" ContentType="application/vnd.openxmlformats-officedocument.presentationml.tags+xml"/>
  <Override PartName="/ppt/notesSlides/notesSlide2.xml" ContentType="application/vnd.openxmlformats-officedocument.presentationml.notesSlide+xml"/>
  <Override PartName="/ppt/tags/tag55.xml" ContentType="application/vnd.openxmlformats-officedocument.presentationml.tags+xml"/>
  <Override PartName="/ppt/notesSlides/notesSlide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4.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7.xml" ContentType="application/vnd.openxmlformats-officedocument.presentationml.notesSlide+xml"/>
  <Override PartName="/ppt/charts/chart6.xml" ContentType="application/vnd.openxmlformats-officedocument.drawingml.chart+xml"/>
  <Override PartName="/ppt/tags/tag196.xml" ContentType="application/vnd.openxmlformats-officedocument.presentationml.tags+xml"/>
  <Override PartName="/ppt/notesSlides/notesSlide8.xml" ContentType="application/vnd.openxmlformats-officedocument.presentationml.notesSlide+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notesSlides/notesSlide9.xml" ContentType="application/vnd.openxmlformats-officedocument.presentationml.notesSlide+xml"/>
  <Override PartName="/ppt/charts/chart8.xml" ContentType="application/vnd.openxmlformats-officedocument.drawingml.chart+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notesSlides/notesSlide10.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11.xml" ContentType="application/vnd.openxmlformats-officedocument.presentationml.notesSlide+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notesSlides/notesSlide12.xml" ContentType="application/vnd.openxmlformats-officedocument.presentationml.notesSlide+xml"/>
  <Override PartName="/ppt/charts/chart11.xml" ContentType="application/vnd.openxmlformats-officedocument.drawingml.chart+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notesSlides/notesSlide13.xml" ContentType="application/vnd.openxmlformats-officedocument.presentationml.notesSlide+xml"/>
  <Override PartName="/ppt/charts/chart12.xml" ContentType="application/vnd.openxmlformats-officedocument.drawingml.chart+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notesSlides/notesSlide14.xml" ContentType="application/vnd.openxmlformats-officedocument.presentationml.notesSlide+xml"/>
  <Override PartName="/ppt/charts/chart13.xml" ContentType="application/vnd.openxmlformats-officedocument.drawingml.chart+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notesSlides/notesSlide15.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notesSlides/notesSlide16.xml" ContentType="application/vnd.openxmlformats-officedocument.presentationml.notesSlide+xml"/>
  <Override PartName="/ppt/tags/tag660.xml" ContentType="application/vnd.openxmlformats-officedocument.presentationml.tags+xml"/>
  <Override PartName="/ppt/tags/tag661.xml" ContentType="application/vnd.openxmlformats-officedocument.presentationml.tags+xml"/>
  <Override PartName="/ppt/notesSlides/notesSlide17.xml" ContentType="application/vnd.openxmlformats-officedocument.presentationml.notesSlide+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notesSlides/notesSlide18.xml" ContentType="application/vnd.openxmlformats-officedocument.presentationml.notesSlide+xml"/>
  <Override PartName="/ppt/tags/tag665.xml" ContentType="application/vnd.openxmlformats-officedocument.presentationml.tags+xml"/>
  <Override PartName="/ppt/tags/tag666.xml" ContentType="application/vnd.openxmlformats-officedocument.presentationml.tags+xml"/>
  <Override PartName="/ppt/notesSlides/notesSlide19.xml" ContentType="application/vnd.openxmlformats-officedocument.presentationml.notesSlide+xml"/>
  <Override PartName="/ppt/tags/tag667.xml" ContentType="application/vnd.openxmlformats-officedocument.presentationml.tags+xml"/>
  <Override PartName="/ppt/tags/tag668.xml" ContentType="application/vnd.openxmlformats-officedocument.presentationml.tags+xml"/>
  <Override PartName="/ppt/notesSlides/notesSlide20.xml" ContentType="application/vnd.openxmlformats-officedocument.presentationml.notesSlide+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notesSlides/notesSlide21.xml" ContentType="application/vnd.openxmlformats-officedocument.presentationml.notesSlide+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notesSlides/notesSlide22.xml" ContentType="application/vnd.openxmlformats-officedocument.presentationml.notesSlide+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notesSlides/notesSlide23.xml" ContentType="application/vnd.openxmlformats-officedocument.presentationml.notesSlide+xml"/>
  <Override PartName="/ppt/charts/chart37.xml" ContentType="application/vnd.openxmlformats-officedocument.drawingml.chart+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notesSlides/notesSlide24.xml" ContentType="application/vnd.openxmlformats-officedocument.presentationml.notesSlide+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notesSlides/notesSlide25.xml" ContentType="application/vnd.openxmlformats-officedocument.presentationml.notesSlide+xml"/>
  <Override PartName="/ppt/charts/chart38.xml" ContentType="application/vnd.openxmlformats-officedocument.drawingml.chart+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notesSlides/notesSlide26.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notesSlides/notesSlide27.xml" ContentType="application/vnd.openxmlformats-officedocument.presentationml.notesSlide+xml"/>
  <Override PartName="/ppt/charts/chart42.xml" ContentType="application/vnd.openxmlformats-officedocument.drawingml.chart+xml"/>
  <Override PartName="/ppt/tags/tag913.xml" ContentType="application/vnd.openxmlformats-officedocument.presentationml.tags+xml"/>
  <Override PartName="/ppt/notesSlides/notesSlide28.xml" ContentType="application/vnd.openxmlformats-officedocument.presentationml.notesSlide+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notesSlides/notesSlide29.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notesSlides/notesSlide30.xml" ContentType="application/vnd.openxmlformats-officedocument.presentationml.notesSlide+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notesSlides/notesSlide31.xml" ContentType="application/vnd.openxmlformats-officedocument.presentationml.notesSlide+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notesSlides/notesSlide32.xml" ContentType="application/vnd.openxmlformats-officedocument.presentationml.notesSlide+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notesSlides/notesSlide33.xml" ContentType="application/vnd.openxmlformats-officedocument.presentationml.notesSlide+xml"/>
  <Override PartName="/ppt/charts/chart49.xml" ContentType="application/vnd.openxmlformats-officedocument.drawingml.chart+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notesSlides/notesSlide34.xml" ContentType="application/vnd.openxmlformats-officedocument.presentationml.notesSlide+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notesSlides/notesSlide35.xml" ContentType="application/vnd.openxmlformats-officedocument.presentationml.notesSlide+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charts/chart54.xml" ContentType="application/vnd.openxmlformats-officedocument.drawingml.chart+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notesSlides/notesSlide36.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notesSlides/notesSlide37.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notesSlides/notesSlide38.xml" ContentType="application/vnd.openxmlformats-officedocument.presentationml.notesSlide+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notesSlides/notesSlide39.xml" ContentType="application/vnd.openxmlformats-officedocument.presentationml.notesSlide+xml"/>
  <Override PartName="/ppt/charts/chart61.xml" ContentType="application/vnd.openxmlformats-officedocument.drawingml.chart+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notesSlides/notesSlide40.xml" ContentType="application/vnd.openxmlformats-officedocument.presentationml.notesSlide+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notesSlides/notesSlide41.xml" ContentType="application/vnd.openxmlformats-officedocument.presentationml.notesSlide+xml"/>
  <Override PartName="/ppt/charts/chart62.xml" ContentType="application/vnd.openxmlformats-officedocument.drawingml.chart+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notesSlides/notesSlide42.xml" ContentType="application/vnd.openxmlformats-officedocument.presentationml.notesSlid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notesSlides/notesSlide43.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notesSlides/notesSlide44.xml" ContentType="application/vnd.openxmlformats-officedocument.presentationml.notesSlide+xml"/>
  <Override PartName="/ppt/charts/chart65.xml" ContentType="application/vnd.openxmlformats-officedocument.drawingml.chart+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notesSlides/notesSlide45.xml" ContentType="application/vnd.openxmlformats-officedocument.presentationml.notesSlide+xml"/>
  <Override PartName="/ppt/charts/chart66.xml" ContentType="application/vnd.openxmlformats-officedocument.drawingml.chart+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notesSlides/notesSlide46.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notesSlides/notesSlide47.xml" ContentType="application/vnd.openxmlformats-officedocument.presentationml.notesSlide+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notesSlides/notesSlide48.xml" ContentType="application/vnd.openxmlformats-officedocument.presentationml.notesSlide+xml"/>
  <Override PartName="/ppt/comments/modernComment_7FFFF162_A759465E.xml" ContentType="application/vnd.ms-powerpoint.comment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notesSlides/notesSlide49.xml" ContentType="application/vnd.openxmlformats-officedocument.presentationml.notesSlide+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notesSlides/notesSlide50.xml" ContentType="application/vnd.openxmlformats-officedocument.presentationml.notesSlide+xml"/>
  <Override PartName="/ppt/charts/chart70.xml" ContentType="application/vnd.openxmlformats-officedocument.drawingml.chart+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notesSlides/notesSlide51.xml" ContentType="application/vnd.openxmlformats-officedocument.presentationml.notesSlide+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notesSlides/notesSlide52.xml" ContentType="application/vnd.openxmlformats-officedocument.presentationml.notesSlide+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charts/chart71.xml" ContentType="application/vnd.openxmlformats-officedocument.drawingml.chart+xml"/>
  <Override PartName="/ppt/charts/chart72.xml" ContentType="application/vnd.openxmlformats-officedocument.drawingml.chart+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notesSlides/notesSlide53.xml" ContentType="application/vnd.openxmlformats-officedocument.presentationml.notesSlide+xml"/>
  <Override PartName="/ppt/comments/modernComment_7FFFFF51_5D8498FA.xml" ContentType="application/vnd.ms-powerpoint.comment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notesSlides/notesSlide54.xml" ContentType="application/vnd.openxmlformats-officedocument.presentationml.notesSlide+xml"/>
  <Override PartName="/ppt/charts/chart77.xml" ContentType="application/vnd.openxmlformats-officedocument.drawingml.chart+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notesSlides/notesSlide55.xml" ContentType="application/vnd.openxmlformats-officedocument.presentationml.notesSlide+xml"/>
  <Override PartName="/ppt/comments/modernComment_7FFFF178_18835E18.xml" ContentType="application/vnd.ms-powerpoint.comments+xml"/>
  <Override PartName="/ppt/charts/chart78.xml" ContentType="application/vnd.openxmlformats-officedocument.drawingml.chart+xml"/>
  <Override PartName="/ppt/charts/chart79.xml" ContentType="application/vnd.openxmlformats-officedocument.drawingml.chart+xml"/>
  <Override PartName="/ppt/tags/tag1750.xml" ContentType="application/vnd.openxmlformats-officedocument.presentationml.tags+xml"/>
  <Override PartName="/ppt/tags/tag1751.xml" ContentType="application/vnd.openxmlformats-officedocument.presentationml.tags+xml"/>
  <Override PartName="/ppt/notesSlides/notesSlide56.xml" ContentType="application/vnd.openxmlformats-officedocument.presentationml.notesSlide+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notesSlides/notesSlide57.xml" ContentType="application/vnd.openxmlformats-officedocument.presentationml.notesSlide+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notesSlides/notesSlide58.xml" ContentType="application/vnd.openxmlformats-officedocument.presentationml.notesSlide+xml"/>
  <Override PartName="/ppt/comments/modernComment_7FFFF163_511D0173.xml" ContentType="application/vnd.ms-powerpoint.comments+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notesSlides/notesSlide59.xml" ContentType="application/vnd.openxmlformats-officedocument.presentationml.notesSlide+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notesSlides/notesSlide60.xml" ContentType="application/vnd.openxmlformats-officedocument.presentationml.notesSlide+xml"/>
  <Override PartName="/ppt/tags/tag1850.xml" ContentType="application/vnd.openxmlformats-officedocument.presentationml.tags+xml"/>
  <Override PartName="/ppt/tags/tag185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 id="2147483689" r:id="rId5"/>
    <p:sldMasterId id="2147483709" r:id="rId6"/>
    <p:sldMasterId id="2147483723" r:id="rId7"/>
    <p:sldMasterId id="2147483741" r:id="rId8"/>
    <p:sldMasterId id="2147483761" r:id="rId9"/>
  </p:sldMasterIdLst>
  <p:notesMasterIdLst>
    <p:notesMasterId r:id="rId83"/>
  </p:notesMasterIdLst>
  <p:sldIdLst>
    <p:sldId id="260" r:id="rId10"/>
    <p:sldId id="2342" r:id="rId11"/>
    <p:sldId id="481" r:id="rId12"/>
    <p:sldId id="2362" r:id="rId13"/>
    <p:sldId id="2147483461" r:id="rId14"/>
    <p:sldId id="2147483462" r:id="rId15"/>
    <p:sldId id="2147483459" r:id="rId16"/>
    <p:sldId id="2147483463" r:id="rId17"/>
    <p:sldId id="2370" r:id="rId18"/>
    <p:sldId id="2147479804" r:id="rId19"/>
    <p:sldId id="2147483464" r:id="rId20"/>
    <p:sldId id="2147479803" r:id="rId21"/>
    <p:sldId id="2147479829" r:id="rId22"/>
    <p:sldId id="2147483465" r:id="rId23"/>
    <p:sldId id="2147479828" r:id="rId24"/>
    <p:sldId id="2147483454" r:id="rId25"/>
    <p:sldId id="2288" r:id="rId26"/>
    <p:sldId id="2147479835" r:id="rId27"/>
    <p:sldId id="2147483456" r:id="rId28"/>
    <p:sldId id="2147479930" r:id="rId29"/>
    <p:sldId id="2147479935" r:id="rId30"/>
    <p:sldId id="2147479923" r:id="rId31"/>
    <p:sldId id="2147483484" r:id="rId32"/>
    <p:sldId id="2147483440" r:id="rId33"/>
    <p:sldId id="2147479915" r:id="rId34"/>
    <p:sldId id="503" r:id="rId35"/>
    <p:sldId id="2363" r:id="rId36"/>
    <p:sldId id="2147483448" r:id="rId37"/>
    <p:sldId id="2147483467" r:id="rId38"/>
    <p:sldId id="2147483475" r:id="rId39"/>
    <p:sldId id="2147483476" r:id="rId40"/>
    <p:sldId id="2147483477" r:id="rId41"/>
    <p:sldId id="2147479931" r:id="rId42"/>
    <p:sldId id="2147479926" r:id="rId43"/>
    <p:sldId id="2147479933" r:id="rId44"/>
    <p:sldId id="2147479936" r:id="rId45"/>
    <p:sldId id="2147479922" r:id="rId46"/>
    <p:sldId id="2364" r:id="rId47"/>
    <p:sldId id="2147483469" r:id="rId48"/>
    <p:sldId id="2147479842" r:id="rId49"/>
    <p:sldId id="2147479841" r:id="rId50"/>
    <p:sldId id="2147479875" r:id="rId51"/>
    <p:sldId id="630" r:id="rId52"/>
    <p:sldId id="2147479885" r:id="rId53"/>
    <p:sldId id="2147483470" r:id="rId54"/>
    <p:sldId id="2147483455" r:id="rId55"/>
    <p:sldId id="2147483478" r:id="rId56"/>
    <p:sldId id="2147479901" r:id="rId57"/>
    <p:sldId id="2147479902" r:id="rId58"/>
    <p:sldId id="2147479903" r:id="rId59"/>
    <p:sldId id="2147479904" r:id="rId60"/>
    <p:sldId id="2147479905" r:id="rId61"/>
    <p:sldId id="2147483483" r:id="rId62"/>
    <p:sldId id="2147479906" r:id="rId63"/>
    <p:sldId id="2147479908" r:id="rId64"/>
    <p:sldId id="2147479909" r:id="rId65"/>
    <p:sldId id="2147479838" r:id="rId66"/>
    <p:sldId id="2147479882" r:id="rId67"/>
    <p:sldId id="2147479910" r:id="rId68"/>
    <p:sldId id="2147483474" r:id="rId69"/>
    <p:sldId id="2147483471" r:id="rId70"/>
    <p:sldId id="2147479916" r:id="rId71"/>
    <p:sldId id="2147483441" r:id="rId72"/>
    <p:sldId id="354" r:id="rId73"/>
    <p:sldId id="2147483473" r:id="rId74"/>
    <p:sldId id="2147483472" r:id="rId75"/>
    <p:sldId id="2147479928" r:id="rId76"/>
    <p:sldId id="2147483439" r:id="rId77"/>
    <p:sldId id="2147479811" r:id="rId78"/>
    <p:sldId id="2147479907" r:id="rId79"/>
    <p:sldId id="2147483444" r:id="rId80"/>
    <p:sldId id="2147483445" r:id="rId81"/>
    <p:sldId id="611" r:id="rId82"/>
  </p:sldIdLst>
  <p:sldSz cx="12192000" cy="6858000"/>
  <p:notesSz cx="6797675" cy="9926638"/>
  <p:custDataLst>
    <p:tags r:id="rId8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B5C0BD64-621B-4FB0-97F8-19F47ADA14AB}">
          <p14:sldIdLst>
            <p14:sldId id="260"/>
            <p14:sldId id="2342"/>
          </p14:sldIdLst>
        </p14:section>
        <p14:section name="Opportunity" id="{33ECF1C8-D953-48C2-A205-C082D22F3316}">
          <p14:sldIdLst>
            <p14:sldId id="481"/>
            <p14:sldId id="2362"/>
            <p14:sldId id="2147483461"/>
            <p14:sldId id="2147483462"/>
            <p14:sldId id="2147483459"/>
            <p14:sldId id="2147483463"/>
            <p14:sldId id="2370"/>
            <p14:sldId id="2147479804"/>
            <p14:sldId id="2147483464"/>
            <p14:sldId id="2147479803"/>
            <p14:sldId id="2147479829"/>
            <p14:sldId id="2147483465"/>
            <p14:sldId id="2147479828"/>
            <p14:sldId id="2147483454"/>
          </p14:sldIdLst>
        </p14:section>
        <p14:section name="Technology" id="{8D58C9E9-6930-4BA9-BCDF-2F7B98AADE44}">
          <p14:sldIdLst>
            <p14:sldId id="2288"/>
            <p14:sldId id="2147479835"/>
            <p14:sldId id="2147483456"/>
            <p14:sldId id="2147479930"/>
            <p14:sldId id="2147479935"/>
            <p14:sldId id="2147479923"/>
            <p14:sldId id="2147483484"/>
            <p14:sldId id="2147483440"/>
            <p14:sldId id="2147479915"/>
          </p14:sldIdLst>
        </p14:section>
        <p14:section name="Deployment" id="{4E863E05-1698-4216-9EBB-04E4A6101DDF}">
          <p14:sldIdLst>
            <p14:sldId id="503"/>
            <p14:sldId id="2363"/>
            <p14:sldId id="2147483448"/>
            <p14:sldId id="2147483467"/>
            <p14:sldId id="2147483475"/>
            <p14:sldId id="2147483476"/>
            <p14:sldId id="2147483477"/>
            <p14:sldId id="2147479931"/>
            <p14:sldId id="2147479926"/>
            <p14:sldId id="2147479933"/>
            <p14:sldId id="2147479936"/>
          </p14:sldIdLst>
        </p14:section>
        <p14:section name="Supply Chain" id="{0CC2D3D1-7D7C-449C-B9D6-350C439B40A3}">
          <p14:sldIdLst>
            <p14:sldId id="2147479922"/>
            <p14:sldId id="2364"/>
            <p14:sldId id="2147483469"/>
            <p14:sldId id="2147479842"/>
            <p14:sldId id="2147479841"/>
            <p14:sldId id="2147479875"/>
          </p14:sldIdLst>
        </p14:section>
        <p14:section name="Global Policy" id="{CE67F358-0824-48A4-800A-5EF3AAF7DAE1}">
          <p14:sldIdLst>
            <p14:sldId id="630"/>
            <p14:sldId id="2147479885"/>
            <p14:sldId id="2147483470"/>
            <p14:sldId id="2147483455"/>
            <p14:sldId id="2147483478"/>
            <p14:sldId id="2147479901"/>
            <p14:sldId id="2147479902"/>
            <p14:sldId id="2147479903"/>
            <p14:sldId id="2147479904"/>
            <p14:sldId id="2147479905"/>
            <p14:sldId id="2147483483"/>
            <p14:sldId id="2147479906"/>
          </p14:sldIdLst>
        </p14:section>
        <p14:section name="Fusion Energy" id="{FE471ECD-E711-413E-8256-4F2A2123CC4A}">
          <p14:sldIdLst>
            <p14:sldId id="2147479908"/>
            <p14:sldId id="2147479909"/>
            <p14:sldId id="2147479838"/>
            <p14:sldId id="2147479882"/>
            <p14:sldId id="2147479910"/>
            <p14:sldId id="2147483474"/>
            <p14:sldId id="2147483471"/>
            <p14:sldId id="2147479916"/>
          </p14:sldIdLst>
        </p14:section>
        <p14:section name="Team Profile" id="{A48D399B-0AFA-471D-B1B9-662637642D14}">
          <p14:sldIdLst>
            <p14:sldId id="2147483441"/>
          </p14:sldIdLst>
        </p14:section>
        <p14:section name="Appendix" id="{FE1532ED-8DFB-40E5-83E8-89D2F85DD0EE}">
          <p14:sldIdLst>
            <p14:sldId id="354"/>
            <p14:sldId id="2147483473"/>
            <p14:sldId id="2147483472"/>
            <p14:sldId id="2147479928"/>
            <p14:sldId id="2147483439"/>
            <p14:sldId id="2147479811"/>
            <p14:sldId id="2147479907"/>
            <p14:sldId id="2147483444"/>
            <p14:sldId id="2147483445"/>
            <p14:sldId id="611"/>
          </p14:sldIdLst>
        </p14:section>
      </p14:sectionLst>
    </p:ext>
    <p:ext uri="{EFAFB233-063F-42B5-8137-9DF3F51BA10A}">
      <p15:sldGuideLst xmlns:p15="http://schemas.microsoft.com/office/powerpoint/2012/main">
        <p15:guide id="1" pos="3840" userDrawn="1">
          <p15:clr>
            <a:srgbClr val="A4A3A4"/>
          </p15:clr>
        </p15:guide>
        <p15:guide id="2" orient="horz" pos="2208" userDrawn="1">
          <p15:clr>
            <a:srgbClr val="A4A3A4"/>
          </p15:clr>
        </p15:guide>
        <p15:guide id="3" pos="288" userDrawn="1">
          <p15:clr>
            <a:srgbClr val="A4A3A4"/>
          </p15:clr>
        </p15:guide>
        <p15:guide id="4" pos="2933" userDrawn="1">
          <p15:clr>
            <a:srgbClr val="A4A3A4"/>
          </p15:clr>
        </p15:guide>
        <p15:guide id="5" pos="1073" userDrawn="1">
          <p15:clr>
            <a:srgbClr val="A4A3A4"/>
          </p15:clr>
        </p15:guide>
        <p15:guide id="6" pos="4611" userDrawn="1">
          <p15:clr>
            <a:srgbClr val="A4A3A4"/>
          </p15:clr>
        </p15:guide>
        <p15:guide id="7" pos="4679" userDrawn="1">
          <p15:clr>
            <a:srgbClr val="A4A3A4"/>
          </p15:clr>
        </p15:guide>
        <p15:guide id="8" pos="549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75010A-C945-AD21-3E5D-022A6FF92A1F}" name="Monica Sambataro" initials="MS" userId="1dbdc88c86a000e4" providerId="Windows Live"/>
  <p188:author id="{CF65B712-A8C9-95AF-BF59-C67F3640B80F}" name="Abha Nirula" initials="AN" userId="Abha Nirula" providerId="None"/>
  <p188:author id="{6965D725-AA63-A710-61A2-BC2DDC2A5AE1}" name="Houwink, Quint" initials="QH" userId="S::qbh2001@gsb.columbia.edu::4a9923a0-4504-4a38-9726-9d65b7016178" providerId="AD"/>
  <p188:author id="{63E0E339-2211-58FC-7A16-929C3F0EC403}" name="Multi User 2" initials="MU2" userId="S::admin2@karbone.onmicrosoft.com::bd802b5f-c507-4f34-a1fb-991d77d734eb" providerId="AD"/>
  <p188:author id="{D3CECC4B-249E-F3CF-3EE4-B49AC7878613}" name="Gernot Wagner" initials="GW" userId="33ee3ac88b4c2f16" providerId="Windows Live"/>
  <p188:author id="{9B00A34D-9A06-6EA1-351E-562F378D4D90}" name="Christian Sandjaja" initials="CS" userId="NnLAveImLf3gji+00Nu/4KFwi5W0vlRRulwZFpuj7zE=" providerId="None"/>
  <p188:author id="{E50DC855-6CC8-E980-5EB8-26988D782745}" name="Ariela Farchi Behar" initials="AB" userId="tkdxAGBjRcajtIKKnJSE1WMOTEw64DaBxMWq1bZcZvs=" providerId="None"/>
  <p188:author id="{B5FB0362-B61E-5A4B-4E29-675E7DA9B7A3}" name="Hyae Ryung" initials="HR" userId="S::hk2901@adcu.columbia.edu::98652124-d7bd-4e60-8447-ffbea6868795" providerId="AD"/>
  <p188:author id="{F830C279-7BD8-058E-2CA5-F72EFB30E693}" name="Picone,  Kyle" initials="KP" userId="S::kp2615@gsb.columbia.edu::b2f99201-e3c8-45f9-a46f-ffd2d7a20f6e" providerId="AD"/>
  <p188:author id="{705F0D85-8BB9-32CF-1BBF-9A91217B36C3}" name="Wagner, Gernot" initials="GW" userId="S::gw2245@gsb.columbia.edu::85791fa1-7c7a-445e-be8a-2777572de9b0" providerId="AD"/>
  <p188:author id="{9A942288-61DC-A0EF-8929-E6AA0DA648E4}" name="Kim, Jisu" initials="AK" userId="S::jk4824@gsb.columbia.edu::d543f8cd-2eed-49a8-8869-6705d887ea11" providerId="AD"/>
  <p188:author id="{E3FB2A8A-B7FB-39B5-ADEE-438FFD3F3369}" name="ih2428" initials="" userId="S::ih2428@adcu.columbia.edu::db31b8c4-6c33-4d7e-9a23-88c6d8e650fd" providerId="AD"/>
  <p188:author id="{38BE1D8C-84DD-FAE8-D06B-2AEDAFE5F2AE}" name="Taicheng JIN" initials="TJ" userId="S::taicheng.jin@sciencespo.fr::ca41ddcb-cb7c-4930-a4c3-29020fb0d4db" providerId="AD"/>
  <p188:author id="{E188E090-1669-457A-5CE7-1B45692CBBD8}" name="Brenda Rain" initials="BR" userId="c17999a0aaabd55a" providerId="Windows Live"/>
  <p188:author id="{C9AACCDD-AF17-F96E-8838-5D5918C53286}" name="Taicheng Jin" initials="TJ" userId="S::tjin@hamilton.edu::6cb03ed2-8ece-4efb-b987-bd463a8e34f9" providerId="AD"/>
  <p188:author id="{5A034CE6-0512-3647-39BA-554856A9C3D1}" name="Helen Kim" initials="HK" userId="n1H8ZmGiKeGHwzxt24x1V8SczUGaTjzTyag75aCzgnE=" providerId="None"/>
  <p188:author id="{A9B005EB-5525-8653-86DB-7FF7BDA9024F}" name="Gernot Wagner" initials="GW" userId="OVbcNIsJqkepRvkUnLynhQ7QrcHjvSyJJ8O9qHeWIMM="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E8EE"/>
    <a:srgbClr val="D1227D"/>
    <a:srgbClr val="D1F2FF"/>
    <a:srgbClr val="E1F6FF"/>
    <a:srgbClr val="EBF9FF"/>
    <a:srgbClr val="CDF1FF"/>
    <a:srgbClr val="C5EEFF"/>
    <a:srgbClr val="F2F2F2"/>
    <a:srgbClr val="3A3A3A"/>
    <a:srgbClr val="215F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03FC48-F014-468C-9918-6DFC234DD09C}" v="4" dt="2026-03-06T15:58:10.869"/>
  </p1510:revLst>
</p1510:revInfo>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87"/>
    <p:restoredTop sz="94662"/>
  </p:normalViewPr>
  <p:slideViewPr>
    <p:cSldViewPr snapToGrid="0">
      <p:cViewPr>
        <p:scale>
          <a:sx n="91" d="100"/>
          <a:sy n="91" d="100"/>
        </p:scale>
        <p:origin x="1752" y="560"/>
      </p:cViewPr>
      <p:guideLst>
        <p:guide pos="3840"/>
        <p:guide orient="horz" pos="2208"/>
        <p:guide pos="288"/>
        <p:guide pos="2933"/>
        <p:guide pos="1073"/>
        <p:guide pos="4611"/>
        <p:guide pos="4679"/>
        <p:guide pos="5496"/>
      </p:guideLst>
    </p:cSldViewPr>
  </p:slideViewPr>
  <p:notesTextViewPr>
    <p:cViewPr>
      <p:scale>
        <a:sx n="1" d="1"/>
        <a:sy n="1" d="1"/>
      </p:scale>
      <p:origin x="0" y="0"/>
    </p:cViewPr>
  </p:notesTextViewPr>
  <p:sorterViewPr>
    <p:cViewPr>
      <p:scale>
        <a:sx n="1" d="1"/>
        <a:sy n="1" d="1"/>
      </p:scale>
      <p:origin x="0" y="-4686"/>
    </p:cViewPr>
  </p:sorterViewPr>
  <p:notesViewPr>
    <p:cSldViewPr snapToGrid="0">
      <p:cViewPr>
        <p:scale>
          <a:sx n="1" d="2"/>
          <a:sy n="1" d="2"/>
        </p:scale>
        <p:origin x="2720" y="10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tags" Target="tags/tag1.xml"/><Relationship Id="rId89" Type="http://schemas.microsoft.com/office/2016/11/relationships/changesInfo" Target="changesInfos/changesInfo1.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2.xml"/><Relationship Id="rId90" Type="http://schemas.microsoft.com/office/2015/10/relationships/revisionInfo" Target="revisionInfo.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notesMaster" Target="notesMasters/notesMaster1.xml"/><Relationship Id="rId88" Type="http://schemas.openxmlformats.org/officeDocument/2006/relationships/tableStyles" Target="tableStyles.xml"/><Relationship Id="rId9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7" Type="http://schemas.openxmlformats.org/officeDocument/2006/relationships/slideMaster" Target="slideMasters/slideMaster4.xml"/><Relationship Id="rId71" Type="http://schemas.openxmlformats.org/officeDocument/2006/relationships/slide" Target="slides/slide62.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theme" Target="theme/theme1.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abel Hoyos" userId="R5eVIiNu+G3RtUhixS3Ma/YW1PnaDPM4b2qCIjSgG/c=" providerId="None" clId="Web-{D003FC48-F014-468C-9918-6DFC234DD09C}"/>
    <pc:docChg chg="modSld">
      <pc:chgData name="Isabel Hoyos" userId="R5eVIiNu+G3RtUhixS3Ma/YW1PnaDPM4b2qCIjSgG/c=" providerId="None" clId="Web-{D003FC48-F014-468C-9918-6DFC234DD09C}" dt="2026-03-06T15:58:10.869" v="3"/>
      <pc:docMkLst>
        <pc:docMk/>
      </pc:docMkLst>
      <pc:sldChg chg="modSp">
        <pc:chgData name="Isabel Hoyos" userId="R5eVIiNu+G3RtUhixS3Ma/YW1PnaDPM4b2qCIjSgG/c=" providerId="None" clId="Web-{D003FC48-F014-468C-9918-6DFC234DD09C}" dt="2026-03-06T15:53:49.567" v="1"/>
        <pc:sldMkLst>
          <pc:docMk/>
          <pc:sldMk cId="1063284716" sldId="2147483454"/>
        </pc:sldMkLst>
        <pc:graphicFrameChg chg="modGraphic">
          <ac:chgData name="Isabel Hoyos" userId="R5eVIiNu+G3RtUhixS3Ma/YW1PnaDPM4b2qCIjSgG/c=" providerId="None" clId="Web-{D003FC48-F014-468C-9918-6DFC234DD09C}" dt="2026-03-06T15:53:49.567" v="1"/>
          <ac:graphicFrameMkLst>
            <pc:docMk/>
            <pc:sldMk cId="1063284716" sldId="2147483454"/>
            <ac:graphicFrameMk id="27" creationId="{14744CBA-D941-D0BD-BB9A-1C79EFD3B4ED}"/>
          </ac:graphicFrameMkLst>
        </pc:graphicFrameChg>
      </pc:sldChg>
      <pc:sldChg chg="modSp">
        <pc:chgData name="Isabel Hoyos" userId="R5eVIiNu+G3RtUhixS3Ma/YW1PnaDPM4b2qCIjSgG/c=" providerId="None" clId="Web-{D003FC48-F014-468C-9918-6DFC234DD09C}" dt="2026-03-06T15:58:10.869" v="3"/>
        <pc:sldMkLst>
          <pc:docMk/>
          <pc:sldMk cId="1972638503" sldId="2147483472"/>
        </pc:sldMkLst>
        <pc:graphicFrameChg chg="modGraphic">
          <ac:chgData name="Isabel Hoyos" userId="R5eVIiNu+G3RtUhixS3Ma/YW1PnaDPM4b2qCIjSgG/c=" providerId="None" clId="Web-{D003FC48-F014-468C-9918-6DFC234DD09C}" dt="2026-03-06T15:58:10.869" v="3"/>
          <ac:graphicFrameMkLst>
            <pc:docMk/>
            <pc:sldMk cId="1972638503" sldId="2147483472"/>
            <ac:graphicFrameMk id="36" creationId="{30EE94A4-4918-7232-E3AC-EFC7AB4BB03A}"/>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Binary_Worksheet54.xlsb"/></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Binary_Worksheet55.xlsb"/></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Binary_Worksheet56.xlsb"/></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Binary_Worksheet57.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Binary_Worksheet58.xlsb"/></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Binary_Worksheet59.xlsb"/></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Binary_Worksheet60.xlsb"/></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Binary_Worksheet62.xlsb"/></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Binary_Worksheet63.xlsb"/></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Binary_Worksheet64.xlsb"/></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Binary_Worksheet65.xlsb"/></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Binary_Worksheet66.xlsb"/></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Binary_Worksheet67.xlsb"/></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Binary_Worksheet68.xlsb"/></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Binary_Worksheet69.xlsb"/></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Binary_Worksheet70.xlsb"/></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Binary_Worksheet71.xlsb"/></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Binary_Worksheet72.xlsb"/></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Binary_Worksheet73.xlsb"/></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Binary_Worksheet74.xlsb"/></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Binary_Worksheet75.xlsb"/></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Binary_Worksheet76.xlsb"/></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Binary_Worksheet77.xlsb"/></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Binary_Worksheet78.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Binary_Worksheet79.xlsb"/></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Binary_Worksheet80.xlsb"/></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Binary_Worksheet81.xlsb"/></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Binary_Worksheet82.xlsb"/></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Binary_Worksheet83.xlsb"/></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Binary_Worksheet84.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6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05849582172703E-2"/>
          <c:y val="2.2146507666098807E-2"/>
          <c:w val="0.96378830083565459"/>
          <c:h val="0.95229982964224869"/>
        </c:manualLayout>
      </c:layout>
      <c:bubbleChart>
        <c:varyColors val="0"/>
        <c:ser>
          <c:idx val="1"/>
          <c:order val="0"/>
          <c:spPr>
            <a:solidFill>
              <a:schemeClr val="accent1"/>
            </a:solidFill>
            <a:ln>
              <a:noFill/>
            </a:ln>
          </c:spPr>
          <c:invertIfNegative val="0"/>
          <c:dPt>
            <c:idx val="0"/>
            <c:invertIfNegative val="0"/>
            <c:bubble3D val="0"/>
            <c:extLst>
              <c:ext xmlns:c16="http://schemas.microsoft.com/office/drawing/2014/chart" uri="{C3380CC4-5D6E-409C-BE32-E72D297353CC}">
                <c16:uniqueId val="{00000000-60B4-4184-B0D3-72A3337E25EE}"/>
              </c:ext>
            </c:extLst>
          </c:dPt>
          <c:dPt>
            <c:idx val="1"/>
            <c:invertIfNegative val="0"/>
            <c:bubble3D val="0"/>
            <c:spPr>
              <a:solidFill>
                <a:schemeClr val="accent4"/>
              </a:solidFill>
              <a:ln>
                <a:noFill/>
              </a:ln>
            </c:spPr>
            <c:extLst>
              <c:ext xmlns:c16="http://schemas.microsoft.com/office/drawing/2014/chart" uri="{C3380CC4-5D6E-409C-BE32-E72D297353CC}">
                <c16:uniqueId val="{00000001-60B4-4184-B0D3-72A3337E25EE}"/>
              </c:ext>
            </c:extLst>
          </c:dPt>
          <c:dPt>
            <c:idx val="2"/>
            <c:invertIfNegative val="0"/>
            <c:bubble3D val="0"/>
            <c:spPr>
              <a:solidFill>
                <a:schemeClr val="accent3"/>
              </a:solidFill>
              <a:ln>
                <a:noFill/>
              </a:ln>
            </c:spPr>
            <c:extLst>
              <c:ext xmlns:c16="http://schemas.microsoft.com/office/drawing/2014/chart" uri="{C3380CC4-5D6E-409C-BE32-E72D297353CC}">
                <c16:uniqueId val="{00000002-60B4-4184-B0D3-72A3337E25EE}"/>
              </c:ext>
            </c:extLst>
          </c:dPt>
          <c:dPt>
            <c:idx val="3"/>
            <c:invertIfNegative val="0"/>
            <c:bubble3D val="0"/>
            <c:spPr>
              <a:solidFill>
                <a:schemeClr val="accent6"/>
              </a:solidFill>
              <a:ln>
                <a:noFill/>
              </a:ln>
            </c:spPr>
            <c:extLst>
              <c:ext xmlns:c16="http://schemas.microsoft.com/office/drawing/2014/chart" uri="{C3380CC4-5D6E-409C-BE32-E72D297353CC}">
                <c16:uniqueId val="{00000003-60B4-4184-B0D3-72A3337E25EE}"/>
              </c:ext>
            </c:extLst>
          </c:dPt>
          <c:xVal>
            <c:numRef>
              <c:f>Sheet1!$A$1:$A$4</c:f>
              <c:numCache>
                <c:formatCode>General</c:formatCode>
                <c:ptCount val="4"/>
                <c:pt idx="0">
                  <c:v>0.03</c:v>
                </c:pt>
                <c:pt idx="1">
                  <c:v>1.67</c:v>
                </c:pt>
                <c:pt idx="2">
                  <c:v>0.16</c:v>
                </c:pt>
                <c:pt idx="3">
                  <c:v>89</c:v>
                </c:pt>
              </c:numCache>
            </c:numRef>
          </c:xVal>
          <c:yVal>
            <c:numRef>
              <c:f>Sheet1!$D$1:$D$4</c:f>
              <c:numCache>
                <c:formatCode>General</c:formatCode>
                <c:ptCount val="4"/>
                <c:pt idx="0">
                  <c:v>0.3</c:v>
                </c:pt>
                <c:pt idx="1">
                  <c:v>19</c:v>
                </c:pt>
                <c:pt idx="2">
                  <c:v>99</c:v>
                </c:pt>
                <c:pt idx="3">
                  <c:v>21</c:v>
                </c:pt>
              </c:numCache>
            </c:numRef>
          </c:yVal>
          <c:bubbleSize>
            <c:numRef>
              <c:f>Sheet1!$E$1:$E$4</c:f>
              <c:numCache>
                <c:formatCode>General</c:formatCode>
                <c:ptCount val="4"/>
                <c:pt idx="0">
                  <c:v>0.03</c:v>
                </c:pt>
                <c:pt idx="1">
                  <c:v>0.02</c:v>
                </c:pt>
                <c:pt idx="2">
                  <c:v>0.04</c:v>
                </c:pt>
                <c:pt idx="3">
                  <c:v>24.62</c:v>
                </c:pt>
              </c:numCache>
            </c:numRef>
          </c:bubbleSize>
          <c:bubble3D val="0"/>
          <c:extLst>
            <c:ext xmlns:c16="http://schemas.microsoft.com/office/drawing/2014/chart" uri="{C3380CC4-5D6E-409C-BE32-E72D297353CC}">
              <c16:uniqueId val="{00000004-60B4-4184-B0D3-72A3337E25EE}"/>
            </c:ext>
          </c:extLst>
        </c:ser>
        <c:dLbls>
          <c:showLegendKey val="0"/>
          <c:showVal val="0"/>
          <c:showCatName val="0"/>
          <c:showSerName val="0"/>
          <c:showPercent val="0"/>
          <c:showBubbleSize val="0"/>
        </c:dLbls>
        <c:bubbleScale val="109"/>
        <c:showNegBubbles val="0"/>
        <c:axId val="1837278896"/>
        <c:axId val="1"/>
      </c:bubbleChart>
      <c:valAx>
        <c:axId val="1837278896"/>
        <c:scaling>
          <c:orientation val="minMax"/>
          <c:max val="100"/>
          <c:min val="-10"/>
        </c:scaling>
        <c:delete val="0"/>
        <c:axPos val="b"/>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1"/>
        <c:crosses val="min"/>
        <c:crossBetween val="midCat"/>
        <c:majorUnit val="10"/>
      </c:valAx>
      <c:valAx>
        <c:axId val="1"/>
        <c:scaling>
          <c:orientation val="minMax"/>
          <c:max val="110"/>
          <c:min val="-1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1837278896"/>
        <c:crosses val="min"/>
        <c:crossBetween val="midCat"/>
        <c:majorUnit val="1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10092283526409E-2"/>
          <c:y val="0.1327054794520548"/>
          <c:w val="0.97957981543294714"/>
          <c:h val="0.7345890410958904"/>
        </c:manualLayout>
      </c:layout>
      <c:barChart>
        <c:barDir val="col"/>
        <c:grouping val="stacked"/>
        <c:varyColors val="0"/>
        <c:ser>
          <c:idx val="0"/>
          <c:order val="0"/>
          <c:spPr>
            <a:solidFill>
              <a:srgbClr val="4C6C9C"/>
            </a:solidFill>
            <a:ln>
              <a:noFill/>
            </a:ln>
          </c:spPr>
          <c:invertIfNegative val="0"/>
          <c:val>
            <c:numRef>
              <c:f>Sheet1!$A$1:$G$1</c:f>
              <c:numCache>
                <c:formatCode>General</c:formatCode>
                <c:ptCount val="7"/>
                <c:pt idx="0">
                  <c:v>92.106000000000009</c:v>
                </c:pt>
                <c:pt idx="1">
                  <c:v>94.676400000000015</c:v>
                </c:pt>
                <c:pt idx="2">
                  <c:v>105.49350000000001</c:v>
                </c:pt>
                <c:pt idx="3">
                  <c:v>95.069100000000006</c:v>
                </c:pt>
                <c:pt idx="4">
                  <c:v>98.1036</c:v>
                </c:pt>
                <c:pt idx="5">
                  <c:v>141.6576</c:v>
                </c:pt>
                <c:pt idx="6">
                  <c:v>181.03470000000002</c:v>
                </c:pt>
              </c:numCache>
            </c:numRef>
          </c:val>
          <c:extLst>
            <c:ext xmlns:c16="http://schemas.microsoft.com/office/drawing/2014/chart" uri="{C3380CC4-5D6E-409C-BE32-E72D297353CC}">
              <c16:uniqueId val="{00000000-2B95-494C-8D29-636F70316179}"/>
            </c:ext>
          </c:extLst>
        </c:ser>
        <c:ser>
          <c:idx val="1"/>
          <c:order val="1"/>
          <c:spPr>
            <a:solidFill>
              <a:schemeClr val="accent1"/>
            </a:solidFill>
            <a:ln>
              <a:noFill/>
            </a:ln>
          </c:spPr>
          <c:invertIfNegative val="0"/>
          <c:dLbls>
            <c:dLbl>
              <c:idx val="5"/>
              <c:layout>
                <c:manualLayout>
                  <c:x val="3.0433928922049873E-2"/>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B95-494C-8D29-636F70316179}"/>
                </c:ext>
              </c:extLst>
            </c:dLbl>
            <c:dLbl>
              <c:idx val="6"/>
              <c:layout>
                <c:manualLayout>
                  <c:x val="0"/>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B95-494C-8D29-636F703161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225.59399999999999</c:v>
                </c:pt>
                <c:pt idx="1">
                  <c:v>208.66086000000001</c:v>
                </c:pt>
                <c:pt idx="2">
                  <c:v>204.99156000000002</c:v>
                </c:pt>
                <c:pt idx="3">
                  <c:v>179.06184000000002</c:v>
                </c:pt>
                <c:pt idx="4">
                  <c:v>211.84092000000001</c:v>
                </c:pt>
                <c:pt idx="5">
                  <c:v>295.74558000000007</c:v>
                </c:pt>
                <c:pt idx="6">
                  <c:v>459.39636000000007</c:v>
                </c:pt>
              </c:numCache>
            </c:numRef>
          </c:val>
          <c:extLst>
            <c:ext xmlns:c16="http://schemas.microsoft.com/office/drawing/2014/chart" uri="{C3380CC4-5D6E-409C-BE32-E72D297353CC}">
              <c16:uniqueId val="{00000003-2B95-494C-8D29-636F70316179}"/>
            </c:ext>
          </c:extLst>
        </c:ser>
        <c:ser>
          <c:idx val="2"/>
          <c:order val="2"/>
          <c:spPr>
            <a:solidFill>
              <a:schemeClr val="accent4"/>
            </a:solidFill>
            <a:ln>
              <a:noFill/>
            </a:ln>
          </c:spPr>
          <c:invertIfNegative val="0"/>
          <c:dLbls>
            <c:dLbl>
              <c:idx val="5"/>
              <c:layout>
                <c:manualLayout>
                  <c:x val="-3.0433928922049873E-2"/>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B95-494C-8D29-636F70316179}"/>
                </c:ext>
              </c:extLst>
            </c:dLbl>
            <c:dLbl>
              <c:idx val="6"/>
              <c:layout>
                <c:manualLayout>
                  <c:x val="0"/>
                  <c:y val="-8.5616438356164379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B95-494C-8D29-636F703161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188.98110000000003</c:v>
                </c:pt>
                <c:pt idx="1">
                  <c:v>153.41799000000003</c:v>
                </c:pt>
                <c:pt idx="2">
                  <c:v>178.66546499999998</c:v>
                </c:pt>
                <c:pt idx="3">
                  <c:v>204.79618500000004</c:v>
                </c:pt>
                <c:pt idx="4">
                  <c:v>166.84998000000002</c:v>
                </c:pt>
                <c:pt idx="5">
                  <c:v>284.60487000000006</c:v>
                </c:pt>
                <c:pt idx="6">
                  <c:v>407.3092650000001</c:v>
                </c:pt>
              </c:numCache>
            </c:numRef>
          </c:val>
          <c:extLst>
            <c:ext xmlns:c16="http://schemas.microsoft.com/office/drawing/2014/chart" uri="{C3380CC4-5D6E-409C-BE32-E72D297353CC}">
              <c16:uniqueId val="{00000006-2B95-494C-8D29-636F70316179}"/>
            </c:ext>
          </c:extLst>
        </c:ser>
        <c:ser>
          <c:idx val="3"/>
          <c:order val="3"/>
          <c:spPr>
            <a:solidFill>
              <a:schemeClr val="accent6"/>
            </a:solidFill>
            <a:ln>
              <a:noFill/>
            </a:ln>
          </c:spPr>
          <c:invertIfNegative val="0"/>
          <c:val>
            <c:numRef>
              <c:f>Sheet1!$A$4:$G$4</c:f>
              <c:numCache>
                <c:formatCode>General</c:formatCode>
                <c:ptCount val="7"/>
                <c:pt idx="0">
                  <c:v>41.138799999999947</c:v>
                </c:pt>
                <c:pt idx="1">
                  <c:v>45.108333333333348</c:v>
                </c:pt>
                <c:pt idx="2">
                  <c:v>95.268799999999942</c:v>
                </c:pt>
                <c:pt idx="3">
                  <c:v>128.82939999999996</c:v>
                </c:pt>
                <c:pt idx="4">
                  <c:v>57.01693333333327</c:v>
                </c:pt>
                <c:pt idx="5">
                  <c:v>155.1726666666666</c:v>
                </c:pt>
                <c:pt idx="6">
                  <c:v>251.88493333333327</c:v>
                </c:pt>
              </c:numCache>
            </c:numRef>
          </c:val>
          <c:extLst>
            <c:ext xmlns:c16="http://schemas.microsoft.com/office/drawing/2014/chart" uri="{C3380CC4-5D6E-409C-BE32-E72D297353CC}">
              <c16:uniqueId val="{00000007-2B95-494C-8D29-636F70316179}"/>
            </c:ext>
          </c:extLst>
        </c:ser>
        <c:ser>
          <c:idx val="4"/>
          <c:order val="4"/>
          <c:spPr>
            <a:solidFill>
              <a:schemeClr val="accent2"/>
            </a:solidFill>
            <a:ln>
              <a:noFill/>
            </a:ln>
          </c:spPr>
          <c:invertIfNegative val="0"/>
          <c:dLbls>
            <c:dLbl>
              <c:idx val="2"/>
              <c:layout>
                <c:manualLayout>
                  <c:x val="-3.0433928922049873E-2"/>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B95-494C-8D29-636F70316179}"/>
                </c:ext>
              </c:extLst>
            </c:dLbl>
            <c:dLbl>
              <c:idx val="3"/>
              <c:layout>
                <c:manualLayout>
                  <c:x val="0"/>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B95-494C-8D29-636F70316179}"/>
                </c:ext>
              </c:extLst>
            </c:dLbl>
            <c:dLbl>
              <c:idx val="5"/>
              <c:layout>
                <c:manualLayout>
                  <c:x val="-3.0433928922049873E-2"/>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B95-494C-8D29-636F70316179}"/>
                </c:ext>
              </c:extLst>
            </c:dLbl>
            <c:dLbl>
              <c:idx val="6"/>
              <c:layout>
                <c:manualLayout>
                  <c:x val="0"/>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B95-494C-8D29-636F703161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G$5</c:f>
              <c:numCache>
                <c:formatCode>General</c:formatCode>
                <c:ptCount val="7"/>
                <c:pt idx="0">
                  <c:v>153.54899999999998</c:v>
                </c:pt>
                <c:pt idx="1">
                  <c:v>206.43809999999996</c:v>
                </c:pt>
                <c:pt idx="2">
                  <c:v>314.07749999999999</c:v>
                </c:pt>
                <c:pt idx="3">
                  <c:v>392.40300000000002</c:v>
                </c:pt>
                <c:pt idx="4">
                  <c:v>254.05380000000002</c:v>
                </c:pt>
                <c:pt idx="5">
                  <c:v>438.62279999999987</c:v>
                </c:pt>
                <c:pt idx="6">
                  <c:v>646.76700000000005</c:v>
                </c:pt>
              </c:numCache>
            </c:numRef>
          </c:val>
          <c:extLst>
            <c:ext xmlns:c16="http://schemas.microsoft.com/office/drawing/2014/chart" uri="{C3380CC4-5D6E-409C-BE32-E72D297353CC}">
              <c16:uniqueId val="{0000000C-2B95-494C-8D29-636F70316179}"/>
            </c:ext>
          </c:extLst>
        </c:ser>
        <c:ser>
          <c:idx val="5"/>
          <c:order val="5"/>
          <c:spPr>
            <a:solidFill>
              <a:srgbClr val="C30C3E"/>
            </a:solidFill>
            <a:ln>
              <a:noFill/>
            </a:ln>
          </c:spPr>
          <c:invertIfNegative val="0"/>
          <c:dLbls>
            <c:dLbl>
              <c:idx val="1"/>
              <c:layout>
                <c:manualLayout>
                  <c:x val="3.0433928922049873E-2"/>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B95-494C-8D29-636F70316179}"/>
                </c:ext>
              </c:extLst>
            </c:dLbl>
            <c:dLbl>
              <c:idx val="2"/>
              <c:layout>
                <c:manualLayout>
                  <c:x val="0"/>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B95-494C-8D29-636F70316179}"/>
                </c:ext>
              </c:extLst>
            </c:dLbl>
            <c:dLbl>
              <c:idx val="3"/>
              <c:layout>
                <c:manualLayout>
                  <c:x val="0"/>
                  <c:y val="-8.5616438356164379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B95-494C-8D29-636F70316179}"/>
                </c:ext>
              </c:extLst>
            </c:dLbl>
            <c:dLbl>
              <c:idx val="4"/>
              <c:layout>
                <c:manualLayout>
                  <c:x val="0"/>
                  <c:y val="-8.5616438356164379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B95-494C-8D29-636F70316179}"/>
                </c:ext>
              </c:extLst>
            </c:dLbl>
            <c:dLbl>
              <c:idx val="5"/>
              <c:layout>
                <c:manualLayout>
                  <c:x val="0"/>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B95-494C-8D29-636F70316179}"/>
                </c:ext>
              </c:extLst>
            </c:dLbl>
            <c:dLbl>
              <c:idx val="6"/>
              <c:layout>
                <c:manualLayout>
                  <c:x val="0"/>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B95-494C-8D29-636F703161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G$6</c:f>
              <c:numCache>
                <c:formatCode>General</c:formatCode>
                <c:ptCount val="7"/>
                <c:pt idx="0">
                  <c:v>230.37110000000007</c:v>
                </c:pt>
                <c:pt idx="1">
                  <c:v>328.53780000000006</c:v>
                </c:pt>
                <c:pt idx="2">
                  <c:v>459.75559999999996</c:v>
                </c:pt>
                <c:pt idx="3">
                  <c:v>560.7176666666669</c:v>
                </c:pt>
                <c:pt idx="4">
                  <c:v>406.8080666666666</c:v>
                </c:pt>
                <c:pt idx="5">
                  <c:v>605.11466666666661</c:v>
                </c:pt>
                <c:pt idx="6">
                  <c:v>804.40786666666668</c:v>
                </c:pt>
              </c:numCache>
            </c:numRef>
          </c:val>
          <c:extLst>
            <c:ext xmlns:c16="http://schemas.microsoft.com/office/drawing/2014/chart" uri="{C3380CC4-5D6E-409C-BE32-E72D297353CC}">
              <c16:uniqueId val="{00000013-2B95-494C-8D29-636F70316179}"/>
            </c:ext>
          </c:extLst>
        </c:ser>
        <c:dLbls>
          <c:showLegendKey val="0"/>
          <c:showVal val="0"/>
          <c:showCatName val="0"/>
          <c:showSerName val="0"/>
          <c:showPercent val="0"/>
          <c:showBubbleSize val="0"/>
        </c:dLbls>
        <c:gapWidth val="15"/>
        <c:overlap val="100"/>
        <c:axId val="1840542736"/>
        <c:axId val="1"/>
      </c:barChart>
      <c:catAx>
        <c:axId val="18405427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750.8001250000002"/>
          <c:min val="0"/>
        </c:scaling>
        <c:delete val="1"/>
        <c:axPos val="l"/>
        <c:numFmt formatCode="General" sourceLinked="1"/>
        <c:majorTickMark val="out"/>
        <c:minorTickMark val="none"/>
        <c:tickLblPos val="nextTo"/>
        <c:crossAx val="1840542736"/>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828942619992774E-3"/>
          <c:y val="2.7455121436114043E-2"/>
          <c:w val="0.98123421147600143"/>
          <c:h val="0.94508975712777188"/>
        </c:manualLayout>
      </c:layout>
      <c:barChart>
        <c:barDir val="col"/>
        <c:grouping val="stacked"/>
        <c:varyColors val="0"/>
        <c:ser>
          <c:idx val="0"/>
          <c:order val="0"/>
          <c:spPr>
            <a:solidFill>
              <a:srgbClr val="DFE5EF"/>
            </a:solidFill>
            <a:ln>
              <a:noFill/>
            </a:ln>
          </c:spPr>
          <c:invertIfNegative val="0"/>
          <c:val>
            <c:numRef>
              <c:f>Sheet1!$A$1:$BC$1</c:f>
              <c:numCache>
                <c:formatCode>General</c:formatCode>
                <c:ptCount val="55"/>
                <c:pt idx="0">
                  <c:v>3220</c:v>
                </c:pt>
                <c:pt idx="1">
                  <c:v>6168</c:v>
                </c:pt>
                <c:pt idx="2">
                  <c:v>8907</c:v>
                </c:pt>
                <c:pt idx="3">
                  <c:v>15877</c:v>
                </c:pt>
                <c:pt idx="4">
                  <c:v>25200</c:v>
                </c:pt>
                <c:pt idx="5">
                  <c:v>35341</c:v>
                </c:pt>
                <c:pt idx="6">
                  <c:v>38183</c:v>
                </c:pt>
                <c:pt idx="7">
                  <c:v>44741</c:v>
                </c:pt>
                <c:pt idx="8">
                  <c:v>46554</c:v>
                </c:pt>
                <c:pt idx="9">
                  <c:v>50182</c:v>
                </c:pt>
                <c:pt idx="10">
                  <c:v>57711</c:v>
                </c:pt>
                <c:pt idx="11">
                  <c:v>68907</c:v>
                </c:pt>
                <c:pt idx="12">
                  <c:v>62559</c:v>
                </c:pt>
                <c:pt idx="13">
                  <c:v>66945</c:v>
                </c:pt>
                <c:pt idx="14">
                  <c:v>85219</c:v>
                </c:pt>
                <c:pt idx="15">
                  <c:v>112302</c:v>
                </c:pt>
                <c:pt idx="16">
                  <c:v>132997</c:v>
                </c:pt>
                <c:pt idx="17">
                  <c:v>144180</c:v>
                </c:pt>
                <c:pt idx="18">
                  <c:v>154629</c:v>
                </c:pt>
                <c:pt idx="19">
                  <c:v>150385</c:v>
                </c:pt>
                <c:pt idx="20">
                  <c:v>155280</c:v>
                </c:pt>
                <c:pt idx="21">
                  <c:v>144878</c:v>
                </c:pt>
                <c:pt idx="22">
                  <c:v>127660</c:v>
                </c:pt>
                <c:pt idx="23">
                  <c:v>99555</c:v>
                </c:pt>
                <c:pt idx="24">
                  <c:v>80580</c:v>
                </c:pt>
                <c:pt idx="25">
                  <c:v>66135</c:v>
                </c:pt>
                <c:pt idx="26">
                  <c:v>49375</c:v>
                </c:pt>
                <c:pt idx="27">
                  <c:v>37232</c:v>
                </c:pt>
                <c:pt idx="28">
                  <c:v>31537</c:v>
                </c:pt>
                <c:pt idx="29">
                  <c:v>29053</c:v>
                </c:pt>
                <c:pt idx="30">
                  <c:v>29980</c:v>
                </c:pt>
                <c:pt idx="31">
                  <c:v>25813</c:v>
                </c:pt>
                <c:pt idx="32">
                  <c:v>28758</c:v>
                </c:pt>
                <c:pt idx="33">
                  <c:v>28244</c:v>
                </c:pt>
                <c:pt idx="34">
                  <c:v>25986</c:v>
                </c:pt>
                <c:pt idx="35">
                  <c:v>27796</c:v>
                </c:pt>
                <c:pt idx="36">
                  <c:v>27161</c:v>
                </c:pt>
                <c:pt idx="37">
                  <c:v>28565</c:v>
                </c:pt>
                <c:pt idx="38">
                  <c:v>23740</c:v>
                </c:pt>
                <c:pt idx="39">
                  <c:v>21349</c:v>
                </c:pt>
                <c:pt idx="40">
                  <c:v>15859</c:v>
                </c:pt>
                <c:pt idx="41">
                  <c:v>16423</c:v>
                </c:pt>
                <c:pt idx="42">
                  <c:v>17819</c:v>
                </c:pt>
                <c:pt idx="43">
                  <c:v>17448</c:v>
                </c:pt>
                <c:pt idx="44">
                  <c:v>22380</c:v>
                </c:pt>
                <c:pt idx="45">
                  <c:v>27505</c:v>
                </c:pt>
                <c:pt idx="46">
                  <c:v>39386</c:v>
                </c:pt>
                <c:pt idx="47">
                  <c:v>44081</c:v>
                </c:pt>
                <c:pt idx="48">
                  <c:v>51953</c:v>
                </c:pt>
                <c:pt idx="49">
                  <c:v>55347</c:v>
                </c:pt>
                <c:pt idx="50">
                  <c:v>53440</c:v>
                </c:pt>
                <c:pt idx="51">
                  <c:v>58508</c:v>
                </c:pt>
                <c:pt idx="52">
                  <c:v>59997</c:v>
                </c:pt>
                <c:pt idx="53">
                  <c:v>60900</c:v>
                </c:pt>
                <c:pt idx="54">
                  <c:v>52316</c:v>
                </c:pt>
              </c:numCache>
            </c:numRef>
          </c:val>
          <c:extLst>
            <c:ext xmlns:c16="http://schemas.microsoft.com/office/drawing/2014/chart" uri="{C3380CC4-5D6E-409C-BE32-E72D297353CC}">
              <c16:uniqueId val="{00000000-BF03-4831-9535-C58A71A5540B}"/>
            </c:ext>
          </c:extLst>
        </c:ser>
        <c:ser>
          <c:idx val="1"/>
          <c:order val="1"/>
          <c:spPr>
            <a:solidFill>
              <a:srgbClr val="C3CFE1"/>
            </a:solidFill>
            <a:ln>
              <a:noFill/>
            </a:ln>
          </c:spPr>
          <c:invertIfNegative val="0"/>
          <c:val>
            <c:numRef>
              <c:f>Sheet1!$A$2:$BC$2</c:f>
              <c:numCache>
                <c:formatCode>General</c:formatCode>
                <c:ptCount val="55"/>
                <c:pt idx="0">
                  <c:v>0</c:v>
                </c:pt>
                <c:pt idx="1">
                  <c:v>0</c:v>
                </c:pt>
                <c:pt idx="2">
                  <c:v>0</c:v>
                </c:pt>
                <c:pt idx="3">
                  <c:v>0</c:v>
                </c:pt>
                <c:pt idx="4">
                  <c:v>0</c:v>
                </c:pt>
                <c:pt idx="5">
                  <c:v>0</c:v>
                </c:pt>
                <c:pt idx="6">
                  <c:v>0</c:v>
                </c:pt>
                <c:pt idx="7">
                  <c:v>1022</c:v>
                </c:pt>
                <c:pt idx="8">
                  <c:v>3220</c:v>
                </c:pt>
                <c:pt idx="9">
                  <c:v>6168</c:v>
                </c:pt>
                <c:pt idx="10">
                  <c:v>8907</c:v>
                </c:pt>
                <c:pt idx="11">
                  <c:v>15877</c:v>
                </c:pt>
                <c:pt idx="12">
                  <c:v>25200</c:v>
                </c:pt>
                <c:pt idx="13">
                  <c:v>35341</c:v>
                </c:pt>
                <c:pt idx="14">
                  <c:v>38183</c:v>
                </c:pt>
                <c:pt idx="15">
                  <c:v>44741</c:v>
                </c:pt>
                <c:pt idx="16">
                  <c:v>46554</c:v>
                </c:pt>
                <c:pt idx="17">
                  <c:v>50182</c:v>
                </c:pt>
                <c:pt idx="18">
                  <c:v>57711</c:v>
                </c:pt>
                <c:pt idx="19">
                  <c:v>68907</c:v>
                </c:pt>
                <c:pt idx="20">
                  <c:v>62559</c:v>
                </c:pt>
                <c:pt idx="21">
                  <c:v>66945</c:v>
                </c:pt>
                <c:pt idx="22">
                  <c:v>85219</c:v>
                </c:pt>
                <c:pt idx="23">
                  <c:v>112302</c:v>
                </c:pt>
                <c:pt idx="24">
                  <c:v>132997</c:v>
                </c:pt>
                <c:pt idx="25">
                  <c:v>144180</c:v>
                </c:pt>
                <c:pt idx="26">
                  <c:v>154629</c:v>
                </c:pt>
                <c:pt idx="27">
                  <c:v>150385</c:v>
                </c:pt>
                <c:pt idx="28">
                  <c:v>155280</c:v>
                </c:pt>
                <c:pt idx="29">
                  <c:v>144878</c:v>
                </c:pt>
                <c:pt idx="30">
                  <c:v>127660</c:v>
                </c:pt>
                <c:pt idx="31">
                  <c:v>99555</c:v>
                </c:pt>
                <c:pt idx="32">
                  <c:v>80580</c:v>
                </c:pt>
                <c:pt idx="33">
                  <c:v>66135</c:v>
                </c:pt>
                <c:pt idx="34">
                  <c:v>49375</c:v>
                </c:pt>
                <c:pt idx="35">
                  <c:v>37232</c:v>
                </c:pt>
                <c:pt idx="36">
                  <c:v>31537</c:v>
                </c:pt>
                <c:pt idx="37">
                  <c:v>29053</c:v>
                </c:pt>
                <c:pt idx="38">
                  <c:v>29980</c:v>
                </c:pt>
                <c:pt idx="39">
                  <c:v>25813</c:v>
                </c:pt>
                <c:pt idx="40">
                  <c:v>28758</c:v>
                </c:pt>
                <c:pt idx="41">
                  <c:v>28244</c:v>
                </c:pt>
                <c:pt idx="42">
                  <c:v>25986</c:v>
                </c:pt>
                <c:pt idx="43">
                  <c:v>27796</c:v>
                </c:pt>
                <c:pt idx="44">
                  <c:v>27161</c:v>
                </c:pt>
                <c:pt idx="45">
                  <c:v>28565</c:v>
                </c:pt>
                <c:pt idx="46">
                  <c:v>23740</c:v>
                </c:pt>
                <c:pt idx="47">
                  <c:v>21349</c:v>
                </c:pt>
                <c:pt idx="48">
                  <c:v>15859</c:v>
                </c:pt>
                <c:pt idx="49">
                  <c:v>16423</c:v>
                </c:pt>
                <c:pt idx="50">
                  <c:v>17819</c:v>
                </c:pt>
                <c:pt idx="51">
                  <c:v>17448</c:v>
                </c:pt>
                <c:pt idx="52">
                  <c:v>22380</c:v>
                </c:pt>
                <c:pt idx="53">
                  <c:v>27505</c:v>
                </c:pt>
                <c:pt idx="54">
                  <c:v>39386</c:v>
                </c:pt>
              </c:numCache>
            </c:numRef>
          </c:val>
          <c:extLst>
            <c:ext xmlns:c16="http://schemas.microsoft.com/office/drawing/2014/chart" uri="{C3380CC4-5D6E-409C-BE32-E72D297353CC}">
              <c16:uniqueId val="{00000001-BF03-4831-9535-C58A71A5540B}"/>
            </c:ext>
          </c:extLst>
        </c:ser>
        <c:ser>
          <c:idx val="2"/>
          <c:order val="2"/>
          <c:spPr>
            <a:solidFill>
              <a:srgbClr val="9DB1CF"/>
            </a:solidFill>
            <a:ln>
              <a:noFill/>
            </a:ln>
          </c:spPr>
          <c:invertIfNegative val="0"/>
          <c:val>
            <c:numRef>
              <c:f>Sheet1!$A$3:$BC$3</c:f>
              <c:numCache>
                <c:formatCode>General</c:formatCode>
                <c:ptCount val="5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1022</c:v>
                </c:pt>
                <c:pt idx="16">
                  <c:v>3220</c:v>
                </c:pt>
                <c:pt idx="17">
                  <c:v>6168</c:v>
                </c:pt>
                <c:pt idx="18">
                  <c:v>8907</c:v>
                </c:pt>
                <c:pt idx="19">
                  <c:v>15877</c:v>
                </c:pt>
                <c:pt idx="20">
                  <c:v>25200</c:v>
                </c:pt>
                <c:pt idx="21">
                  <c:v>35341</c:v>
                </c:pt>
                <c:pt idx="22">
                  <c:v>38183</c:v>
                </c:pt>
                <c:pt idx="23">
                  <c:v>44741</c:v>
                </c:pt>
                <c:pt idx="24">
                  <c:v>46554</c:v>
                </c:pt>
                <c:pt idx="25">
                  <c:v>50182</c:v>
                </c:pt>
                <c:pt idx="26">
                  <c:v>57711</c:v>
                </c:pt>
                <c:pt idx="27">
                  <c:v>68907</c:v>
                </c:pt>
                <c:pt idx="28">
                  <c:v>62559</c:v>
                </c:pt>
                <c:pt idx="29">
                  <c:v>66945</c:v>
                </c:pt>
                <c:pt idx="30">
                  <c:v>85219</c:v>
                </c:pt>
                <c:pt idx="31">
                  <c:v>112302</c:v>
                </c:pt>
                <c:pt idx="32">
                  <c:v>132997</c:v>
                </c:pt>
                <c:pt idx="33">
                  <c:v>144180</c:v>
                </c:pt>
                <c:pt idx="34">
                  <c:v>154629</c:v>
                </c:pt>
                <c:pt idx="35">
                  <c:v>150385</c:v>
                </c:pt>
                <c:pt idx="36">
                  <c:v>155280</c:v>
                </c:pt>
                <c:pt idx="37">
                  <c:v>144878</c:v>
                </c:pt>
                <c:pt idx="38">
                  <c:v>127660</c:v>
                </c:pt>
                <c:pt idx="39">
                  <c:v>99555</c:v>
                </c:pt>
                <c:pt idx="40">
                  <c:v>80580</c:v>
                </c:pt>
                <c:pt idx="41">
                  <c:v>66135</c:v>
                </c:pt>
                <c:pt idx="42">
                  <c:v>49375</c:v>
                </c:pt>
                <c:pt idx="43">
                  <c:v>37232</c:v>
                </c:pt>
                <c:pt idx="44">
                  <c:v>31537</c:v>
                </c:pt>
                <c:pt idx="45">
                  <c:v>29053</c:v>
                </c:pt>
                <c:pt idx="46">
                  <c:v>29980</c:v>
                </c:pt>
                <c:pt idx="47">
                  <c:v>25813</c:v>
                </c:pt>
                <c:pt idx="48">
                  <c:v>28758</c:v>
                </c:pt>
                <c:pt idx="49">
                  <c:v>28244</c:v>
                </c:pt>
                <c:pt idx="50">
                  <c:v>25986</c:v>
                </c:pt>
                <c:pt idx="51">
                  <c:v>27796</c:v>
                </c:pt>
                <c:pt idx="52">
                  <c:v>27161</c:v>
                </c:pt>
                <c:pt idx="53">
                  <c:v>28565</c:v>
                </c:pt>
                <c:pt idx="54">
                  <c:v>23740</c:v>
                </c:pt>
              </c:numCache>
            </c:numRef>
          </c:val>
          <c:extLst>
            <c:ext xmlns:c16="http://schemas.microsoft.com/office/drawing/2014/chart" uri="{C3380CC4-5D6E-409C-BE32-E72D297353CC}">
              <c16:uniqueId val="{00000002-BF03-4831-9535-C58A71A5540B}"/>
            </c:ext>
          </c:extLst>
        </c:ser>
        <c:ser>
          <c:idx val="3"/>
          <c:order val="3"/>
          <c:spPr>
            <a:solidFill>
              <a:srgbClr val="6F8DB9"/>
            </a:solidFill>
            <a:ln>
              <a:noFill/>
            </a:ln>
          </c:spPr>
          <c:invertIfNegative val="0"/>
          <c:val>
            <c:numRef>
              <c:f>Sheet1!$A$4:$BC$4</c:f>
              <c:numCache>
                <c:formatCode>General</c:formatCode>
                <c:ptCount val="5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1022</c:v>
                </c:pt>
                <c:pt idx="24">
                  <c:v>3220</c:v>
                </c:pt>
                <c:pt idx="25">
                  <c:v>6168</c:v>
                </c:pt>
                <c:pt idx="26">
                  <c:v>8907</c:v>
                </c:pt>
                <c:pt idx="27">
                  <c:v>15877</c:v>
                </c:pt>
                <c:pt idx="28">
                  <c:v>25200</c:v>
                </c:pt>
                <c:pt idx="29">
                  <c:v>35341</c:v>
                </c:pt>
                <c:pt idx="30">
                  <c:v>38183</c:v>
                </c:pt>
                <c:pt idx="31">
                  <c:v>44741</c:v>
                </c:pt>
                <c:pt idx="32">
                  <c:v>46554</c:v>
                </c:pt>
                <c:pt idx="33">
                  <c:v>50182</c:v>
                </c:pt>
                <c:pt idx="34">
                  <c:v>57711</c:v>
                </c:pt>
                <c:pt idx="35">
                  <c:v>68907</c:v>
                </c:pt>
                <c:pt idx="36">
                  <c:v>62559</c:v>
                </c:pt>
                <c:pt idx="37">
                  <c:v>66945</c:v>
                </c:pt>
                <c:pt idx="38">
                  <c:v>85219</c:v>
                </c:pt>
                <c:pt idx="39">
                  <c:v>112302</c:v>
                </c:pt>
                <c:pt idx="40">
                  <c:v>132997</c:v>
                </c:pt>
                <c:pt idx="41">
                  <c:v>144180</c:v>
                </c:pt>
                <c:pt idx="42">
                  <c:v>154629</c:v>
                </c:pt>
                <c:pt idx="43">
                  <c:v>150385</c:v>
                </c:pt>
                <c:pt idx="44">
                  <c:v>155280</c:v>
                </c:pt>
                <c:pt idx="45">
                  <c:v>144878</c:v>
                </c:pt>
                <c:pt idx="46">
                  <c:v>127660</c:v>
                </c:pt>
                <c:pt idx="47">
                  <c:v>99555</c:v>
                </c:pt>
                <c:pt idx="48">
                  <c:v>80580</c:v>
                </c:pt>
                <c:pt idx="49">
                  <c:v>66135</c:v>
                </c:pt>
                <c:pt idx="50">
                  <c:v>49375</c:v>
                </c:pt>
                <c:pt idx="51">
                  <c:v>37232</c:v>
                </c:pt>
                <c:pt idx="52">
                  <c:v>31537</c:v>
                </c:pt>
                <c:pt idx="53">
                  <c:v>29053</c:v>
                </c:pt>
                <c:pt idx="54">
                  <c:v>29980</c:v>
                </c:pt>
              </c:numCache>
            </c:numRef>
          </c:val>
          <c:extLst>
            <c:ext xmlns:c16="http://schemas.microsoft.com/office/drawing/2014/chart" uri="{C3380CC4-5D6E-409C-BE32-E72D297353CC}">
              <c16:uniqueId val="{00000003-BF03-4831-9535-C58A71A5540B}"/>
            </c:ext>
          </c:extLst>
        </c:ser>
        <c:ser>
          <c:idx val="4"/>
          <c:order val="4"/>
          <c:spPr>
            <a:solidFill>
              <a:srgbClr val="4C6C9C"/>
            </a:solidFill>
            <a:ln>
              <a:noFill/>
            </a:ln>
          </c:spPr>
          <c:invertIfNegative val="0"/>
          <c:val>
            <c:numRef>
              <c:f>Sheet1!$A$5:$BC$5</c:f>
              <c:numCache>
                <c:formatCode>General</c:formatCode>
                <c:ptCount val="5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1022</c:v>
                </c:pt>
                <c:pt idx="32">
                  <c:v>3220</c:v>
                </c:pt>
                <c:pt idx="33">
                  <c:v>6168</c:v>
                </c:pt>
                <c:pt idx="34">
                  <c:v>8907</c:v>
                </c:pt>
                <c:pt idx="35">
                  <c:v>15877</c:v>
                </c:pt>
                <c:pt idx="36">
                  <c:v>25200</c:v>
                </c:pt>
                <c:pt idx="37">
                  <c:v>35341</c:v>
                </c:pt>
                <c:pt idx="38">
                  <c:v>38183</c:v>
                </c:pt>
                <c:pt idx="39">
                  <c:v>44741</c:v>
                </c:pt>
                <c:pt idx="40">
                  <c:v>46554</c:v>
                </c:pt>
                <c:pt idx="41">
                  <c:v>50182</c:v>
                </c:pt>
                <c:pt idx="42">
                  <c:v>57711</c:v>
                </c:pt>
                <c:pt idx="43">
                  <c:v>68907</c:v>
                </c:pt>
                <c:pt idx="44">
                  <c:v>62559</c:v>
                </c:pt>
                <c:pt idx="45">
                  <c:v>66945</c:v>
                </c:pt>
                <c:pt idx="46">
                  <c:v>85219</c:v>
                </c:pt>
                <c:pt idx="47">
                  <c:v>112302</c:v>
                </c:pt>
                <c:pt idx="48">
                  <c:v>132997</c:v>
                </c:pt>
                <c:pt idx="49">
                  <c:v>144180</c:v>
                </c:pt>
                <c:pt idx="50">
                  <c:v>154629</c:v>
                </c:pt>
                <c:pt idx="51">
                  <c:v>150385</c:v>
                </c:pt>
                <c:pt idx="52">
                  <c:v>155280</c:v>
                </c:pt>
                <c:pt idx="53">
                  <c:v>144878</c:v>
                </c:pt>
                <c:pt idx="54">
                  <c:v>127660</c:v>
                </c:pt>
              </c:numCache>
            </c:numRef>
          </c:val>
          <c:extLst>
            <c:ext xmlns:c16="http://schemas.microsoft.com/office/drawing/2014/chart" uri="{C3380CC4-5D6E-409C-BE32-E72D297353CC}">
              <c16:uniqueId val="{00000004-BF03-4831-9535-C58A71A5540B}"/>
            </c:ext>
          </c:extLst>
        </c:ser>
        <c:ser>
          <c:idx val="5"/>
          <c:order val="5"/>
          <c:spPr>
            <a:solidFill>
              <a:srgbClr val="364D6E"/>
            </a:solidFill>
            <a:ln>
              <a:noFill/>
            </a:ln>
          </c:spPr>
          <c:invertIfNegative val="0"/>
          <c:val>
            <c:numRef>
              <c:f>Sheet1!$A$6:$BC$6</c:f>
              <c:numCache>
                <c:formatCode>General</c:formatCode>
                <c:ptCount val="5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1022</c:v>
                </c:pt>
                <c:pt idx="40">
                  <c:v>3220</c:v>
                </c:pt>
                <c:pt idx="41">
                  <c:v>6168</c:v>
                </c:pt>
                <c:pt idx="42">
                  <c:v>8907</c:v>
                </c:pt>
                <c:pt idx="43">
                  <c:v>15877</c:v>
                </c:pt>
                <c:pt idx="44">
                  <c:v>25200</c:v>
                </c:pt>
                <c:pt idx="45">
                  <c:v>35341</c:v>
                </c:pt>
                <c:pt idx="46">
                  <c:v>38183</c:v>
                </c:pt>
                <c:pt idx="47">
                  <c:v>44741</c:v>
                </c:pt>
                <c:pt idx="48">
                  <c:v>46554</c:v>
                </c:pt>
                <c:pt idx="49">
                  <c:v>50182</c:v>
                </c:pt>
                <c:pt idx="50">
                  <c:v>57711</c:v>
                </c:pt>
                <c:pt idx="51">
                  <c:v>68907</c:v>
                </c:pt>
                <c:pt idx="52">
                  <c:v>62559</c:v>
                </c:pt>
                <c:pt idx="53">
                  <c:v>66945</c:v>
                </c:pt>
                <c:pt idx="54">
                  <c:v>85219</c:v>
                </c:pt>
              </c:numCache>
            </c:numRef>
          </c:val>
          <c:extLst>
            <c:ext xmlns:c16="http://schemas.microsoft.com/office/drawing/2014/chart" uri="{C3380CC4-5D6E-409C-BE32-E72D297353CC}">
              <c16:uniqueId val="{00000005-BF03-4831-9535-C58A71A5540B}"/>
            </c:ext>
          </c:extLst>
        </c:ser>
        <c:ser>
          <c:idx val="6"/>
          <c:order val="6"/>
          <c:spPr>
            <a:solidFill>
              <a:schemeClr val="accent2"/>
            </a:solidFill>
            <a:ln>
              <a:noFill/>
            </a:ln>
          </c:spPr>
          <c:invertIfNegative val="0"/>
          <c:val>
            <c:numRef>
              <c:f>Sheet1!$A$7:$BC$7</c:f>
              <c:numCache>
                <c:formatCode>General</c:formatCode>
                <c:ptCount val="5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1022</c:v>
                </c:pt>
                <c:pt idx="48">
                  <c:v>3220</c:v>
                </c:pt>
                <c:pt idx="49">
                  <c:v>6168</c:v>
                </c:pt>
                <c:pt idx="50">
                  <c:v>8907</c:v>
                </c:pt>
                <c:pt idx="51">
                  <c:v>15877</c:v>
                </c:pt>
                <c:pt idx="52">
                  <c:v>25200</c:v>
                </c:pt>
                <c:pt idx="53">
                  <c:v>35341</c:v>
                </c:pt>
                <c:pt idx="54">
                  <c:v>38183</c:v>
                </c:pt>
              </c:numCache>
            </c:numRef>
          </c:val>
          <c:extLst>
            <c:ext xmlns:c16="http://schemas.microsoft.com/office/drawing/2014/chart" uri="{C3380CC4-5D6E-409C-BE32-E72D297353CC}">
              <c16:uniqueId val="{00000006-BF03-4831-9535-C58A71A5540B}"/>
            </c:ext>
          </c:extLst>
        </c:ser>
        <c:dLbls>
          <c:showLegendKey val="0"/>
          <c:showVal val="0"/>
          <c:showCatName val="0"/>
          <c:showSerName val="0"/>
          <c:showPercent val="0"/>
          <c:showBubbleSize val="0"/>
        </c:dLbls>
        <c:gapWidth val="10"/>
        <c:overlap val="100"/>
        <c:axId val="1089564480"/>
        <c:axId val="1"/>
      </c:barChart>
      <c:catAx>
        <c:axId val="10895644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6484"/>
          <c:min val="0"/>
        </c:scaling>
        <c:delete val="1"/>
        <c:axPos val="l"/>
        <c:numFmt formatCode="General" sourceLinked="1"/>
        <c:majorTickMark val="out"/>
        <c:minorTickMark val="none"/>
        <c:tickLblPos val="nextTo"/>
        <c:crossAx val="1089564480"/>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698630136986301E-2"/>
          <c:y val="2.0225593154414623E-2"/>
          <c:w val="0.9726027397260274"/>
          <c:h val="0.95954881369117073"/>
        </c:manualLayout>
      </c:layout>
      <c:areaChart>
        <c:grouping val="stacked"/>
        <c:varyColors val="0"/>
        <c:ser>
          <c:idx val="0"/>
          <c:order val="0"/>
          <c:spPr>
            <a:solidFill>
              <a:srgbClr val="D6D7D9"/>
            </a:solidFill>
            <a:ln>
              <a:noFill/>
            </a:ln>
          </c:spPr>
          <c:val>
            <c:numRef>
              <c:f>Sheet1!$A$1:$BX$1</c:f>
              <c:numCache>
                <c:formatCode>General</c:formatCode>
                <c:ptCount val="76"/>
                <c:pt idx="0">
                  <c:v>273082</c:v>
                </c:pt>
                <c:pt idx="1">
                  <c:v>238419</c:v>
                </c:pt>
                <c:pt idx="2">
                  <c:v>213713</c:v>
                </c:pt>
                <c:pt idx="3">
                  <c:v>195954</c:v>
                </c:pt>
                <c:pt idx="4">
                  <c:v>175237</c:v>
                </c:pt>
                <c:pt idx="5">
                  <c:v>161315</c:v>
                </c:pt>
                <c:pt idx="6">
                  <c:v>153445</c:v>
                </c:pt>
                <c:pt idx="7">
                  <c:v>149320</c:v>
                </c:pt>
                <c:pt idx="8">
                  <c:v>145422</c:v>
                </c:pt>
                <c:pt idx="9">
                  <c:v>138864</c:v>
                </c:pt>
                <c:pt idx="10">
                  <c:v>133133</c:v>
                </c:pt>
                <c:pt idx="11">
                  <c:v>129819</c:v>
                </c:pt>
                <c:pt idx="12">
                  <c:v>125862</c:v>
                </c:pt>
                <c:pt idx="13">
                  <c:v>124083</c:v>
                </c:pt>
                <c:pt idx="14">
                  <c:v>121908</c:v>
                </c:pt>
                <c:pt idx="15">
                  <c:v>120267</c:v>
                </c:pt>
                <c:pt idx="16">
                  <c:v>115442</c:v>
                </c:pt>
                <c:pt idx="17">
                  <c:v>113051</c:v>
                </c:pt>
                <c:pt idx="18">
                  <c:v>104375</c:v>
                </c:pt>
                <c:pt idx="19">
                  <c:v>101575</c:v>
                </c:pt>
                <c:pt idx="20">
                  <c:v>99876</c:v>
                </c:pt>
                <c:pt idx="21">
                  <c:v>96287</c:v>
                </c:pt>
                <c:pt idx="22">
                  <c:v>94747</c:v>
                </c:pt>
                <c:pt idx="23">
                  <c:v>91702</c:v>
                </c:pt>
                <c:pt idx="24">
                  <c:v>91702</c:v>
                </c:pt>
                <c:pt idx="25">
                  <c:v>91702</c:v>
                </c:pt>
                <c:pt idx="26">
                  <c:v>88516</c:v>
                </c:pt>
                <c:pt idx="27">
                  <c:v>85152</c:v>
                </c:pt>
                <c:pt idx="28">
                  <c:v>82057</c:v>
                </c:pt>
                <c:pt idx="29">
                  <c:v>78839</c:v>
                </c:pt>
                <c:pt idx="30">
                  <c:v>72367</c:v>
                </c:pt>
                <c:pt idx="31">
                  <c:v>64197</c:v>
                </c:pt>
                <c:pt idx="32">
                  <c:v>52316</c:v>
                </c:pt>
                <c:pt idx="33">
                  <c:v>47621</c:v>
                </c:pt>
                <c:pt idx="34">
                  <c:v>36563</c:v>
                </c:pt>
                <c:pt idx="35">
                  <c:v>29805</c:v>
                </c:pt>
                <c:pt idx="36">
                  <c:v>28617</c:v>
                </c:pt>
                <c:pt idx="37">
                  <c:v>20331</c:v>
                </c:pt>
                <c:pt idx="38">
                  <c:v>12370</c:v>
                </c:pt>
                <c:pt idx="39">
                  <c:v>3297</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numCache>
            </c:numRef>
          </c:val>
          <c:extLst>
            <c:ext xmlns:c16="http://schemas.microsoft.com/office/drawing/2014/chart" uri="{C3380CC4-5D6E-409C-BE32-E72D297353CC}">
              <c16:uniqueId val="{00000000-34E5-4297-A6C8-AB1D255FD8EA}"/>
            </c:ext>
          </c:extLst>
        </c:ser>
        <c:ser>
          <c:idx val="1"/>
          <c:order val="1"/>
          <c:spPr>
            <a:solidFill>
              <a:srgbClr val="C3CFE1"/>
            </a:solidFill>
            <a:ln>
              <a:noFill/>
            </a:ln>
          </c:spPr>
          <c:val>
            <c:numRef>
              <c:f>Sheet1!$A$2:$BX$2</c:f>
              <c:numCache>
                <c:formatCode>General</c:formatCode>
                <c:ptCount val="76"/>
                <c:pt idx="0">
                  <c:v>98202</c:v>
                </c:pt>
                <c:pt idx="1">
                  <c:v>122724</c:v>
                </c:pt>
                <c:pt idx="2">
                  <c:v>144588</c:v>
                </c:pt>
                <c:pt idx="3">
                  <c:v>154767</c:v>
                </c:pt>
                <c:pt idx="4">
                  <c:v>171473</c:v>
                </c:pt>
                <c:pt idx="5">
                  <c:v>178819</c:v>
                </c:pt>
                <c:pt idx="6">
                  <c:v>176421</c:v>
                </c:pt>
                <c:pt idx="7">
                  <c:v>162380</c:v>
                </c:pt>
                <c:pt idx="8">
                  <c:v>163303</c:v>
                </c:pt>
                <c:pt idx="9">
                  <c:v>155334</c:v>
                </c:pt>
                <c:pt idx="10">
                  <c:v>139949</c:v>
                </c:pt>
                <c:pt idx="11">
                  <c:v>108600</c:v>
                </c:pt>
                <c:pt idx="12">
                  <c:v>87851</c:v>
                </c:pt>
                <c:pt idx="13">
                  <c:v>71871</c:v>
                </c:pt>
                <c:pt idx="14">
                  <c:v>53329</c:v>
                </c:pt>
                <c:pt idx="15">
                  <c:v>41048</c:v>
                </c:pt>
                <c:pt idx="16">
                  <c:v>38003</c:v>
                </c:pt>
                <c:pt idx="17">
                  <c:v>36269</c:v>
                </c:pt>
                <c:pt idx="18">
                  <c:v>41047</c:v>
                </c:pt>
                <c:pt idx="19">
                  <c:v>37289</c:v>
                </c:pt>
                <c:pt idx="20">
                  <c:v>33257</c:v>
                </c:pt>
                <c:pt idx="21">
                  <c:v>33532</c:v>
                </c:pt>
                <c:pt idx="22">
                  <c:v>31115</c:v>
                </c:pt>
                <c:pt idx="23">
                  <c:v>32381</c:v>
                </c:pt>
                <c:pt idx="24">
                  <c:v>30206</c:v>
                </c:pt>
                <c:pt idx="25">
                  <c:v>28565</c:v>
                </c:pt>
                <c:pt idx="26">
                  <c:v>26926</c:v>
                </c:pt>
                <c:pt idx="27">
                  <c:v>27899</c:v>
                </c:pt>
                <c:pt idx="28">
                  <c:v>22318</c:v>
                </c:pt>
                <c:pt idx="29">
                  <c:v>22736</c:v>
                </c:pt>
                <c:pt idx="30">
                  <c:v>27509</c:v>
                </c:pt>
                <c:pt idx="31">
                  <c:v>32090</c:v>
                </c:pt>
                <c:pt idx="32">
                  <c:v>42431</c:v>
                </c:pt>
                <c:pt idx="33">
                  <c:v>44081</c:v>
                </c:pt>
                <c:pt idx="34">
                  <c:v>55139</c:v>
                </c:pt>
                <c:pt idx="35">
                  <c:v>61897</c:v>
                </c:pt>
                <c:pt idx="36">
                  <c:v>59899</c:v>
                </c:pt>
                <c:pt idx="37">
                  <c:v>64821</c:v>
                </c:pt>
                <c:pt idx="38">
                  <c:v>69687</c:v>
                </c:pt>
                <c:pt idx="39">
                  <c:v>75542</c:v>
                </c:pt>
                <c:pt idx="40">
                  <c:v>72367</c:v>
                </c:pt>
                <c:pt idx="41">
                  <c:v>64197</c:v>
                </c:pt>
                <c:pt idx="42">
                  <c:v>52316</c:v>
                </c:pt>
                <c:pt idx="43">
                  <c:v>47621</c:v>
                </c:pt>
                <c:pt idx="44">
                  <c:v>36563</c:v>
                </c:pt>
                <c:pt idx="45">
                  <c:v>29805</c:v>
                </c:pt>
                <c:pt idx="46">
                  <c:v>28617</c:v>
                </c:pt>
                <c:pt idx="47">
                  <c:v>20331</c:v>
                </c:pt>
                <c:pt idx="48">
                  <c:v>12370</c:v>
                </c:pt>
                <c:pt idx="49">
                  <c:v>3297</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numCache>
            </c:numRef>
          </c:val>
          <c:extLst>
            <c:ext xmlns:c16="http://schemas.microsoft.com/office/drawing/2014/chart" uri="{C3380CC4-5D6E-409C-BE32-E72D297353CC}">
              <c16:uniqueId val="{00000001-34E5-4297-A6C8-AB1D255FD8EA}"/>
            </c:ext>
          </c:extLst>
        </c:ser>
        <c:ser>
          <c:idx val="2"/>
          <c:order val="2"/>
          <c:spPr>
            <a:solidFill>
              <a:srgbClr val="9DB1CF"/>
            </a:solidFill>
            <a:ln>
              <a:noFill/>
            </a:ln>
          </c:spPr>
          <c:val>
            <c:numRef>
              <c:f>Sheet1!$A$3:$BX$3</c:f>
              <c:numCache>
                <c:formatCode>General</c:formatCode>
                <c:ptCount val="76"/>
                <c:pt idx="0">
                  <c:v>25200</c:v>
                </c:pt>
                <c:pt idx="1">
                  <c:v>35341</c:v>
                </c:pt>
                <c:pt idx="2">
                  <c:v>38183</c:v>
                </c:pt>
                <c:pt idx="3">
                  <c:v>45763</c:v>
                </c:pt>
                <c:pt idx="4">
                  <c:v>49774</c:v>
                </c:pt>
                <c:pt idx="5">
                  <c:v>55328</c:v>
                </c:pt>
                <c:pt idx="6">
                  <c:v>63398</c:v>
                </c:pt>
                <c:pt idx="7">
                  <c:v>78616</c:v>
                </c:pt>
                <c:pt idx="8">
                  <c:v>78852</c:v>
                </c:pt>
                <c:pt idx="9">
                  <c:v>86409</c:v>
                </c:pt>
                <c:pt idx="10">
                  <c:v>98202</c:v>
                </c:pt>
                <c:pt idx="11">
                  <c:v>122724</c:v>
                </c:pt>
                <c:pt idx="12">
                  <c:v>144588</c:v>
                </c:pt>
                <c:pt idx="13">
                  <c:v>154767</c:v>
                </c:pt>
                <c:pt idx="14">
                  <c:v>171473</c:v>
                </c:pt>
                <c:pt idx="15">
                  <c:v>178819</c:v>
                </c:pt>
                <c:pt idx="16">
                  <c:v>176421</c:v>
                </c:pt>
                <c:pt idx="17">
                  <c:v>162380</c:v>
                </c:pt>
                <c:pt idx="18">
                  <c:v>163303</c:v>
                </c:pt>
                <c:pt idx="19">
                  <c:v>155334</c:v>
                </c:pt>
                <c:pt idx="20">
                  <c:v>139949</c:v>
                </c:pt>
                <c:pt idx="21">
                  <c:v>108600</c:v>
                </c:pt>
                <c:pt idx="22">
                  <c:v>87851</c:v>
                </c:pt>
                <c:pt idx="23">
                  <c:v>71871</c:v>
                </c:pt>
                <c:pt idx="24">
                  <c:v>53329</c:v>
                </c:pt>
                <c:pt idx="25">
                  <c:v>41048</c:v>
                </c:pt>
                <c:pt idx="26">
                  <c:v>38003</c:v>
                </c:pt>
                <c:pt idx="27">
                  <c:v>36269</c:v>
                </c:pt>
                <c:pt idx="28">
                  <c:v>41047</c:v>
                </c:pt>
                <c:pt idx="29">
                  <c:v>37289</c:v>
                </c:pt>
                <c:pt idx="30">
                  <c:v>33257</c:v>
                </c:pt>
                <c:pt idx="31">
                  <c:v>33532</c:v>
                </c:pt>
                <c:pt idx="32">
                  <c:v>31115</c:v>
                </c:pt>
                <c:pt idx="33">
                  <c:v>32381</c:v>
                </c:pt>
                <c:pt idx="34">
                  <c:v>30206</c:v>
                </c:pt>
                <c:pt idx="35">
                  <c:v>28565</c:v>
                </c:pt>
                <c:pt idx="36">
                  <c:v>26926</c:v>
                </c:pt>
                <c:pt idx="37">
                  <c:v>27899</c:v>
                </c:pt>
                <c:pt idx="38">
                  <c:v>22318</c:v>
                </c:pt>
                <c:pt idx="39">
                  <c:v>22736</c:v>
                </c:pt>
                <c:pt idx="40">
                  <c:v>27509</c:v>
                </c:pt>
                <c:pt idx="41">
                  <c:v>32090</c:v>
                </c:pt>
                <c:pt idx="42">
                  <c:v>42431</c:v>
                </c:pt>
                <c:pt idx="43">
                  <c:v>44081</c:v>
                </c:pt>
                <c:pt idx="44">
                  <c:v>55139</c:v>
                </c:pt>
                <c:pt idx="45">
                  <c:v>61897</c:v>
                </c:pt>
                <c:pt idx="46">
                  <c:v>59899</c:v>
                </c:pt>
                <c:pt idx="47">
                  <c:v>64821</c:v>
                </c:pt>
                <c:pt idx="48">
                  <c:v>69687</c:v>
                </c:pt>
                <c:pt idx="49">
                  <c:v>75542</c:v>
                </c:pt>
                <c:pt idx="50">
                  <c:v>72367</c:v>
                </c:pt>
                <c:pt idx="51">
                  <c:v>64197</c:v>
                </c:pt>
                <c:pt idx="52">
                  <c:v>52316</c:v>
                </c:pt>
                <c:pt idx="53">
                  <c:v>47621</c:v>
                </c:pt>
                <c:pt idx="54">
                  <c:v>36563</c:v>
                </c:pt>
                <c:pt idx="55">
                  <c:v>29805</c:v>
                </c:pt>
                <c:pt idx="56">
                  <c:v>28617</c:v>
                </c:pt>
                <c:pt idx="57">
                  <c:v>20331</c:v>
                </c:pt>
                <c:pt idx="58">
                  <c:v>12370</c:v>
                </c:pt>
                <c:pt idx="59">
                  <c:v>3297</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numCache>
            </c:numRef>
          </c:val>
          <c:extLst>
            <c:ext xmlns:c16="http://schemas.microsoft.com/office/drawing/2014/chart" uri="{C3380CC4-5D6E-409C-BE32-E72D297353CC}">
              <c16:uniqueId val="{00000002-34E5-4297-A6C8-AB1D255FD8EA}"/>
            </c:ext>
          </c:extLst>
        </c:ser>
        <c:ser>
          <c:idx val="3"/>
          <c:order val="3"/>
          <c:spPr>
            <a:solidFill>
              <a:srgbClr val="6F8DB9"/>
            </a:solidFill>
            <a:ln>
              <a:noFill/>
            </a:ln>
          </c:spPr>
          <c:val>
            <c:numRef>
              <c:f>Sheet1!$A$4:$BX$4</c:f>
              <c:numCache>
                <c:formatCode>General</c:formatCode>
                <c:ptCount val="76"/>
                <c:pt idx="0">
                  <c:v>0</c:v>
                </c:pt>
                <c:pt idx="1">
                  <c:v>0</c:v>
                </c:pt>
                <c:pt idx="2">
                  <c:v>0</c:v>
                </c:pt>
                <c:pt idx="3">
                  <c:v>0</c:v>
                </c:pt>
                <c:pt idx="4">
                  <c:v>0</c:v>
                </c:pt>
                <c:pt idx="5">
                  <c:v>1022</c:v>
                </c:pt>
                <c:pt idx="6">
                  <c:v>3220</c:v>
                </c:pt>
                <c:pt idx="7">
                  <c:v>6168</c:v>
                </c:pt>
                <c:pt idx="8">
                  <c:v>8907</c:v>
                </c:pt>
                <c:pt idx="9">
                  <c:v>15877</c:v>
                </c:pt>
                <c:pt idx="10">
                  <c:v>25200</c:v>
                </c:pt>
                <c:pt idx="11">
                  <c:v>35341</c:v>
                </c:pt>
                <c:pt idx="12">
                  <c:v>38183</c:v>
                </c:pt>
                <c:pt idx="13">
                  <c:v>45763</c:v>
                </c:pt>
                <c:pt idx="14">
                  <c:v>49774</c:v>
                </c:pt>
                <c:pt idx="15">
                  <c:v>55328</c:v>
                </c:pt>
                <c:pt idx="16">
                  <c:v>63398</c:v>
                </c:pt>
                <c:pt idx="17">
                  <c:v>78616</c:v>
                </c:pt>
                <c:pt idx="18">
                  <c:v>78852</c:v>
                </c:pt>
                <c:pt idx="19">
                  <c:v>86409</c:v>
                </c:pt>
                <c:pt idx="20">
                  <c:v>98202</c:v>
                </c:pt>
                <c:pt idx="21">
                  <c:v>122724</c:v>
                </c:pt>
                <c:pt idx="22">
                  <c:v>144588</c:v>
                </c:pt>
                <c:pt idx="23">
                  <c:v>154767</c:v>
                </c:pt>
                <c:pt idx="24">
                  <c:v>171473</c:v>
                </c:pt>
                <c:pt idx="25">
                  <c:v>178819</c:v>
                </c:pt>
                <c:pt idx="26">
                  <c:v>176421</c:v>
                </c:pt>
                <c:pt idx="27">
                  <c:v>162380</c:v>
                </c:pt>
                <c:pt idx="28">
                  <c:v>163303</c:v>
                </c:pt>
                <c:pt idx="29">
                  <c:v>155334</c:v>
                </c:pt>
                <c:pt idx="30">
                  <c:v>139949</c:v>
                </c:pt>
                <c:pt idx="31">
                  <c:v>108600</c:v>
                </c:pt>
                <c:pt idx="32">
                  <c:v>87851</c:v>
                </c:pt>
                <c:pt idx="33">
                  <c:v>71871</c:v>
                </c:pt>
                <c:pt idx="34">
                  <c:v>53329</c:v>
                </c:pt>
                <c:pt idx="35">
                  <c:v>41048</c:v>
                </c:pt>
                <c:pt idx="36">
                  <c:v>38003</c:v>
                </c:pt>
                <c:pt idx="37">
                  <c:v>36269</c:v>
                </c:pt>
                <c:pt idx="38">
                  <c:v>41047</c:v>
                </c:pt>
                <c:pt idx="39">
                  <c:v>37289</c:v>
                </c:pt>
                <c:pt idx="40">
                  <c:v>33257</c:v>
                </c:pt>
                <c:pt idx="41">
                  <c:v>33532</c:v>
                </c:pt>
                <c:pt idx="42">
                  <c:v>31115</c:v>
                </c:pt>
                <c:pt idx="43">
                  <c:v>32381</c:v>
                </c:pt>
                <c:pt idx="44">
                  <c:v>30206</c:v>
                </c:pt>
                <c:pt idx="45">
                  <c:v>28565</c:v>
                </c:pt>
                <c:pt idx="46">
                  <c:v>26926</c:v>
                </c:pt>
                <c:pt idx="47">
                  <c:v>27899</c:v>
                </c:pt>
                <c:pt idx="48">
                  <c:v>22318</c:v>
                </c:pt>
                <c:pt idx="49">
                  <c:v>22736</c:v>
                </c:pt>
                <c:pt idx="50">
                  <c:v>27509</c:v>
                </c:pt>
                <c:pt idx="51">
                  <c:v>32090</c:v>
                </c:pt>
                <c:pt idx="52">
                  <c:v>42431</c:v>
                </c:pt>
                <c:pt idx="53">
                  <c:v>44081</c:v>
                </c:pt>
                <c:pt idx="54">
                  <c:v>55139</c:v>
                </c:pt>
                <c:pt idx="55">
                  <c:v>61897</c:v>
                </c:pt>
                <c:pt idx="56">
                  <c:v>59899</c:v>
                </c:pt>
                <c:pt idx="57">
                  <c:v>64821</c:v>
                </c:pt>
                <c:pt idx="58">
                  <c:v>69687</c:v>
                </c:pt>
                <c:pt idx="59">
                  <c:v>75542</c:v>
                </c:pt>
                <c:pt idx="60">
                  <c:v>72367</c:v>
                </c:pt>
                <c:pt idx="61">
                  <c:v>64197</c:v>
                </c:pt>
                <c:pt idx="62">
                  <c:v>52316</c:v>
                </c:pt>
                <c:pt idx="63">
                  <c:v>47621</c:v>
                </c:pt>
                <c:pt idx="64">
                  <c:v>36563</c:v>
                </c:pt>
                <c:pt idx="65">
                  <c:v>29805</c:v>
                </c:pt>
                <c:pt idx="66">
                  <c:v>28617</c:v>
                </c:pt>
                <c:pt idx="67">
                  <c:v>20331</c:v>
                </c:pt>
                <c:pt idx="68">
                  <c:v>12370</c:v>
                </c:pt>
                <c:pt idx="69">
                  <c:v>3297</c:v>
                </c:pt>
                <c:pt idx="70">
                  <c:v>0</c:v>
                </c:pt>
                <c:pt idx="71">
                  <c:v>0</c:v>
                </c:pt>
                <c:pt idx="72">
                  <c:v>0</c:v>
                </c:pt>
                <c:pt idx="73">
                  <c:v>0</c:v>
                </c:pt>
                <c:pt idx="74">
                  <c:v>0</c:v>
                </c:pt>
                <c:pt idx="75">
                  <c:v>0</c:v>
                </c:pt>
              </c:numCache>
            </c:numRef>
          </c:val>
          <c:extLst>
            <c:ext xmlns:c16="http://schemas.microsoft.com/office/drawing/2014/chart" uri="{C3380CC4-5D6E-409C-BE32-E72D297353CC}">
              <c16:uniqueId val="{00000003-34E5-4297-A6C8-AB1D255FD8EA}"/>
            </c:ext>
          </c:extLst>
        </c:ser>
        <c:ser>
          <c:idx val="4"/>
          <c:order val="4"/>
          <c:spPr>
            <a:solidFill>
              <a:srgbClr val="364D6E"/>
            </a:solidFill>
            <a:ln>
              <a:noFill/>
            </a:ln>
          </c:spPr>
          <c:val>
            <c:numRef>
              <c:f>Sheet1!$A$5:$BX$5</c:f>
              <c:numCache>
                <c:formatCode>General</c:formatCode>
                <c:ptCount val="7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1022</c:v>
                </c:pt>
                <c:pt idx="16">
                  <c:v>3220</c:v>
                </c:pt>
                <c:pt idx="17">
                  <c:v>6168</c:v>
                </c:pt>
                <c:pt idx="18">
                  <c:v>8907</c:v>
                </c:pt>
                <c:pt idx="19">
                  <c:v>15877</c:v>
                </c:pt>
                <c:pt idx="20">
                  <c:v>25200</c:v>
                </c:pt>
                <c:pt idx="21">
                  <c:v>35341</c:v>
                </c:pt>
                <c:pt idx="22">
                  <c:v>38183</c:v>
                </c:pt>
                <c:pt idx="23">
                  <c:v>45763</c:v>
                </c:pt>
                <c:pt idx="24">
                  <c:v>49774</c:v>
                </c:pt>
                <c:pt idx="25">
                  <c:v>55328</c:v>
                </c:pt>
                <c:pt idx="26">
                  <c:v>63398</c:v>
                </c:pt>
                <c:pt idx="27">
                  <c:v>78616</c:v>
                </c:pt>
                <c:pt idx="28">
                  <c:v>78852</c:v>
                </c:pt>
                <c:pt idx="29">
                  <c:v>86409</c:v>
                </c:pt>
                <c:pt idx="30">
                  <c:v>98202</c:v>
                </c:pt>
                <c:pt idx="31">
                  <c:v>122724</c:v>
                </c:pt>
                <c:pt idx="32">
                  <c:v>144588</c:v>
                </c:pt>
                <c:pt idx="33">
                  <c:v>154767</c:v>
                </c:pt>
                <c:pt idx="34">
                  <c:v>171473</c:v>
                </c:pt>
                <c:pt idx="35">
                  <c:v>178819</c:v>
                </c:pt>
                <c:pt idx="36">
                  <c:v>176421</c:v>
                </c:pt>
                <c:pt idx="37">
                  <c:v>162380</c:v>
                </c:pt>
                <c:pt idx="38">
                  <c:v>163303</c:v>
                </c:pt>
                <c:pt idx="39">
                  <c:v>155334</c:v>
                </c:pt>
                <c:pt idx="40">
                  <c:v>139949</c:v>
                </c:pt>
                <c:pt idx="41">
                  <c:v>108600</c:v>
                </c:pt>
                <c:pt idx="42">
                  <c:v>87851</c:v>
                </c:pt>
                <c:pt idx="43">
                  <c:v>71871</c:v>
                </c:pt>
                <c:pt idx="44">
                  <c:v>53329</c:v>
                </c:pt>
                <c:pt idx="45">
                  <c:v>41048</c:v>
                </c:pt>
                <c:pt idx="46">
                  <c:v>38003</c:v>
                </c:pt>
                <c:pt idx="47">
                  <c:v>36269</c:v>
                </c:pt>
                <c:pt idx="48">
                  <c:v>41047</c:v>
                </c:pt>
                <c:pt idx="49">
                  <c:v>37289</c:v>
                </c:pt>
                <c:pt idx="50">
                  <c:v>33257</c:v>
                </c:pt>
                <c:pt idx="51">
                  <c:v>33532</c:v>
                </c:pt>
                <c:pt idx="52">
                  <c:v>31115</c:v>
                </c:pt>
                <c:pt idx="53">
                  <c:v>32381</c:v>
                </c:pt>
                <c:pt idx="54">
                  <c:v>30206</c:v>
                </c:pt>
                <c:pt idx="55">
                  <c:v>28565</c:v>
                </c:pt>
                <c:pt idx="56">
                  <c:v>26926</c:v>
                </c:pt>
                <c:pt idx="57">
                  <c:v>27899</c:v>
                </c:pt>
                <c:pt idx="58">
                  <c:v>22318</c:v>
                </c:pt>
                <c:pt idx="59">
                  <c:v>22736</c:v>
                </c:pt>
                <c:pt idx="60">
                  <c:v>27509</c:v>
                </c:pt>
                <c:pt idx="61">
                  <c:v>32090</c:v>
                </c:pt>
                <c:pt idx="62">
                  <c:v>42431</c:v>
                </c:pt>
                <c:pt idx="63">
                  <c:v>44081</c:v>
                </c:pt>
                <c:pt idx="64">
                  <c:v>55139</c:v>
                </c:pt>
                <c:pt idx="65">
                  <c:v>61897</c:v>
                </c:pt>
                <c:pt idx="66">
                  <c:v>59899</c:v>
                </c:pt>
                <c:pt idx="67">
                  <c:v>64821</c:v>
                </c:pt>
                <c:pt idx="68">
                  <c:v>69687</c:v>
                </c:pt>
                <c:pt idx="69">
                  <c:v>75542</c:v>
                </c:pt>
                <c:pt idx="70">
                  <c:v>72367</c:v>
                </c:pt>
                <c:pt idx="71">
                  <c:v>64197</c:v>
                </c:pt>
                <c:pt idx="72">
                  <c:v>52316</c:v>
                </c:pt>
                <c:pt idx="73">
                  <c:v>47621</c:v>
                </c:pt>
                <c:pt idx="74">
                  <c:v>36563</c:v>
                </c:pt>
                <c:pt idx="75">
                  <c:v>29805</c:v>
                </c:pt>
              </c:numCache>
            </c:numRef>
          </c:val>
          <c:extLst>
            <c:ext xmlns:c16="http://schemas.microsoft.com/office/drawing/2014/chart" uri="{C3380CC4-5D6E-409C-BE32-E72D297353CC}">
              <c16:uniqueId val="{00000004-34E5-4297-A6C8-AB1D255FD8EA}"/>
            </c:ext>
          </c:extLst>
        </c:ser>
        <c:dLbls>
          <c:showLegendKey val="0"/>
          <c:showVal val="0"/>
          <c:showCatName val="0"/>
          <c:showSerName val="0"/>
          <c:showPercent val="0"/>
          <c:showBubbleSize val="0"/>
        </c:dLbls>
        <c:axId val="1345113488"/>
        <c:axId val="1"/>
      </c:areaChart>
      <c:catAx>
        <c:axId val="13451134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000"/>
          <c:min val="0"/>
        </c:scaling>
        <c:delete val="0"/>
        <c:axPos val="l"/>
        <c:majorGridlines>
          <c:spPr>
            <a:ln w="3175" cmpd="sng" algn="ctr">
              <a:solidFill>
                <a:schemeClr val="tx2"/>
              </a:solidFill>
              <a:prstDash val="solid"/>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1345113488"/>
        <c:crosses val="min"/>
        <c:crossBetween val="midCat"/>
        <c:majorUnit val="50000"/>
      </c:valAx>
    </c:plotArea>
    <c:plotVisOnly val="0"/>
    <c:dispBlanksAs val="zero"/>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082021541010769E-2"/>
          <c:y val="0.42975206611570249"/>
          <c:w val="0.91383595691797848"/>
          <c:h val="0.14049586776859505"/>
        </c:manualLayout>
      </c:layout>
      <c:scatterChart>
        <c:scatterStyle val="lineMarker"/>
        <c:varyColors val="0"/>
        <c:ser>
          <c:idx val="0"/>
          <c:order val="0"/>
          <c:smooth val="0"/>
          <c:extLst>
            <c:ext xmlns:c16="http://schemas.microsoft.com/office/drawing/2014/chart" uri="{C3380CC4-5D6E-409C-BE32-E72D297353CC}">
              <c16:uniqueId val="{00000000-10D6-431E-802F-AF2D937260E7}"/>
            </c:ext>
          </c:extLst>
        </c:ser>
        <c:dLbls>
          <c:showLegendKey val="0"/>
          <c:showVal val="0"/>
          <c:showCatName val="0"/>
          <c:showSerName val="0"/>
          <c:showPercent val="0"/>
          <c:showBubbleSize val="0"/>
        </c:dLbls>
        <c:axId val="4"/>
        <c:axId val="5"/>
      </c:scatterChart>
      <c:valAx>
        <c:axId val="4"/>
        <c:scaling>
          <c:orientation val="minMax"/>
          <c:max val="51"/>
          <c:min val="0"/>
        </c:scaling>
        <c:delete val="0"/>
        <c:axPos val="b"/>
        <c:majorGridlines>
          <c:spPr>
            <a:ln>
              <a:noFill/>
            </a:ln>
          </c:spPr>
        </c:majorGridlines>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1"/>
          <c:min val="0"/>
        </c:scaling>
        <c:delete val="1"/>
        <c:axPos val="l"/>
        <c:majorTickMark val="out"/>
        <c:minorTickMark val="none"/>
        <c:tickLblPos val="nextTo"/>
        <c:crossAx val="4"/>
        <c:crosses val="min"/>
        <c:crossBetween val="midCat"/>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17161716171617161"/>
          <c:w val="0.85014409221902021"/>
          <c:h val="0.65676567656765672"/>
        </c:manualLayout>
      </c:layout>
      <c:barChart>
        <c:barDir val="bar"/>
        <c:grouping val="stacked"/>
        <c:varyColors val="0"/>
        <c:ser>
          <c:idx val="0"/>
          <c:order val="0"/>
          <c:spPr>
            <a:solidFill>
              <a:srgbClr val="364D6E"/>
            </a:solidFill>
            <a:ln w="6350" cmpd="sng" algn="ctr">
              <a:solidFill>
                <a:srgbClr val="364D6E"/>
              </a:solidFill>
              <a:prstDash val="solid"/>
            </a:ln>
          </c:spPr>
          <c:invertIfNegative val="0"/>
          <c:val>
            <c:numRef>
              <c:f>Sheet1!$A$1</c:f>
              <c:numCache>
                <c:formatCode>General</c:formatCode>
                <c:ptCount val="1"/>
                <c:pt idx="0">
                  <c:v>102475</c:v>
                </c:pt>
              </c:numCache>
            </c:numRef>
          </c:val>
          <c:extLst>
            <c:ext xmlns:c16="http://schemas.microsoft.com/office/drawing/2014/chart" uri="{C3380CC4-5D6E-409C-BE32-E72D297353CC}">
              <c16:uniqueId val="{00000000-5A34-4668-92BB-F08E8002F733}"/>
            </c:ext>
          </c:extLst>
        </c:ser>
        <c:ser>
          <c:idx val="1"/>
          <c:order val="1"/>
          <c:spPr>
            <a:solidFill>
              <a:srgbClr val="9DB1CF"/>
            </a:solidFill>
            <a:ln w="6350" cmpd="sng" algn="ctr">
              <a:solidFill>
                <a:srgbClr val="9DB1CF"/>
              </a:solidFill>
              <a:prstDash val="solid"/>
            </a:ln>
          </c:spPr>
          <c:invertIfNegative val="0"/>
          <c:val>
            <c:numRef>
              <c:f>Sheet1!$A$2</c:f>
              <c:numCache>
                <c:formatCode>General</c:formatCode>
                <c:ptCount val="1"/>
                <c:pt idx="0">
                  <c:v>0</c:v>
                </c:pt>
              </c:numCache>
            </c:numRef>
          </c:val>
          <c:extLst>
            <c:ext xmlns:c16="http://schemas.microsoft.com/office/drawing/2014/chart" uri="{C3380CC4-5D6E-409C-BE32-E72D297353CC}">
              <c16:uniqueId val="{00000001-5A34-4668-92BB-F08E8002F733}"/>
            </c:ext>
          </c:extLst>
        </c:ser>
        <c:ser>
          <c:idx val="2"/>
          <c:order val="2"/>
          <c:spPr>
            <a:solidFill>
              <a:srgbClr val="FFFFFF"/>
            </a:solidFill>
            <a:ln>
              <a:noFill/>
            </a:ln>
          </c:spPr>
          <c:invertIfNegative val="0"/>
          <c:val>
            <c:numRef>
              <c:f>Sheet1!$A$3</c:f>
              <c:numCache>
                <c:formatCode>General</c:formatCode>
                <c:ptCount val="1"/>
                <c:pt idx="0">
                  <c:v>30000</c:v>
                </c:pt>
              </c:numCache>
            </c:numRef>
          </c:val>
          <c:extLst>
            <c:ext xmlns:c16="http://schemas.microsoft.com/office/drawing/2014/chart" uri="{C3380CC4-5D6E-409C-BE32-E72D297353CC}">
              <c16:uniqueId val="{00000002-5A34-4668-92BB-F08E8002F733}"/>
            </c:ext>
          </c:extLst>
        </c:ser>
        <c:dLbls>
          <c:showLegendKey val="0"/>
          <c:showVal val="0"/>
          <c:showCatName val="0"/>
          <c:showSerName val="0"/>
          <c:showPercent val="0"/>
          <c:showBubbleSize val="0"/>
        </c:dLbls>
        <c:gapWidth val="80"/>
        <c:overlap val="100"/>
        <c:axId val="1424405984"/>
        <c:axId val="1"/>
      </c:barChart>
      <c:catAx>
        <c:axId val="142440598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3866"/>
          <c:min val="0"/>
        </c:scaling>
        <c:delete val="1"/>
        <c:axPos val="t"/>
        <c:numFmt formatCode="General" sourceLinked="1"/>
        <c:majorTickMark val="out"/>
        <c:minorTickMark val="none"/>
        <c:tickLblPos val="nextTo"/>
        <c:crossAx val="1424405984"/>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17161716171617161"/>
          <c:w val="0.85014409221902021"/>
          <c:h val="0.65676567656765672"/>
        </c:manualLayout>
      </c:layout>
      <c:barChart>
        <c:barDir val="bar"/>
        <c:grouping val="stacked"/>
        <c:varyColors val="0"/>
        <c:ser>
          <c:idx val="0"/>
          <c:order val="0"/>
          <c:spPr>
            <a:solidFill>
              <a:srgbClr val="364D6E"/>
            </a:solidFill>
            <a:ln w="6350" cmpd="sng" algn="ctr">
              <a:solidFill>
                <a:srgbClr val="364D6E"/>
              </a:solidFill>
              <a:prstDash val="solid"/>
            </a:ln>
          </c:spPr>
          <c:invertIfNegative val="0"/>
          <c:val>
            <c:numRef>
              <c:f>Sheet1!$A$1</c:f>
              <c:numCache>
                <c:formatCode>General</c:formatCode>
                <c:ptCount val="1"/>
                <c:pt idx="0">
                  <c:v>14629</c:v>
                </c:pt>
              </c:numCache>
            </c:numRef>
          </c:val>
          <c:extLst>
            <c:ext xmlns:c16="http://schemas.microsoft.com/office/drawing/2014/chart" uri="{C3380CC4-5D6E-409C-BE32-E72D297353CC}">
              <c16:uniqueId val="{00000000-768F-4D5B-A79A-D3B57D70B488}"/>
            </c:ext>
          </c:extLst>
        </c:ser>
        <c:ser>
          <c:idx val="1"/>
          <c:order val="1"/>
          <c:spPr>
            <a:solidFill>
              <a:srgbClr val="9DB1CF"/>
            </a:solidFill>
            <a:ln w="6350" cmpd="sng" algn="ctr">
              <a:solidFill>
                <a:srgbClr val="9DB1CF"/>
              </a:solidFill>
              <a:prstDash val="solid"/>
            </a:ln>
          </c:spPr>
          <c:invertIfNegative val="0"/>
          <c:val>
            <c:numRef>
              <c:f>Sheet1!$A$2</c:f>
              <c:numCache>
                <c:formatCode>General</c:formatCode>
                <c:ptCount val="1"/>
                <c:pt idx="0">
                  <c:v>0</c:v>
                </c:pt>
              </c:numCache>
            </c:numRef>
          </c:val>
          <c:extLst>
            <c:ext xmlns:c16="http://schemas.microsoft.com/office/drawing/2014/chart" uri="{C3380CC4-5D6E-409C-BE32-E72D297353CC}">
              <c16:uniqueId val="{00000001-768F-4D5B-A79A-D3B57D70B488}"/>
            </c:ext>
          </c:extLst>
        </c:ser>
        <c:ser>
          <c:idx val="2"/>
          <c:order val="2"/>
          <c:spPr>
            <a:solidFill>
              <a:srgbClr val="FFFFFF"/>
            </a:solidFill>
            <a:ln>
              <a:noFill/>
            </a:ln>
          </c:spPr>
          <c:invertIfNegative val="0"/>
          <c:val>
            <c:numRef>
              <c:f>Sheet1!$A$3</c:f>
              <c:numCache>
                <c:formatCode>General</c:formatCode>
                <c:ptCount val="1"/>
                <c:pt idx="0">
                  <c:v>8000</c:v>
                </c:pt>
              </c:numCache>
            </c:numRef>
          </c:val>
          <c:extLst>
            <c:ext xmlns:c16="http://schemas.microsoft.com/office/drawing/2014/chart" uri="{C3380CC4-5D6E-409C-BE32-E72D297353CC}">
              <c16:uniqueId val="{00000002-768F-4D5B-A79A-D3B57D70B488}"/>
            </c:ext>
          </c:extLst>
        </c:ser>
        <c:dLbls>
          <c:showLegendKey val="0"/>
          <c:showVal val="0"/>
          <c:showCatName val="0"/>
          <c:showSerName val="0"/>
          <c:showPercent val="0"/>
          <c:showBubbleSize val="0"/>
        </c:dLbls>
        <c:gapWidth val="80"/>
        <c:overlap val="100"/>
        <c:axId val="1424424224"/>
        <c:axId val="1"/>
      </c:barChart>
      <c:catAx>
        <c:axId val="142442422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3866"/>
          <c:min val="0"/>
        </c:scaling>
        <c:delete val="1"/>
        <c:axPos val="t"/>
        <c:numFmt formatCode="General" sourceLinked="1"/>
        <c:majorTickMark val="out"/>
        <c:minorTickMark val="none"/>
        <c:tickLblPos val="nextTo"/>
        <c:crossAx val="1424424224"/>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17161716171617161"/>
          <c:w val="0.85014409221902021"/>
          <c:h val="0.65676567656765672"/>
        </c:manualLayout>
      </c:layout>
      <c:barChart>
        <c:barDir val="bar"/>
        <c:grouping val="stacked"/>
        <c:varyColors val="0"/>
        <c:ser>
          <c:idx val="0"/>
          <c:order val="0"/>
          <c:spPr>
            <a:solidFill>
              <a:srgbClr val="364D6E"/>
            </a:solidFill>
            <a:ln w="6350" cmpd="sng" algn="ctr">
              <a:solidFill>
                <a:srgbClr val="364D6E"/>
              </a:solidFill>
              <a:prstDash val="solid"/>
            </a:ln>
          </c:spPr>
          <c:invertIfNegative val="0"/>
          <c:val>
            <c:numRef>
              <c:f>Sheet1!$A$1</c:f>
              <c:numCache>
                <c:formatCode>General</c:formatCode>
                <c:ptCount val="1"/>
                <c:pt idx="0">
                  <c:v>6534</c:v>
                </c:pt>
              </c:numCache>
            </c:numRef>
          </c:val>
          <c:extLst>
            <c:ext xmlns:c16="http://schemas.microsoft.com/office/drawing/2014/chart" uri="{C3380CC4-5D6E-409C-BE32-E72D297353CC}">
              <c16:uniqueId val="{00000000-87A4-4106-B051-A40DB1C5BC85}"/>
            </c:ext>
          </c:extLst>
        </c:ser>
        <c:ser>
          <c:idx val="1"/>
          <c:order val="1"/>
          <c:spPr>
            <a:solidFill>
              <a:srgbClr val="9DB1CF"/>
            </a:solidFill>
            <a:ln w="6350" cmpd="sng" algn="ctr">
              <a:solidFill>
                <a:srgbClr val="9DB1CF"/>
              </a:solidFill>
              <a:prstDash val="solid"/>
            </a:ln>
          </c:spPr>
          <c:invertIfNegative val="0"/>
          <c:val>
            <c:numRef>
              <c:f>Sheet1!$A$2</c:f>
              <c:numCache>
                <c:formatCode>General</c:formatCode>
                <c:ptCount val="1"/>
                <c:pt idx="0">
                  <c:v>3440</c:v>
                </c:pt>
              </c:numCache>
            </c:numRef>
          </c:val>
          <c:extLst>
            <c:ext xmlns:c16="http://schemas.microsoft.com/office/drawing/2014/chart" uri="{C3380CC4-5D6E-409C-BE32-E72D297353CC}">
              <c16:uniqueId val="{00000001-87A4-4106-B051-A40DB1C5BC85}"/>
            </c:ext>
          </c:extLst>
        </c:ser>
        <c:ser>
          <c:idx val="2"/>
          <c:order val="2"/>
          <c:spPr>
            <a:solidFill>
              <a:srgbClr val="FFFFFF"/>
            </a:solidFill>
            <a:ln>
              <a:noFill/>
            </a:ln>
          </c:spPr>
          <c:invertIfNegative val="0"/>
          <c:val>
            <c:numRef>
              <c:f>Sheet1!$A$3</c:f>
              <c:numCache>
                <c:formatCode>General</c:formatCode>
                <c:ptCount val="1"/>
                <c:pt idx="0">
                  <c:v>8000</c:v>
                </c:pt>
              </c:numCache>
            </c:numRef>
          </c:val>
          <c:extLst>
            <c:ext xmlns:c16="http://schemas.microsoft.com/office/drawing/2014/chart" uri="{C3380CC4-5D6E-409C-BE32-E72D297353CC}">
              <c16:uniqueId val="{00000002-87A4-4106-B051-A40DB1C5BC85}"/>
            </c:ext>
          </c:extLst>
        </c:ser>
        <c:dLbls>
          <c:showLegendKey val="0"/>
          <c:showVal val="0"/>
          <c:showCatName val="0"/>
          <c:showSerName val="0"/>
          <c:showPercent val="0"/>
          <c:showBubbleSize val="0"/>
        </c:dLbls>
        <c:gapWidth val="80"/>
        <c:overlap val="100"/>
        <c:axId val="1375660112"/>
        <c:axId val="1"/>
      </c:barChart>
      <c:catAx>
        <c:axId val="137566011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3866"/>
          <c:min val="0"/>
        </c:scaling>
        <c:delete val="1"/>
        <c:axPos val="t"/>
        <c:numFmt formatCode="General" sourceLinked="1"/>
        <c:majorTickMark val="out"/>
        <c:minorTickMark val="none"/>
        <c:tickLblPos val="nextTo"/>
        <c:crossAx val="1375660112"/>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17161716171617161"/>
          <c:w val="0.85014409221902021"/>
          <c:h val="0.65676567656765672"/>
        </c:manualLayout>
      </c:layout>
      <c:barChart>
        <c:barDir val="bar"/>
        <c:grouping val="stacked"/>
        <c:varyColors val="0"/>
        <c:ser>
          <c:idx val="0"/>
          <c:order val="0"/>
          <c:spPr>
            <a:solidFill>
              <a:srgbClr val="364D6E"/>
            </a:solidFill>
            <a:ln w="6350" cmpd="sng" algn="ctr">
              <a:solidFill>
                <a:srgbClr val="364D6E"/>
              </a:solidFill>
              <a:prstDash val="solid"/>
            </a:ln>
          </c:spPr>
          <c:invertIfNegative val="0"/>
          <c:val>
            <c:numRef>
              <c:f>Sheet1!$A$1</c:f>
              <c:numCache>
                <c:formatCode>General</c:formatCode>
                <c:ptCount val="1"/>
                <c:pt idx="0">
                  <c:v>7540</c:v>
                </c:pt>
              </c:numCache>
            </c:numRef>
          </c:val>
          <c:extLst>
            <c:ext xmlns:c16="http://schemas.microsoft.com/office/drawing/2014/chart" uri="{C3380CC4-5D6E-409C-BE32-E72D297353CC}">
              <c16:uniqueId val="{00000000-7733-4B87-9A10-E6B670D041BF}"/>
            </c:ext>
          </c:extLst>
        </c:ser>
        <c:ser>
          <c:idx val="1"/>
          <c:order val="1"/>
          <c:spPr>
            <a:solidFill>
              <a:srgbClr val="9DB1CF"/>
            </a:solidFill>
            <a:ln w="6350" cmpd="sng" algn="ctr">
              <a:solidFill>
                <a:srgbClr val="9DB1CF"/>
              </a:solidFill>
              <a:prstDash val="solid"/>
            </a:ln>
          </c:spPr>
          <c:invertIfNegative val="0"/>
          <c:val>
            <c:numRef>
              <c:f>Sheet1!$A$2</c:f>
              <c:numCache>
                <c:formatCode>General</c:formatCode>
                <c:ptCount val="1"/>
                <c:pt idx="0">
                  <c:v>5900</c:v>
                </c:pt>
              </c:numCache>
            </c:numRef>
          </c:val>
          <c:extLst>
            <c:ext xmlns:c16="http://schemas.microsoft.com/office/drawing/2014/chart" uri="{C3380CC4-5D6E-409C-BE32-E72D297353CC}">
              <c16:uniqueId val="{00000001-7733-4B87-9A10-E6B670D041BF}"/>
            </c:ext>
          </c:extLst>
        </c:ser>
        <c:ser>
          <c:idx val="2"/>
          <c:order val="2"/>
          <c:spPr>
            <a:solidFill>
              <a:srgbClr val="FFFFFF"/>
            </a:solidFill>
            <a:ln>
              <a:noFill/>
            </a:ln>
          </c:spPr>
          <c:invertIfNegative val="0"/>
          <c:val>
            <c:numRef>
              <c:f>Sheet1!$A$3</c:f>
              <c:numCache>
                <c:formatCode>General</c:formatCode>
                <c:ptCount val="1"/>
                <c:pt idx="0">
                  <c:v>24000</c:v>
                </c:pt>
              </c:numCache>
            </c:numRef>
          </c:val>
          <c:extLst>
            <c:ext xmlns:c16="http://schemas.microsoft.com/office/drawing/2014/chart" uri="{C3380CC4-5D6E-409C-BE32-E72D297353CC}">
              <c16:uniqueId val="{00000002-7733-4B87-9A10-E6B670D041BF}"/>
            </c:ext>
          </c:extLst>
        </c:ser>
        <c:dLbls>
          <c:showLegendKey val="0"/>
          <c:showVal val="0"/>
          <c:showCatName val="0"/>
          <c:showSerName val="0"/>
          <c:showPercent val="0"/>
          <c:showBubbleSize val="0"/>
        </c:dLbls>
        <c:gapWidth val="80"/>
        <c:overlap val="100"/>
        <c:axId val="1424405024"/>
        <c:axId val="1"/>
      </c:barChart>
      <c:catAx>
        <c:axId val="142440502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3866"/>
          <c:min val="0"/>
        </c:scaling>
        <c:delete val="1"/>
        <c:axPos val="t"/>
        <c:numFmt formatCode="General" sourceLinked="1"/>
        <c:majorTickMark val="out"/>
        <c:minorTickMark val="none"/>
        <c:tickLblPos val="nextTo"/>
        <c:crossAx val="1424405024"/>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17161716171617161"/>
          <c:w val="0.85014409221902021"/>
          <c:h val="0.65676567656765672"/>
        </c:manualLayout>
      </c:layout>
      <c:barChart>
        <c:barDir val="bar"/>
        <c:grouping val="stacked"/>
        <c:varyColors val="0"/>
        <c:ser>
          <c:idx val="0"/>
          <c:order val="0"/>
          <c:spPr>
            <a:solidFill>
              <a:srgbClr val="364D6E"/>
            </a:solidFill>
            <a:ln w="6350" cmpd="sng" algn="ctr">
              <a:solidFill>
                <a:srgbClr val="364D6E"/>
              </a:solidFill>
              <a:prstDash val="solid"/>
            </a:ln>
          </c:spPr>
          <c:invertIfNegative val="0"/>
          <c:val>
            <c:numRef>
              <c:f>Sheet1!$A$1</c:f>
              <c:numCache>
                <c:formatCode>General</c:formatCode>
                <c:ptCount val="1"/>
                <c:pt idx="0">
                  <c:v>58134</c:v>
                </c:pt>
              </c:numCache>
            </c:numRef>
          </c:val>
          <c:extLst>
            <c:ext xmlns:c16="http://schemas.microsoft.com/office/drawing/2014/chart" uri="{C3380CC4-5D6E-409C-BE32-E72D297353CC}">
              <c16:uniqueId val="{00000000-470B-4BC4-B1E5-807D35CAE776}"/>
            </c:ext>
          </c:extLst>
        </c:ser>
        <c:ser>
          <c:idx val="1"/>
          <c:order val="1"/>
          <c:spPr>
            <a:solidFill>
              <a:srgbClr val="9DB1CF"/>
            </a:solidFill>
            <a:ln w="6350" cmpd="sng" algn="ctr">
              <a:solidFill>
                <a:srgbClr val="9DB1CF"/>
              </a:solidFill>
              <a:prstDash val="solid"/>
            </a:ln>
          </c:spPr>
          <c:invertIfNegative val="0"/>
          <c:val>
            <c:numRef>
              <c:f>Sheet1!$A$2</c:f>
              <c:numCache>
                <c:formatCode>General</c:formatCode>
                <c:ptCount val="1"/>
                <c:pt idx="0">
                  <c:v>33904</c:v>
                </c:pt>
              </c:numCache>
            </c:numRef>
          </c:val>
          <c:extLst>
            <c:ext xmlns:c16="http://schemas.microsoft.com/office/drawing/2014/chart" uri="{C3380CC4-5D6E-409C-BE32-E72D297353CC}">
              <c16:uniqueId val="{00000001-470B-4BC4-B1E5-807D35CAE776}"/>
            </c:ext>
          </c:extLst>
        </c:ser>
        <c:ser>
          <c:idx val="2"/>
          <c:order val="2"/>
          <c:spPr>
            <a:solidFill>
              <a:srgbClr val="FFFFFF"/>
            </a:solidFill>
            <a:ln>
              <a:noFill/>
            </a:ln>
          </c:spPr>
          <c:invertIfNegative val="0"/>
          <c:val>
            <c:numRef>
              <c:f>Sheet1!$A$3</c:f>
              <c:numCache>
                <c:formatCode>General</c:formatCode>
                <c:ptCount val="1"/>
                <c:pt idx="0">
                  <c:v>74000</c:v>
                </c:pt>
              </c:numCache>
            </c:numRef>
          </c:val>
          <c:extLst>
            <c:ext xmlns:c16="http://schemas.microsoft.com/office/drawing/2014/chart" uri="{C3380CC4-5D6E-409C-BE32-E72D297353CC}">
              <c16:uniqueId val="{00000002-470B-4BC4-B1E5-807D35CAE776}"/>
            </c:ext>
          </c:extLst>
        </c:ser>
        <c:dLbls>
          <c:showLegendKey val="0"/>
          <c:showVal val="0"/>
          <c:showCatName val="0"/>
          <c:showSerName val="0"/>
          <c:showPercent val="0"/>
          <c:showBubbleSize val="0"/>
        </c:dLbls>
        <c:gapWidth val="80"/>
        <c:overlap val="100"/>
        <c:axId val="103072912"/>
        <c:axId val="1"/>
      </c:barChart>
      <c:catAx>
        <c:axId val="10307291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3866"/>
          <c:min val="0"/>
        </c:scaling>
        <c:delete val="1"/>
        <c:axPos val="t"/>
        <c:numFmt formatCode="General" sourceLinked="1"/>
        <c:majorTickMark val="out"/>
        <c:minorTickMark val="none"/>
        <c:tickLblPos val="nextTo"/>
        <c:crossAx val="103072912"/>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17161716171617161"/>
          <c:w val="0.85014409221902021"/>
          <c:h val="0.65676567656765672"/>
        </c:manualLayout>
      </c:layout>
      <c:barChart>
        <c:barDir val="bar"/>
        <c:grouping val="stacked"/>
        <c:varyColors val="0"/>
        <c:ser>
          <c:idx val="0"/>
          <c:order val="0"/>
          <c:spPr>
            <a:solidFill>
              <a:srgbClr val="364D6E"/>
            </a:solidFill>
            <a:ln w="6350" cmpd="sng" algn="ctr">
              <a:solidFill>
                <a:srgbClr val="364D6E"/>
              </a:solidFill>
              <a:prstDash val="solid"/>
            </a:ln>
          </c:spPr>
          <c:invertIfNegative val="0"/>
          <c:val>
            <c:numRef>
              <c:f>Sheet1!$A$1</c:f>
              <c:numCache>
                <c:formatCode>General</c:formatCode>
                <c:ptCount val="1"/>
                <c:pt idx="0">
                  <c:v>28576</c:v>
                </c:pt>
              </c:numCache>
            </c:numRef>
          </c:val>
          <c:extLst>
            <c:ext xmlns:c16="http://schemas.microsoft.com/office/drawing/2014/chart" uri="{C3380CC4-5D6E-409C-BE32-E72D297353CC}">
              <c16:uniqueId val="{00000000-F303-4926-AED4-A6A8603B885A}"/>
            </c:ext>
          </c:extLst>
        </c:ser>
        <c:ser>
          <c:idx val="1"/>
          <c:order val="1"/>
          <c:spPr>
            <a:solidFill>
              <a:srgbClr val="9DB1CF"/>
            </a:solidFill>
            <a:ln w="6350" cmpd="sng" algn="ctr">
              <a:solidFill>
                <a:srgbClr val="9DB1CF"/>
              </a:solidFill>
              <a:prstDash val="solid"/>
            </a:ln>
          </c:spPr>
          <c:invertIfNegative val="0"/>
          <c:val>
            <c:numRef>
              <c:f>Sheet1!$A$2</c:f>
              <c:numCache>
                <c:formatCode>General</c:formatCode>
                <c:ptCount val="1"/>
                <c:pt idx="0">
                  <c:v>4212</c:v>
                </c:pt>
              </c:numCache>
            </c:numRef>
          </c:val>
          <c:extLst>
            <c:ext xmlns:c16="http://schemas.microsoft.com/office/drawing/2014/chart" uri="{C3380CC4-5D6E-409C-BE32-E72D297353CC}">
              <c16:uniqueId val="{00000001-F303-4926-AED4-A6A8603B885A}"/>
            </c:ext>
          </c:extLst>
        </c:ser>
        <c:ser>
          <c:idx val="2"/>
          <c:order val="2"/>
          <c:spPr>
            <a:solidFill>
              <a:srgbClr val="FFFFFF"/>
            </a:solidFill>
            <a:ln>
              <a:noFill/>
            </a:ln>
          </c:spPr>
          <c:invertIfNegative val="0"/>
          <c:val>
            <c:numRef>
              <c:f>Sheet1!$A$3</c:f>
              <c:numCache>
                <c:formatCode>General</c:formatCode>
                <c:ptCount val="1"/>
                <c:pt idx="0">
                  <c:v>21000</c:v>
                </c:pt>
              </c:numCache>
            </c:numRef>
          </c:val>
          <c:extLst>
            <c:ext xmlns:c16="http://schemas.microsoft.com/office/drawing/2014/chart" uri="{C3380CC4-5D6E-409C-BE32-E72D297353CC}">
              <c16:uniqueId val="{00000002-F303-4926-AED4-A6A8603B885A}"/>
            </c:ext>
          </c:extLst>
        </c:ser>
        <c:dLbls>
          <c:showLegendKey val="0"/>
          <c:showVal val="0"/>
          <c:showCatName val="0"/>
          <c:showSerName val="0"/>
          <c:showPercent val="0"/>
          <c:showBubbleSize val="0"/>
        </c:dLbls>
        <c:gapWidth val="80"/>
        <c:overlap val="100"/>
        <c:axId val="1374858096"/>
        <c:axId val="1"/>
      </c:barChart>
      <c:catAx>
        <c:axId val="137485809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3866"/>
          <c:min val="0"/>
        </c:scaling>
        <c:delete val="1"/>
        <c:axPos val="t"/>
        <c:numFmt formatCode="General" sourceLinked="1"/>
        <c:majorTickMark val="out"/>
        <c:minorTickMark val="none"/>
        <c:tickLblPos val="nextTo"/>
        <c:crossAx val="137485809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41326228537596"/>
          <c:y val="0.13771781899943789"/>
          <c:w val="0.76317347542924807"/>
          <c:h val="0.72456436200112417"/>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29A3-4FEB-9A9A-01B79F3FCFAA}"/>
              </c:ext>
            </c:extLst>
          </c:dPt>
          <c:dPt>
            <c:idx val="1"/>
            <c:bubble3D val="0"/>
            <c:spPr>
              <a:solidFill>
                <a:srgbClr val="4C6C9C"/>
              </a:solidFill>
              <a:ln>
                <a:noFill/>
              </a:ln>
            </c:spPr>
            <c:extLst>
              <c:ext xmlns:c16="http://schemas.microsoft.com/office/drawing/2014/chart" uri="{C3380CC4-5D6E-409C-BE32-E72D297353CC}">
                <c16:uniqueId val="{00000001-29A3-4FEB-9A9A-01B79F3FCFAA}"/>
              </c:ext>
            </c:extLst>
          </c:dPt>
          <c:dPt>
            <c:idx val="2"/>
            <c:bubble3D val="0"/>
            <c:spPr>
              <a:solidFill>
                <a:srgbClr val="9DB1CF"/>
              </a:solidFill>
              <a:ln>
                <a:noFill/>
              </a:ln>
            </c:spPr>
            <c:extLst>
              <c:ext xmlns:c16="http://schemas.microsoft.com/office/drawing/2014/chart" uri="{C3380CC4-5D6E-409C-BE32-E72D297353CC}">
                <c16:uniqueId val="{00000002-29A3-4FEB-9A9A-01B79F3FCFAA}"/>
              </c:ext>
            </c:extLst>
          </c:dPt>
          <c:dPt>
            <c:idx val="3"/>
            <c:bubble3D val="0"/>
            <c:spPr>
              <a:solidFill>
                <a:srgbClr val="DFE5EF"/>
              </a:solidFill>
              <a:ln>
                <a:noFill/>
              </a:ln>
            </c:spPr>
            <c:extLst>
              <c:ext xmlns:c16="http://schemas.microsoft.com/office/drawing/2014/chart" uri="{C3380CC4-5D6E-409C-BE32-E72D297353CC}">
                <c16:uniqueId val="{00000003-29A3-4FEB-9A9A-01B79F3FCFAA}"/>
              </c:ext>
            </c:extLst>
          </c:dPt>
          <c:dLbls>
            <c:dLbl>
              <c:idx val="1"/>
              <c:layout>
                <c:manualLayout>
                  <c:x val="-1.3617525162818236E-2"/>
                  <c:y val="-1.1804384485666104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9A3-4FEB-9A9A-01B79F3FCFAA}"/>
                </c:ext>
              </c:extLst>
            </c:dLbl>
            <c:dLbl>
              <c:idx val="2"/>
              <c:layout>
                <c:manualLayout>
                  <c:x val="2.1906453522794554E-2"/>
                  <c:y val="-2.810567734682406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A3-4FEB-9A9A-01B79F3FCFAA}"/>
                </c:ext>
              </c:extLst>
            </c:dLbl>
            <c:dLbl>
              <c:idx val="3"/>
              <c:layout>
                <c:manualLayout>
                  <c:x val="-1.4209591474245116E-2"/>
                  <c:y val="1.4052838673412029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9A3-4FEB-9A9A-01B79F3FCF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0.22999999999999998</c:v>
                </c:pt>
                <c:pt idx="1">
                  <c:v>22</c:v>
                </c:pt>
                <c:pt idx="2">
                  <c:v>51</c:v>
                </c:pt>
                <c:pt idx="3">
                  <c:v>27</c:v>
                </c:pt>
              </c:numCache>
            </c:numRef>
          </c:val>
          <c:extLst>
            <c:ext xmlns:c16="http://schemas.microsoft.com/office/drawing/2014/chart" uri="{C3380CC4-5D6E-409C-BE32-E72D297353CC}">
              <c16:uniqueId val="{00000004-29A3-4FEB-9A9A-01B79F3FCFAA}"/>
            </c:ext>
          </c:extLst>
        </c:ser>
        <c:dLbls>
          <c:showLegendKey val="0"/>
          <c:showVal val="0"/>
          <c:showCatName val="0"/>
          <c:showSerName val="0"/>
          <c:showPercent val="0"/>
          <c:showBubbleSize val="0"/>
          <c:showLeaderLines val="1"/>
        </c:dLbls>
        <c:firstSliceAng val="269"/>
        <c:holeSize val="48"/>
      </c:doughnutChart>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17161716171617161"/>
          <c:w val="0.85014409221902021"/>
          <c:h val="0.65676567656765672"/>
        </c:manualLayout>
      </c:layout>
      <c:barChart>
        <c:barDir val="bar"/>
        <c:grouping val="stacked"/>
        <c:varyColors val="0"/>
        <c:ser>
          <c:idx val="0"/>
          <c:order val="0"/>
          <c:spPr>
            <a:solidFill>
              <a:srgbClr val="364D6E"/>
            </a:solidFill>
            <a:ln w="6350" cmpd="sng" algn="ctr">
              <a:solidFill>
                <a:srgbClr val="364D6E"/>
              </a:solidFill>
              <a:prstDash val="solid"/>
            </a:ln>
          </c:spPr>
          <c:invertIfNegative val="0"/>
          <c:val>
            <c:numRef>
              <c:f>Sheet1!$A$1</c:f>
              <c:numCache>
                <c:formatCode>General</c:formatCode>
                <c:ptCount val="1"/>
                <c:pt idx="0">
                  <c:v>13835</c:v>
                </c:pt>
              </c:numCache>
            </c:numRef>
          </c:val>
          <c:extLst>
            <c:ext xmlns:c16="http://schemas.microsoft.com/office/drawing/2014/chart" uri="{C3380CC4-5D6E-409C-BE32-E72D297353CC}">
              <c16:uniqueId val="{00000000-41CB-4FE2-802E-B2A12D3C7213}"/>
            </c:ext>
          </c:extLst>
        </c:ser>
        <c:ser>
          <c:idx val="1"/>
          <c:order val="1"/>
          <c:spPr>
            <a:solidFill>
              <a:srgbClr val="9DB1CF"/>
            </a:solidFill>
            <a:ln w="6350" cmpd="sng" algn="ctr">
              <a:solidFill>
                <a:srgbClr val="9DB1CF"/>
              </a:solidFill>
              <a:prstDash val="solid"/>
            </a:ln>
          </c:spPr>
          <c:invertIfNegative val="0"/>
          <c:val>
            <c:numRef>
              <c:f>Sheet1!$A$2</c:f>
              <c:numCache>
                <c:formatCode>General</c:formatCode>
                <c:ptCount val="1"/>
                <c:pt idx="0">
                  <c:v>0</c:v>
                </c:pt>
              </c:numCache>
            </c:numRef>
          </c:val>
          <c:extLst>
            <c:ext xmlns:c16="http://schemas.microsoft.com/office/drawing/2014/chart" uri="{C3380CC4-5D6E-409C-BE32-E72D297353CC}">
              <c16:uniqueId val="{00000001-41CB-4FE2-802E-B2A12D3C7213}"/>
            </c:ext>
          </c:extLst>
        </c:ser>
        <c:ser>
          <c:idx val="2"/>
          <c:order val="2"/>
          <c:spPr>
            <a:solidFill>
              <a:srgbClr val="FFFFFF"/>
            </a:solidFill>
            <a:ln>
              <a:noFill/>
            </a:ln>
          </c:spPr>
          <c:invertIfNegative val="0"/>
          <c:val>
            <c:numRef>
              <c:f>Sheet1!$A$3</c:f>
              <c:numCache>
                <c:formatCode>General</c:formatCode>
                <c:ptCount val="1"/>
                <c:pt idx="0">
                  <c:v>4000</c:v>
                </c:pt>
              </c:numCache>
            </c:numRef>
          </c:val>
          <c:extLst>
            <c:ext xmlns:c16="http://schemas.microsoft.com/office/drawing/2014/chart" uri="{C3380CC4-5D6E-409C-BE32-E72D297353CC}">
              <c16:uniqueId val="{00000002-41CB-4FE2-802E-B2A12D3C7213}"/>
            </c:ext>
          </c:extLst>
        </c:ser>
        <c:dLbls>
          <c:showLegendKey val="0"/>
          <c:showVal val="0"/>
          <c:showCatName val="0"/>
          <c:showSerName val="0"/>
          <c:showPercent val="0"/>
          <c:showBubbleSize val="0"/>
        </c:dLbls>
        <c:gapWidth val="80"/>
        <c:overlap val="100"/>
        <c:axId val="1197725312"/>
        <c:axId val="1"/>
      </c:barChart>
      <c:catAx>
        <c:axId val="119772531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3866"/>
          <c:min val="0"/>
        </c:scaling>
        <c:delete val="1"/>
        <c:axPos val="t"/>
        <c:numFmt formatCode="General" sourceLinked="1"/>
        <c:majorTickMark val="out"/>
        <c:minorTickMark val="none"/>
        <c:tickLblPos val="nextTo"/>
        <c:crossAx val="1197725312"/>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17161716171617161"/>
          <c:w val="0.85014409221902021"/>
          <c:h val="0.65676567656765672"/>
        </c:manualLayout>
      </c:layout>
      <c:barChart>
        <c:barDir val="bar"/>
        <c:grouping val="stacked"/>
        <c:varyColors val="0"/>
        <c:ser>
          <c:idx val="0"/>
          <c:order val="0"/>
          <c:spPr>
            <a:solidFill>
              <a:srgbClr val="364D6E"/>
            </a:solidFill>
            <a:ln w="6350" cmpd="sng" algn="ctr">
              <a:solidFill>
                <a:srgbClr val="364D6E"/>
              </a:solidFill>
              <a:prstDash val="solid"/>
            </a:ln>
          </c:spPr>
          <c:invertIfNegative val="0"/>
          <c:val>
            <c:numRef>
              <c:f>Sheet1!$A$1</c:f>
              <c:numCache>
                <c:formatCode>General</c:formatCode>
                <c:ptCount val="1"/>
                <c:pt idx="0">
                  <c:v>100745</c:v>
                </c:pt>
              </c:numCache>
            </c:numRef>
          </c:val>
          <c:extLst>
            <c:ext xmlns:c16="http://schemas.microsoft.com/office/drawing/2014/chart" uri="{C3380CC4-5D6E-409C-BE32-E72D297353CC}">
              <c16:uniqueId val="{00000000-EC68-4BB5-868A-01956C09EDCE}"/>
            </c:ext>
          </c:extLst>
        </c:ser>
        <c:ser>
          <c:idx val="1"/>
          <c:order val="1"/>
          <c:spPr>
            <a:solidFill>
              <a:srgbClr val="9DB1CF"/>
            </a:solidFill>
            <a:ln w="6350" cmpd="sng" algn="ctr">
              <a:solidFill>
                <a:srgbClr val="9DB1CF"/>
              </a:solidFill>
              <a:prstDash val="solid"/>
            </a:ln>
          </c:spPr>
          <c:invertIfNegative val="0"/>
          <c:val>
            <c:numRef>
              <c:f>Sheet1!$A$2</c:f>
              <c:numCache>
                <c:formatCode>General</c:formatCode>
                <c:ptCount val="1"/>
                <c:pt idx="0">
                  <c:v>2121</c:v>
                </c:pt>
              </c:numCache>
            </c:numRef>
          </c:val>
          <c:extLst>
            <c:ext xmlns:c16="http://schemas.microsoft.com/office/drawing/2014/chart" uri="{C3380CC4-5D6E-409C-BE32-E72D297353CC}">
              <c16:uniqueId val="{00000001-EC68-4BB5-868A-01956C09EDCE}"/>
            </c:ext>
          </c:extLst>
        </c:ser>
        <c:ser>
          <c:idx val="2"/>
          <c:order val="2"/>
          <c:spPr>
            <a:solidFill>
              <a:srgbClr val="FFFFFF"/>
            </a:solidFill>
            <a:ln>
              <a:noFill/>
            </a:ln>
          </c:spPr>
          <c:invertIfNegative val="0"/>
          <c:val>
            <c:numRef>
              <c:f>Sheet1!$A$3</c:f>
              <c:numCache>
                <c:formatCode>General</c:formatCode>
                <c:ptCount val="1"/>
                <c:pt idx="0">
                  <c:v>71000</c:v>
                </c:pt>
              </c:numCache>
            </c:numRef>
          </c:val>
          <c:extLst>
            <c:ext xmlns:c16="http://schemas.microsoft.com/office/drawing/2014/chart" uri="{C3380CC4-5D6E-409C-BE32-E72D297353CC}">
              <c16:uniqueId val="{00000002-EC68-4BB5-868A-01956C09EDCE}"/>
            </c:ext>
          </c:extLst>
        </c:ser>
        <c:dLbls>
          <c:showLegendKey val="0"/>
          <c:showVal val="0"/>
          <c:showCatName val="0"/>
          <c:showSerName val="0"/>
          <c:showPercent val="0"/>
          <c:showBubbleSize val="0"/>
        </c:dLbls>
        <c:gapWidth val="80"/>
        <c:overlap val="100"/>
        <c:axId val="1104966000"/>
        <c:axId val="1"/>
      </c:barChart>
      <c:catAx>
        <c:axId val="1104966000"/>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3866"/>
          <c:min val="0"/>
        </c:scaling>
        <c:delete val="1"/>
        <c:axPos val="t"/>
        <c:numFmt formatCode="General" sourceLinked="1"/>
        <c:majorTickMark val="out"/>
        <c:minorTickMark val="none"/>
        <c:tickLblPos val="nextTo"/>
        <c:crossAx val="1104966000"/>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17161716171617161"/>
          <c:w val="0.85014409221902021"/>
          <c:h val="0.65676567656765672"/>
        </c:manualLayout>
      </c:layout>
      <c:barChart>
        <c:barDir val="bar"/>
        <c:grouping val="stacked"/>
        <c:varyColors val="0"/>
        <c:ser>
          <c:idx val="0"/>
          <c:order val="0"/>
          <c:spPr>
            <a:solidFill>
              <a:srgbClr val="364D6E"/>
            </a:solidFill>
            <a:ln w="6350" cmpd="sng" algn="ctr">
              <a:solidFill>
                <a:srgbClr val="364D6E"/>
              </a:solidFill>
              <a:prstDash val="solid"/>
            </a:ln>
          </c:spPr>
          <c:invertIfNegative val="0"/>
          <c:val>
            <c:numRef>
              <c:f>Sheet1!$A$1</c:f>
              <c:numCache>
                <c:formatCode>General</c:formatCode>
                <c:ptCount val="1"/>
                <c:pt idx="0">
                  <c:v>27071</c:v>
                </c:pt>
              </c:numCache>
            </c:numRef>
          </c:val>
          <c:extLst>
            <c:ext xmlns:c16="http://schemas.microsoft.com/office/drawing/2014/chart" uri="{C3380CC4-5D6E-409C-BE32-E72D297353CC}">
              <c16:uniqueId val="{00000000-09DC-4BB5-B78E-AC0C6DC6FC09}"/>
            </c:ext>
          </c:extLst>
        </c:ser>
        <c:ser>
          <c:idx val="1"/>
          <c:order val="1"/>
          <c:spPr>
            <a:solidFill>
              <a:srgbClr val="9DB1CF"/>
            </a:solidFill>
            <a:ln w="6350" cmpd="sng" algn="ctr">
              <a:solidFill>
                <a:srgbClr val="9DB1CF"/>
              </a:solidFill>
              <a:prstDash val="solid"/>
            </a:ln>
          </c:spPr>
          <c:invertIfNegative val="0"/>
          <c:val>
            <c:numRef>
              <c:f>Sheet1!$A$2</c:f>
              <c:numCache>
                <c:formatCode>General</c:formatCode>
                <c:ptCount val="1"/>
                <c:pt idx="0">
                  <c:v>2800</c:v>
                </c:pt>
              </c:numCache>
            </c:numRef>
          </c:val>
          <c:extLst>
            <c:ext xmlns:c16="http://schemas.microsoft.com/office/drawing/2014/chart" uri="{C3380CC4-5D6E-409C-BE32-E72D297353CC}">
              <c16:uniqueId val="{00000001-09DC-4BB5-B78E-AC0C6DC6FC09}"/>
            </c:ext>
          </c:extLst>
        </c:ser>
        <c:ser>
          <c:idx val="2"/>
          <c:order val="2"/>
          <c:spPr>
            <a:solidFill>
              <a:srgbClr val="FFFFFF"/>
            </a:solidFill>
            <a:ln>
              <a:noFill/>
            </a:ln>
          </c:spPr>
          <c:invertIfNegative val="0"/>
          <c:val>
            <c:numRef>
              <c:f>Sheet1!$A$3</c:f>
              <c:numCache>
                <c:formatCode>General</c:formatCode>
                <c:ptCount val="1"/>
                <c:pt idx="0">
                  <c:v>2000</c:v>
                </c:pt>
              </c:numCache>
            </c:numRef>
          </c:val>
          <c:extLst>
            <c:ext xmlns:c16="http://schemas.microsoft.com/office/drawing/2014/chart" uri="{C3380CC4-5D6E-409C-BE32-E72D297353CC}">
              <c16:uniqueId val="{00000002-09DC-4BB5-B78E-AC0C6DC6FC09}"/>
            </c:ext>
          </c:extLst>
        </c:ser>
        <c:dLbls>
          <c:showLegendKey val="0"/>
          <c:showVal val="0"/>
          <c:showCatName val="0"/>
          <c:showSerName val="0"/>
          <c:showPercent val="0"/>
          <c:showBubbleSize val="0"/>
        </c:dLbls>
        <c:gapWidth val="80"/>
        <c:overlap val="100"/>
        <c:axId val="1424416064"/>
        <c:axId val="1"/>
      </c:barChart>
      <c:catAx>
        <c:axId val="142441606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3866"/>
          <c:min val="0"/>
        </c:scaling>
        <c:delete val="1"/>
        <c:axPos val="t"/>
        <c:numFmt formatCode="General" sourceLinked="1"/>
        <c:majorTickMark val="out"/>
        <c:minorTickMark val="none"/>
        <c:tickLblPos val="nextTo"/>
        <c:crossAx val="1424416064"/>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17161716171617161"/>
          <c:w val="0.85014409221902021"/>
          <c:h val="0.65676567656765672"/>
        </c:manualLayout>
      </c:layout>
      <c:barChart>
        <c:barDir val="bar"/>
        <c:grouping val="stacked"/>
        <c:varyColors val="0"/>
        <c:ser>
          <c:idx val="0"/>
          <c:order val="0"/>
          <c:spPr>
            <a:solidFill>
              <a:srgbClr val="364D6E"/>
            </a:solidFill>
            <a:ln w="6350" cmpd="sng" algn="ctr">
              <a:solidFill>
                <a:srgbClr val="364D6E"/>
              </a:solidFill>
              <a:prstDash val="solid"/>
            </a:ln>
          </c:spPr>
          <c:invertIfNegative val="0"/>
          <c:val>
            <c:numRef>
              <c:f>Sheet1!$A$1</c:f>
              <c:numCache>
                <c:formatCode>General</c:formatCode>
                <c:ptCount val="1"/>
                <c:pt idx="0">
                  <c:v>11608</c:v>
                </c:pt>
              </c:numCache>
            </c:numRef>
          </c:val>
          <c:extLst>
            <c:ext xmlns:c16="http://schemas.microsoft.com/office/drawing/2014/chart" uri="{C3380CC4-5D6E-409C-BE32-E72D297353CC}">
              <c16:uniqueId val="{00000000-EC9B-4699-8E2C-9486D2FDFB9E}"/>
            </c:ext>
          </c:extLst>
        </c:ser>
        <c:ser>
          <c:idx val="1"/>
          <c:order val="1"/>
          <c:spPr>
            <a:solidFill>
              <a:srgbClr val="9DB1CF"/>
            </a:solidFill>
            <a:ln w="6350" cmpd="sng" algn="ctr">
              <a:solidFill>
                <a:srgbClr val="9DB1CF"/>
              </a:solidFill>
              <a:prstDash val="solid"/>
            </a:ln>
          </c:spPr>
          <c:invertIfNegative val="0"/>
          <c:val>
            <c:numRef>
              <c:f>Sheet1!$A$2</c:f>
              <c:numCache>
                <c:formatCode>General</c:formatCode>
                <c:ptCount val="1"/>
                <c:pt idx="0">
                  <c:v>2756</c:v>
                </c:pt>
              </c:numCache>
            </c:numRef>
          </c:val>
          <c:extLst>
            <c:ext xmlns:c16="http://schemas.microsoft.com/office/drawing/2014/chart" uri="{C3380CC4-5D6E-409C-BE32-E72D297353CC}">
              <c16:uniqueId val="{00000001-EC9B-4699-8E2C-9486D2FDFB9E}"/>
            </c:ext>
          </c:extLst>
        </c:ser>
        <c:ser>
          <c:idx val="2"/>
          <c:order val="2"/>
          <c:spPr>
            <a:solidFill>
              <a:srgbClr val="FFFFFF"/>
            </a:solidFill>
            <a:ln>
              <a:noFill/>
            </a:ln>
          </c:spPr>
          <c:invertIfNegative val="0"/>
          <c:val>
            <c:numRef>
              <c:f>Sheet1!$A$3</c:f>
              <c:numCache>
                <c:formatCode>General</c:formatCode>
                <c:ptCount val="1"/>
                <c:pt idx="0">
                  <c:v>0</c:v>
                </c:pt>
              </c:numCache>
            </c:numRef>
          </c:val>
          <c:extLst>
            <c:ext xmlns:c16="http://schemas.microsoft.com/office/drawing/2014/chart" uri="{C3380CC4-5D6E-409C-BE32-E72D297353CC}">
              <c16:uniqueId val="{00000002-EC9B-4699-8E2C-9486D2FDFB9E}"/>
            </c:ext>
          </c:extLst>
        </c:ser>
        <c:dLbls>
          <c:showLegendKey val="0"/>
          <c:showVal val="0"/>
          <c:showCatName val="0"/>
          <c:showSerName val="0"/>
          <c:showPercent val="0"/>
          <c:showBubbleSize val="0"/>
        </c:dLbls>
        <c:gapWidth val="80"/>
        <c:overlap val="100"/>
        <c:axId val="312038688"/>
        <c:axId val="1"/>
      </c:barChart>
      <c:catAx>
        <c:axId val="31203868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3866"/>
          <c:min val="0"/>
        </c:scaling>
        <c:delete val="1"/>
        <c:axPos val="t"/>
        <c:numFmt formatCode="General" sourceLinked="1"/>
        <c:majorTickMark val="out"/>
        <c:minorTickMark val="none"/>
        <c:tickLblPos val="nextTo"/>
        <c:crossAx val="312038688"/>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213483146067417E-2"/>
          <c:y val="9.7928436911487754E-2"/>
          <c:w val="0.94157303370786516"/>
          <c:h val="0.80414312617702444"/>
        </c:manualLayout>
      </c:layout>
      <c:barChart>
        <c:barDir val="bar"/>
        <c:grouping val="stacked"/>
        <c:varyColors val="0"/>
        <c:ser>
          <c:idx val="0"/>
          <c:order val="0"/>
          <c:spPr>
            <a:solidFill>
              <a:srgbClr val="364D6E"/>
            </a:solidFill>
            <a:ln w="6350" cmpd="sng" algn="ctr">
              <a:solidFill>
                <a:srgbClr val="364D6E"/>
              </a:solidFill>
              <a:prstDash val="solid"/>
            </a:ln>
          </c:spPr>
          <c:invertIfNegative val="0"/>
          <c:val>
            <c:numRef>
              <c:f>Sheet1!$A$1</c:f>
              <c:numCache>
                <c:formatCode>General</c:formatCode>
                <c:ptCount val="1"/>
                <c:pt idx="0">
                  <c:v>396484</c:v>
                </c:pt>
              </c:numCache>
            </c:numRef>
          </c:val>
          <c:extLst>
            <c:ext xmlns:c16="http://schemas.microsoft.com/office/drawing/2014/chart" uri="{C3380CC4-5D6E-409C-BE32-E72D297353CC}">
              <c16:uniqueId val="{00000000-D695-4BA9-95FF-8531601AE511}"/>
            </c:ext>
          </c:extLst>
        </c:ser>
        <c:ser>
          <c:idx val="1"/>
          <c:order val="1"/>
          <c:spPr>
            <a:solidFill>
              <a:srgbClr val="9DB1CF"/>
            </a:solidFill>
            <a:ln w="6350" cmpd="sng" algn="ctr">
              <a:solidFill>
                <a:srgbClr val="9DB1CF"/>
              </a:solidFill>
              <a:prstDash val="solid"/>
            </a:ln>
          </c:spPr>
          <c:invertIfNegative val="0"/>
          <c:val>
            <c:numRef>
              <c:f>Sheet1!$A$2</c:f>
              <c:numCache>
                <c:formatCode>General</c:formatCode>
                <c:ptCount val="1"/>
                <c:pt idx="0">
                  <c:v>74925</c:v>
                </c:pt>
              </c:numCache>
            </c:numRef>
          </c:val>
          <c:extLst>
            <c:ext xmlns:c16="http://schemas.microsoft.com/office/drawing/2014/chart" uri="{C3380CC4-5D6E-409C-BE32-E72D297353CC}">
              <c16:uniqueId val="{00000001-D695-4BA9-95FF-8531601AE511}"/>
            </c:ext>
          </c:extLst>
        </c:ser>
        <c:ser>
          <c:idx val="2"/>
          <c:order val="2"/>
          <c:spPr>
            <a:solidFill>
              <a:srgbClr val="FFFFFF"/>
            </a:solidFill>
            <a:ln>
              <a:noFill/>
            </a:ln>
          </c:spPr>
          <c:invertIfNegative val="0"/>
          <c:val>
            <c:numRef>
              <c:f>Sheet1!$A$3</c:f>
              <c:numCache>
                <c:formatCode>General</c:formatCode>
                <c:ptCount val="1"/>
                <c:pt idx="0">
                  <c:v>270000</c:v>
                </c:pt>
              </c:numCache>
            </c:numRef>
          </c:val>
          <c:extLst>
            <c:ext xmlns:c16="http://schemas.microsoft.com/office/drawing/2014/chart" uri="{C3380CC4-5D6E-409C-BE32-E72D297353CC}">
              <c16:uniqueId val="{00000002-D695-4BA9-95FF-8531601AE511}"/>
            </c:ext>
          </c:extLst>
        </c:ser>
        <c:dLbls>
          <c:showLegendKey val="0"/>
          <c:showVal val="0"/>
          <c:showCatName val="0"/>
          <c:showSerName val="0"/>
          <c:showPercent val="0"/>
          <c:showBubbleSize val="0"/>
        </c:dLbls>
        <c:gapWidth val="80"/>
        <c:overlap val="100"/>
        <c:axId val="1875799375"/>
        <c:axId val="1"/>
      </c:barChart>
      <c:catAx>
        <c:axId val="187579937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41409"/>
          <c:min val="0"/>
        </c:scaling>
        <c:delete val="1"/>
        <c:axPos val="t"/>
        <c:numFmt formatCode="General" sourceLinked="1"/>
        <c:majorTickMark val="out"/>
        <c:minorTickMark val="none"/>
        <c:tickLblPos val="nextTo"/>
        <c:crossAx val="1875799375"/>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17161716171617161"/>
          <c:w val="0.85014409221902021"/>
          <c:h val="0.65676567656765672"/>
        </c:manualLayout>
      </c:layout>
      <c:barChart>
        <c:barDir val="bar"/>
        <c:grouping val="stacked"/>
        <c:varyColors val="0"/>
        <c:ser>
          <c:idx val="0"/>
          <c:order val="0"/>
          <c:spPr>
            <a:solidFill>
              <a:srgbClr val="364D6E"/>
            </a:solidFill>
            <a:ln w="6350" cmpd="sng" algn="ctr">
              <a:solidFill>
                <a:srgbClr val="364D6E"/>
              </a:solidFill>
              <a:prstDash val="solid"/>
            </a:ln>
          </c:spPr>
          <c:invertIfNegative val="0"/>
          <c:val>
            <c:numRef>
              <c:f>Sheet1!$A$1</c:f>
              <c:numCache>
                <c:formatCode>General</c:formatCode>
                <c:ptCount val="1"/>
                <c:pt idx="0">
                  <c:v>1940</c:v>
                </c:pt>
              </c:numCache>
            </c:numRef>
          </c:val>
          <c:extLst>
            <c:ext xmlns:c16="http://schemas.microsoft.com/office/drawing/2014/chart" uri="{C3380CC4-5D6E-409C-BE32-E72D297353CC}">
              <c16:uniqueId val="{00000000-E58A-4CEC-984C-891D56DE53D7}"/>
            </c:ext>
          </c:extLst>
        </c:ser>
        <c:ser>
          <c:idx val="1"/>
          <c:order val="1"/>
          <c:spPr>
            <a:solidFill>
              <a:srgbClr val="9DB1CF"/>
            </a:solidFill>
            <a:ln w="6350" cmpd="sng" algn="ctr">
              <a:solidFill>
                <a:srgbClr val="9DB1CF"/>
              </a:solidFill>
              <a:prstDash val="solid"/>
            </a:ln>
          </c:spPr>
          <c:invertIfNegative val="0"/>
          <c:val>
            <c:numRef>
              <c:f>Sheet1!$A$2</c:f>
              <c:numCache>
                <c:formatCode>General</c:formatCode>
                <c:ptCount val="1"/>
                <c:pt idx="0">
                  <c:v>4800</c:v>
                </c:pt>
              </c:numCache>
            </c:numRef>
          </c:val>
          <c:extLst>
            <c:ext xmlns:c16="http://schemas.microsoft.com/office/drawing/2014/chart" uri="{C3380CC4-5D6E-409C-BE32-E72D297353CC}">
              <c16:uniqueId val="{00000001-E58A-4CEC-984C-891D56DE53D7}"/>
            </c:ext>
          </c:extLst>
        </c:ser>
        <c:ser>
          <c:idx val="2"/>
          <c:order val="2"/>
          <c:spPr>
            <a:solidFill>
              <a:srgbClr val="FFFFFF"/>
            </a:solidFill>
            <a:ln>
              <a:noFill/>
            </a:ln>
          </c:spPr>
          <c:invertIfNegative val="0"/>
          <c:val>
            <c:numRef>
              <c:f>Sheet1!$A$3</c:f>
              <c:numCache>
                <c:formatCode>General</c:formatCode>
                <c:ptCount val="1"/>
                <c:pt idx="0">
                  <c:v>2000</c:v>
                </c:pt>
              </c:numCache>
            </c:numRef>
          </c:val>
          <c:extLst>
            <c:ext xmlns:c16="http://schemas.microsoft.com/office/drawing/2014/chart" uri="{C3380CC4-5D6E-409C-BE32-E72D297353CC}">
              <c16:uniqueId val="{00000002-E58A-4CEC-984C-891D56DE53D7}"/>
            </c:ext>
          </c:extLst>
        </c:ser>
        <c:dLbls>
          <c:showLegendKey val="0"/>
          <c:showVal val="0"/>
          <c:showCatName val="0"/>
          <c:showSerName val="0"/>
          <c:showPercent val="0"/>
          <c:showBubbleSize val="0"/>
        </c:dLbls>
        <c:gapWidth val="80"/>
        <c:overlap val="100"/>
        <c:axId val="1047691903"/>
        <c:axId val="1"/>
      </c:barChart>
      <c:catAx>
        <c:axId val="1047691903"/>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3866"/>
          <c:min val="0"/>
        </c:scaling>
        <c:delete val="1"/>
        <c:axPos val="t"/>
        <c:numFmt formatCode="General" sourceLinked="1"/>
        <c:majorTickMark val="out"/>
        <c:minorTickMark val="none"/>
        <c:tickLblPos val="nextTo"/>
        <c:crossAx val="1047691903"/>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17161716171617161"/>
          <c:w val="0.85014409221902021"/>
          <c:h val="0.65676567656765672"/>
        </c:manualLayout>
      </c:layout>
      <c:barChart>
        <c:barDir val="bar"/>
        <c:grouping val="stacked"/>
        <c:varyColors val="0"/>
        <c:ser>
          <c:idx val="0"/>
          <c:order val="0"/>
          <c:spPr>
            <a:solidFill>
              <a:srgbClr val="364D6E"/>
            </a:solidFill>
            <a:ln w="6350" cmpd="sng" algn="ctr">
              <a:solidFill>
                <a:srgbClr val="364D6E"/>
              </a:solidFill>
              <a:prstDash val="solid"/>
            </a:ln>
          </c:spPr>
          <c:invertIfNegative val="0"/>
          <c:val>
            <c:numRef>
              <c:f>Sheet1!$A$1</c:f>
              <c:numCache>
                <c:formatCode>General</c:formatCode>
                <c:ptCount val="1"/>
                <c:pt idx="0">
                  <c:v>1763</c:v>
                </c:pt>
              </c:numCache>
            </c:numRef>
          </c:val>
          <c:extLst>
            <c:ext xmlns:c16="http://schemas.microsoft.com/office/drawing/2014/chart" uri="{C3380CC4-5D6E-409C-BE32-E72D297353CC}">
              <c16:uniqueId val="{00000000-00BE-4D10-8CF2-E264008884B1}"/>
            </c:ext>
          </c:extLst>
        </c:ser>
        <c:ser>
          <c:idx val="1"/>
          <c:order val="1"/>
          <c:spPr>
            <a:solidFill>
              <a:srgbClr val="9DB1CF"/>
            </a:solidFill>
            <a:ln w="6350" cmpd="sng" algn="ctr">
              <a:solidFill>
                <a:srgbClr val="9DB1CF"/>
              </a:solidFill>
              <a:prstDash val="solid"/>
            </a:ln>
          </c:spPr>
          <c:invertIfNegative val="0"/>
          <c:val>
            <c:numRef>
              <c:f>Sheet1!$A$2</c:f>
              <c:numCache>
                <c:formatCode>General</c:formatCode>
                <c:ptCount val="1"/>
                <c:pt idx="0">
                  <c:v>0</c:v>
                </c:pt>
              </c:numCache>
            </c:numRef>
          </c:val>
          <c:extLst>
            <c:ext xmlns:c16="http://schemas.microsoft.com/office/drawing/2014/chart" uri="{C3380CC4-5D6E-409C-BE32-E72D297353CC}">
              <c16:uniqueId val="{00000001-00BE-4D10-8CF2-E264008884B1}"/>
            </c:ext>
          </c:extLst>
        </c:ser>
        <c:ser>
          <c:idx val="2"/>
          <c:order val="2"/>
          <c:spPr>
            <a:solidFill>
              <a:srgbClr val="FFFFFF"/>
            </a:solidFill>
            <a:ln>
              <a:noFill/>
            </a:ln>
          </c:spPr>
          <c:invertIfNegative val="0"/>
          <c:val>
            <c:numRef>
              <c:f>Sheet1!$A$3</c:f>
              <c:numCache>
                <c:formatCode>General</c:formatCode>
                <c:ptCount val="1"/>
                <c:pt idx="0">
                  <c:v>1000</c:v>
                </c:pt>
              </c:numCache>
            </c:numRef>
          </c:val>
          <c:extLst>
            <c:ext xmlns:c16="http://schemas.microsoft.com/office/drawing/2014/chart" uri="{C3380CC4-5D6E-409C-BE32-E72D297353CC}">
              <c16:uniqueId val="{00000002-00BE-4D10-8CF2-E264008884B1}"/>
            </c:ext>
          </c:extLst>
        </c:ser>
        <c:dLbls>
          <c:showLegendKey val="0"/>
          <c:showVal val="0"/>
          <c:showCatName val="0"/>
          <c:showSerName val="0"/>
          <c:showPercent val="0"/>
          <c:showBubbleSize val="0"/>
        </c:dLbls>
        <c:gapWidth val="80"/>
        <c:overlap val="100"/>
        <c:axId val="517995679"/>
        <c:axId val="1"/>
      </c:barChart>
      <c:catAx>
        <c:axId val="51799567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3866"/>
          <c:min val="0"/>
        </c:scaling>
        <c:delete val="1"/>
        <c:axPos val="t"/>
        <c:numFmt formatCode="General" sourceLinked="1"/>
        <c:majorTickMark val="out"/>
        <c:minorTickMark val="none"/>
        <c:tickLblPos val="nextTo"/>
        <c:crossAx val="517995679"/>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68135326514553E-2"/>
          <c:y val="3.4643570952698204E-2"/>
          <c:w val="0.86782061369000785"/>
          <c:h val="0.77948034643570951"/>
        </c:manualLayout>
      </c:layout>
      <c:scatterChart>
        <c:scatterStyle val="lineMarker"/>
        <c:varyColors val="0"/>
        <c:ser>
          <c:idx val="0"/>
          <c:order val="0"/>
          <c:spPr>
            <a:ln>
              <a:noFill/>
            </a:ln>
          </c:spPr>
          <c:marker>
            <c:symbol val="triangle"/>
            <c:size val="7"/>
            <c:spPr>
              <a:solidFill>
                <a:schemeClr val="accent4"/>
              </a:solidFill>
              <a:ln w="9525" cmpd="sng" algn="ctr">
                <a:solidFill>
                  <a:schemeClr val="accent4"/>
                </a:solidFill>
                <a:prstDash val="solid"/>
              </a:ln>
            </c:spPr>
          </c:marker>
          <c:xVal>
            <c:numRef>
              <c:f>Sheet1!$A$1:$A$7</c:f>
              <c:numCache>
                <c:formatCode>General</c:formatCode>
                <c:ptCount val="7"/>
                <c:pt idx="0">
                  <c:v>50</c:v>
                </c:pt>
                <c:pt idx="1">
                  <c:v>30</c:v>
                </c:pt>
                <c:pt idx="2">
                  <c:v>10</c:v>
                </c:pt>
                <c:pt idx="3">
                  <c:v>5</c:v>
                </c:pt>
              </c:numCache>
            </c:numRef>
          </c:xVal>
          <c:yVal>
            <c:numRef>
              <c:f>Sheet1!$B$1:$B$7</c:f>
              <c:numCache>
                <c:formatCode>General</c:formatCode>
                <c:ptCount val="7"/>
                <c:pt idx="0">
                  <c:v>2.5</c:v>
                </c:pt>
                <c:pt idx="1">
                  <c:v>2</c:v>
                </c:pt>
                <c:pt idx="2">
                  <c:v>0.8</c:v>
                </c:pt>
                <c:pt idx="3">
                  <c:v>0.5</c:v>
                </c:pt>
              </c:numCache>
            </c:numRef>
          </c:yVal>
          <c:smooth val="0"/>
          <c:extLst>
            <c:ext xmlns:c16="http://schemas.microsoft.com/office/drawing/2014/chart" uri="{C3380CC4-5D6E-409C-BE32-E72D297353CC}">
              <c16:uniqueId val="{00000000-B8A8-46E7-AF56-F629508F9B84}"/>
            </c:ext>
          </c:extLst>
        </c:ser>
        <c:ser>
          <c:idx val="1"/>
          <c:order val="1"/>
          <c:spPr>
            <a:ln>
              <a:noFill/>
            </a:ln>
          </c:spPr>
          <c:marker>
            <c:symbol val="circle"/>
            <c:size val="7"/>
            <c:spPr>
              <a:solidFill>
                <a:schemeClr val="accent6"/>
              </a:solidFill>
              <a:ln w="9525" cmpd="sng" algn="ctr">
                <a:solidFill>
                  <a:schemeClr val="accent6"/>
                </a:solidFill>
                <a:prstDash val="solid"/>
              </a:ln>
            </c:spPr>
          </c:marker>
          <c:xVal>
            <c:numRef>
              <c:f>Sheet1!$A$1:$A$7</c:f>
              <c:numCache>
                <c:formatCode>General</c:formatCode>
                <c:ptCount val="7"/>
                <c:pt idx="4">
                  <c:v>60</c:v>
                </c:pt>
                <c:pt idx="5">
                  <c:v>150</c:v>
                </c:pt>
                <c:pt idx="6">
                  <c:v>25</c:v>
                </c:pt>
              </c:numCache>
            </c:numRef>
          </c:xVal>
          <c:yVal>
            <c:numRef>
              <c:f>Sheet1!$C$1:$C$7</c:f>
              <c:numCache>
                <c:formatCode>General</c:formatCode>
                <c:ptCount val="7"/>
                <c:pt idx="4">
                  <c:v>0.5</c:v>
                </c:pt>
                <c:pt idx="5">
                  <c:v>0.9</c:v>
                </c:pt>
                <c:pt idx="6">
                  <c:v>0.2</c:v>
                </c:pt>
              </c:numCache>
            </c:numRef>
          </c:yVal>
          <c:smooth val="0"/>
          <c:extLst>
            <c:ext xmlns:c16="http://schemas.microsoft.com/office/drawing/2014/chart" uri="{C3380CC4-5D6E-409C-BE32-E72D297353CC}">
              <c16:uniqueId val="{00000001-B8A8-46E7-AF56-F629508F9B84}"/>
            </c:ext>
          </c:extLst>
        </c:ser>
        <c:dLbls>
          <c:showLegendKey val="0"/>
          <c:showVal val="0"/>
          <c:showCatName val="0"/>
          <c:showSerName val="0"/>
          <c:showPercent val="0"/>
          <c:showBubbleSize val="0"/>
        </c:dLbls>
        <c:axId val="2039329952"/>
        <c:axId val="1"/>
      </c:scatterChart>
      <c:valAx>
        <c:axId val="2039329952"/>
        <c:scaling>
          <c:orientation val="minMax"/>
          <c:max val="150"/>
          <c:min val="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1"/>
        <c:crosses val="min"/>
        <c:crossBetween val="midCat"/>
        <c:majorUnit val="50"/>
      </c:valAx>
      <c:valAx>
        <c:axId val="1"/>
        <c:scaling>
          <c:orientation val="minMax"/>
          <c:max val="3"/>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2039329952"/>
        <c:crosses val="min"/>
        <c:crossBetween val="midCat"/>
        <c:majorUnit val="0.5"/>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391796322489392"/>
          <c:y val="4.9934296977660969E-2"/>
          <c:w val="0.77793493635077793"/>
          <c:h val="0.82785808147174766"/>
        </c:manualLayout>
      </c:layout>
      <c:scatterChart>
        <c:scatterStyle val="lineMarker"/>
        <c:varyColors val="0"/>
        <c:ser>
          <c:idx val="0"/>
          <c:order val="0"/>
          <c:spPr>
            <a:ln w="19050" cmpd="sng" algn="ctr">
              <a:solidFill>
                <a:schemeClr val="accent6"/>
              </a:solidFill>
              <a:prstDash val="solid"/>
            </a:ln>
          </c:spPr>
          <c:marker>
            <c:symbol val="none"/>
          </c:marker>
          <c:xVal>
            <c:numRef>
              <c:f>Sheet1!$A$1:$L$1</c:f>
              <c:numCache>
                <c:formatCode>General</c:formatCode>
                <c:ptCount val="12"/>
                <c:pt idx="0">
                  <c:v>2024</c:v>
                </c:pt>
                <c:pt idx="1">
                  <c:v>2025</c:v>
                </c:pt>
                <c:pt idx="2">
                  <c:v>2026</c:v>
                </c:pt>
                <c:pt idx="3">
                  <c:v>2027</c:v>
                </c:pt>
                <c:pt idx="4">
                  <c:v>2028</c:v>
                </c:pt>
                <c:pt idx="5">
                  <c:v>2029</c:v>
                </c:pt>
                <c:pt idx="6">
                  <c:v>2030</c:v>
                </c:pt>
                <c:pt idx="7">
                  <c:v>2031</c:v>
                </c:pt>
                <c:pt idx="8">
                  <c:v>2032</c:v>
                </c:pt>
                <c:pt idx="9">
                  <c:v>2033</c:v>
                </c:pt>
                <c:pt idx="10">
                  <c:v>2034</c:v>
                </c:pt>
                <c:pt idx="11">
                  <c:v>2035</c:v>
                </c:pt>
              </c:numCache>
            </c:numRef>
          </c:xVal>
          <c:yVal>
            <c:numRef>
              <c:f>Sheet1!$A$2:$L$2</c:f>
              <c:numCache>
                <c:formatCode>General</c:formatCode>
                <c:ptCount val="12"/>
                <c:pt idx="0">
                  <c:v>415</c:v>
                </c:pt>
                <c:pt idx="1">
                  <c:v>500</c:v>
                </c:pt>
                <c:pt idx="2">
                  <c:v>590</c:v>
                </c:pt>
                <c:pt idx="3">
                  <c:v>770</c:v>
                </c:pt>
                <c:pt idx="4">
                  <c:v>940</c:v>
                </c:pt>
                <c:pt idx="5">
                  <c:v>1100</c:v>
                </c:pt>
                <c:pt idx="6">
                  <c:v>1250</c:v>
                </c:pt>
                <c:pt idx="7">
                  <c:v>1391.42857</c:v>
                </c:pt>
                <c:pt idx="8">
                  <c:v>1520</c:v>
                </c:pt>
                <c:pt idx="9">
                  <c:v>1600</c:v>
                </c:pt>
                <c:pt idx="10">
                  <c:v>1650</c:v>
                </c:pt>
                <c:pt idx="11">
                  <c:v>1700</c:v>
                </c:pt>
              </c:numCache>
            </c:numRef>
          </c:yVal>
          <c:smooth val="0"/>
          <c:extLst>
            <c:ext xmlns:c16="http://schemas.microsoft.com/office/drawing/2014/chart" uri="{C3380CC4-5D6E-409C-BE32-E72D297353CC}">
              <c16:uniqueId val="{00000000-EF4F-4B6C-815B-6E3F5C11A96E}"/>
            </c:ext>
          </c:extLst>
        </c:ser>
        <c:ser>
          <c:idx val="1"/>
          <c:order val="1"/>
          <c:spPr>
            <a:ln w="19050" cmpd="sng" algn="ctr">
              <a:solidFill>
                <a:schemeClr val="accent1"/>
              </a:solidFill>
              <a:prstDash val="solid"/>
            </a:ln>
          </c:spPr>
          <c:marker>
            <c:symbol val="none"/>
          </c:marker>
          <c:xVal>
            <c:numRef>
              <c:f>Sheet1!$A$1:$L$1</c:f>
              <c:numCache>
                <c:formatCode>General</c:formatCode>
                <c:ptCount val="12"/>
                <c:pt idx="0">
                  <c:v>2024</c:v>
                </c:pt>
                <c:pt idx="1">
                  <c:v>2025</c:v>
                </c:pt>
                <c:pt idx="2">
                  <c:v>2026</c:v>
                </c:pt>
                <c:pt idx="3">
                  <c:v>2027</c:v>
                </c:pt>
                <c:pt idx="4">
                  <c:v>2028</c:v>
                </c:pt>
                <c:pt idx="5">
                  <c:v>2029</c:v>
                </c:pt>
                <c:pt idx="6">
                  <c:v>2030</c:v>
                </c:pt>
                <c:pt idx="7">
                  <c:v>2031</c:v>
                </c:pt>
                <c:pt idx="8">
                  <c:v>2032</c:v>
                </c:pt>
                <c:pt idx="9">
                  <c:v>2033</c:v>
                </c:pt>
                <c:pt idx="10">
                  <c:v>2034</c:v>
                </c:pt>
                <c:pt idx="11">
                  <c:v>2035</c:v>
                </c:pt>
              </c:numCache>
            </c:numRef>
          </c:xVal>
          <c:yVal>
            <c:numRef>
              <c:f>Sheet1!$A$3:$L$3</c:f>
              <c:numCache>
                <c:formatCode>General</c:formatCode>
                <c:ptCount val="12"/>
                <c:pt idx="0">
                  <c:v>415</c:v>
                </c:pt>
                <c:pt idx="1">
                  <c:v>482</c:v>
                </c:pt>
                <c:pt idx="2">
                  <c:v>560</c:v>
                </c:pt>
                <c:pt idx="3">
                  <c:v>680</c:v>
                </c:pt>
                <c:pt idx="4">
                  <c:v>780</c:v>
                </c:pt>
                <c:pt idx="5">
                  <c:v>870</c:v>
                </c:pt>
                <c:pt idx="6">
                  <c:v>945</c:v>
                </c:pt>
                <c:pt idx="7">
                  <c:v>1020</c:v>
                </c:pt>
                <c:pt idx="8">
                  <c:v>1080</c:v>
                </c:pt>
                <c:pt idx="9">
                  <c:v>1130</c:v>
                </c:pt>
                <c:pt idx="10">
                  <c:v>1176.63636</c:v>
                </c:pt>
                <c:pt idx="11">
                  <c:v>1220</c:v>
                </c:pt>
              </c:numCache>
            </c:numRef>
          </c:yVal>
          <c:smooth val="0"/>
          <c:extLst>
            <c:ext xmlns:c16="http://schemas.microsoft.com/office/drawing/2014/chart" uri="{C3380CC4-5D6E-409C-BE32-E72D297353CC}">
              <c16:uniqueId val="{00000001-EF4F-4B6C-815B-6E3F5C11A96E}"/>
            </c:ext>
          </c:extLst>
        </c:ser>
        <c:ser>
          <c:idx val="2"/>
          <c:order val="2"/>
          <c:spPr>
            <a:ln w="19050" cmpd="sng" algn="ctr">
              <a:solidFill>
                <a:schemeClr val="accent3"/>
              </a:solidFill>
              <a:prstDash val="solid"/>
            </a:ln>
          </c:spPr>
          <c:marker>
            <c:symbol val="none"/>
          </c:marker>
          <c:xVal>
            <c:numRef>
              <c:f>Sheet1!$A$1:$L$1</c:f>
              <c:numCache>
                <c:formatCode>General</c:formatCode>
                <c:ptCount val="12"/>
                <c:pt idx="0">
                  <c:v>2024</c:v>
                </c:pt>
                <c:pt idx="1">
                  <c:v>2025</c:v>
                </c:pt>
                <c:pt idx="2">
                  <c:v>2026</c:v>
                </c:pt>
                <c:pt idx="3">
                  <c:v>2027</c:v>
                </c:pt>
                <c:pt idx="4">
                  <c:v>2028</c:v>
                </c:pt>
                <c:pt idx="5">
                  <c:v>2029</c:v>
                </c:pt>
                <c:pt idx="6">
                  <c:v>2030</c:v>
                </c:pt>
                <c:pt idx="7">
                  <c:v>2031</c:v>
                </c:pt>
                <c:pt idx="8">
                  <c:v>2032</c:v>
                </c:pt>
                <c:pt idx="9">
                  <c:v>2033</c:v>
                </c:pt>
                <c:pt idx="10">
                  <c:v>2034</c:v>
                </c:pt>
                <c:pt idx="11">
                  <c:v>2035</c:v>
                </c:pt>
              </c:numCache>
            </c:numRef>
          </c:xVal>
          <c:yVal>
            <c:numRef>
              <c:f>Sheet1!$A$4:$L$4</c:f>
              <c:numCache>
                <c:formatCode>General</c:formatCode>
                <c:ptCount val="12"/>
                <c:pt idx="0">
                  <c:v>415</c:v>
                </c:pt>
                <c:pt idx="1">
                  <c:v>450</c:v>
                </c:pt>
                <c:pt idx="2">
                  <c:v>500</c:v>
                </c:pt>
                <c:pt idx="3">
                  <c:v>550</c:v>
                </c:pt>
                <c:pt idx="4">
                  <c:v>620</c:v>
                </c:pt>
                <c:pt idx="5">
                  <c:v>660</c:v>
                </c:pt>
                <c:pt idx="6">
                  <c:v>680</c:v>
                </c:pt>
                <c:pt idx="7">
                  <c:v>686</c:v>
                </c:pt>
                <c:pt idx="8">
                  <c:v>692</c:v>
                </c:pt>
                <c:pt idx="9">
                  <c:v>698</c:v>
                </c:pt>
                <c:pt idx="10">
                  <c:v>704</c:v>
                </c:pt>
                <c:pt idx="11">
                  <c:v>690</c:v>
                </c:pt>
              </c:numCache>
            </c:numRef>
          </c:yVal>
          <c:smooth val="0"/>
          <c:extLst>
            <c:ext xmlns:c16="http://schemas.microsoft.com/office/drawing/2014/chart" uri="{C3380CC4-5D6E-409C-BE32-E72D297353CC}">
              <c16:uniqueId val="{00000002-EF4F-4B6C-815B-6E3F5C11A96E}"/>
            </c:ext>
          </c:extLst>
        </c:ser>
        <c:ser>
          <c:idx val="3"/>
          <c:order val="3"/>
          <c:spPr>
            <a:ln w="9525" cmpd="sng" algn="ctr">
              <a:solidFill>
                <a:schemeClr val="accent5"/>
              </a:solidFill>
              <a:prstDash val="lgDash"/>
            </a:ln>
          </c:spPr>
          <c:marker>
            <c:symbol val="none"/>
          </c:marker>
          <c:xVal>
            <c:numRef>
              <c:f>Sheet1!$A$1:$L$1</c:f>
              <c:numCache>
                <c:formatCode>General</c:formatCode>
                <c:ptCount val="12"/>
                <c:pt idx="0">
                  <c:v>2024</c:v>
                </c:pt>
                <c:pt idx="1">
                  <c:v>2025</c:v>
                </c:pt>
                <c:pt idx="2">
                  <c:v>2026</c:v>
                </c:pt>
                <c:pt idx="3">
                  <c:v>2027</c:v>
                </c:pt>
                <c:pt idx="4">
                  <c:v>2028</c:v>
                </c:pt>
                <c:pt idx="5">
                  <c:v>2029</c:v>
                </c:pt>
                <c:pt idx="6">
                  <c:v>2030</c:v>
                </c:pt>
                <c:pt idx="7">
                  <c:v>2031</c:v>
                </c:pt>
                <c:pt idx="8">
                  <c:v>2032</c:v>
                </c:pt>
                <c:pt idx="9">
                  <c:v>2033</c:v>
                </c:pt>
                <c:pt idx="10">
                  <c:v>2034</c:v>
                </c:pt>
                <c:pt idx="11">
                  <c:v>2035</c:v>
                </c:pt>
              </c:numCache>
            </c:numRef>
          </c:xVal>
          <c:yVal>
            <c:numRef>
              <c:f>Sheet1!$A$5:$L$5</c:f>
              <c:numCache>
                <c:formatCode>General</c:formatCode>
                <c:ptCount val="12"/>
                <c:pt idx="0">
                  <c:v>415</c:v>
                </c:pt>
                <c:pt idx="1">
                  <c:v>448</c:v>
                </c:pt>
                <c:pt idx="2">
                  <c:v>485</c:v>
                </c:pt>
                <c:pt idx="3">
                  <c:v>515</c:v>
                </c:pt>
                <c:pt idx="4">
                  <c:v>550</c:v>
                </c:pt>
                <c:pt idx="5">
                  <c:v>575</c:v>
                </c:pt>
                <c:pt idx="6">
                  <c:v>595</c:v>
                </c:pt>
                <c:pt idx="7">
                  <c:v>620</c:v>
                </c:pt>
                <c:pt idx="8">
                  <c:v>645</c:v>
                </c:pt>
                <c:pt idx="9">
                  <c:v>665</c:v>
                </c:pt>
                <c:pt idx="10">
                  <c:v>685</c:v>
                </c:pt>
                <c:pt idx="11">
                  <c:v>702.5</c:v>
                </c:pt>
              </c:numCache>
            </c:numRef>
          </c:yVal>
          <c:smooth val="0"/>
          <c:extLst>
            <c:ext xmlns:c16="http://schemas.microsoft.com/office/drawing/2014/chart" uri="{C3380CC4-5D6E-409C-BE32-E72D297353CC}">
              <c16:uniqueId val="{00000003-EF4F-4B6C-815B-6E3F5C11A96E}"/>
            </c:ext>
          </c:extLst>
        </c:ser>
        <c:dLbls>
          <c:showLegendKey val="0"/>
          <c:showVal val="0"/>
          <c:showCatName val="0"/>
          <c:showSerName val="0"/>
          <c:showPercent val="0"/>
          <c:showBubbleSize val="0"/>
        </c:dLbls>
        <c:axId val="4"/>
        <c:axId val="5"/>
      </c:scatterChart>
      <c:valAx>
        <c:axId val="4"/>
        <c:scaling>
          <c:orientation val="minMax"/>
          <c:max val="2035"/>
          <c:min val="2024"/>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2"/>
      </c:valAx>
      <c:valAx>
        <c:axId val="5"/>
        <c:scaling>
          <c:orientation val="minMax"/>
          <c:max val="18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20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51515151515151"/>
          <c:y val="0.22718446601941747"/>
          <c:w val="0.77575757575757576"/>
          <c:h val="0.54563106796116501"/>
        </c:manualLayout>
      </c:layout>
      <c:barChart>
        <c:barDir val="col"/>
        <c:grouping val="clustered"/>
        <c:varyColors val="0"/>
        <c:ser>
          <c:idx val="0"/>
          <c:order val="0"/>
          <c:spPr>
            <a:solidFill>
              <a:srgbClr val="D1227D"/>
            </a:solidFill>
            <a:ln>
              <a:noFill/>
            </a:ln>
          </c:spPr>
          <c:invertIfNegative val="0"/>
          <c:val>
            <c:numRef>
              <c:f>Sheet1!$A$1</c:f>
              <c:numCache>
                <c:formatCode>General</c:formatCode>
                <c:ptCount val="1"/>
                <c:pt idx="0">
                  <c:v>0</c:v>
                </c:pt>
              </c:numCache>
            </c:numRef>
          </c:val>
          <c:extLst>
            <c:ext xmlns:c16="http://schemas.microsoft.com/office/drawing/2014/chart" uri="{C3380CC4-5D6E-409C-BE32-E72D297353CC}">
              <c16:uniqueId val="{00000000-9564-3440-858E-5F37F36B25D4}"/>
            </c:ext>
          </c:extLst>
        </c:ser>
        <c:ser>
          <c:idx val="1"/>
          <c:order val="1"/>
          <c:spPr>
            <a:solidFill>
              <a:schemeClr val="tx2"/>
            </a:solidFill>
            <a:ln>
              <a:noFill/>
            </a:ln>
          </c:spPr>
          <c:invertIfNegative val="0"/>
          <c:val>
            <c:numRef>
              <c:f>Sheet1!$A$2</c:f>
              <c:numCache>
                <c:formatCode>General</c:formatCode>
                <c:ptCount val="1"/>
                <c:pt idx="0">
                  <c:v>0</c:v>
                </c:pt>
              </c:numCache>
            </c:numRef>
          </c:val>
          <c:extLst>
            <c:ext xmlns:c16="http://schemas.microsoft.com/office/drawing/2014/chart" uri="{C3380CC4-5D6E-409C-BE32-E72D297353CC}">
              <c16:uniqueId val="{00000001-9564-3440-858E-5F37F36B25D4}"/>
            </c:ext>
          </c:extLst>
        </c:ser>
        <c:ser>
          <c:idx val="2"/>
          <c:order val="2"/>
          <c:spPr>
            <a:solidFill>
              <a:schemeClr val="accent4"/>
            </a:solidFill>
            <a:ln>
              <a:noFill/>
            </a:ln>
          </c:spPr>
          <c:invertIfNegative val="0"/>
          <c:val>
            <c:numRef>
              <c:f>Sheet1!$A$3</c:f>
              <c:numCache>
                <c:formatCode>General</c:formatCode>
                <c:ptCount val="1"/>
                <c:pt idx="0">
                  <c:v>0</c:v>
                </c:pt>
              </c:numCache>
            </c:numRef>
          </c:val>
          <c:extLst>
            <c:ext xmlns:c16="http://schemas.microsoft.com/office/drawing/2014/chart" uri="{C3380CC4-5D6E-409C-BE32-E72D297353CC}">
              <c16:uniqueId val="{00000002-9564-3440-858E-5F37F36B25D4}"/>
            </c:ext>
          </c:extLst>
        </c:ser>
        <c:ser>
          <c:idx val="3"/>
          <c:order val="3"/>
          <c:spPr>
            <a:solidFill>
              <a:schemeClr val="accent5"/>
            </a:solidFill>
            <a:ln>
              <a:noFill/>
            </a:ln>
          </c:spPr>
          <c:invertIfNegative val="0"/>
          <c:dLbls>
            <c:dLbl>
              <c:idx val="0"/>
              <c:layout>
                <c:manualLayout>
                  <c:x val="0"/>
                  <c:y val="-3.8834951456310678E-3"/>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G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564-3440-858E-5F37F36B25D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30</c:v>
                </c:pt>
              </c:numCache>
            </c:numRef>
          </c:val>
          <c:extLst>
            <c:ext xmlns:c16="http://schemas.microsoft.com/office/drawing/2014/chart" uri="{C3380CC4-5D6E-409C-BE32-E72D297353CC}">
              <c16:uniqueId val="{00000004-9564-3440-858E-5F37F36B25D4}"/>
            </c:ext>
          </c:extLst>
        </c:ser>
        <c:dLbls>
          <c:showLegendKey val="0"/>
          <c:showVal val="0"/>
          <c:showCatName val="0"/>
          <c:showSerName val="0"/>
          <c:showPercent val="0"/>
          <c:showBubbleSize val="0"/>
        </c:dLbls>
        <c:gapWidth val="80"/>
        <c:axId val="1765820720"/>
        <c:axId val="1"/>
      </c:barChart>
      <c:catAx>
        <c:axId val="17658207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42"/>
          <c:min val="0"/>
        </c:scaling>
        <c:delete val="0"/>
        <c:axPos val="l"/>
        <c:majorGridlines>
          <c:spPr>
            <a:ln>
              <a:noFill/>
            </a:ln>
          </c:spPr>
        </c:majorGridlines>
        <c:numFmt formatCode="General" sourceLinked="1"/>
        <c:majorTickMark val="none"/>
        <c:minorTickMark val="none"/>
        <c:tickLblPos val="none"/>
        <c:spPr>
          <a:ln>
            <a:noFill/>
          </a:ln>
        </c:spPr>
        <c:crossAx val="176582072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564533053515218E-2"/>
          <c:y val="4.1533546325878593E-2"/>
          <c:w val="0.89087093389296956"/>
          <c:h val="0.91693290734824284"/>
        </c:manualLayout>
      </c:layout>
      <c:barChart>
        <c:barDir val="col"/>
        <c:grouping val="stacked"/>
        <c:varyColors val="0"/>
        <c:ser>
          <c:idx val="0"/>
          <c:order val="0"/>
          <c:spPr>
            <a:solidFill>
              <a:schemeClr val="accent1"/>
            </a:solidFill>
            <a:ln>
              <a:noFill/>
            </a:ln>
          </c:spPr>
          <c:invertIfNegative val="0"/>
          <c:val>
            <c:numRef>
              <c:f>Sheet1!$A$1</c:f>
              <c:numCache>
                <c:formatCode>General</c:formatCode>
                <c:ptCount val="1"/>
                <c:pt idx="0">
                  <c:v>10075</c:v>
                </c:pt>
              </c:numCache>
            </c:numRef>
          </c:val>
          <c:extLst>
            <c:ext xmlns:c16="http://schemas.microsoft.com/office/drawing/2014/chart" uri="{C3380CC4-5D6E-409C-BE32-E72D297353CC}">
              <c16:uniqueId val="{00000000-A941-49ED-AB93-D9BCA3BFE5D9}"/>
            </c:ext>
          </c:extLst>
        </c:ser>
        <c:ser>
          <c:idx val="1"/>
          <c:order val="1"/>
          <c:spPr>
            <a:pattFill prst="ltDnDiag">
              <a:fgClr>
                <a:schemeClr val="tx1"/>
              </a:fgClr>
              <a:bgClr>
                <a:schemeClr val="bg1"/>
              </a:bgClr>
            </a:pattFill>
            <a:ln>
              <a:noFill/>
            </a:ln>
          </c:spPr>
          <c:invertIfNegative val="0"/>
          <c:val>
            <c:numRef>
              <c:f>Sheet1!$A$2</c:f>
              <c:numCache>
                <c:formatCode>General</c:formatCode>
                <c:ptCount val="1"/>
                <c:pt idx="0">
                  <c:v>7775</c:v>
                </c:pt>
              </c:numCache>
            </c:numRef>
          </c:val>
          <c:extLst>
            <c:ext xmlns:c16="http://schemas.microsoft.com/office/drawing/2014/chart" uri="{C3380CC4-5D6E-409C-BE32-E72D297353CC}">
              <c16:uniqueId val="{00000001-A941-49ED-AB93-D9BCA3BFE5D9}"/>
            </c:ext>
          </c:extLst>
        </c:ser>
        <c:dLbls>
          <c:showLegendKey val="0"/>
          <c:showVal val="0"/>
          <c:showCatName val="0"/>
          <c:showSerName val="0"/>
          <c:showPercent val="0"/>
          <c:showBubbleSize val="0"/>
        </c:dLbls>
        <c:gapWidth val="200"/>
        <c:overlap val="100"/>
        <c:axId val="2126244831"/>
        <c:axId val="1"/>
      </c:barChart>
      <c:catAx>
        <c:axId val="21262448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850"/>
          <c:min val="0"/>
        </c:scaling>
        <c:delete val="1"/>
        <c:axPos val="l"/>
        <c:numFmt formatCode="General" sourceLinked="1"/>
        <c:majorTickMark val="out"/>
        <c:minorTickMark val="none"/>
        <c:tickLblPos val="nextTo"/>
        <c:crossAx val="2126244831"/>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109452736318407"/>
          <c:y val="0.31588785046728973"/>
          <c:w val="0.63681592039800994"/>
          <c:h val="0.46542056074766353"/>
        </c:manualLayout>
      </c:layout>
      <c:barChart>
        <c:barDir val="col"/>
        <c:grouping val="clustered"/>
        <c:varyColors val="0"/>
        <c:ser>
          <c:idx val="0"/>
          <c:order val="0"/>
          <c:spPr>
            <a:solidFill>
              <a:srgbClr val="D1227D"/>
            </a:solidFill>
            <a:ln>
              <a:noFill/>
            </a:ln>
          </c:spPr>
          <c:invertIfNegative val="0"/>
          <c:dLbls>
            <c:dLbl>
              <c:idx val="0"/>
              <c:layout>
                <c:manualLayout>
                  <c:x val="0"/>
                  <c:y val="3.3644859813084113E-2"/>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G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B41-EE42-B33F-7CA0B24A02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7</c:v>
                </c:pt>
              </c:numCache>
            </c:numRef>
          </c:val>
          <c:extLst>
            <c:ext xmlns:c16="http://schemas.microsoft.com/office/drawing/2014/chart" uri="{C3380CC4-5D6E-409C-BE32-E72D297353CC}">
              <c16:uniqueId val="{00000001-2B41-EE42-B33F-7CA0B24A020F}"/>
            </c:ext>
          </c:extLst>
        </c:ser>
        <c:ser>
          <c:idx val="1"/>
          <c:order val="1"/>
          <c:spPr>
            <a:solidFill>
              <a:schemeClr val="tx2"/>
            </a:solidFill>
            <a:ln>
              <a:noFill/>
            </a:ln>
          </c:spPr>
          <c:invertIfNegative val="0"/>
          <c:dLbls>
            <c:dLbl>
              <c:idx val="0"/>
              <c:layout>
                <c:manualLayout>
                  <c:x val="0"/>
                  <c:y val="3.5514018691588788E-2"/>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G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B41-EE42-B33F-7CA0B24A02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c:v>
                </c:pt>
              </c:numCache>
            </c:numRef>
          </c:val>
          <c:extLst>
            <c:ext xmlns:c16="http://schemas.microsoft.com/office/drawing/2014/chart" uri="{C3380CC4-5D6E-409C-BE32-E72D297353CC}">
              <c16:uniqueId val="{00000003-2B41-EE42-B33F-7CA0B24A020F}"/>
            </c:ext>
          </c:extLst>
        </c:ser>
        <c:ser>
          <c:idx val="2"/>
          <c:order val="2"/>
          <c:spPr>
            <a:solidFill>
              <a:schemeClr val="accent4"/>
            </a:solidFill>
            <a:ln>
              <a:noFill/>
            </a:ln>
          </c:spPr>
          <c:invertIfNegative val="0"/>
          <c:dLbls>
            <c:dLbl>
              <c:idx val="0"/>
              <c:layout>
                <c:manualLayout>
                  <c:x val="0"/>
                  <c:y val="-0.33271028037383177"/>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G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B41-EE42-B33F-7CA0B24A02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342</c:v>
                </c:pt>
              </c:numCache>
            </c:numRef>
          </c:val>
          <c:extLst>
            <c:ext xmlns:c16="http://schemas.microsoft.com/office/drawing/2014/chart" uri="{C3380CC4-5D6E-409C-BE32-E72D297353CC}">
              <c16:uniqueId val="{00000005-2B41-EE42-B33F-7CA0B24A020F}"/>
            </c:ext>
          </c:extLst>
        </c:ser>
        <c:ser>
          <c:idx val="3"/>
          <c:order val="3"/>
          <c:spPr>
            <a:solidFill>
              <a:schemeClr val="accent5"/>
            </a:solidFill>
            <a:ln>
              <a:noFill/>
            </a:ln>
          </c:spPr>
          <c:invertIfNegative val="0"/>
          <c:dLbls>
            <c:dLbl>
              <c:idx val="0"/>
              <c:layout>
                <c:manualLayout>
                  <c:x val="0"/>
                  <c:y val="-0.22056074766355141"/>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G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B41-EE42-B33F-7CA0B24A02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93</c:v>
                </c:pt>
              </c:numCache>
            </c:numRef>
          </c:val>
          <c:extLst>
            <c:ext xmlns:c16="http://schemas.microsoft.com/office/drawing/2014/chart" uri="{C3380CC4-5D6E-409C-BE32-E72D297353CC}">
              <c16:uniqueId val="{00000007-2B41-EE42-B33F-7CA0B24A020F}"/>
            </c:ext>
          </c:extLst>
        </c:ser>
        <c:dLbls>
          <c:showLegendKey val="0"/>
          <c:showVal val="0"/>
          <c:showCatName val="0"/>
          <c:showSerName val="0"/>
          <c:showPercent val="0"/>
          <c:showBubbleSize val="0"/>
        </c:dLbls>
        <c:gapWidth val="80"/>
        <c:axId val="1616556704"/>
        <c:axId val="1"/>
      </c:barChart>
      <c:catAx>
        <c:axId val="16165567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42"/>
          <c:min val="0"/>
        </c:scaling>
        <c:delete val="0"/>
        <c:axPos val="l"/>
        <c:majorGridlines>
          <c:spPr>
            <a:ln>
              <a:noFill/>
            </a:ln>
          </c:spPr>
        </c:majorGridlines>
        <c:numFmt formatCode="General" sourceLinked="1"/>
        <c:majorTickMark val="none"/>
        <c:minorTickMark val="none"/>
        <c:tickLblPos val="none"/>
        <c:spPr>
          <a:ln>
            <a:noFill/>
          </a:ln>
        </c:spPr>
        <c:crossAx val="1616556704"/>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121212121212118E-2"/>
          <c:y val="0.22718446601941747"/>
          <c:w val="0.81454545454545457"/>
          <c:h val="0.54563106796116501"/>
        </c:manualLayout>
      </c:layout>
      <c:barChart>
        <c:barDir val="col"/>
        <c:grouping val="clustered"/>
        <c:varyColors val="0"/>
        <c:ser>
          <c:idx val="0"/>
          <c:order val="0"/>
          <c:spPr>
            <a:solidFill>
              <a:srgbClr val="D1227D"/>
            </a:solidFill>
            <a:ln>
              <a:noFill/>
            </a:ln>
          </c:spPr>
          <c:invertIfNegative val="0"/>
          <c:dLbls>
            <c:dLbl>
              <c:idx val="0"/>
              <c:layout>
                <c:manualLayout>
                  <c:x val="0"/>
                  <c:y val="1.9417475728155339E-3"/>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G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0C5-2841-AFB3-E2126E812D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7</c:v>
                </c:pt>
              </c:numCache>
            </c:numRef>
          </c:val>
          <c:extLst>
            <c:ext xmlns:c16="http://schemas.microsoft.com/office/drawing/2014/chart" uri="{C3380CC4-5D6E-409C-BE32-E72D297353CC}">
              <c16:uniqueId val="{00000001-F0C5-2841-AFB3-E2126E812D42}"/>
            </c:ext>
          </c:extLst>
        </c:ser>
        <c:ser>
          <c:idx val="1"/>
          <c:order val="1"/>
          <c:spPr>
            <a:solidFill>
              <a:schemeClr val="tx2"/>
            </a:solidFill>
            <a:ln>
              <a:noFill/>
            </a:ln>
          </c:spPr>
          <c:invertIfNegative val="0"/>
          <c:dLbls>
            <c:dLbl>
              <c:idx val="0"/>
              <c:layout>
                <c:manualLayout>
                  <c:x val="0"/>
                  <c:y val="7.7669902912621356E-3"/>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G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0C5-2841-AFB3-E2126E812D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3</c:v>
                </c:pt>
              </c:numCache>
            </c:numRef>
          </c:val>
          <c:extLst>
            <c:ext xmlns:c16="http://schemas.microsoft.com/office/drawing/2014/chart" uri="{C3380CC4-5D6E-409C-BE32-E72D297353CC}">
              <c16:uniqueId val="{00000003-F0C5-2841-AFB3-E2126E812D42}"/>
            </c:ext>
          </c:extLst>
        </c:ser>
        <c:ser>
          <c:idx val="2"/>
          <c:order val="2"/>
          <c:spPr>
            <a:solidFill>
              <a:schemeClr val="accent4"/>
            </a:solidFill>
            <a:ln>
              <a:noFill/>
            </a:ln>
          </c:spPr>
          <c:invertIfNegative val="0"/>
          <c:dLbls>
            <c:dLbl>
              <c:idx val="0"/>
              <c:layout>
                <c:manualLayout>
                  <c:x val="0"/>
                  <c:y val="-3.4951456310679613E-2"/>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G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0C5-2841-AFB3-E2126E812D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50</c:v>
                </c:pt>
              </c:numCache>
            </c:numRef>
          </c:val>
          <c:extLst>
            <c:ext xmlns:c16="http://schemas.microsoft.com/office/drawing/2014/chart" uri="{C3380CC4-5D6E-409C-BE32-E72D297353CC}">
              <c16:uniqueId val="{00000005-F0C5-2841-AFB3-E2126E812D42}"/>
            </c:ext>
          </c:extLst>
        </c:ser>
        <c:ser>
          <c:idx val="3"/>
          <c:order val="3"/>
          <c:spPr>
            <a:solidFill>
              <a:schemeClr val="accent4"/>
            </a:solidFill>
            <a:ln>
              <a:noFill/>
            </a:ln>
          </c:spPr>
          <c:invertIfNegative val="0"/>
          <c:val>
            <c:numRef>
              <c:f>Sheet1!$A$4</c:f>
              <c:numCache>
                <c:formatCode>General</c:formatCode>
                <c:ptCount val="1"/>
                <c:pt idx="0">
                  <c:v>0</c:v>
                </c:pt>
              </c:numCache>
            </c:numRef>
          </c:val>
          <c:extLst>
            <c:ext xmlns:c16="http://schemas.microsoft.com/office/drawing/2014/chart" uri="{C3380CC4-5D6E-409C-BE32-E72D297353CC}">
              <c16:uniqueId val="{00000006-F0C5-2841-AFB3-E2126E812D42}"/>
            </c:ext>
          </c:extLst>
        </c:ser>
        <c:dLbls>
          <c:showLegendKey val="0"/>
          <c:showVal val="0"/>
          <c:showCatName val="0"/>
          <c:showSerName val="0"/>
          <c:showPercent val="0"/>
          <c:showBubbleSize val="0"/>
        </c:dLbls>
        <c:gapWidth val="80"/>
        <c:axId val="1608735088"/>
        <c:axId val="1"/>
      </c:barChart>
      <c:catAx>
        <c:axId val="16087350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42"/>
          <c:min val="0"/>
        </c:scaling>
        <c:delete val="0"/>
        <c:axPos val="l"/>
        <c:majorGridlines>
          <c:spPr>
            <a:ln>
              <a:noFill/>
            </a:ln>
          </c:spPr>
        </c:majorGridlines>
        <c:numFmt formatCode="General" sourceLinked="1"/>
        <c:majorTickMark val="none"/>
        <c:minorTickMark val="none"/>
        <c:tickLblPos val="none"/>
        <c:spPr>
          <a:ln>
            <a:noFill/>
          </a:ln>
        </c:spPr>
        <c:crossAx val="1608735088"/>
        <c:crosses val="min"/>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636363636363637"/>
          <c:y val="0.23260437375745527"/>
          <c:w val="0.68727272727272726"/>
          <c:h val="0.53479125248508941"/>
        </c:manualLayout>
      </c:layout>
      <c:barChart>
        <c:barDir val="col"/>
        <c:grouping val="clustered"/>
        <c:varyColors val="0"/>
        <c:ser>
          <c:idx val="0"/>
          <c:order val="0"/>
          <c:spPr>
            <a:solidFill>
              <a:srgbClr val="D1227D"/>
            </a:solidFill>
            <a:ln>
              <a:noFill/>
            </a:ln>
          </c:spPr>
          <c:invertIfNegative val="0"/>
          <c:dLbls>
            <c:dLbl>
              <c:idx val="0"/>
              <c:layout>
                <c:manualLayout>
                  <c:x val="0"/>
                  <c:y val="-4.1749502982107355E-2"/>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G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824-A84E-9F67-C41B024B2B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56</c:v>
                </c:pt>
              </c:numCache>
            </c:numRef>
          </c:val>
          <c:extLst>
            <c:ext xmlns:c16="http://schemas.microsoft.com/office/drawing/2014/chart" uri="{C3380CC4-5D6E-409C-BE32-E72D297353CC}">
              <c16:uniqueId val="{00000001-6824-A84E-9F67-C41B024B2B21}"/>
            </c:ext>
          </c:extLst>
        </c:ser>
        <c:ser>
          <c:idx val="1"/>
          <c:order val="1"/>
          <c:spPr>
            <a:solidFill>
              <a:schemeClr val="tx2"/>
            </a:solidFill>
            <a:ln>
              <a:noFill/>
            </a:ln>
          </c:spPr>
          <c:invertIfNegative val="0"/>
          <c:dLbls>
            <c:dLbl>
              <c:idx val="0"/>
              <c:layout>
                <c:manualLayout>
                  <c:x val="0"/>
                  <c:y val="-9.9403578528827041E-3"/>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G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824-A84E-9F67-C41B024B2B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5</c:v>
                </c:pt>
              </c:numCache>
            </c:numRef>
          </c:val>
          <c:extLst>
            <c:ext xmlns:c16="http://schemas.microsoft.com/office/drawing/2014/chart" uri="{C3380CC4-5D6E-409C-BE32-E72D297353CC}">
              <c16:uniqueId val="{00000003-6824-A84E-9F67-C41B024B2B21}"/>
            </c:ext>
          </c:extLst>
        </c:ser>
        <c:ser>
          <c:idx val="2"/>
          <c:order val="2"/>
          <c:spPr>
            <a:solidFill>
              <a:schemeClr val="accent4"/>
            </a:solidFill>
            <a:ln>
              <a:noFill/>
            </a:ln>
          </c:spPr>
          <c:invertIfNegative val="0"/>
          <c:dLbls>
            <c:dLbl>
              <c:idx val="0"/>
              <c:layout>
                <c:manualLayout>
                  <c:x val="0"/>
                  <c:y val="9.9403578528827041E-3"/>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G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824-A84E-9F67-C41B024B2B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3</c:v>
                </c:pt>
              </c:numCache>
            </c:numRef>
          </c:val>
          <c:extLst>
            <c:ext xmlns:c16="http://schemas.microsoft.com/office/drawing/2014/chart" uri="{C3380CC4-5D6E-409C-BE32-E72D297353CC}">
              <c16:uniqueId val="{00000005-6824-A84E-9F67-C41B024B2B21}"/>
            </c:ext>
          </c:extLst>
        </c:ser>
        <c:ser>
          <c:idx val="3"/>
          <c:order val="3"/>
          <c:spPr>
            <a:solidFill>
              <a:schemeClr val="accent4"/>
            </a:solidFill>
            <a:ln>
              <a:noFill/>
            </a:ln>
          </c:spPr>
          <c:invertIfNegative val="0"/>
          <c:val>
            <c:numRef>
              <c:f>Sheet1!$A$4</c:f>
              <c:numCache>
                <c:formatCode>General</c:formatCode>
                <c:ptCount val="1"/>
                <c:pt idx="0">
                  <c:v>0</c:v>
                </c:pt>
              </c:numCache>
            </c:numRef>
          </c:val>
          <c:extLst>
            <c:ext xmlns:c16="http://schemas.microsoft.com/office/drawing/2014/chart" uri="{C3380CC4-5D6E-409C-BE32-E72D297353CC}">
              <c16:uniqueId val="{00000006-6824-A84E-9F67-C41B024B2B21}"/>
            </c:ext>
          </c:extLst>
        </c:ser>
        <c:dLbls>
          <c:showLegendKey val="0"/>
          <c:showVal val="0"/>
          <c:showCatName val="0"/>
          <c:showSerName val="0"/>
          <c:showPercent val="0"/>
          <c:showBubbleSize val="0"/>
        </c:dLbls>
        <c:gapWidth val="80"/>
        <c:axId val="1609117120"/>
        <c:axId val="1"/>
      </c:barChart>
      <c:catAx>
        <c:axId val="16091171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42"/>
          <c:min val="0"/>
        </c:scaling>
        <c:delete val="0"/>
        <c:axPos val="l"/>
        <c:majorGridlines>
          <c:spPr>
            <a:ln>
              <a:noFill/>
            </a:ln>
          </c:spPr>
        </c:majorGridlines>
        <c:numFmt formatCode="General" sourceLinked="1"/>
        <c:majorTickMark val="none"/>
        <c:minorTickMark val="none"/>
        <c:tickLblPos val="none"/>
        <c:spPr>
          <a:ln>
            <a:noFill/>
          </a:ln>
        </c:spPr>
        <c:crossAx val="1609117120"/>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922480620155038E-2"/>
          <c:y val="0.22718446601941747"/>
          <c:w val="0.81860465116279069"/>
          <c:h val="0.54563106796116501"/>
        </c:manualLayout>
      </c:layout>
      <c:barChart>
        <c:barDir val="col"/>
        <c:grouping val="clustered"/>
        <c:varyColors val="0"/>
        <c:ser>
          <c:idx val="0"/>
          <c:order val="0"/>
          <c:spPr>
            <a:solidFill>
              <a:srgbClr val="D1227D"/>
            </a:solidFill>
            <a:ln>
              <a:noFill/>
            </a:ln>
          </c:spPr>
          <c:invertIfNegative val="0"/>
          <c:dLbls>
            <c:dLbl>
              <c:idx val="0"/>
              <c:layout>
                <c:manualLayout>
                  <c:x val="0"/>
                  <c:y val="4.0776699029126215E-2"/>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G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373-1D41-B3BE-2295326CBE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c:v>
                </c:pt>
              </c:numCache>
            </c:numRef>
          </c:val>
          <c:extLst>
            <c:ext xmlns:c16="http://schemas.microsoft.com/office/drawing/2014/chart" uri="{C3380CC4-5D6E-409C-BE32-E72D297353CC}">
              <c16:uniqueId val="{00000001-A373-1D41-B3BE-2295326CBE6C}"/>
            </c:ext>
          </c:extLst>
        </c:ser>
        <c:ser>
          <c:idx val="1"/>
          <c:order val="1"/>
          <c:spPr>
            <a:solidFill>
              <a:schemeClr val="tx2"/>
            </a:solidFill>
            <a:ln>
              <a:noFill/>
            </a:ln>
          </c:spPr>
          <c:invertIfNegative val="0"/>
          <c:dLbls>
            <c:dLbl>
              <c:idx val="0"/>
              <c:layout>
                <c:manualLayout>
                  <c:x val="0"/>
                  <c:y val="3.6893203883495145E-2"/>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G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373-1D41-B3BE-2295326CBE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c:v>
                </c:pt>
              </c:numCache>
            </c:numRef>
          </c:val>
          <c:extLst>
            <c:ext xmlns:c16="http://schemas.microsoft.com/office/drawing/2014/chart" uri="{C3380CC4-5D6E-409C-BE32-E72D297353CC}">
              <c16:uniqueId val="{00000003-A373-1D41-B3BE-2295326CBE6C}"/>
            </c:ext>
          </c:extLst>
        </c:ser>
        <c:ser>
          <c:idx val="2"/>
          <c:order val="2"/>
          <c:spPr>
            <a:solidFill>
              <a:schemeClr val="accent4"/>
            </a:solidFill>
            <a:ln>
              <a:noFill/>
            </a:ln>
          </c:spPr>
          <c:invertIfNegative val="0"/>
          <c:dLbls>
            <c:dLbl>
              <c:idx val="0"/>
              <c:layout>
                <c:manualLayout>
                  <c:x val="0"/>
                  <c:y val="4.0776699029126215E-2"/>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G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373-1D41-B3BE-2295326CBE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3</c:v>
                </c:pt>
              </c:numCache>
            </c:numRef>
          </c:val>
          <c:extLst>
            <c:ext xmlns:c16="http://schemas.microsoft.com/office/drawing/2014/chart" uri="{C3380CC4-5D6E-409C-BE32-E72D297353CC}">
              <c16:uniqueId val="{00000005-A373-1D41-B3BE-2295326CBE6C}"/>
            </c:ext>
          </c:extLst>
        </c:ser>
        <c:ser>
          <c:idx val="3"/>
          <c:order val="3"/>
          <c:spPr>
            <a:solidFill>
              <a:schemeClr val="accent5"/>
            </a:solidFill>
            <a:ln>
              <a:noFill/>
            </a:ln>
          </c:spPr>
          <c:invertIfNegative val="0"/>
          <c:val>
            <c:numRef>
              <c:f>Sheet1!$A$4</c:f>
              <c:numCache>
                <c:formatCode>General</c:formatCode>
                <c:ptCount val="1"/>
                <c:pt idx="0">
                  <c:v>0</c:v>
                </c:pt>
              </c:numCache>
            </c:numRef>
          </c:val>
          <c:extLst>
            <c:ext xmlns:c16="http://schemas.microsoft.com/office/drawing/2014/chart" uri="{C3380CC4-5D6E-409C-BE32-E72D297353CC}">
              <c16:uniqueId val="{00000006-A373-1D41-B3BE-2295326CBE6C}"/>
            </c:ext>
          </c:extLst>
        </c:ser>
        <c:dLbls>
          <c:showLegendKey val="0"/>
          <c:showVal val="0"/>
          <c:showCatName val="0"/>
          <c:showSerName val="0"/>
          <c:showPercent val="0"/>
          <c:showBubbleSize val="0"/>
        </c:dLbls>
        <c:gapWidth val="80"/>
        <c:axId val="1965649776"/>
        <c:axId val="1"/>
      </c:barChart>
      <c:catAx>
        <c:axId val="19656497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42"/>
          <c:min val="0"/>
        </c:scaling>
        <c:delete val="0"/>
        <c:axPos val="l"/>
        <c:majorGridlines>
          <c:spPr>
            <a:ln>
              <a:noFill/>
            </a:ln>
          </c:spPr>
        </c:majorGridlines>
        <c:numFmt formatCode="General" sourceLinked="1"/>
        <c:majorTickMark val="none"/>
        <c:minorTickMark val="none"/>
        <c:tickLblPos val="none"/>
        <c:spPr>
          <a:ln>
            <a:noFill/>
          </a:ln>
        </c:spPr>
        <c:crossAx val="1965649776"/>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198515769944335E-2"/>
          <c:y val="3.6248300860897142E-2"/>
          <c:w val="0.88868274582560292"/>
          <c:h val="0.92705029451744447"/>
        </c:manualLayout>
      </c:layout>
      <c:barChart>
        <c:barDir val="col"/>
        <c:grouping val="stacked"/>
        <c:varyColors val="0"/>
        <c:ser>
          <c:idx val="0"/>
          <c:order val="0"/>
          <c:spPr>
            <a:noFill/>
            <a:ln>
              <a:noFill/>
            </a:ln>
          </c:spPr>
          <c:invertIfNegative val="0"/>
          <c:val>
            <c:numRef>
              <c:f>Sheet1!$A$1:$E$1</c:f>
              <c:numCache>
                <c:formatCode>General</c:formatCode>
                <c:ptCount val="5"/>
                <c:pt idx="0">
                  <c:v>1.7</c:v>
                </c:pt>
                <c:pt idx="1">
                  <c:v>0.8</c:v>
                </c:pt>
                <c:pt idx="2">
                  <c:v>1.5</c:v>
                </c:pt>
                <c:pt idx="3">
                  <c:v>2.7</c:v>
                </c:pt>
                <c:pt idx="4">
                  <c:v>3.07</c:v>
                </c:pt>
              </c:numCache>
            </c:numRef>
          </c:val>
          <c:extLst>
            <c:ext xmlns:c16="http://schemas.microsoft.com/office/drawing/2014/chart" uri="{C3380CC4-5D6E-409C-BE32-E72D297353CC}">
              <c16:uniqueId val="{00000000-45DF-451C-B678-52DCF80AAA9D}"/>
            </c:ext>
          </c:extLst>
        </c:ser>
        <c:ser>
          <c:idx val="1"/>
          <c:order val="1"/>
          <c:spPr>
            <a:solidFill>
              <a:schemeClr val="accent4"/>
            </a:solidFill>
            <a:ln>
              <a:noFill/>
            </a:ln>
          </c:spPr>
          <c:invertIfNegative val="0"/>
          <c:dPt>
            <c:idx val="4"/>
            <c:invertIfNegative val="0"/>
            <c:bubble3D val="0"/>
            <c:spPr>
              <a:solidFill>
                <a:srgbClr val="D1227D"/>
              </a:solidFill>
              <a:ln>
                <a:noFill/>
              </a:ln>
            </c:spPr>
            <c:extLst>
              <c:ext xmlns:c16="http://schemas.microsoft.com/office/drawing/2014/chart" uri="{C3380CC4-5D6E-409C-BE32-E72D297353CC}">
                <c16:uniqueId val="{00000001-45DF-451C-B678-52DCF80AAA9D}"/>
              </c:ext>
            </c:extLst>
          </c:dPt>
          <c:val>
            <c:numRef>
              <c:f>Sheet1!$A$2:$E$2</c:f>
              <c:numCache>
                <c:formatCode>General</c:formatCode>
                <c:ptCount val="5"/>
                <c:pt idx="0">
                  <c:v>3.3999999999999995</c:v>
                </c:pt>
                <c:pt idx="1">
                  <c:v>4.9000000000000004</c:v>
                </c:pt>
                <c:pt idx="2">
                  <c:v>5.2</c:v>
                </c:pt>
                <c:pt idx="3">
                  <c:v>9.3000000000000007</c:v>
                </c:pt>
                <c:pt idx="4">
                  <c:v>0.79</c:v>
                </c:pt>
              </c:numCache>
            </c:numRef>
          </c:val>
          <c:extLst>
            <c:ext xmlns:c16="http://schemas.microsoft.com/office/drawing/2014/chart" uri="{C3380CC4-5D6E-409C-BE32-E72D297353CC}">
              <c16:uniqueId val="{00000002-45DF-451C-B678-52DCF80AAA9D}"/>
            </c:ext>
          </c:extLst>
        </c:ser>
        <c:dLbls>
          <c:showLegendKey val="0"/>
          <c:showVal val="0"/>
          <c:showCatName val="0"/>
          <c:showSerName val="0"/>
          <c:showPercent val="0"/>
          <c:showBubbleSize val="0"/>
        </c:dLbls>
        <c:gapWidth val="80"/>
        <c:overlap val="100"/>
        <c:axId val="1108651408"/>
        <c:axId val="1"/>
      </c:barChart>
      <c:catAx>
        <c:axId val="11086514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1108651408"/>
        <c:crosses val="min"/>
        <c:crossBetween val="between"/>
        <c:majorUnit val="1"/>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755883710198434E-2"/>
          <c:y val="3.6248300860897142E-2"/>
          <c:w val="0.88924780802953396"/>
          <c:h val="0.92705029451744447"/>
        </c:manualLayout>
      </c:layout>
      <c:barChart>
        <c:barDir val="col"/>
        <c:grouping val="stacked"/>
        <c:varyColors val="0"/>
        <c:ser>
          <c:idx val="0"/>
          <c:order val="0"/>
          <c:spPr>
            <a:noFill/>
            <a:ln>
              <a:noFill/>
            </a:ln>
          </c:spPr>
          <c:invertIfNegative val="0"/>
          <c:dPt>
            <c:idx val="3"/>
            <c:invertIfNegative val="0"/>
            <c:bubble3D val="0"/>
            <c:spPr>
              <a:solidFill>
                <a:schemeClr val="accent1"/>
              </a:solidFill>
              <a:ln>
                <a:noFill/>
              </a:ln>
            </c:spPr>
            <c:extLst>
              <c:ext xmlns:c16="http://schemas.microsoft.com/office/drawing/2014/chart" uri="{C3380CC4-5D6E-409C-BE32-E72D297353CC}">
                <c16:uniqueId val="{00000000-8A33-4BB1-8CCF-A48FD22E9B8C}"/>
              </c:ext>
            </c:extLst>
          </c:dPt>
          <c:dPt>
            <c:idx val="4"/>
            <c:invertIfNegative val="0"/>
            <c:bubble3D val="0"/>
            <c:spPr>
              <a:solidFill>
                <a:schemeClr val="accent5"/>
              </a:solidFill>
              <a:ln>
                <a:noFill/>
              </a:ln>
            </c:spPr>
            <c:extLst>
              <c:ext xmlns:c16="http://schemas.microsoft.com/office/drawing/2014/chart" uri="{C3380CC4-5D6E-409C-BE32-E72D297353CC}">
                <c16:uniqueId val="{00000001-8A33-4BB1-8CCF-A48FD22E9B8C}"/>
              </c:ext>
            </c:extLst>
          </c:dPt>
          <c:val>
            <c:numRef>
              <c:f>Sheet1!$A$1:$E$1</c:f>
              <c:numCache>
                <c:formatCode>General</c:formatCode>
                <c:ptCount val="5"/>
                <c:pt idx="0">
                  <c:v>18</c:v>
                </c:pt>
                <c:pt idx="1">
                  <c:v>10</c:v>
                </c:pt>
                <c:pt idx="2">
                  <c:v>1</c:v>
                </c:pt>
                <c:pt idx="3">
                  <c:v>0</c:v>
                </c:pt>
                <c:pt idx="4">
                  <c:v>0</c:v>
                </c:pt>
              </c:numCache>
            </c:numRef>
          </c:val>
          <c:extLst>
            <c:ext xmlns:c16="http://schemas.microsoft.com/office/drawing/2014/chart" uri="{C3380CC4-5D6E-409C-BE32-E72D297353CC}">
              <c16:uniqueId val="{00000002-8A33-4BB1-8CCF-A48FD22E9B8C}"/>
            </c:ext>
          </c:extLst>
        </c:ser>
        <c:ser>
          <c:idx val="1"/>
          <c:order val="1"/>
          <c:spPr>
            <a:solidFill>
              <a:schemeClr val="accent4"/>
            </a:solidFill>
            <a:ln>
              <a:noFill/>
            </a:ln>
          </c:spPr>
          <c:invertIfNegative val="0"/>
          <c:val>
            <c:numRef>
              <c:f>Sheet1!$A$2:$E$2</c:f>
              <c:numCache>
                <c:formatCode>General</c:formatCode>
                <c:ptCount val="5"/>
                <c:pt idx="0">
                  <c:v>1</c:v>
                </c:pt>
                <c:pt idx="1">
                  <c:v>9</c:v>
                </c:pt>
                <c:pt idx="2">
                  <c:v>3</c:v>
                </c:pt>
              </c:numCache>
            </c:numRef>
          </c:val>
          <c:extLst>
            <c:ext xmlns:c16="http://schemas.microsoft.com/office/drawing/2014/chart" uri="{C3380CC4-5D6E-409C-BE32-E72D297353CC}">
              <c16:uniqueId val="{00000003-8A33-4BB1-8CCF-A48FD22E9B8C}"/>
            </c:ext>
          </c:extLst>
        </c:ser>
        <c:dLbls>
          <c:showLegendKey val="0"/>
          <c:showVal val="0"/>
          <c:showCatName val="0"/>
          <c:showSerName val="0"/>
          <c:showPercent val="0"/>
          <c:showBubbleSize val="0"/>
        </c:dLbls>
        <c:gapWidth val="80"/>
        <c:overlap val="100"/>
        <c:axId val="9414464"/>
        <c:axId val="1"/>
      </c:barChart>
      <c:catAx>
        <c:axId val="94144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9414464"/>
        <c:crosses val="min"/>
        <c:crossBetween val="between"/>
        <c:majorUnit val="1"/>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704399406821551E-2"/>
          <c:y val="2.4186046511627906E-2"/>
          <c:w val="0.94859120118635687"/>
          <c:h val="0.95162790697674415"/>
        </c:manualLayout>
      </c:layout>
      <c:barChart>
        <c:barDir val="col"/>
        <c:grouping val="stacked"/>
        <c:varyColors val="0"/>
        <c:ser>
          <c:idx val="0"/>
          <c:order val="0"/>
          <c:spPr>
            <a:solidFill>
              <a:schemeClr val="accent1"/>
            </a:solidFill>
            <a:ln>
              <a:noFill/>
            </a:ln>
          </c:spPr>
          <c:invertIfNegative val="0"/>
          <c:dPt>
            <c:idx val="2"/>
            <c:invertIfNegative val="0"/>
            <c:bubble3D val="0"/>
            <c:spPr>
              <a:solidFill>
                <a:schemeClr val="accent4"/>
              </a:solidFill>
              <a:ln>
                <a:noFill/>
              </a:ln>
            </c:spPr>
            <c:extLst>
              <c:ext xmlns:c16="http://schemas.microsoft.com/office/drawing/2014/chart" uri="{C3380CC4-5D6E-409C-BE32-E72D297353CC}">
                <c16:uniqueId val="{00000000-EDDA-499A-BF15-F2FE21AAA241}"/>
              </c:ext>
            </c:extLst>
          </c:dPt>
          <c:dPt>
            <c:idx val="3"/>
            <c:invertIfNegative val="0"/>
            <c:bubble3D val="0"/>
            <c:spPr>
              <a:solidFill>
                <a:schemeClr val="accent4"/>
              </a:solidFill>
              <a:ln>
                <a:noFill/>
              </a:ln>
            </c:spPr>
            <c:extLst>
              <c:ext xmlns:c16="http://schemas.microsoft.com/office/drawing/2014/chart" uri="{C3380CC4-5D6E-409C-BE32-E72D297353CC}">
                <c16:uniqueId val="{00000001-EDDA-499A-BF15-F2FE21AAA241}"/>
              </c:ext>
            </c:extLst>
          </c:dPt>
          <c:dPt>
            <c:idx val="4"/>
            <c:invertIfNegative val="0"/>
            <c:bubble3D val="0"/>
            <c:spPr>
              <a:solidFill>
                <a:srgbClr val="D1227D"/>
              </a:solidFill>
              <a:ln>
                <a:noFill/>
              </a:ln>
            </c:spPr>
            <c:extLst>
              <c:ext xmlns:c16="http://schemas.microsoft.com/office/drawing/2014/chart" uri="{C3380CC4-5D6E-409C-BE32-E72D297353CC}">
                <c16:uniqueId val="{00000002-EDDA-499A-BF15-F2FE21AAA241}"/>
              </c:ext>
            </c:extLst>
          </c:dPt>
          <c:val>
            <c:numRef>
              <c:f>Sheet1!$A$1:$E$1</c:f>
              <c:numCache>
                <c:formatCode>General</c:formatCode>
                <c:ptCount val="5"/>
                <c:pt idx="0">
                  <c:v>0</c:v>
                </c:pt>
                <c:pt idx="1">
                  <c:v>0</c:v>
                </c:pt>
                <c:pt idx="2">
                  <c:v>20</c:v>
                </c:pt>
                <c:pt idx="3">
                  <c:v>33.4</c:v>
                </c:pt>
                <c:pt idx="4">
                  <c:v>100</c:v>
                </c:pt>
              </c:numCache>
            </c:numRef>
          </c:val>
          <c:extLst>
            <c:ext xmlns:c16="http://schemas.microsoft.com/office/drawing/2014/chart" uri="{C3380CC4-5D6E-409C-BE32-E72D297353CC}">
              <c16:uniqueId val="{00000003-EDDA-499A-BF15-F2FE21AAA241}"/>
            </c:ext>
          </c:extLst>
        </c:ser>
        <c:ser>
          <c:idx val="1"/>
          <c:order val="1"/>
          <c:spPr>
            <a:pattFill prst="ltDnDiag">
              <a:fgClr>
                <a:schemeClr val="tx1"/>
              </a:fgClr>
              <a:bgClr>
                <a:schemeClr val="bg1"/>
              </a:bgClr>
            </a:pattFill>
            <a:ln>
              <a:noFill/>
            </a:ln>
          </c:spPr>
          <c:invertIfNegative val="0"/>
          <c:dPt>
            <c:idx val="4"/>
            <c:invertIfNegative val="0"/>
            <c:bubble3D val="0"/>
            <c:spPr>
              <a:noFill/>
              <a:ln>
                <a:noFill/>
              </a:ln>
            </c:spPr>
            <c:extLst>
              <c:ext xmlns:c16="http://schemas.microsoft.com/office/drawing/2014/chart" uri="{C3380CC4-5D6E-409C-BE32-E72D297353CC}">
                <c16:uniqueId val="{00000004-EDDA-499A-BF15-F2FE21AAA241}"/>
              </c:ext>
            </c:extLst>
          </c:dPt>
          <c:val>
            <c:numRef>
              <c:f>Sheet1!$A$2:$E$2</c:f>
              <c:numCache>
                <c:formatCode>General</c:formatCode>
                <c:ptCount val="5"/>
                <c:pt idx="2">
                  <c:v>13.399999999999999</c:v>
                </c:pt>
                <c:pt idx="3">
                  <c:v>66.599999999999994</c:v>
                </c:pt>
                <c:pt idx="4">
                  <c:v>0</c:v>
                </c:pt>
              </c:numCache>
            </c:numRef>
          </c:val>
          <c:extLst>
            <c:ext xmlns:c16="http://schemas.microsoft.com/office/drawing/2014/chart" uri="{C3380CC4-5D6E-409C-BE32-E72D297353CC}">
              <c16:uniqueId val="{00000005-EDDA-499A-BF15-F2FE21AAA241}"/>
            </c:ext>
          </c:extLst>
        </c:ser>
        <c:dLbls>
          <c:showLegendKey val="0"/>
          <c:showVal val="0"/>
          <c:showCatName val="0"/>
          <c:showSerName val="0"/>
          <c:showPercent val="0"/>
          <c:showBubbleSize val="0"/>
        </c:dLbls>
        <c:gapWidth val="80"/>
        <c:overlap val="100"/>
        <c:axId val="2076969871"/>
        <c:axId val="1"/>
      </c:barChart>
      <c:catAx>
        <c:axId val="20769698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00" kern="1200">
                <a:latin typeface="+mn-lt"/>
                <a:ea typeface="+mn-ea"/>
                <a:cs typeface="+mn-cs"/>
              </a:defRPr>
            </a:pPr>
            <a:endParaRPr lang="en-US"/>
          </a:p>
        </c:txPr>
        <c:crossAx val="2076969871"/>
        <c:crosses val="min"/>
        <c:crossBetween val="between"/>
        <c:majorUnit val="20"/>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025641025641025"/>
          <c:y val="0.20402298850574713"/>
          <c:w val="0.77948717948717949"/>
          <c:h val="0.59195402298850575"/>
        </c:manualLayout>
      </c:layout>
      <c:barChart>
        <c:barDir val="bar"/>
        <c:grouping val="stacked"/>
        <c:varyColors val="0"/>
        <c:ser>
          <c:idx val="0"/>
          <c:order val="0"/>
          <c:spPr>
            <a:solidFill>
              <a:srgbClr val="6F8DB9"/>
            </a:solidFill>
            <a:ln>
              <a:noFill/>
            </a:ln>
          </c:spPr>
          <c:invertIfNegative val="0"/>
          <c:dLbls>
            <c:dLbl>
              <c:idx val="0"/>
              <c:layout>
                <c:manualLayout>
                  <c:x val="0"/>
                  <c:y val="0"/>
                </c:manualLayout>
              </c:layout>
              <c:numFmt formatCode="&quot;$&quot;#,##0&quot;B&quot;;&quot;-&quot;&quot;$&quot;#,##0&quot;B&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7B5-4E97-81C5-7BA584CB5E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c:v>
                </c:pt>
              </c:numCache>
            </c:numRef>
          </c:val>
          <c:extLst>
            <c:ext xmlns:c16="http://schemas.microsoft.com/office/drawing/2014/chart" uri="{C3380CC4-5D6E-409C-BE32-E72D297353CC}">
              <c16:uniqueId val="{00000001-87B5-4E97-81C5-7BA584CB5EFA}"/>
            </c:ext>
          </c:extLst>
        </c:ser>
        <c:ser>
          <c:idx val="1"/>
          <c:order val="1"/>
          <c:spPr>
            <a:solidFill>
              <a:schemeClr val="accent6"/>
            </a:solidFill>
            <a:ln>
              <a:noFill/>
            </a:ln>
          </c:spPr>
          <c:invertIfNegative val="0"/>
          <c:dLbls>
            <c:dLbl>
              <c:idx val="0"/>
              <c:layout>
                <c:manualLayout>
                  <c:x val="0"/>
                  <c:y val="0"/>
                </c:manualLayout>
              </c:layout>
              <c:numFmt formatCode="&quot;$&quot;#,##0&quot;B&quot;;&quot;-&quot;&quot;$&quot;#,##0&quot;B&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7B5-4E97-81C5-7BA584CB5E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c:v>
                </c:pt>
              </c:numCache>
            </c:numRef>
          </c:val>
          <c:extLst>
            <c:ext xmlns:c16="http://schemas.microsoft.com/office/drawing/2014/chart" uri="{C3380CC4-5D6E-409C-BE32-E72D297353CC}">
              <c16:uniqueId val="{00000003-87B5-4E97-81C5-7BA584CB5EFA}"/>
            </c:ext>
          </c:extLst>
        </c:ser>
        <c:ser>
          <c:idx val="2"/>
          <c:order val="2"/>
          <c:spPr>
            <a:solidFill>
              <a:schemeClr val="accent2"/>
            </a:solidFill>
            <a:ln>
              <a:noFill/>
            </a:ln>
          </c:spPr>
          <c:invertIfNegative val="0"/>
          <c:dLbls>
            <c:dLbl>
              <c:idx val="0"/>
              <c:layout>
                <c:manualLayout>
                  <c:x val="0"/>
                  <c:y val="0"/>
                </c:manualLayout>
              </c:layout>
              <c:numFmt formatCode="&quot;$&quot;#,##0&quot;B&quot;;&quot;-&quot;&quot;$&quot;#,##0&quot;B&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7B5-4E97-81C5-7BA584CB5E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c:v>
                </c:pt>
              </c:numCache>
            </c:numRef>
          </c:val>
          <c:extLst>
            <c:ext xmlns:c16="http://schemas.microsoft.com/office/drawing/2014/chart" uri="{C3380CC4-5D6E-409C-BE32-E72D297353CC}">
              <c16:uniqueId val="{00000005-87B5-4E97-81C5-7BA584CB5EFA}"/>
            </c:ext>
          </c:extLst>
        </c:ser>
        <c:dLbls>
          <c:showLegendKey val="0"/>
          <c:showVal val="0"/>
          <c:showCatName val="0"/>
          <c:showSerName val="0"/>
          <c:showPercent val="0"/>
          <c:showBubbleSize val="0"/>
        </c:dLbls>
        <c:gapWidth val="80"/>
        <c:overlap val="100"/>
        <c:axId val="918012816"/>
        <c:axId val="1"/>
      </c:barChart>
      <c:catAx>
        <c:axId val="91801281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
          <c:min val="0"/>
        </c:scaling>
        <c:delete val="1"/>
        <c:axPos val="t"/>
        <c:numFmt formatCode="General" sourceLinked="1"/>
        <c:majorTickMark val="out"/>
        <c:minorTickMark val="none"/>
        <c:tickLblPos val="nextTo"/>
        <c:crossAx val="918012816"/>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807881773399015E-2"/>
          <c:y val="4.3640432674375236E-2"/>
          <c:w val="0.94334975369458129"/>
          <c:h val="0.91271913465124954"/>
        </c:manualLayout>
      </c:layout>
      <c:lineChart>
        <c:grouping val="standard"/>
        <c:varyColors val="0"/>
        <c:ser>
          <c:idx val="0"/>
          <c:order val="0"/>
          <c:spPr>
            <a:ln w="28575" cmpd="sng" algn="ctr">
              <a:solidFill>
                <a:srgbClr val="D1227D"/>
              </a:solidFill>
              <a:prstDash val="solid"/>
            </a:ln>
          </c:spPr>
          <c:marker>
            <c:symbol val="none"/>
          </c:marker>
          <c:dLbls>
            <c:dLbl>
              <c:idx val="4"/>
              <c:layout>
                <c:manualLayout>
                  <c:x val="0"/>
                  <c:y val="-2.6109660574412531E-2"/>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42-4A3D-827D-98E9050F9437}"/>
                </c:ext>
              </c:extLst>
            </c:dLbl>
            <c:dLbl>
              <c:idx val="6"/>
              <c:layout>
                <c:manualLayout>
                  <c:x val="0"/>
                  <c:y val="-2.6109660574412531E-2"/>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42-4A3D-827D-98E9050F9437}"/>
                </c:ext>
              </c:extLst>
            </c:dLbl>
            <c:dLbl>
              <c:idx val="8"/>
              <c:layout>
                <c:manualLayout>
                  <c:x val="0"/>
                  <c:y val="-2.6109660574412531E-2"/>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42-4A3D-827D-98E9050F9437}"/>
                </c:ext>
              </c:extLst>
            </c:dLbl>
            <c:dLbl>
              <c:idx val="11"/>
              <c:layout>
                <c:manualLayout>
                  <c:x val="0"/>
                  <c:y val="-2.6109660574412531E-2"/>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242-4A3D-827D-98E9050F9437}"/>
                </c:ext>
              </c:extLst>
            </c:dLbl>
            <c:dLbl>
              <c:idx val="12"/>
              <c:layout>
                <c:manualLayout>
                  <c:x val="0"/>
                  <c:y val="-2.6109660574412531E-2"/>
                </c:manualLayout>
              </c:layout>
              <c:numFmt formatCode="#,##0;&quot;-&quot;#,##0" sourceLinked="0"/>
              <c:spPr>
                <a:noFill/>
                <a:ln>
                  <a:noFill/>
                </a:ln>
              </c:spPr>
              <c:txPr>
                <a:bodyPr wrap="none"/>
                <a:lstStyle/>
                <a:p>
                  <a:pPr>
                    <a:defRPr sz="800" b="1"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242-4A3D-827D-98E9050F9437}"/>
                </c:ext>
              </c:extLst>
            </c:dLbl>
            <c:dLbl>
              <c:idx val="14"/>
              <c:layout>
                <c:manualLayout>
                  <c:x val="0"/>
                  <c:y val="2.6109660574412531E-2"/>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242-4A3D-827D-98E9050F9437}"/>
                </c:ext>
              </c:extLst>
            </c:dLbl>
            <c:dLbl>
              <c:idx val="16"/>
              <c:layout>
                <c:manualLayout>
                  <c:x val="2.3399014778325122E-2"/>
                  <c:y val="0"/>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242-4A3D-827D-98E9050F94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Q$1</c:f>
              <c:numCache>
                <c:formatCode>General</c:formatCode>
                <c:ptCount val="17"/>
                <c:pt idx="0">
                  <c:v>123</c:v>
                </c:pt>
                <c:pt idx="1">
                  <c:v>96</c:v>
                </c:pt>
                <c:pt idx="2">
                  <c:v>95</c:v>
                </c:pt>
                <c:pt idx="3">
                  <c:v>96</c:v>
                </c:pt>
                <c:pt idx="4">
                  <c:v>104</c:v>
                </c:pt>
                <c:pt idx="5">
                  <c:v>112</c:v>
                </c:pt>
                <c:pt idx="6">
                  <c:v>117</c:v>
                </c:pt>
                <c:pt idx="7">
                  <c:v>117</c:v>
                </c:pt>
                <c:pt idx="8">
                  <c:v>148</c:v>
                </c:pt>
                <c:pt idx="9">
                  <c:v>151</c:v>
                </c:pt>
                <c:pt idx="10">
                  <c:v>155</c:v>
                </c:pt>
                <c:pt idx="11">
                  <c:v>163</c:v>
                </c:pt>
                <c:pt idx="12">
                  <c:v>167</c:v>
                </c:pt>
                <c:pt idx="13">
                  <c:v>173.5</c:v>
                </c:pt>
                <c:pt idx="14">
                  <c:v>180</c:v>
                </c:pt>
                <c:pt idx="15">
                  <c:v>182</c:v>
                </c:pt>
                <c:pt idx="16">
                  <c:v>180</c:v>
                </c:pt>
              </c:numCache>
            </c:numRef>
          </c:val>
          <c:smooth val="0"/>
          <c:extLst>
            <c:ext xmlns:c16="http://schemas.microsoft.com/office/drawing/2014/chart" uri="{C3380CC4-5D6E-409C-BE32-E72D297353CC}">
              <c16:uniqueId val="{00000007-F242-4A3D-827D-98E9050F9437}"/>
            </c:ext>
          </c:extLst>
        </c:ser>
        <c:ser>
          <c:idx val="1"/>
          <c:order val="1"/>
          <c:spPr>
            <a:ln w="19050" cmpd="sng" algn="ctr">
              <a:solidFill>
                <a:schemeClr val="accent2"/>
              </a:solidFill>
              <a:prstDash val="solid"/>
            </a:ln>
          </c:spPr>
          <c:marker>
            <c:symbol val="none"/>
          </c:marker>
          <c:val>
            <c:numRef>
              <c:f>Sheet1!$A$2:$Q$2</c:f>
              <c:numCache>
                <c:formatCode>General</c:formatCode>
                <c:ptCount val="17"/>
                <c:pt idx="0">
                  <c:v>111</c:v>
                </c:pt>
                <c:pt idx="1">
                  <c:v>111</c:v>
                </c:pt>
                <c:pt idx="2">
                  <c:v>111</c:v>
                </c:pt>
                <c:pt idx="3">
                  <c:v>102</c:v>
                </c:pt>
                <c:pt idx="4">
                  <c:v>105</c:v>
                </c:pt>
                <c:pt idx="5">
                  <c:v>109</c:v>
                </c:pt>
                <c:pt idx="6">
                  <c:v>108</c:v>
                </c:pt>
                <c:pt idx="7">
                  <c:v>102</c:v>
                </c:pt>
                <c:pt idx="8">
                  <c:v>102</c:v>
                </c:pt>
                <c:pt idx="9">
                  <c:v>102</c:v>
                </c:pt>
                <c:pt idx="10">
                  <c:v>109</c:v>
                </c:pt>
                <c:pt idx="11">
                  <c:v>112</c:v>
                </c:pt>
                <c:pt idx="12">
                  <c:v>108</c:v>
                </c:pt>
                <c:pt idx="13">
                  <c:v>112.5</c:v>
                </c:pt>
                <c:pt idx="14">
                  <c:v>117</c:v>
                </c:pt>
                <c:pt idx="15">
                  <c:v>118</c:v>
                </c:pt>
                <c:pt idx="16">
                  <c:v>122</c:v>
                </c:pt>
              </c:numCache>
            </c:numRef>
          </c:val>
          <c:smooth val="0"/>
          <c:extLst>
            <c:ext xmlns:c16="http://schemas.microsoft.com/office/drawing/2014/chart" uri="{C3380CC4-5D6E-409C-BE32-E72D297353CC}">
              <c16:uniqueId val="{00000008-F242-4A3D-827D-98E9050F9437}"/>
            </c:ext>
          </c:extLst>
        </c:ser>
        <c:ser>
          <c:idx val="2"/>
          <c:order val="2"/>
          <c:spPr>
            <a:ln w="19050" cmpd="sng" algn="ctr">
              <a:solidFill>
                <a:srgbClr val="9DB1CF"/>
              </a:solidFill>
              <a:prstDash val="dash"/>
            </a:ln>
          </c:spPr>
          <c:marker>
            <c:symbol val="none"/>
          </c:marker>
          <c:dLbls>
            <c:dLbl>
              <c:idx val="16"/>
              <c:layout>
                <c:manualLayout>
                  <c:x val="1.896551724137931E-2"/>
                  <c:y val="0"/>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242-4A3D-827D-98E9050F94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Q$3</c:f>
              <c:numCache>
                <c:formatCode>General</c:formatCode>
                <c:ptCount val="17"/>
                <c:pt idx="13">
                  <c:v>89</c:v>
                </c:pt>
                <c:pt idx="14">
                  <c:v>89</c:v>
                </c:pt>
                <c:pt idx="15">
                  <c:v>89</c:v>
                </c:pt>
                <c:pt idx="16">
                  <c:v>89</c:v>
                </c:pt>
              </c:numCache>
            </c:numRef>
          </c:val>
          <c:smooth val="0"/>
          <c:extLst>
            <c:ext xmlns:c16="http://schemas.microsoft.com/office/drawing/2014/chart" uri="{C3380CC4-5D6E-409C-BE32-E72D297353CC}">
              <c16:uniqueId val="{0000000A-F242-4A3D-827D-98E9050F9437}"/>
            </c:ext>
          </c:extLst>
        </c:ser>
        <c:ser>
          <c:idx val="3"/>
          <c:order val="3"/>
          <c:spPr>
            <a:ln w="19050" cmpd="sng" algn="ctr">
              <a:solidFill>
                <a:srgbClr val="808080"/>
              </a:solidFill>
              <a:prstDash val="solid"/>
            </a:ln>
          </c:spPr>
          <c:marker>
            <c:symbol val="none"/>
          </c:marker>
          <c:dLbls>
            <c:dLbl>
              <c:idx val="16"/>
              <c:layout>
                <c:manualLayout>
                  <c:x val="1.896551724137931E-2"/>
                  <c:y val="0"/>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242-4A3D-827D-98E9050F94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Q$4</c:f>
              <c:numCache>
                <c:formatCode>General</c:formatCode>
                <c:ptCount val="17"/>
                <c:pt idx="0">
                  <c:v>83</c:v>
                </c:pt>
                <c:pt idx="1">
                  <c:v>96</c:v>
                </c:pt>
                <c:pt idx="2">
                  <c:v>95</c:v>
                </c:pt>
                <c:pt idx="3">
                  <c:v>75</c:v>
                </c:pt>
                <c:pt idx="4">
                  <c:v>74</c:v>
                </c:pt>
                <c:pt idx="5">
                  <c:v>74</c:v>
                </c:pt>
                <c:pt idx="6">
                  <c:v>64</c:v>
                </c:pt>
                <c:pt idx="7">
                  <c:v>63</c:v>
                </c:pt>
                <c:pt idx="8">
                  <c:v>60</c:v>
                </c:pt>
                <c:pt idx="9">
                  <c:v>58</c:v>
                </c:pt>
                <c:pt idx="10">
                  <c:v>56</c:v>
                </c:pt>
                <c:pt idx="11">
                  <c:v>59</c:v>
                </c:pt>
                <c:pt idx="12">
                  <c:v>60</c:v>
                </c:pt>
                <c:pt idx="13">
                  <c:v>65</c:v>
                </c:pt>
                <c:pt idx="14">
                  <c:v>70</c:v>
                </c:pt>
                <c:pt idx="15">
                  <c:v>76</c:v>
                </c:pt>
                <c:pt idx="16">
                  <c:v>78</c:v>
                </c:pt>
              </c:numCache>
            </c:numRef>
          </c:val>
          <c:smooth val="0"/>
          <c:extLst>
            <c:ext xmlns:c16="http://schemas.microsoft.com/office/drawing/2014/chart" uri="{C3380CC4-5D6E-409C-BE32-E72D297353CC}">
              <c16:uniqueId val="{0000000C-F242-4A3D-827D-98E9050F9437}"/>
            </c:ext>
          </c:extLst>
        </c:ser>
        <c:ser>
          <c:idx val="4"/>
          <c:order val="4"/>
          <c:spPr>
            <a:ln w="19050" cmpd="sng" algn="ctr">
              <a:solidFill>
                <a:schemeClr val="accent1"/>
              </a:solidFill>
              <a:prstDash val="solid"/>
            </a:ln>
          </c:spPr>
          <c:marker>
            <c:symbol val="none"/>
          </c:marker>
          <c:val>
            <c:numRef>
              <c:f>Sheet1!$A$5:$Q$5</c:f>
              <c:numCache>
                <c:formatCode>General</c:formatCode>
                <c:ptCount val="17"/>
                <c:pt idx="0">
                  <c:v>203.922</c:v>
                </c:pt>
                <c:pt idx="1">
                  <c:v>197.26600000000002</c:v>
                </c:pt>
                <c:pt idx="2">
                  <c:v>206.095</c:v>
                </c:pt>
                <c:pt idx="3">
                  <c:v>174.72899999999998</c:v>
                </c:pt>
                <c:pt idx="4">
                  <c:v>148.68799999999999</c:v>
                </c:pt>
                <c:pt idx="5">
                  <c:v>181.63200000000001</c:v>
                </c:pt>
                <c:pt idx="6">
                  <c:v>148.28900000000002</c:v>
                </c:pt>
                <c:pt idx="7">
                  <c:v>122.83099999999999</c:v>
                </c:pt>
                <c:pt idx="8">
                  <c:v>112.19899999999998</c:v>
                </c:pt>
                <c:pt idx="9">
                  <c:v>105.69199999999998</c:v>
                </c:pt>
                <c:pt idx="10">
                  <c:v>91.182999999999993</c:v>
                </c:pt>
                <c:pt idx="11">
                  <c:v>88.096999999999994</c:v>
                </c:pt>
                <c:pt idx="12">
                  <c:v>78.843999999999994</c:v>
                </c:pt>
                <c:pt idx="13">
                  <c:v>80.650999999999996</c:v>
                </c:pt>
                <c:pt idx="14">
                  <c:v>74.505619999999993</c:v>
                </c:pt>
                <c:pt idx="15">
                  <c:v>74.505619999999993</c:v>
                </c:pt>
                <c:pt idx="16">
                  <c:v>70</c:v>
                </c:pt>
              </c:numCache>
            </c:numRef>
          </c:val>
          <c:smooth val="0"/>
          <c:extLst>
            <c:ext xmlns:c16="http://schemas.microsoft.com/office/drawing/2014/chart" uri="{C3380CC4-5D6E-409C-BE32-E72D297353CC}">
              <c16:uniqueId val="{0000000D-F242-4A3D-827D-98E9050F9437}"/>
            </c:ext>
          </c:extLst>
        </c:ser>
        <c:ser>
          <c:idx val="5"/>
          <c:order val="5"/>
          <c:spPr>
            <a:ln w="19050" cmpd="sng" algn="ctr">
              <a:solidFill>
                <a:srgbClr val="DEC000"/>
              </a:solidFill>
              <a:prstDash val="lgDash"/>
            </a:ln>
          </c:spPr>
          <c:marker>
            <c:symbol val="none"/>
          </c:marker>
          <c:val>
            <c:numRef>
              <c:f>Sheet1!$A$6:$Q$6</c:f>
              <c:numCache>
                <c:formatCode>General</c:formatCode>
                <c:ptCount val="17"/>
                <c:pt idx="13">
                  <c:v>75</c:v>
                </c:pt>
                <c:pt idx="14">
                  <c:v>71.25</c:v>
                </c:pt>
                <c:pt idx="15">
                  <c:v>67.5</c:v>
                </c:pt>
                <c:pt idx="16">
                  <c:v>60</c:v>
                </c:pt>
              </c:numCache>
            </c:numRef>
          </c:val>
          <c:smooth val="0"/>
          <c:extLst>
            <c:ext xmlns:c16="http://schemas.microsoft.com/office/drawing/2014/chart" uri="{C3380CC4-5D6E-409C-BE32-E72D297353CC}">
              <c16:uniqueId val="{0000000E-F242-4A3D-827D-98E9050F9437}"/>
            </c:ext>
          </c:extLst>
        </c:ser>
        <c:ser>
          <c:idx val="6"/>
          <c:order val="6"/>
          <c:spPr>
            <a:ln w="19050" cmpd="sng" algn="ctr">
              <a:solidFill>
                <a:srgbClr val="DEC000"/>
              </a:solidFill>
              <a:prstDash val="solid"/>
            </a:ln>
          </c:spPr>
          <c:marker>
            <c:symbol val="none"/>
          </c:marker>
          <c:val>
            <c:numRef>
              <c:f>Sheet1!$A$7:$Q$7</c:f>
              <c:numCache>
                <c:formatCode>General</c:formatCode>
                <c:ptCount val="17"/>
                <c:pt idx="0">
                  <c:v>251.46004228329809</c:v>
                </c:pt>
                <c:pt idx="1">
                  <c:v>243</c:v>
                </c:pt>
                <c:pt idx="2">
                  <c:v>157</c:v>
                </c:pt>
                <c:pt idx="3">
                  <c:v>125</c:v>
                </c:pt>
                <c:pt idx="4">
                  <c:v>98</c:v>
                </c:pt>
                <c:pt idx="5">
                  <c:v>79</c:v>
                </c:pt>
                <c:pt idx="6">
                  <c:v>65</c:v>
                </c:pt>
                <c:pt idx="7">
                  <c:v>55</c:v>
                </c:pt>
                <c:pt idx="8">
                  <c:v>50</c:v>
                </c:pt>
                <c:pt idx="9">
                  <c:v>43</c:v>
                </c:pt>
                <c:pt idx="10">
                  <c:v>41</c:v>
                </c:pt>
                <c:pt idx="11">
                  <c:v>37</c:v>
                </c:pt>
                <c:pt idx="12">
                  <c:v>36</c:v>
                </c:pt>
                <c:pt idx="13">
                  <c:v>48</c:v>
                </c:pt>
                <c:pt idx="14">
                  <c:v>60</c:v>
                </c:pt>
                <c:pt idx="15">
                  <c:v>61</c:v>
                </c:pt>
                <c:pt idx="16">
                  <c:v>58</c:v>
                </c:pt>
              </c:numCache>
            </c:numRef>
          </c:val>
          <c:smooth val="0"/>
          <c:extLst>
            <c:ext xmlns:c16="http://schemas.microsoft.com/office/drawing/2014/chart" uri="{C3380CC4-5D6E-409C-BE32-E72D297353CC}">
              <c16:uniqueId val="{0000000F-F242-4A3D-827D-98E9050F9437}"/>
            </c:ext>
          </c:extLst>
        </c:ser>
        <c:ser>
          <c:idx val="7"/>
          <c:order val="7"/>
          <c:spPr>
            <a:ln w="19050" cmpd="sng" algn="ctr">
              <a:solidFill>
                <a:srgbClr val="9DB1CF"/>
              </a:solidFill>
              <a:prstDash val="solid"/>
            </a:ln>
          </c:spPr>
          <c:marker>
            <c:symbol val="none"/>
          </c:marker>
          <c:val>
            <c:numRef>
              <c:f>Sheet1!$A$8:$Q$8</c:f>
              <c:numCache>
                <c:formatCode>General</c:formatCode>
                <c:ptCount val="17"/>
                <c:pt idx="0">
                  <c:v>135</c:v>
                </c:pt>
                <c:pt idx="1">
                  <c:v>124</c:v>
                </c:pt>
                <c:pt idx="2">
                  <c:v>71</c:v>
                </c:pt>
                <c:pt idx="3">
                  <c:v>72</c:v>
                </c:pt>
                <c:pt idx="4">
                  <c:v>70</c:v>
                </c:pt>
                <c:pt idx="5">
                  <c:v>59</c:v>
                </c:pt>
                <c:pt idx="6">
                  <c:v>55</c:v>
                </c:pt>
                <c:pt idx="7">
                  <c:v>47</c:v>
                </c:pt>
                <c:pt idx="8">
                  <c:v>45</c:v>
                </c:pt>
                <c:pt idx="9">
                  <c:v>42</c:v>
                </c:pt>
                <c:pt idx="10">
                  <c:v>40</c:v>
                </c:pt>
                <c:pt idx="11">
                  <c:v>40</c:v>
                </c:pt>
                <c:pt idx="12">
                  <c:v>38</c:v>
                </c:pt>
                <c:pt idx="13">
                  <c:v>44</c:v>
                </c:pt>
                <c:pt idx="14">
                  <c:v>50</c:v>
                </c:pt>
                <c:pt idx="15">
                  <c:v>50</c:v>
                </c:pt>
                <c:pt idx="16">
                  <c:v>61</c:v>
                </c:pt>
              </c:numCache>
            </c:numRef>
          </c:val>
          <c:smooth val="0"/>
          <c:extLst>
            <c:ext xmlns:c16="http://schemas.microsoft.com/office/drawing/2014/chart" uri="{C3380CC4-5D6E-409C-BE32-E72D297353CC}">
              <c16:uniqueId val="{00000010-F242-4A3D-827D-98E9050F9437}"/>
            </c:ext>
          </c:extLst>
        </c:ser>
        <c:ser>
          <c:idx val="8"/>
          <c:order val="8"/>
          <c:spPr>
            <a:ln w="28575" cmpd="sng" algn="ctr">
              <a:solidFill>
                <a:schemeClr val="accent5"/>
              </a:solidFill>
              <a:prstDash val="dash"/>
            </a:ln>
          </c:spPr>
          <c:marker>
            <c:symbol val="none"/>
          </c:marker>
          <c:val>
            <c:numRef>
              <c:f>Sheet1!$A$9:$Q$9</c:f>
              <c:numCache>
                <c:formatCode>General</c:formatCode>
                <c:ptCount val="17"/>
                <c:pt idx="13">
                  <c:v>35</c:v>
                </c:pt>
                <c:pt idx="14">
                  <c:v>35</c:v>
                </c:pt>
                <c:pt idx="15">
                  <c:v>35</c:v>
                </c:pt>
                <c:pt idx="16">
                  <c:v>35</c:v>
                </c:pt>
              </c:numCache>
            </c:numRef>
          </c:val>
          <c:smooth val="0"/>
          <c:extLst>
            <c:ext xmlns:c16="http://schemas.microsoft.com/office/drawing/2014/chart" uri="{C3380CC4-5D6E-409C-BE32-E72D297353CC}">
              <c16:uniqueId val="{00000011-F242-4A3D-827D-98E9050F9437}"/>
            </c:ext>
          </c:extLst>
        </c:ser>
        <c:dLbls>
          <c:showLegendKey val="0"/>
          <c:showVal val="0"/>
          <c:showCatName val="0"/>
          <c:showSerName val="0"/>
          <c:showPercent val="0"/>
          <c:showBubbleSize val="0"/>
        </c:dLbls>
        <c:smooth val="0"/>
        <c:axId val="1872219696"/>
        <c:axId val="1"/>
      </c:lineChart>
      <c:catAx>
        <c:axId val="18722196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2.46004228329809"/>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872219696"/>
        <c:crosses val="min"/>
        <c:crossBetween val="midCat"/>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304136253041364E-2"/>
          <c:y val="7.0283018867924527E-2"/>
          <c:w val="0.94939172749391731"/>
          <c:h val="0.85943396226415092"/>
        </c:manualLayout>
      </c:layout>
      <c:barChart>
        <c:barDir val="col"/>
        <c:grouping val="stacked"/>
        <c:varyColors val="0"/>
        <c:ser>
          <c:idx val="0"/>
          <c:order val="0"/>
          <c:spPr>
            <a:solidFill>
              <a:srgbClr val="359BDB"/>
            </a:solidFill>
            <a:ln>
              <a:noFill/>
            </a:ln>
          </c:spPr>
          <c:invertIfNegative val="0"/>
          <c:dLbls>
            <c:dLbl>
              <c:idx val="0"/>
              <c:layout>
                <c:manualLayout>
                  <c:x val="0"/>
                  <c:y val="0"/>
                </c:manualLayout>
              </c:layout>
              <c:numFmt formatCode="#,##0;&quot;-&quot;#,##0" sourceLinked="0"/>
              <c:spPr>
                <a:noFill/>
                <a:ln>
                  <a:noFill/>
                </a:ln>
              </c:spPr>
              <c:txPr>
                <a:bodyPr wrap="none"/>
                <a:lstStyle/>
                <a:p>
                  <a:pPr>
                    <a:defRPr sz="1050"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375-AA49-9FC1-3FDB36A2FC3C}"/>
                </c:ext>
              </c:extLst>
            </c:dLbl>
            <c:dLbl>
              <c:idx val="1"/>
              <c:layout>
                <c:manualLayout>
                  <c:x val="0"/>
                  <c:y val="-4.7169811320754717E-4"/>
                </c:manualLayout>
              </c:layout>
              <c:numFmt formatCode="#,##0;&quot;-&quot;#,##0" sourceLinked="0"/>
              <c:spPr>
                <a:noFill/>
                <a:ln>
                  <a:noFill/>
                </a:ln>
              </c:spPr>
              <c:txPr>
                <a:bodyPr wrap="none"/>
                <a:lstStyle/>
                <a:p>
                  <a:pPr>
                    <a:defRPr sz="1050"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375-AA49-9FC1-3FDB36A2FC3C}"/>
                </c:ext>
              </c:extLst>
            </c:dLbl>
            <c:dLbl>
              <c:idx val="2"/>
              <c:layout>
                <c:manualLayout>
                  <c:x val="0"/>
                  <c:y val="0"/>
                </c:manualLayout>
              </c:layout>
              <c:numFmt formatCode="#,##0;&quot;-&quot;#,##0" sourceLinked="0"/>
              <c:spPr>
                <a:noFill/>
                <a:ln>
                  <a:noFill/>
                </a:ln>
              </c:spPr>
              <c:txPr>
                <a:bodyPr wrap="none"/>
                <a:lstStyle/>
                <a:p>
                  <a:pPr>
                    <a:defRPr sz="1050"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375-AA49-9FC1-3FDB36A2FC3C}"/>
                </c:ext>
              </c:extLst>
            </c:dLbl>
            <c:dLbl>
              <c:idx val="3"/>
              <c:layout>
                <c:manualLayout>
                  <c:x val="0"/>
                  <c:y val="0"/>
                </c:manualLayout>
              </c:layout>
              <c:numFmt formatCode="#,##0;&quot;-&quot;#,##0" sourceLinked="0"/>
              <c:spPr>
                <a:noFill/>
                <a:ln>
                  <a:noFill/>
                </a:ln>
              </c:spPr>
              <c:txPr>
                <a:bodyPr wrap="none"/>
                <a:lstStyle/>
                <a:p>
                  <a:pPr>
                    <a:defRPr sz="1050"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375-AA49-9FC1-3FDB36A2FC3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6.5</c:v>
                </c:pt>
                <c:pt idx="1">
                  <c:v>145</c:v>
                </c:pt>
                <c:pt idx="2">
                  <c:v>92</c:v>
                </c:pt>
                <c:pt idx="3">
                  <c:v>150.5</c:v>
                </c:pt>
              </c:numCache>
            </c:numRef>
          </c:val>
          <c:extLst>
            <c:ext xmlns:c16="http://schemas.microsoft.com/office/drawing/2014/chart" uri="{C3380CC4-5D6E-409C-BE32-E72D297353CC}">
              <c16:uniqueId val="{00000004-8375-AA49-9FC1-3FDB36A2FC3C}"/>
            </c:ext>
          </c:extLst>
        </c:ser>
        <c:ser>
          <c:idx val="1"/>
          <c:order val="1"/>
          <c:spPr>
            <a:solidFill>
              <a:schemeClr val="accent2"/>
            </a:solidFill>
            <a:ln>
              <a:noFill/>
            </a:ln>
          </c:spPr>
          <c:invertIfNegative val="0"/>
          <c:dLbls>
            <c:dLbl>
              <c:idx val="1"/>
              <c:layout>
                <c:manualLayout>
                  <c:x val="-3.309002433090024E-2"/>
                  <c:y val="-4.7169811320754717E-4"/>
                </c:manualLayout>
              </c:layout>
              <c:numFmt formatCode="#,##0;&quot;-&quot;#,##0" sourceLinked="0"/>
              <c:spPr>
                <a:noFill/>
                <a:ln>
                  <a:noFill/>
                </a:ln>
              </c:spPr>
              <c:txPr>
                <a:bodyPr wrap="none"/>
                <a:lstStyle/>
                <a:p>
                  <a:pPr>
                    <a:defRPr sz="1050"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375-AA49-9FC1-3FDB36A2FC3C}"/>
                </c:ext>
              </c:extLst>
            </c:dLbl>
            <c:dLbl>
              <c:idx val="2"/>
              <c:layout>
                <c:manualLayout>
                  <c:x val="-3.2603406326034062E-2"/>
                  <c:y val="0"/>
                </c:manualLayout>
              </c:layout>
              <c:numFmt formatCode="#,##0;&quot;-&quot;#,##0" sourceLinked="0"/>
              <c:spPr>
                <a:noFill/>
                <a:ln>
                  <a:noFill/>
                </a:ln>
              </c:spPr>
              <c:txPr>
                <a:bodyPr wrap="none"/>
                <a:lstStyle/>
                <a:p>
                  <a:pPr>
                    <a:defRPr sz="1050"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375-AA49-9FC1-3FDB36A2FC3C}"/>
                </c:ext>
              </c:extLst>
            </c:dLbl>
            <c:dLbl>
              <c:idx val="3"/>
              <c:layout>
                <c:manualLayout>
                  <c:x val="0"/>
                  <c:y val="0"/>
                </c:manualLayout>
              </c:layout>
              <c:numFmt formatCode="#,##0;&quot;-&quot;#,##0" sourceLinked="0"/>
              <c:spPr>
                <a:noFill/>
                <a:ln>
                  <a:noFill/>
                </a:ln>
              </c:spPr>
              <c:txPr>
                <a:bodyPr wrap="none"/>
                <a:lstStyle/>
                <a:p>
                  <a:pPr>
                    <a:defRPr sz="1050"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375-AA49-9FC1-3FDB36A2FC3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5.5</c:v>
                </c:pt>
                <c:pt idx="1">
                  <c:v>13.5</c:v>
                </c:pt>
                <c:pt idx="2">
                  <c:v>11</c:v>
                </c:pt>
                <c:pt idx="3">
                  <c:v>16</c:v>
                </c:pt>
              </c:numCache>
            </c:numRef>
          </c:val>
          <c:extLst>
            <c:ext xmlns:c16="http://schemas.microsoft.com/office/drawing/2014/chart" uri="{C3380CC4-5D6E-409C-BE32-E72D297353CC}">
              <c16:uniqueId val="{00000008-8375-AA49-9FC1-3FDB36A2FC3C}"/>
            </c:ext>
          </c:extLst>
        </c:ser>
        <c:ser>
          <c:idx val="2"/>
          <c:order val="2"/>
          <c:spPr>
            <a:solidFill>
              <a:schemeClr val="accent3"/>
            </a:solidFill>
            <a:ln>
              <a:noFill/>
            </a:ln>
          </c:spPr>
          <c:invertIfNegative val="0"/>
          <c:val>
            <c:numRef>
              <c:f>Sheet1!$A$3:$D$3</c:f>
              <c:numCache>
                <c:formatCode>General</c:formatCode>
                <c:ptCount val="4"/>
                <c:pt idx="0">
                  <c:v>4</c:v>
                </c:pt>
                <c:pt idx="1">
                  <c:v>4.5</c:v>
                </c:pt>
                <c:pt idx="2">
                  <c:v>4.5</c:v>
                </c:pt>
                <c:pt idx="3">
                  <c:v>4.5</c:v>
                </c:pt>
              </c:numCache>
            </c:numRef>
          </c:val>
          <c:extLst>
            <c:ext xmlns:c16="http://schemas.microsoft.com/office/drawing/2014/chart" uri="{C3380CC4-5D6E-409C-BE32-E72D297353CC}">
              <c16:uniqueId val="{00000009-8375-AA49-9FC1-3FDB36A2FC3C}"/>
            </c:ext>
          </c:extLst>
        </c:ser>
        <c:ser>
          <c:idx val="3"/>
          <c:order val="3"/>
          <c:spPr>
            <a:solidFill>
              <a:schemeClr val="accent4"/>
            </a:solidFill>
            <a:ln>
              <a:noFill/>
            </a:ln>
          </c:spPr>
          <c:invertIfNegative val="0"/>
          <c:dLbls>
            <c:dLbl>
              <c:idx val="0"/>
              <c:layout>
                <c:manualLayout>
                  <c:x val="0"/>
                  <c:y val="0"/>
                </c:manualLayout>
              </c:layout>
              <c:numFmt formatCode="#,##0;&quot;-&quot;#,##0" sourceLinked="0"/>
              <c:spPr>
                <a:noFill/>
                <a:ln>
                  <a:noFill/>
                </a:ln>
              </c:spPr>
              <c:txPr>
                <a:bodyPr wrap="none"/>
                <a:lstStyle/>
                <a:p>
                  <a:pPr>
                    <a:defRPr sz="1050"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375-AA49-9FC1-3FDB36A2FC3C}"/>
                </c:ext>
              </c:extLst>
            </c:dLbl>
            <c:dLbl>
              <c:idx val="1"/>
              <c:layout>
                <c:manualLayout>
                  <c:x val="0"/>
                  <c:y val="-4.7169811320754717E-4"/>
                </c:manualLayout>
              </c:layout>
              <c:numFmt formatCode="#,##0;&quot;-&quot;#,##0" sourceLinked="0"/>
              <c:spPr>
                <a:noFill/>
                <a:ln>
                  <a:noFill/>
                </a:ln>
              </c:spPr>
              <c:txPr>
                <a:bodyPr wrap="none"/>
                <a:lstStyle/>
                <a:p>
                  <a:pPr>
                    <a:defRPr sz="1050"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375-AA49-9FC1-3FDB36A2FC3C}"/>
                </c:ext>
              </c:extLst>
            </c:dLbl>
            <c:dLbl>
              <c:idx val="2"/>
              <c:layout>
                <c:manualLayout>
                  <c:x val="0"/>
                  <c:y val="0"/>
                </c:manualLayout>
              </c:layout>
              <c:numFmt formatCode="#,##0;&quot;-&quot;#,##0" sourceLinked="0"/>
              <c:spPr>
                <a:noFill/>
                <a:ln>
                  <a:noFill/>
                </a:ln>
              </c:spPr>
              <c:txPr>
                <a:bodyPr wrap="none"/>
                <a:lstStyle/>
                <a:p>
                  <a:pPr>
                    <a:defRPr sz="1050"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375-AA49-9FC1-3FDB36A2FC3C}"/>
                </c:ext>
              </c:extLst>
            </c:dLbl>
            <c:dLbl>
              <c:idx val="3"/>
              <c:layout>
                <c:manualLayout>
                  <c:x val="3.309002433090024E-2"/>
                  <c:y val="0"/>
                </c:manualLayout>
              </c:layout>
              <c:numFmt formatCode="#,##0;&quot;-&quot;#,##0"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375-AA49-9FC1-3FDB36A2FC3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2.5</c:v>
                </c:pt>
                <c:pt idx="1">
                  <c:v>37</c:v>
                </c:pt>
                <c:pt idx="2">
                  <c:v>15.5</c:v>
                </c:pt>
                <c:pt idx="3">
                  <c:v>9</c:v>
                </c:pt>
              </c:numCache>
            </c:numRef>
          </c:val>
          <c:extLst>
            <c:ext xmlns:c16="http://schemas.microsoft.com/office/drawing/2014/chart" uri="{C3380CC4-5D6E-409C-BE32-E72D297353CC}">
              <c16:uniqueId val="{0000000E-8375-AA49-9FC1-3FDB36A2FC3C}"/>
            </c:ext>
          </c:extLst>
        </c:ser>
        <c:dLbls>
          <c:showLegendKey val="0"/>
          <c:showVal val="0"/>
          <c:showCatName val="0"/>
          <c:showSerName val="0"/>
          <c:showPercent val="0"/>
          <c:showBubbleSize val="0"/>
        </c:dLbls>
        <c:gapWidth val="80"/>
        <c:overlap val="100"/>
        <c:axId val="1194381743"/>
        <c:axId val="1"/>
      </c:barChart>
      <c:catAx>
        <c:axId val="11943817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
          <c:min val="0"/>
        </c:scaling>
        <c:delete val="1"/>
        <c:axPos val="l"/>
        <c:numFmt formatCode="General" sourceLinked="1"/>
        <c:majorTickMark val="out"/>
        <c:minorTickMark val="none"/>
        <c:tickLblPos val="nextTo"/>
        <c:crossAx val="1194381743"/>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26036131774708E-2"/>
          <c:y val="4.1533546325878593E-2"/>
          <c:w val="0.88947927736450583"/>
          <c:h val="0.91693290734824284"/>
        </c:manualLayout>
      </c:layout>
      <c:barChart>
        <c:barDir val="col"/>
        <c:grouping val="stacked"/>
        <c:varyColors val="0"/>
        <c:ser>
          <c:idx val="0"/>
          <c:order val="0"/>
          <c:spPr>
            <a:solidFill>
              <a:schemeClr val="accent1"/>
            </a:solidFill>
            <a:ln>
              <a:noFill/>
            </a:ln>
          </c:spPr>
          <c:invertIfNegative val="0"/>
          <c:val>
            <c:numRef>
              <c:f>Sheet1!$A$1</c:f>
              <c:numCache>
                <c:formatCode>General</c:formatCode>
                <c:ptCount val="1"/>
                <c:pt idx="0">
                  <c:v>1114</c:v>
                </c:pt>
              </c:numCache>
            </c:numRef>
          </c:val>
          <c:extLst>
            <c:ext xmlns:c16="http://schemas.microsoft.com/office/drawing/2014/chart" uri="{C3380CC4-5D6E-409C-BE32-E72D297353CC}">
              <c16:uniqueId val="{00000000-A4D9-496F-A1C3-833559329C3B}"/>
            </c:ext>
          </c:extLst>
        </c:ser>
        <c:ser>
          <c:idx val="1"/>
          <c:order val="1"/>
          <c:spPr>
            <a:pattFill prst="ltDnDiag">
              <a:fgClr>
                <a:schemeClr val="tx1"/>
              </a:fgClr>
              <a:bgClr>
                <a:schemeClr val="bg1"/>
              </a:bgClr>
            </a:pattFill>
            <a:ln>
              <a:noFill/>
            </a:ln>
          </c:spPr>
          <c:invertIfNegative val="0"/>
          <c:val>
            <c:numRef>
              <c:f>Sheet1!$A$2</c:f>
              <c:numCache>
                <c:formatCode>General</c:formatCode>
                <c:ptCount val="1"/>
                <c:pt idx="0">
                  <c:v>634</c:v>
                </c:pt>
              </c:numCache>
            </c:numRef>
          </c:val>
          <c:extLst>
            <c:ext xmlns:c16="http://schemas.microsoft.com/office/drawing/2014/chart" uri="{C3380CC4-5D6E-409C-BE32-E72D297353CC}">
              <c16:uniqueId val="{00000001-A4D9-496F-A1C3-833559329C3B}"/>
            </c:ext>
          </c:extLst>
        </c:ser>
        <c:dLbls>
          <c:showLegendKey val="0"/>
          <c:showVal val="0"/>
          <c:showCatName val="0"/>
          <c:showSerName val="0"/>
          <c:showPercent val="0"/>
          <c:showBubbleSize val="0"/>
        </c:dLbls>
        <c:gapWidth val="200"/>
        <c:overlap val="100"/>
        <c:axId val="138777903"/>
        <c:axId val="1"/>
      </c:barChart>
      <c:catAx>
        <c:axId val="1387779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48"/>
          <c:min val="0"/>
        </c:scaling>
        <c:delete val="1"/>
        <c:axPos val="l"/>
        <c:numFmt formatCode="General" sourceLinked="1"/>
        <c:majorTickMark val="out"/>
        <c:minorTickMark val="none"/>
        <c:tickLblPos val="nextTo"/>
        <c:crossAx val="138777903"/>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365358592692828E-2"/>
          <c:y val="2.4018475750577369E-2"/>
          <c:w val="0.85926928281461434"/>
          <c:h val="0.95196304849884528"/>
        </c:manualLayout>
      </c:layout>
      <c:barChart>
        <c:barDir val="col"/>
        <c:grouping val="stacked"/>
        <c:varyColors val="0"/>
        <c:ser>
          <c:idx val="0"/>
          <c:order val="0"/>
          <c:spPr>
            <a:solidFill>
              <a:srgbClr val="805BCA"/>
            </a:solidFill>
            <a:ln>
              <a:noFill/>
            </a:ln>
          </c:spPr>
          <c:invertIfNegative val="0"/>
          <c:val>
            <c:numRef>
              <c:f>Sheet1!$A$1</c:f>
              <c:numCache>
                <c:formatCode>General</c:formatCode>
                <c:ptCount val="1"/>
                <c:pt idx="0">
                  <c:v>0.58324167000000016</c:v>
                </c:pt>
              </c:numCache>
            </c:numRef>
          </c:val>
          <c:extLst>
            <c:ext xmlns:c16="http://schemas.microsoft.com/office/drawing/2014/chart" uri="{C3380CC4-5D6E-409C-BE32-E72D297353CC}">
              <c16:uniqueId val="{00000000-B1AF-044F-B78B-3551BA112163}"/>
            </c:ext>
          </c:extLst>
        </c:ser>
        <c:ser>
          <c:idx val="1"/>
          <c:order val="1"/>
          <c:spPr>
            <a:solidFill>
              <a:srgbClr val="5098B9"/>
            </a:solidFill>
            <a:ln>
              <a:noFill/>
            </a:ln>
          </c:spPr>
          <c:invertIfNegative val="0"/>
          <c:val>
            <c:numRef>
              <c:f>Sheet1!$A$2</c:f>
              <c:numCache>
                <c:formatCode>General</c:formatCode>
                <c:ptCount val="1"/>
                <c:pt idx="0">
                  <c:v>8.329167000000004E-2</c:v>
                </c:pt>
              </c:numCache>
            </c:numRef>
          </c:val>
          <c:extLst>
            <c:ext xmlns:c16="http://schemas.microsoft.com/office/drawing/2014/chart" uri="{C3380CC4-5D6E-409C-BE32-E72D297353CC}">
              <c16:uniqueId val="{00000001-B1AF-044F-B78B-3551BA112163}"/>
            </c:ext>
          </c:extLst>
        </c:ser>
        <c:ser>
          <c:idx val="2"/>
          <c:order val="2"/>
          <c:spPr>
            <a:solidFill>
              <a:srgbClr val="46647C"/>
            </a:solidFill>
            <a:ln>
              <a:noFill/>
            </a:ln>
          </c:spPr>
          <c:invertIfNegative val="0"/>
          <c:val>
            <c:numRef>
              <c:f>Sheet1!$A$3</c:f>
              <c:numCache>
                <c:formatCode>General</c:formatCode>
                <c:ptCount val="1"/>
                <c:pt idx="0">
                  <c:v>8.329167000000004E-2</c:v>
                </c:pt>
              </c:numCache>
            </c:numRef>
          </c:val>
          <c:extLst>
            <c:ext xmlns:c16="http://schemas.microsoft.com/office/drawing/2014/chart" uri="{C3380CC4-5D6E-409C-BE32-E72D297353CC}">
              <c16:uniqueId val="{00000002-B1AF-044F-B78B-3551BA112163}"/>
            </c:ext>
          </c:extLst>
        </c:ser>
        <c:ser>
          <c:idx val="3"/>
          <c:order val="3"/>
          <c:spPr>
            <a:solidFill>
              <a:srgbClr val="6DB9B3"/>
            </a:solidFill>
            <a:ln>
              <a:noFill/>
            </a:ln>
          </c:spPr>
          <c:invertIfNegative val="0"/>
          <c:val>
            <c:numRef>
              <c:f>Sheet1!$A$4</c:f>
              <c:numCache>
                <c:formatCode>General</c:formatCode>
                <c:ptCount val="1"/>
                <c:pt idx="0">
                  <c:v>0.24997500000000006</c:v>
                </c:pt>
              </c:numCache>
            </c:numRef>
          </c:val>
          <c:extLst>
            <c:ext xmlns:c16="http://schemas.microsoft.com/office/drawing/2014/chart" uri="{C3380CC4-5D6E-409C-BE32-E72D297353CC}">
              <c16:uniqueId val="{00000003-B1AF-044F-B78B-3551BA112163}"/>
            </c:ext>
          </c:extLst>
        </c:ser>
        <c:dLbls>
          <c:showLegendKey val="0"/>
          <c:showVal val="0"/>
          <c:showCatName val="0"/>
          <c:showSerName val="0"/>
          <c:showPercent val="0"/>
          <c:showBubbleSize val="0"/>
        </c:dLbls>
        <c:gapWidth val="80"/>
        <c:overlap val="100"/>
        <c:axId val="1855496896"/>
        <c:axId val="1"/>
      </c:barChart>
      <c:catAx>
        <c:axId val="18554968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99980001000000029"/>
          <c:min val="0"/>
        </c:scaling>
        <c:delete val="1"/>
        <c:axPos val="l"/>
        <c:numFmt formatCode="General" sourceLinked="1"/>
        <c:majorTickMark val="out"/>
        <c:minorTickMark val="none"/>
        <c:tickLblPos val="nextTo"/>
        <c:crossAx val="1855496896"/>
        <c:crosses val="min"/>
        <c:crossBetween val="between"/>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365358592692828E-2"/>
          <c:y val="2.4018475750577369E-2"/>
          <c:w val="0.85926928281461434"/>
          <c:h val="0.95196304849884528"/>
        </c:manualLayout>
      </c:layout>
      <c:barChart>
        <c:barDir val="col"/>
        <c:grouping val="stacked"/>
        <c:varyColors val="0"/>
        <c:ser>
          <c:idx val="0"/>
          <c:order val="0"/>
          <c:spPr>
            <a:solidFill>
              <a:srgbClr val="C30C3E"/>
            </a:solidFill>
            <a:ln>
              <a:noFill/>
            </a:ln>
          </c:spPr>
          <c:invertIfNegative val="0"/>
          <c:val>
            <c:numRef>
              <c:f>Sheet1!$A$1</c:f>
              <c:numCache>
                <c:formatCode>General</c:formatCode>
                <c:ptCount val="1"/>
                <c:pt idx="0">
                  <c:v>16</c:v>
                </c:pt>
              </c:numCache>
            </c:numRef>
          </c:val>
          <c:extLst>
            <c:ext xmlns:c16="http://schemas.microsoft.com/office/drawing/2014/chart" uri="{C3380CC4-5D6E-409C-BE32-E72D297353CC}">
              <c16:uniqueId val="{00000000-2FB1-2B45-BAB1-868A111D6E57}"/>
            </c:ext>
          </c:extLst>
        </c:ser>
        <c:ser>
          <c:idx val="1"/>
          <c:order val="1"/>
          <c:spPr>
            <a:solidFill>
              <a:srgbClr val="1D6088"/>
            </a:solidFill>
            <a:ln>
              <a:noFill/>
            </a:ln>
          </c:spPr>
          <c:invertIfNegative val="0"/>
          <c:val>
            <c:numRef>
              <c:f>Sheet1!$A$2</c:f>
              <c:numCache>
                <c:formatCode>General</c:formatCode>
                <c:ptCount val="1"/>
                <c:pt idx="0">
                  <c:v>38</c:v>
                </c:pt>
              </c:numCache>
            </c:numRef>
          </c:val>
          <c:extLst>
            <c:ext xmlns:c16="http://schemas.microsoft.com/office/drawing/2014/chart" uri="{C3380CC4-5D6E-409C-BE32-E72D297353CC}">
              <c16:uniqueId val="{00000001-2FB1-2B45-BAB1-868A111D6E57}"/>
            </c:ext>
          </c:extLst>
        </c:ser>
        <c:ser>
          <c:idx val="2"/>
          <c:order val="2"/>
          <c:spPr>
            <a:solidFill>
              <a:srgbClr val="6F8DB9"/>
            </a:solidFill>
            <a:ln>
              <a:noFill/>
            </a:ln>
          </c:spPr>
          <c:invertIfNegative val="0"/>
          <c:val>
            <c:numRef>
              <c:f>Sheet1!$A$3</c:f>
              <c:numCache>
                <c:formatCode>General</c:formatCode>
                <c:ptCount val="1"/>
                <c:pt idx="0">
                  <c:v>27</c:v>
                </c:pt>
              </c:numCache>
            </c:numRef>
          </c:val>
          <c:extLst>
            <c:ext xmlns:c16="http://schemas.microsoft.com/office/drawing/2014/chart" uri="{C3380CC4-5D6E-409C-BE32-E72D297353CC}">
              <c16:uniqueId val="{00000002-2FB1-2B45-BAB1-868A111D6E57}"/>
            </c:ext>
          </c:extLst>
        </c:ser>
        <c:ser>
          <c:idx val="3"/>
          <c:order val="3"/>
          <c:spPr>
            <a:solidFill>
              <a:srgbClr val="D1227D"/>
            </a:solidFill>
            <a:ln>
              <a:noFill/>
            </a:ln>
          </c:spPr>
          <c:invertIfNegative val="0"/>
          <c:val>
            <c:numRef>
              <c:f>Sheet1!$A$4</c:f>
              <c:numCache>
                <c:formatCode>General</c:formatCode>
                <c:ptCount val="1"/>
                <c:pt idx="0">
                  <c:v>8</c:v>
                </c:pt>
              </c:numCache>
            </c:numRef>
          </c:val>
          <c:extLst>
            <c:ext xmlns:c16="http://schemas.microsoft.com/office/drawing/2014/chart" uri="{C3380CC4-5D6E-409C-BE32-E72D297353CC}">
              <c16:uniqueId val="{00000003-2FB1-2B45-BAB1-868A111D6E57}"/>
            </c:ext>
          </c:extLst>
        </c:ser>
        <c:ser>
          <c:idx val="4"/>
          <c:order val="4"/>
          <c:spPr>
            <a:solidFill>
              <a:srgbClr val="F78C98"/>
            </a:solidFill>
            <a:ln>
              <a:noFill/>
            </a:ln>
          </c:spPr>
          <c:invertIfNegative val="0"/>
          <c:val>
            <c:numRef>
              <c:f>Sheet1!$A$5</c:f>
              <c:numCache>
                <c:formatCode>General</c:formatCode>
                <c:ptCount val="1"/>
                <c:pt idx="0">
                  <c:v>7</c:v>
                </c:pt>
              </c:numCache>
            </c:numRef>
          </c:val>
          <c:extLst>
            <c:ext xmlns:c16="http://schemas.microsoft.com/office/drawing/2014/chart" uri="{C3380CC4-5D6E-409C-BE32-E72D297353CC}">
              <c16:uniqueId val="{00000004-2FB1-2B45-BAB1-868A111D6E57}"/>
            </c:ext>
          </c:extLst>
        </c:ser>
        <c:ser>
          <c:idx val="5"/>
          <c:order val="5"/>
          <c:spPr>
            <a:solidFill>
              <a:srgbClr val="808080"/>
            </a:solidFill>
            <a:ln>
              <a:noFill/>
            </a:ln>
          </c:spPr>
          <c:invertIfNegative val="0"/>
          <c:val>
            <c:numRef>
              <c:f>Sheet1!$A$6</c:f>
              <c:numCache>
                <c:formatCode>General</c:formatCode>
                <c:ptCount val="1"/>
                <c:pt idx="0">
                  <c:v>4</c:v>
                </c:pt>
              </c:numCache>
            </c:numRef>
          </c:val>
          <c:extLst>
            <c:ext xmlns:c16="http://schemas.microsoft.com/office/drawing/2014/chart" uri="{C3380CC4-5D6E-409C-BE32-E72D297353CC}">
              <c16:uniqueId val="{00000005-2FB1-2B45-BAB1-868A111D6E57}"/>
            </c:ext>
          </c:extLst>
        </c:ser>
        <c:dLbls>
          <c:showLegendKey val="0"/>
          <c:showVal val="0"/>
          <c:showCatName val="0"/>
          <c:showSerName val="0"/>
          <c:showPercent val="0"/>
          <c:showBubbleSize val="0"/>
        </c:dLbls>
        <c:gapWidth val="80"/>
        <c:overlap val="100"/>
        <c:axId val="923080320"/>
        <c:axId val="1"/>
      </c:barChart>
      <c:catAx>
        <c:axId val="9230803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23080320"/>
        <c:crosses val="min"/>
        <c:crossBetween val="between"/>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42134213421343"/>
          <c:y val="5.0204918032786885E-2"/>
          <c:w val="0.75797579757975797"/>
          <c:h val="0.89959016393442626"/>
        </c:manualLayout>
      </c:layout>
      <c:barChart>
        <c:barDir val="col"/>
        <c:grouping val="stacked"/>
        <c:varyColors val="0"/>
        <c:ser>
          <c:idx val="0"/>
          <c:order val="0"/>
          <c:spPr>
            <a:solidFill>
              <a:schemeClr val="tx2"/>
            </a:solidFill>
            <a:ln>
              <a:noFill/>
            </a:ln>
          </c:spPr>
          <c:invertIfNegative val="0"/>
          <c:dPt>
            <c:idx val="1"/>
            <c:invertIfNegative val="0"/>
            <c:bubble3D val="0"/>
            <c:spPr>
              <a:solidFill>
                <a:schemeClr val="bg2"/>
              </a:solidFill>
              <a:ln>
                <a:noFill/>
              </a:ln>
            </c:spPr>
            <c:extLst>
              <c:ext xmlns:c16="http://schemas.microsoft.com/office/drawing/2014/chart" uri="{C3380CC4-5D6E-409C-BE32-E72D297353CC}">
                <c16:uniqueId val="{00000000-09EF-4E60-8BCD-DE6DFEAE9641}"/>
              </c:ext>
            </c:extLst>
          </c:dPt>
          <c:val>
            <c:numRef>
              <c:f>Sheet1!$A$1:$B$1</c:f>
              <c:numCache>
                <c:formatCode>General</c:formatCode>
                <c:ptCount val="2"/>
                <c:pt idx="0">
                  <c:v>2776</c:v>
                </c:pt>
                <c:pt idx="1">
                  <c:v>512</c:v>
                </c:pt>
              </c:numCache>
            </c:numRef>
          </c:val>
          <c:extLst>
            <c:ext xmlns:c16="http://schemas.microsoft.com/office/drawing/2014/chart" uri="{C3380CC4-5D6E-409C-BE32-E72D297353CC}">
              <c16:uniqueId val="{00000001-09EF-4E60-8BCD-DE6DFEAE9641}"/>
            </c:ext>
          </c:extLst>
        </c:ser>
        <c:ser>
          <c:idx val="1"/>
          <c:order val="1"/>
          <c:spPr>
            <a:solidFill>
              <a:schemeClr val="bg2"/>
            </a:solidFill>
            <a:ln>
              <a:noFill/>
            </a:ln>
          </c:spPr>
          <c:invertIfNegative val="0"/>
          <c:val>
            <c:numRef>
              <c:f>Sheet1!$A$2:$B$2</c:f>
              <c:numCache>
                <c:formatCode>General</c:formatCode>
                <c:ptCount val="2"/>
                <c:pt idx="0">
                  <c:v>956</c:v>
                </c:pt>
                <c:pt idx="1">
                  <c:v>279</c:v>
                </c:pt>
              </c:numCache>
            </c:numRef>
          </c:val>
          <c:extLst>
            <c:ext xmlns:c16="http://schemas.microsoft.com/office/drawing/2014/chart" uri="{C3380CC4-5D6E-409C-BE32-E72D297353CC}">
              <c16:uniqueId val="{00000002-09EF-4E60-8BCD-DE6DFEAE9641}"/>
            </c:ext>
          </c:extLst>
        </c:ser>
        <c:ser>
          <c:idx val="2"/>
          <c:order val="2"/>
          <c:spPr>
            <a:solidFill>
              <a:schemeClr val="accent6"/>
            </a:solidFill>
            <a:ln>
              <a:noFill/>
            </a:ln>
          </c:spPr>
          <c:invertIfNegative val="0"/>
          <c:val>
            <c:numRef>
              <c:f>Sheet1!$A$3:$B$3</c:f>
              <c:numCache>
                <c:formatCode>General</c:formatCode>
                <c:ptCount val="2"/>
                <c:pt idx="0">
                  <c:v>105</c:v>
                </c:pt>
                <c:pt idx="1">
                  <c:v>31</c:v>
                </c:pt>
              </c:numCache>
            </c:numRef>
          </c:val>
          <c:extLst>
            <c:ext xmlns:c16="http://schemas.microsoft.com/office/drawing/2014/chart" uri="{C3380CC4-5D6E-409C-BE32-E72D297353CC}">
              <c16:uniqueId val="{00000003-09EF-4E60-8BCD-DE6DFEAE9641}"/>
            </c:ext>
          </c:extLst>
        </c:ser>
        <c:ser>
          <c:idx val="3"/>
          <c:order val="3"/>
          <c:spPr>
            <a:solidFill>
              <a:schemeClr val="accent1"/>
            </a:solidFill>
            <a:ln>
              <a:noFill/>
            </a:ln>
          </c:spPr>
          <c:invertIfNegative val="0"/>
          <c:val>
            <c:numRef>
              <c:f>Sheet1!$A$4:$B$4</c:f>
              <c:numCache>
                <c:formatCode>General</c:formatCode>
                <c:ptCount val="2"/>
                <c:pt idx="0">
                  <c:v>3357</c:v>
                </c:pt>
                <c:pt idx="1">
                  <c:v>980</c:v>
                </c:pt>
              </c:numCache>
            </c:numRef>
          </c:val>
          <c:extLst>
            <c:ext xmlns:c16="http://schemas.microsoft.com/office/drawing/2014/chart" uri="{C3380CC4-5D6E-409C-BE32-E72D297353CC}">
              <c16:uniqueId val="{00000004-09EF-4E60-8BCD-DE6DFEAE9641}"/>
            </c:ext>
          </c:extLst>
        </c:ser>
        <c:ser>
          <c:idx val="4"/>
          <c:order val="4"/>
          <c:spPr>
            <a:solidFill>
              <a:schemeClr val="accent4"/>
            </a:solidFill>
            <a:ln>
              <a:noFill/>
            </a:ln>
          </c:spPr>
          <c:invertIfNegative val="0"/>
          <c:val>
            <c:numRef>
              <c:f>Sheet1!$A$5:$B$5</c:f>
              <c:numCache>
                <c:formatCode>General</c:formatCode>
                <c:ptCount val="2"/>
                <c:pt idx="0">
                  <c:v>1279</c:v>
                </c:pt>
                <c:pt idx="1">
                  <c:v>373</c:v>
                </c:pt>
              </c:numCache>
            </c:numRef>
          </c:val>
          <c:extLst>
            <c:ext xmlns:c16="http://schemas.microsoft.com/office/drawing/2014/chart" uri="{C3380CC4-5D6E-409C-BE32-E72D297353CC}">
              <c16:uniqueId val="{00000005-09EF-4E60-8BCD-DE6DFEAE9641}"/>
            </c:ext>
          </c:extLst>
        </c:ser>
        <c:ser>
          <c:idx val="5"/>
          <c:order val="5"/>
          <c:spPr>
            <a:solidFill>
              <a:schemeClr val="accent3"/>
            </a:solidFill>
            <a:ln>
              <a:noFill/>
            </a:ln>
          </c:spPr>
          <c:invertIfNegative val="0"/>
          <c:val>
            <c:numRef>
              <c:f>Sheet1!$A$6:$B$6</c:f>
              <c:numCache>
                <c:formatCode>General</c:formatCode>
                <c:ptCount val="2"/>
                <c:pt idx="0">
                  <c:v>391</c:v>
                </c:pt>
                <c:pt idx="1">
                  <c:v>114</c:v>
                </c:pt>
              </c:numCache>
            </c:numRef>
          </c:val>
          <c:extLst>
            <c:ext xmlns:c16="http://schemas.microsoft.com/office/drawing/2014/chart" uri="{C3380CC4-5D6E-409C-BE32-E72D297353CC}">
              <c16:uniqueId val="{00000006-09EF-4E60-8BCD-DE6DFEAE9641}"/>
            </c:ext>
          </c:extLst>
        </c:ser>
        <c:ser>
          <c:idx val="6"/>
          <c:order val="6"/>
          <c:spPr>
            <a:solidFill>
              <a:schemeClr val="accent2"/>
            </a:solidFill>
            <a:ln>
              <a:noFill/>
            </a:ln>
          </c:spPr>
          <c:invertIfNegative val="0"/>
          <c:val>
            <c:numRef>
              <c:f>Sheet1!$A$7:$B$7</c:f>
              <c:numCache>
                <c:formatCode>General</c:formatCode>
                <c:ptCount val="2"/>
                <c:pt idx="0">
                  <c:v>1345</c:v>
                </c:pt>
                <c:pt idx="1">
                  <c:v>784</c:v>
                </c:pt>
              </c:numCache>
            </c:numRef>
          </c:val>
          <c:extLst>
            <c:ext xmlns:c16="http://schemas.microsoft.com/office/drawing/2014/chart" uri="{C3380CC4-5D6E-409C-BE32-E72D297353CC}">
              <c16:uniqueId val="{00000007-09EF-4E60-8BCD-DE6DFEAE9641}"/>
            </c:ext>
          </c:extLst>
        </c:ser>
        <c:ser>
          <c:idx val="7"/>
          <c:order val="7"/>
          <c:spPr>
            <a:solidFill>
              <a:schemeClr val="accent5"/>
            </a:solidFill>
            <a:ln>
              <a:noFill/>
            </a:ln>
          </c:spPr>
          <c:invertIfNegative val="0"/>
          <c:val>
            <c:numRef>
              <c:f>Sheet1!$A$8:$B$8</c:f>
              <c:numCache>
                <c:formatCode>General</c:formatCode>
                <c:ptCount val="2"/>
                <c:pt idx="0">
                  <c:v>178</c:v>
                </c:pt>
                <c:pt idx="1">
                  <c:v>52</c:v>
                </c:pt>
              </c:numCache>
            </c:numRef>
          </c:val>
          <c:extLst>
            <c:ext xmlns:c16="http://schemas.microsoft.com/office/drawing/2014/chart" uri="{C3380CC4-5D6E-409C-BE32-E72D297353CC}">
              <c16:uniqueId val="{00000008-09EF-4E60-8BCD-DE6DFEAE9641}"/>
            </c:ext>
          </c:extLst>
        </c:ser>
        <c:dLbls>
          <c:showLegendKey val="0"/>
          <c:showVal val="0"/>
          <c:showCatName val="0"/>
          <c:showSerName val="0"/>
          <c:showPercent val="0"/>
          <c:showBubbleSize val="0"/>
        </c:dLbls>
        <c:gapWidth val="80"/>
        <c:overlap val="100"/>
        <c:axId val="930837535"/>
        <c:axId val="1"/>
      </c:barChart>
      <c:catAx>
        <c:axId val="9308375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930837535"/>
        <c:crosses val="min"/>
        <c:crossBetween val="between"/>
        <c:majorUnit val="3000"/>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174041297935103E-2"/>
          <c:y val="4.1599999999999998E-2"/>
          <c:w val="0.96165191740412981"/>
          <c:h val="0.91679999999999995"/>
        </c:manualLayout>
      </c:layout>
      <c:lineChart>
        <c:grouping val="standard"/>
        <c:varyColors val="0"/>
        <c:ser>
          <c:idx val="0"/>
          <c:order val="0"/>
          <c:spPr>
            <a:ln w="19050" cmpd="sng" algn="ctr">
              <a:solidFill>
                <a:schemeClr val="accent1"/>
              </a:solidFill>
              <a:prstDash val="solid"/>
            </a:ln>
          </c:spPr>
          <c:marker>
            <c:symbol val="none"/>
          </c:marker>
          <c:dPt>
            <c:idx val="0"/>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604A-4053-870F-6237662B1ABF}"/>
              </c:ext>
            </c:extLst>
          </c:dPt>
          <c:dPt>
            <c:idx val="1"/>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604A-4053-870F-6237662B1ABF}"/>
              </c:ext>
            </c:extLst>
          </c:dPt>
          <c:dPt>
            <c:idx val="2"/>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604A-4053-870F-6237662B1ABF}"/>
              </c:ext>
            </c:extLst>
          </c:dPt>
          <c:dPt>
            <c:idx val="3"/>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3-604A-4053-870F-6237662B1ABF}"/>
              </c:ext>
            </c:extLst>
          </c:dPt>
          <c:dPt>
            <c:idx val="4"/>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4-604A-4053-870F-6237662B1ABF}"/>
              </c:ext>
            </c:extLst>
          </c:dPt>
          <c:val>
            <c:numRef>
              <c:f>Sheet1!$A$1:$E$1</c:f>
              <c:numCache>
                <c:formatCode>General</c:formatCode>
                <c:ptCount val="5"/>
                <c:pt idx="0">
                  <c:v>5500</c:v>
                </c:pt>
                <c:pt idx="1">
                  <c:v>4600</c:v>
                </c:pt>
                <c:pt idx="2">
                  <c:v>4250</c:v>
                </c:pt>
                <c:pt idx="3">
                  <c:v>3950</c:v>
                </c:pt>
                <c:pt idx="4">
                  <c:v>3800</c:v>
                </c:pt>
              </c:numCache>
            </c:numRef>
          </c:val>
          <c:smooth val="0"/>
          <c:extLst>
            <c:ext xmlns:c16="http://schemas.microsoft.com/office/drawing/2014/chart" uri="{C3380CC4-5D6E-409C-BE32-E72D297353CC}">
              <c16:uniqueId val="{00000005-604A-4053-870F-6237662B1ABF}"/>
            </c:ext>
          </c:extLst>
        </c:ser>
        <c:ser>
          <c:idx val="1"/>
          <c:order val="1"/>
          <c:spPr>
            <a:ln w="19050" cmpd="sng" algn="ctr">
              <a:solidFill>
                <a:schemeClr val="accent2"/>
              </a:solidFill>
              <a:prstDash val="solid"/>
            </a:ln>
          </c:spPr>
          <c:marker>
            <c:symbol val="none"/>
          </c:marker>
          <c:dPt>
            <c:idx val="0"/>
            <c:marker>
              <c:symbol val="triang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6-604A-4053-870F-6237662B1ABF}"/>
              </c:ext>
            </c:extLst>
          </c:dPt>
          <c:dPt>
            <c:idx val="1"/>
            <c:marker>
              <c:symbol val="triang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7-604A-4053-870F-6237662B1ABF}"/>
              </c:ext>
            </c:extLst>
          </c:dPt>
          <c:dPt>
            <c:idx val="2"/>
            <c:marker>
              <c:symbol val="triang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8-604A-4053-870F-6237662B1ABF}"/>
              </c:ext>
            </c:extLst>
          </c:dPt>
          <c:dPt>
            <c:idx val="3"/>
            <c:marker>
              <c:symbol val="triang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9-604A-4053-870F-6237662B1ABF}"/>
              </c:ext>
            </c:extLst>
          </c:dPt>
          <c:dPt>
            <c:idx val="4"/>
            <c:marker>
              <c:symbol val="triang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A-604A-4053-870F-6237662B1ABF}"/>
              </c:ext>
            </c:extLst>
          </c:dPt>
          <c:val>
            <c:numRef>
              <c:f>Sheet1!$A$2:$E$2</c:f>
              <c:numCache>
                <c:formatCode>General</c:formatCode>
                <c:ptCount val="5"/>
                <c:pt idx="0">
                  <c:v>5500</c:v>
                </c:pt>
                <c:pt idx="1">
                  <c:v>4350</c:v>
                </c:pt>
                <c:pt idx="2">
                  <c:v>3800</c:v>
                </c:pt>
                <c:pt idx="3">
                  <c:v>3600</c:v>
                </c:pt>
                <c:pt idx="4">
                  <c:v>3450</c:v>
                </c:pt>
              </c:numCache>
            </c:numRef>
          </c:val>
          <c:smooth val="0"/>
          <c:extLst>
            <c:ext xmlns:c16="http://schemas.microsoft.com/office/drawing/2014/chart" uri="{C3380CC4-5D6E-409C-BE32-E72D297353CC}">
              <c16:uniqueId val="{0000000B-604A-4053-870F-6237662B1ABF}"/>
            </c:ext>
          </c:extLst>
        </c:ser>
        <c:ser>
          <c:idx val="2"/>
          <c:order val="2"/>
          <c:spPr>
            <a:ln w="19050" cmpd="sng" algn="ctr">
              <a:solidFill>
                <a:schemeClr val="accent3"/>
              </a:solidFill>
              <a:prstDash val="solid"/>
            </a:ln>
          </c:spPr>
          <c:marker>
            <c:symbol val="none"/>
          </c:marker>
          <c:dPt>
            <c:idx val="0"/>
            <c:marker>
              <c:symbol val="triangl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C-604A-4053-870F-6237662B1ABF}"/>
              </c:ext>
            </c:extLst>
          </c:dPt>
          <c:dPt>
            <c:idx val="1"/>
            <c:marker>
              <c:symbol val="triangl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D-604A-4053-870F-6237662B1ABF}"/>
              </c:ext>
            </c:extLst>
          </c:dPt>
          <c:dPt>
            <c:idx val="2"/>
            <c:marker>
              <c:symbol val="triangl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E-604A-4053-870F-6237662B1ABF}"/>
              </c:ext>
            </c:extLst>
          </c:dPt>
          <c:dPt>
            <c:idx val="3"/>
            <c:marker>
              <c:symbol val="triangl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F-604A-4053-870F-6237662B1ABF}"/>
              </c:ext>
            </c:extLst>
          </c:dPt>
          <c:dPt>
            <c:idx val="4"/>
            <c:marker>
              <c:symbol val="triangl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0-604A-4053-870F-6237662B1ABF}"/>
              </c:ext>
            </c:extLst>
          </c:dPt>
          <c:val>
            <c:numRef>
              <c:f>Sheet1!$A$3:$E$3</c:f>
              <c:numCache>
                <c:formatCode>General</c:formatCode>
                <c:ptCount val="5"/>
                <c:pt idx="0">
                  <c:v>5500</c:v>
                </c:pt>
                <c:pt idx="1">
                  <c:v>4300</c:v>
                </c:pt>
                <c:pt idx="2">
                  <c:v>3550</c:v>
                </c:pt>
                <c:pt idx="3">
                  <c:v>3400</c:v>
                </c:pt>
                <c:pt idx="4">
                  <c:v>3250</c:v>
                </c:pt>
              </c:numCache>
            </c:numRef>
          </c:val>
          <c:smooth val="0"/>
          <c:extLst>
            <c:ext xmlns:c16="http://schemas.microsoft.com/office/drawing/2014/chart" uri="{C3380CC4-5D6E-409C-BE32-E72D297353CC}">
              <c16:uniqueId val="{00000011-604A-4053-870F-6237662B1ABF}"/>
            </c:ext>
          </c:extLst>
        </c:ser>
        <c:ser>
          <c:idx val="3"/>
          <c:order val="3"/>
          <c:spPr>
            <a:ln w="19050" cmpd="sng" algn="ctr">
              <a:solidFill>
                <a:schemeClr val="accent4"/>
              </a:solidFill>
              <a:prstDash val="solid"/>
            </a:ln>
          </c:spPr>
          <c:marker>
            <c:symbol val="none"/>
          </c:marker>
          <c:dPt>
            <c:idx val="0"/>
            <c:marker>
              <c:symbol val="triangle"/>
              <c:size val="7"/>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12-604A-4053-870F-6237662B1ABF}"/>
              </c:ext>
            </c:extLst>
          </c:dPt>
          <c:dPt>
            <c:idx val="1"/>
            <c:marker>
              <c:symbol val="triangle"/>
              <c:size val="7"/>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13-604A-4053-870F-6237662B1ABF}"/>
              </c:ext>
            </c:extLst>
          </c:dPt>
          <c:dPt>
            <c:idx val="2"/>
            <c:marker>
              <c:symbol val="triangle"/>
              <c:size val="7"/>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14-604A-4053-870F-6237662B1ABF}"/>
              </c:ext>
            </c:extLst>
          </c:dPt>
          <c:val>
            <c:numRef>
              <c:f>Sheet1!$A$4:$E$4</c:f>
              <c:numCache>
                <c:formatCode>General</c:formatCode>
                <c:ptCount val="5"/>
                <c:pt idx="0">
                  <c:v>5500</c:v>
                </c:pt>
                <c:pt idx="1">
                  <c:v>4300</c:v>
                </c:pt>
                <c:pt idx="2">
                  <c:v>2100</c:v>
                </c:pt>
              </c:numCache>
            </c:numRef>
          </c:val>
          <c:smooth val="0"/>
          <c:extLst>
            <c:ext xmlns:c16="http://schemas.microsoft.com/office/drawing/2014/chart" uri="{C3380CC4-5D6E-409C-BE32-E72D297353CC}">
              <c16:uniqueId val="{00000015-604A-4053-870F-6237662B1ABF}"/>
            </c:ext>
          </c:extLst>
        </c:ser>
        <c:dLbls>
          <c:showLegendKey val="0"/>
          <c:showVal val="0"/>
          <c:showCatName val="0"/>
          <c:showSerName val="0"/>
          <c:showPercent val="0"/>
          <c:showBubbleSize val="0"/>
        </c:dLbls>
        <c:smooth val="0"/>
        <c:axId val="384403568"/>
        <c:axId val="1"/>
      </c:lineChart>
      <c:catAx>
        <c:axId val="3844035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500"/>
          <c:min val="100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384403568"/>
        <c:crosses val="min"/>
        <c:crossBetween val="midCat"/>
        <c:majorUnit val="500"/>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14035087719298E-2"/>
          <c:y val="4.4905008635578586E-2"/>
          <c:w val="0.91508771929824562"/>
          <c:h val="0.7918825561312608"/>
        </c:manualLayout>
      </c:layout>
      <c:scatterChart>
        <c:scatterStyle val="lineMarker"/>
        <c:varyColors val="0"/>
        <c:ser>
          <c:idx val="0"/>
          <c:order val="0"/>
          <c:spPr>
            <a:ln>
              <a:noFill/>
            </a:ln>
          </c:spPr>
          <c:marker>
            <c:symbol val="circle"/>
            <c:size val="7"/>
            <c:spPr>
              <a:solidFill>
                <a:schemeClr val="accent1"/>
              </a:solidFill>
              <a:ln w="9525" cmpd="sng" algn="ctr">
                <a:solidFill>
                  <a:schemeClr val="accent1"/>
                </a:solidFill>
                <a:prstDash val="solid"/>
              </a:ln>
            </c:spPr>
          </c:marker>
          <c:xVal>
            <c:numRef>
              <c:f>Sheet1!$A$1:$A$28</c:f>
              <c:numCache>
                <c:formatCode>General</c:formatCode>
                <c:ptCount val="28"/>
                <c:pt idx="0">
                  <c:v>30</c:v>
                </c:pt>
                <c:pt idx="1">
                  <c:v>50</c:v>
                </c:pt>
                <c:pt idx="2">
                  <c:v>50</c:v>
                </c:pt>
                <c:pt idx="3">
                  <c:v>80</c:v>
                </c:pt>
                <c:pt idx="4">
                  <c:v>80</c:v>
                </c:pt>
                <c:pt idx="5">
                  <c:v>80</c:v>
                </c:pt>
                <c:pt idx="6">
                  <c:v>80</c:v>
                </c:pt>
                <c:pt idx="7">
                  <c:v>90</c:v>
                </c:pt>
                <c:pt idx="8">
                  <c:v>90</c:v>
                </c:pt>
                <c:pt idx="9">
                  <c:v>90</c:v>
                </c:pt>
                <c:pt idx="10">
                  <c:v>90</c:v>
                </c:pt>
                <c:pt idx="11">
                  <c:v>90</c:v>
                </c:pt>
                <c:pt idx="12">
                  <c:v>90</c:v>
                </c:pt>
                <c:pt idx="13">
                  <c:v>95</c:v>
                </c:pt>
                <c:pt idx="14">
                  <c:v>95</c:v>
                </c:pt>
                <c:pt idx="15">
                  <c:v>95</c:v>
                </c:pt>
                <c:pt idx="16">
                  <c:v>95</c:v>
                </c:pt>
                <c:pt idx="17">
                  <c:v>95</c:v>
                </c:pt>
                <c:pt idx="18">
                  <c:v>95</c:v>
                </c:pt>
                <c:pt idx="19">
                  <c:v>95</c:v>
                </c:pt>
                <c:pt idx="20">
                  <c:v>95</c:v>
                </c:pt>
                <c:pt idx="21">
                  <c:v>95</c:v>
                </c:pt>
                <c:pt idx="22">
                  <c:v>100</c:v>
                </c:pt>
                <c:pt idx="23">
                  <c:v>100</c:v>
                </c:pt>
                <c:pt idx="24">
                  <c:v>100</c:v>
                </c:pt>
                <c:pt idx="25">
                  <c:v>100</c:v>
                </c:pt>
                <c:pt idx="26">
                  <c:v>100</c:v>
                </c:pt>
                <c:pt idx="27">
                  <c:v>100</c:v>
                </c:pt>
              </c:numCache>
            </c:numRef>
          </c:xVal>
          <c:yVal>
            <c:numRef>
              <c:f>Sheet1!$B$1:$B$28</c:f>
              <c:numCache>
                <c:formatCode>General</c:formatCode>
                <c:ptCount val="28"/>
                <c:pt idx="0">
                  <c:v>11929.577464788699</c:v>
                </c:pt>
                <c:pt idx="1">
                  <c:v>10302.8169014084</c:v>
                </c:pt>
                <c:pt idx="2">
                  <c:v>9711.2676056338005</c:v>
                </c:pt>
                <c:pt idx="3">
                  <c:v>8281.6901408450703</c:v>
                </c:pt>
                <c:pt idx="4">
                  <c:v>3697.1830985915499</c:v>
                </c:pt>
                <c:pt idx="5">
                  <c:v>3007.0422535211301</c:v>
                </c:pt>
                <c:pt idx="6">
                  <c:v>2415.49295774648</c:v>
                </c:pt>
                <c:pt idx="7">
                  <c:v>4929.5774647887301</c:v>
                </c:pt>
                <c:pt idx="8">
                  <c:v>3894.3661971831002</c:v>
                </c:pt>
                <c:pt idx="9">
                  <c:v>3154.9295774647899</c:v>
                </c:pt>
                <c:pt idx="10">
                  <c:v>2661.9718309859099</c:v>
                </c:pt>
                <c:pt idx="11">
                  <c:v>2366.1971830985899</c:v>
                </c:pt>
                <c:pt idx="12">
                  <c:v>1725.35211267606</c:v>
                </c:pt>
                <c:pt idx="13">
                  <c:v>5422.5352112676101</c:v>
                </c:pt>
                <c:pt idx="14">
                  <c:v>4239.4366197183099</c:v>
                </c:pt>
                <c:pt idx="15">
                  <c:v>4042.25352112676</c:v>
                </c:pt>
                <c:pt idx="16">
                  <c:v>3697.1830985915499</c:v>
                </c:pt>
                <c:pt idx="17">
                  <c:v>2760.5633802816901</c:v>
                </c:pt>
                <c:pt idx="18">
                  <c:v>2612.6760563380299</c:v>
                </c:pt>
                <c:pt idx="19">
                  <c:v>2415.49295774648</c:v>
                </c:pt>
                <c:pt idx="20">
                  <c:v>2415.49295774648</c:v>
                </c:pt>
                <c:pt idx="21">
                  <c:v>2218.3098591549301</c:v>
                </c:pt>
                <c:pt idx="22">
                  <c:v>3894.3661971831002</c:v>
                </c:pt>
                <c:pt idx="23">
                  <c:v>3549.2957746478901</c:v>
                </c:pt>
                <c:pt idx="24">
                  <c:v>3056.3380281690102</c:v>
                </c:pt>
                <c:pt idx="25">
                  <c:v>2859.1549295774698</c:v>
                </c:pt>
                <c:pt idx="26">
                  <c:v>2563.3802816901398</c:v>
                </c:pt>
                <c:pt idx="27">
                  <c:v>2267.6056338028202</c:v>
                </c:pt>
              </c:numCache>
            </c:numRef>
          </c:yVal>
          <c:smooth val="0"/>
          <c:extLst>
            <c:ext xmlns:c16="http://schemas.microsoft.com/office/drawing/2014/chart" uri="{C3380CC4-5D6E-409C-BE32-E72D297353CC}">
              <c16:uniqueId val="{00000000-603E-4F07-8AE2-13560677A7DB}"/>
            </c:ext>
          </c:extLst>
        </c:ser>
        <c:dLbls>
          <c:showLegendKey val="0"/>
          <c:showVal val="0"/>
          <c:showCatName val="0"/>
          <c:showSerName val="0"/>
          <c:showPercent val="0"/>
          <c:showBubbleSize val="0"/>
        </c:dLbls>
        <c:axId val="384332016"/>
        <c:axId val="1"/>
      </c:scatterChart>
      <c:valAx>
        <c:axId val="384332016"/>
        <c:scaling>
          <c:orientation val="minMax"/>
          <c:max val="100"/>
          <c:min val="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1"/>
        <c:crosses val="min"/>
        <c:crossBetween val="midCat"/>
        <c:majorUnit val="5"/>
      </c:valAx>
      <c:valAx>
        <c:axId val="1"/>
        <c:scaling>
          <c:orientation val="minMax"/>
          <c:max val="15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384332016"/>
        <c:crosses val="min"/>
        <c:crossBetween val="midCat"/>
        <c:majorUnit val="5000"/>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253521126760565E-2"/>
          <c:y val="6.243032329988852E-2"/>
          <c:w val="0.81619718309859157"/>
          <c:h val="0.87513935340022297"/>
        </c:manualLayout>
      </c:layout>
      <c:barChart>
        <c:barDir val="col"/>
        <c:grouping val="stacked"/>
        <c:varyColors val="0"/>
        <c:ser>
          <c:idx val="0"/>
          <c:order val="0"/>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1B-4FB1-9D36-907D74565929}"/>
                </c:ext>
              </c:extLst>
            </c:dLbl>
            <c:dLbl>
              <c:idx val="1"/>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1B-4FB1-9D36-907D745659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8</c:v>
                </c:pt>
                <c:pt idx="1">
                  <c:v>17</c:v>
                </c:pt>
              </c:numCache>
            </c:numRef>
          </c:val>
          <c:extLst>
            <c:ext xmlns:c16="http://schemas.microsoft.com/office/drawing/2014/chart" uri="{C3380CC4-5D6E-409C-BE32-E72D297353CC}">
              <c16:uniqueId val="{00000002-D41B-4FB1-9D36-907D74565929}"/>
            </c:ext>
          </c:extLst>
        </c:ser>
        <c:ser>
          <c:idx val="1"/>
          <c:order val="1"/>
          <c:spPr>
            <a:solidFill>
              <a:schemeClr val="accent3"/>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41B-4FB1-9D36-907D74565929}"/>
                </c:ext>
              </c:extLst>
            </c:dLbl>
            <c:dLbl>
              <c:idx val="1"/>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41B-4FB1-9D36-907D745659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4</c:v>
                </c:pt>
                <c:pt idx="1">
                  <c:v>20</c:v>
                </c:pt>
              </c:numCache>
            </c:numRef>
          </c:val>
          <c:extLst>
            <c:ext xmlns:c16="http://schemas.microsoft.com/office/drawing/2014/chart" uri="{C3380CC4-5D6E-409C-BE32-E72D297353CC}">
              <c16:uniqueId val="{00000005-D41B-4FB1-9D36-907D74565929}"/>
            </c:ext>
          </c:extLst>
        </c:ser>
        <c:ser>
          <c:idx val="2"/>
          <c:order val="2"/>
          <c:spPr>
            <a:solidFill>
              <a:schemeClr val="accent2"/>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41B-4FB1-9D36-907D74565929}"/>
                </c:ext>
              </c:extLst>
            </c:dLbl>
            <c:dLbl>
              <c:idx val="1"/>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41B-4FB1-9D36-907D745659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48.000000000000007</c:v>
                </c:pt>
                <c:pt idx="1">
                  <c:v>30.999999999999993</c:v>
                </c:pt>
              </c:numCache>
            </c:numRef>
          </c:val>
          <c:extLst>
            <c:ext xmlns:c16="http://schemas.microsoft.com/office/drawing/2014/chart" uri="{C3380CC4-5D6E-409C-BE32-E72D297353CC}">
              <c16:uniqueId val="{00000008-D41B-4FB1-9D36-907D74565929}"/>
            </c:ext>
          </c:extLst>
        </c:ser>
        <c:ser>
          <c:idx val="3"/>
          <c:order val="3"/>
          <c:spPr>
            <a:solidFill>
              <a:schemeClr val="accent1"/>
            </a:solidFill>
            <a:ln>
              <a:noFill/>
            </a:ln>
          </c:spPr>
          <c:invertIfNegative val="0"/>
          <c:dLbls>
            <c:dLbl>
              <c:idx val="0"/>
              <c:layout>
                <c:manualLayout>
                  <c:x val="0"/>
                  <c:y val="-3.7160906726124119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41B-4FB1-9D36-907D74565929}"/>
                </c:ext>
              </c:extLst>
            </c:dLbl>
            <c:dLbl>
              <c:idx val="1"/>
              <c:layout>
                <c:manualLayout>
                  <c:x val="0"/>
                  <c:y val="-3.7160906726124119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41B-4FB1-9D36-907D745659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19.999999999999996</c:v>
                </c:pt>
                <c:pt idx="1">
                  <c:v>13</c:v>
                </c:pt>
              </c:numCache>
            </c:numRef>
          </c:val>
          <c:extLst>
            <c:ext xmlns:c16="http://schemas.microsoft.com/office/drawing/2014/chart" uri="{C3380CC4-5D6E-409C-BE32-E72D297353CC}">
              <c16:uniqueId val="{0000000B-D41B-4FB1-9D36-907D74565929}"/>
            </c:ext>
          </c:extLst>
        </c:ser>
        <c:dLbls>
          <c:showLegendKey val="0"/>
          <c:showVal val="0"/>
          <c:showCatName val="0"/>
          <c:showSerName val="0"/>
          <c:showPercent val="0"/>
          <c:showBubbleSize val="0"/>
        </c:dLbls>
        <c:gapWidth val="80"/>
        <c:overlap val="100"/>
        <c:axId val="384318704"/>
        <c:axId val="1"/>
      </c:barChart>
      <c:catAx>
        <c:axId val="3843187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384318704"/>
        <c:crosses val="min"/>
        <c:crossBetween val="between"/>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056910569105691"/>
          <c:y val="4.3143955574540795E-2"/>
          <c:w val="0.83604336043360439"/>
          <c:h val="0.85219991456642463"/>
        </c:manualLayout>
      </c:layout>
      <c:scatterChart>
        <c:scatterStyle val="lineMarker"/>
        <c:varyColors val="0"/>
        <c:ser>
          <c:idx val="0"/>
          <c:order val="0"/>
          <c:spPr>
            <a:ln w="28575" cmpd="sng" algn="ctr">
              <a:solidFill>
                <a:srgbClr val="359BDB"/>
              </a:solidFill>
              <a:prstDash val="lgDash"/>
            </a:ln>
          </c:spPr>
          <c:marker>
            <c:symbol val="none"/>
          </c:marker>
          <c:xVal>
            <c:numRef>
              <c:f>Sheet1!$A$1:$E$1</c:f>
              <c:numCache>
                <c:formatCode>General</c:formatCode>
                <c:ptCount val="5"/>
                <c:pt idx="0">
                  <c:v>2030</c:v>
                </c:pt>
                <c:pt idx="1">
                  <c:v>2035</c:v>
                </c:pt>
                <c:pt idx="2">
                  <c:v>2040</c:v>
                </c:pt>
                <c:pt idx="3">
                  <c:v>2045</c:v>
                </c:pt>
                <c:pt idx="4">
                  <c:v>2050</c:v>
                </c:pt>
              </c:numCache>
            </c:numRef>
          </c:xVal>
          <c:yVal>
            <c:numRef>
              <c:f>Sheet1!$A$2:$E$2</c:f>
              <c:numCache>
                <c:formatCode>General</c:formatCode>
                <c:ptCount val="5"/>
                <c:pt idx="0">
                  <c:v>7750</c:v>
                </c:pt>
                <c:pt idx="1">
                  <c:v>7750</c:v>
                </c:pt>
                <c:pt idx="2">
                  <c:v>7500</c:v>
                </c:pt>
                <c:pt idx="3">
                  <c:v>6750</c:v>
                </c:pt>
                <c:pt idx="4">
                  <c:v>6000</c:v>
                </c:pt>
              </c:numCache>
            </c:numRef>
          </c:yVal>
          <c:smooth val="0"/>
          <c:extLst>
            <c:ext xmlns:c16="http://schemas.microsoft.com/office/drawing/2014/chart" uri="{C3380CC4-5D6E-409C-BE32-E72D297353CC}">
              <c16:uniqueId val="{00000000-E9FD-9242-AC4F-59396D8F2347}"/>
            </c:ext>
          </c:extLst>
        </c:ser>
        <c:ser>
          <c:idx val="1"/>
          <c:order val="1"/>
          <c:spPr>
            <a:ln w="28575" cmpd="sng" algn="ctr">
              <a:solidFill>
                <a:srgbClr val="359BDB"/>
              </a:solidFill>
              <a:prstDash val="solid"/>
            </a:ln>
          </c:spPr>
          <c:marker>
            <c:symbol val="none"/>
          </c:marker>
          <c:xVal>
            <c:numRef>
              <c:f>Sheet1!$A$1:$E$1</c:f>
              <c:numCache>
                <c:formatCode>General</c:formatCode>
                <c:ptCount val="5"/>
                <c:pt idx="0">
                  <c:v>2030</c:v>
                </c:pt>
                <c:pt idx="1">
                  <c:v>2035</c:v>
                </c:pt>
                <c:pt idx="2">
                  <c:v>2040</c:v>
                </c:pt>
                <c:pt idx="3">
                  <c:v>2045</c:v>
                </c:pt>
                <c:pt idx="4">
                  <c:v>2050</c:v>
                </c:pt>
              </c:numCache>
            </c:numRef>
          </c:xVal>
          <c:yVal>
            <c:numRef>
              <c:f>Sheet1!$A$3:$E$3</c:f>
              <c:numCache>
                <c:formatCode>General</c:formatCode>
                <c:ptCount val="5"/>
                <c:pt idx="0">
                  <c:v>10000</c:v>
                </c:pt>
                <c:pt idx="1">
                  <c:v>9500</c:v>
                </c:pt>
                <c:pt idx="2">
                  <c:v>8000</c:v>
                </c:pt>
                <c:pt idx="3">
                  <c:v>7000</c:v>
                </c:pt>
                <c:pt idx="4">
                  <c:v>6250</c:v>
                </c:pt>
              </c:numCache>
            </c:numRef>
          </c:yVal>
          <c:smooth val="0"/>
          <c:extLst>
            <c:ext xmlns:c16="http://schemas.microsoft.com/office/drawing/2014/chart" uri="{C3380CC4-5D6E-409C-BE32-E72D297353CC}">
              <c16:uniqueId val="{00000001-E9FD-9242-AC4F-59396D8F2347}"/>
            </c:ext>
          </c:extLst>
        </c:ser>
        <c:ser>
          <c:idx val="2"/>
          <c:order val="2"/>
          <c:spPr>
            <a:ln w="28575" cmpd="sng" algn="ctr">
              <a:solidFill>
                <a:srgbClr val="FF9300"/>
              </a:solidFill>
              <a:prstDash val="lgDash"/>
            </a:ln>
          </c:spPr>
          <c:marker>
            <c:symbol val="none"/>
          </c:marker>
          <c:xVal>
            <c:numRef>
              <c:f>Sheet1!$A$1:$E$1</c:f>
              <c:numCache>
                <c:formatCode>General</c:formatCode>
                <c:ptCount val="5"/>
                <c:pt idx="0">
                  <c:v>2030</c:v>
                </c:pt>
                <c:pt idx="1">
                  <c:v>2035</c:v>
                </c:pt>
                <c:pt idx="2">
                  <c:v>2040</c:v>
                </c:pt>
                <c:pt idx="3">
                  <c:v>2045</c:v>
                </c:pt>
                <c:pt idx="4">
                  <c:v>2050</c:v>
                </c:pt>
              </c:numCache>
            </c:numRef>
          </c:xVal>
          <c:yVal>
            <c:numRef>
              <c:f>Sheet1!$A$4:$E$4</c:f>
              <c:numCache>
                <c:formatCode>General</c:formatCode>
                <c:ptCount val="5"/>
                <c:pt idx="0">
                  <c:v>5750</c:v>
                </c:pt>
                <c:pt idx="1">
                  <c:v>5500</c:v>
                </c:pt>
                <c:pt idx="2">
                  <c:v>4750</c:v>
                </c:pt>
                <c:pt idx="3">
                  <c:v>4250</c:v>
                </c:pt>
                <c:pt idx="4">
                  <c:v>3750</c:v>
                </c:pt>
              </c:numCache>
            </c:numRef>
          </c:yVal>
          <c:smooth val="0"/>
          <c:extLst>
            <c:ext xmlns:c16="http://schemas.microsoft.com/office/drawing/2014/chart" uri="{C3380CC4-5D6E-409C-BE32-E72D297353CC}">
              <c16:uniqueId val="{00000002-E9FD-9242-AC4F-59396D8F2347}"/>
            </c:ext>
          </c:extLst>
        </c:ser>
        <c:ser>
          <c:idx val="3"/>
          <c:order val="3"/>
          <c:spPr>
            <a:ln w="28575" cmpd="sng" algn="ctr">
              <a:solidFill>
                <a:srgbClr val="FF9300"/>
              </a:solidFill>
              <a:prstDash val="solid"/>
            </a:ln>
          </c:spPr>
          <c:marker>
            <c:symbol val="none"/>
          </c:marker>
          <c:xVal>
            <c:numRef>
              <c:f>Sheet1!$A$1:$E$1</c:f>
              <c:numCache>
                <c:formatCode>General</c:formatCode>
                <c:ptCount val="5"/>
                <c:pt idx="0">
                  <c:v>2030</c:v>
                </c:pt>
                <c:pt idx="1">
                  <c:v>2035</c:v>
                </c:pt>
                <c:pt idx="2">
                  <c:v>2040</c:v>
                </c:pt>
                <c:pt idx="3">
                  <c:v>2045</c:v>
                </c:pt>
                <c:pt idx="4">
                  <c:v>2050</c:v>
                </c:pt>
              </c:numCache>
            </c:numRef>
          </c:xVal>
          <c:yVal>
            <c:numRef>
              <c:f>Sheet1!$A$5:$E$5</c:f>
              <c:numCache>
                <c:formatCode>General</c:formatCode>
                <c:ptCount val="5"/>
                <c:pt idx="0">
                  <c:v>8000</c:v>
                </c:pt>
                <c:pt idx="1">
                  <c:v>6500</c:v>
                </c:pt>
                <c:pt idx="2">
                  <c:v>5250</c:v>
                </c:pt>
                <c:pt idx="3">
                  <c:v>4500</c:v>
                </c:pt>
                <c:pt idx="4">
                  <c:v>4000</c:v>
                </c:pt>
              </c:numCache>
            </c:numRef>
          </c:yVal>
          <c:smooth val="0"/>
          <c:extLst>
            <c:ext xmlns:c16="http://schemas.microsoft.com/office/drawing/2014/chart" uri="{C3380CC4-5D6E-409C-BE32-E72D297353CC}">
              <c16:uniqueId val="{00000003-E9FD-9242-AC4F-59396D8F2347}"/>
            </c:ext>
          </c:extLst>
        </c:ser>
        <c:ser>
          <c:idx val="4"/>
          <c:order val="4"/>
          <c:spPr>
            <a:ln w="28575" cmpd="sng" algn="ctr">
              <a:solidFill>
                <a:srgbClr val="D1227D"/>
              </a:solidFill>
              <a:prstDash val="lgDash"/>
            </a:ln>
          </c:spPr>
          <c:marker>
            <c:symbol val="none"/>
          </c:marker>
          <c:xVal>
            <c:numRef>
              <c:f>Sheet1!$A$1:$E$1</c:f>
              <c:numCache>
                <c:formatCode>General</c:formatCode>
                <c:ptCount val="5"/>
                <c:pt idx="0">
                  <c:v>2030</c:v>
                </c:pt>
                <c:pt idx="1">
                  <c:v>2035</c:v>
                </c:pt>
                <c:pt idx="2">
                  <c:v>2040</c:v>
                </c:pt>
                <c:pt idx="3">
                  <c:v>2045</c:v>
                </c:pt>
                <c:pt idx="4">
                  <c:v>2050</c:v>
                </c:pt>
              </c:numCache>
            </c:numRef>
          </c:xVal>
          <c:yVal>
            <c:numRef>
              <c:f>Sheet1!$A$6:$E$6</c:f>
              <c:numCache>
                <c:formatCode>General</c:formatCode>
                <c:ptCount val="5"/>
                <c:pt idx="0">
                  <c:v>5250</c:v>
                </c:pt>
                <c:pt idx="1">
                  <c:v>4000</c:v>
                </c:pt>
                <c:pt idx="2">
                  <c:v>3000</c:v>
                </c:pt>
                <c:pt idx="3">
                  <c:v>2500</c:v>
                </c:pt>
                <c:pt idx="4">
                  <c:v>2250</c:v>
                </c:pt>
              </c:numCache>
            </c:numRef>
          </c:yVal>
          <c:smooth val="0"/>
          <c:extLst>
            <c:ext xmlns:c16="http://schemas.microsoft.com/office/drawing/2014/chart" uri="{C3380CC4-5D6E-409C-BE32-E72D297353CC}">
              <c16:uniqueId val="{00000004-E9FD-9242-AC4F-59396D8F2347}"/>
            </c:ext>
          </c:extLst>
        </c:ser>
        <c:ser>
          <c:idx val="5"/>
          <c:order val="5"/>
          <c:spPr>
            <a:ln w="28575" cmpd="sng" algn="ctr">
              <a:solidFill>
                <a:srgbClr val="D1227D"/>
              </a:solidFill>
              <a:prstDash val="solid"/>
            </a:ln>
          </c:spPr>
          <c:marker>
            <c:symbol val="none"/>
          </c:marker>
          <c:xVal>
            <c:numRef>
              <c:f>Sheet1!$A$1:$E$1</c:f>
              <c:numCache>
                <c:formatCode>General</c:formatCode>
                <c:ptCount val="5"/>
                <c:pt idx="0">
                  <c:v>2030</c:v>
                </c:pt>
                <c:pt idx="1">
                  <c:v>2035</c:v>
                </c:pt>
                <c:pt idx="2">
                  <c:v>2040</c:v>
                </c:pt>
                <c:pt idx="3">
                  <c:v>2045</c:v>
                </c:pt>
                <c:pt idx="4">
                  <c:v>2050</c:v>
                </c:pt>
              </c:numCache>
            </c:numRef>
          </c:xVal>
          <c:yVal>
            <c:numRef>
              <c:f>Sheet1!$A$7:$E$7</c:f>
              <c:numCache>
                <c:formatCode>General</c:formatCode>
                <c:ptCount val="5"/>
                <c:pt idx="0">
                  <c:v>5500</c:v>
                </c:pt>
                <c:pt idx="1">
                  <c:v>3250</c:v>
                </c:pt>
                <c:pt idx="2">
                  <c:v>2500</c:v>
                </c:pt>
                <c:pt idx="3">
                  <c:v>2250</c:v>
                </c:pt>
                <c:pt idx="4">
                  <c:v>2000</c:v>
                </c:pt>
              </c:numCache>
            </c:numRef>
          </c:yVal>
          <c:smooth val="0"/>
          <c:extLst>
            <c:ext xmlns:c16="http://schemas.microsoft.com/office/drawing/2014/chart" uri="{C3380CC4-5D6E-409C-BE32-E72D297353CC}">
              <c16:uniqueId val="{00000005-E9FD-9242-AC4F-59396D8F2347}"/>
            </c:ext>
          </c:extLst>
        </c:ser>
        <c:dLbls>
          <c:showLegendKey val="0"/>
          <c:showVal val="0"/>
          <c:showCatName val="0"/>
          <c:showSerName val="0"/>
          <c:showPercent val="0"/>
          <c:showBubbleSize val="0"/>
        </c:dLbls>
        <c:axId val="4"/>
        <c:axId val="5"/>
      </c:scatterChart>
      <c:valAx>
        <c:axId val="4"/>
        <c:scaling>
          <c:orientation val="minMax"/>
          <c:max val="2050"/>
          <c:min val="203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50" kern="1200">
                <a:solidFill>
                  <a:schemeClr val="tx1"/>
                </a:solidFill>
                <a:latin typeface="Arial"/>
                <a:ea typeface="Arial"/>
                <a:cs typeface="Arial"/>
                <a:sym typeface="Arial"/>
              </a:defRPr>
            </a:pPr>
            <a:endParaRPr lang="en-US"/>
          </a:p>
        </c:txPr>
        <c:crossAx val="5"/>
        <c:crosses val="min"/>
        <c:crossBetween val="midCat"/>
        <c:majorUnit val="5"/>
      </c:valAx>
      <c:valAx>
        <c:axId val="5"/>
        <c:scaling>
          <c:orientation val="minMax"/>
          <c:max val="1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50" kern="1200">
                <a:solidFill>
                  <a:schemeClr val="tx1"/>
                </a:solidFill>
                <a:latin typeface="Arial"/>
                <a:ea typeface="+mn-ea"/>
                <a:cs typeface="+mn-cs"/>
                <a:sym typeface="Arial"/>
              </a:defRPr>
            </a:pPr>
            <a:endParaRPr lang="en-US"/>
          </a:p>
        </c:txPr>
        <c:crossAx val="4"/>
        <c:crosses val="min"/>
        <c:crossBetween val="midCat"/>
        <c:majorUnit val="1000"/>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896414342629483E-2"/>
          <c:y val="0.22487644151565075"/>
          <c:w val="0.94820717131474108"/>
          <c:h val="0.61614497528830314"/>
        </c:manualLayout>
      </c:layout>
      <c:barChart>
        <c:barDir val="col"/>
        <c:grouping val="clustered"/>
        <c:varyColors val="0"/>
        <c:ser>
          <c:idx val="0"/>
          <c:order val="0"/>
          <c:spPr>
            <a:solidFill>
              <a:srgbClr val="359BDB"/>
            </a:solidFill>
            <a:ln>
              <a:noFill/>
            </a:ln>
          </c:spPr>
          <c:invertIfNegative val="0"/>
          <c:dLbls>
            <c:dLbl>
              <c:idx val="0"/>
              <c:layout>
                <c:manualLayout>
                  <c:x val="0"/>
                  <c:y val="-0.23228995057660626"/>
                </c:manualLayout>
              </c:layout>
              <c:numFmt formatCode="#,##0;&quot;-&quot;#,##0" sourceLinked="0"/>
              <c:spPr>
                <a:noFill/>
                <a:ln>
                  <a:noFill/>
                </a:ln>
              </c:spPr>
              <c:txPr>
                <a:bodyPr wrap="none"/>
                <a:lstStyle/>
                <a:p>
                  <a:pPr>
                    <a:defRPr sz="14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89B-5946-B846-D5E70BECD6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54</c:v>
                </c:pt>
              </c:numCache>
            </c:numRef>
          </c:val>
          <c:extLst>
            <c:ext xmlns:c16="http://schemas.microsoft.com/office/drawing/2014/chart" uri="{C3380CC4-5D6E-409C-BE32-E72D297353CC}">
              <c16:uniqueId val="{00000001-689B-5946-B846-D5E70BECD607}"/>
            </c:ext>
          </c:extLst>
        </c:ser>
        <c:ser>
          <c:idx val="1"/>
          <c:order val="1"/>
          <c:spPr>
            <a:solidFill>
              <a:srgbClr val="D1227D"/>
            </a:solidFill>
            <a:ln>
              <a:noFill/>
            </a:ln>
          </c:spPr>
          <c:invertIfNegative val="0"/>
          <c:dLbls>
            <c:dLbl>
              <c:idx val="0"/>
              <c:layout>
                <c:manualLayout>
                  <c:x val="0"/>
                  <c:y val="-0.23228995057660626"/>
                </c:manualLayout>
              </c:layout>
              <c:numFmt formatCode="#,##0;&quot;-&quot;#,##0" sourceLinked="0"/>
              <c:spPr>
                <a:noFill/>
                <a:ln>
                  <a:noFill/>
                </a:ln>
              </c:spPr>
              <c:txPr>
                <a:bodyPr wrap="none"/>
                <a:lstStyle/>
                <a:p>
                  <a:pPr>
                    <a:defRPr sz="14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89B-5946-B846-D5E70BECD6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4</c:v>
                </c:pt>
              </c:numCache>
            </c:numRef>
          </c:val>
          <c:extLst>
            <c:ext xmlns:c16="http://schemas.microsoft.com/office/drawing/2014/chart" uri="{C3380CC4-5D6E-409C-BE32-E72D297353CC}">
              <c16:uniqueId val="{00000003-689B-5946-B846-D5E70BECD607}"/>
            </c:ext>
          </c:extLst>
        </c:ser>
        <c:ser>
          <c:idx val="2"/>
          <c:order val="2"/>
          <c:invertIfNegative val="0"/>
          <c:val>
            <c:numRef>
              <c:f>Sheet1!$A$3</c:f>
              <c:numCache>
                <c:formatCode>General</c:formatCode>
                <c:ptCount val="1"/>
                <c:pt idx="0">
                  <c:v>0</c:v>
                </c:pt>
              </c:numCache>
            </c:numRef>
          </c:val>
          <c:extLst>
            <c:ext xmlns:c16="http://schemas.microsoft.com/office/drawing/2014/chart" uri="{C3380CC4-5D6E-409C-BE32-E72D297353CC}">
              <c16:uniqueId val="{00000004-689B-5946-B846-D5E70BECD607}"/>
            </c:ext>
          </c:extLst>
        </c:ser>
        <c:ser>
          <c:idx val="3"/>
          <c:order val="3"/>
          <c:spPr>
            <a:solidFill>
              <a:srgbClr val="1D6088"/>
            </a:solidFill>
            <a:ln>
              <a:noFill/>
            </a:ln>
          </c:spPr>
          <c:invertIfNegative val="0"/>
          <c:dLbls>
            <c:dLbl>
              <c:idx val="0"/>
              <c:layout>
                <c:manualLayout>
                  <c:x val="0"/>
                  <c:y val="-0.26935749588138386"/>
                </c:manualLayout>
              </c:layout>
              <c:numFmt formatCode="#,##0;&quot;-&quot;#,##0" sourceLinked="0"/>
              <c:spPr>
                <a:noFill/>
                <a:ln>
                  <a:noFill/>
                </a:ln>
              </c:spPr>
              <c:txPr>
                <a:bodyPr wrap="none"/>
                <a:lstStyle/>
                <a:p>
                  <a:pPr>
                    <a:defRPr sz="14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89B-5946-B846-D5E70BECD6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66</c:v>
                </c:pt>
              </c:numCache>
            </c:numRef>
          </c:val>
          <c:extLst>
            <c:ext xmlns:c16="http://schemas.microsoft.com/office/drawing/2014/chart" uri="{C3380CC4-5D6E-409C-BE32-E72D297353CC}">
              <c16:uniqueId val="{00000006-689B-5946-B846-D5E70BECD607}"/>
            </c:ext>
          </c:extLst>
        </c:ser>
        <c:ser>
          <c:idx val="4"/>
          <c:order val="4"/>
          <c:spPr>
            <a:solidFill>
              <a:srgbClr val="FF9300"/>
            </a:solidFill>
            <a:ln>
              <a:noFill/>
            </a:ln>
          </c:spPr>
          <c:invertIfNegative val="0"/>
          <c:dLbls>
            <c:dLbl>
              <c:idx val="0"/>
              <c:layout>
                <c:manualLayout>
                  <c:x val="0"/>
                  <c:y val="-0.29736408566721584"/>
                </c:manualLayout>
              </c:layout>
              <c:numFmt formatCode="#,##0;&quot;-&quot;#,##0" sourceLinked="0"/>
              <c:spPr>
                <a:noFill/>
                <a:ln>
                  <a:noFill/>
                </a:ln>
              </c:spPr>
              <c:txPr>
                <a:bodyPr wrap="none"/>
                <a:lstStyle/>
                <a:p>
                  <a:pPr>
                    <a:defRPr sz="14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89B-5946-B846-D5E70BECD6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75</c:v>
                </c:pt>
              </c:numCache>
            </c:numRef>
          </c:val>
          <c:extLst>
            <c:ext xmlns:c16="http://schemas.microsoft.com/office/drawing/2014/chart" uri="{C3380CC4-5D6E-409C-BE32-E72D297353CC}">
              <c16:uniqueId val="{00000008-689B-5946-B846-D5E70BECD607}"/>
            </c:ext>
          </c:extLst>
        </c:ser>
        <c:ser>
          <c:idx val="5"/>
          <c:order val="5"/>
          <c:invertIfNegative val="0"/>
          <c:val>
            <c:numRef>
              <c:f>Sheet1!$A$6</c:f>
              <c:numCache>
                <c:formatCode>General</c:formatCode>
                <c:ptCount val="1"/>
                <c:pt idx="0">
                  <c:v>0</c:v>
                </c:pt>
              </c:numCache>
            </c:numRef>
          </c:val>
          <c:extLst>
            <c:ext xmlns:c16="http://schemas.microsoft.com/office/drawing/2014/chart" uri="{C3380CC4-5D6E-409C-BE32-E72D297353CC}">
              <c16:uniqueId val="{00000009-689B-5946-B846-D5E70BECD607}"/>
            </c:ext>
          </c:extLst>
        </c:ser>
        <c:ser>
          <c:idx val="6"/>
          <c:order val="6"/>
          <c:spPr>
            <a:solidFill>
              <a:srgbClr val="805BCA"/>
            </a:solidFill>
            <a:ln>
              <a:noFill/>
            </a:ln>
          </c:spPr>
          <c:invertIfNegative val="0"/>
          <c:dLbls>
            <c:dLbl>
              <c:idx val="0"/>
              <c:layout>
                <c:manualLayout>
                  <c:x val="0"/>
                  <c:y val="-0.3525535420098847"/>
                </c:manualLayout>
              </c:layout>
              <c:numFmt formatCode="#,##0;&quot;-&quot;#,##0" sourceLinked="0"/>
              <c:spPr>
                <a:noFill/>
                <a:ln>
                  <a:noFill/>
                </a:ln>
              </c:spPr>
              <c:txPr>
                <a:bodyPr wrap="none"/>
                <a:lstStyle/>
                <a:p>
                  <a:pPr>
                    <a:defRPr sz="14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89B-5946-B846-D5E70BECD6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c:f>
              <c:numCache>
                <c:formatCode>General</c:formatCode>
                <c:ptCount val="1"/>
                <c:pt idx="0">
                  <c:v>93</c:v>
                </c:pt>
              </c:numCache>
            </c:numRef>
          </c:val>
          <c:extLst>
            <c:ext xmlns:c16="http://schemas.microsoft.com/office/drawing/2014/chart" uri="{C3380CC4-5D6E-409C-BE32-E72D297353CC}">
              <c16:uniqueId val="{0000000B-689B-5946-B846-D5E70BECD607}"/>
            </c:ext>
          </c:extLst>
        </c:ser>
        <c:ser>
          <c:idx val="7"/>
          <c:order val="7"/>
          <c:spPr>
            <a:solidFill>
              <a:srgbClr val="F78C98"/>
            </a:solidFill>
            <a:ln>
              <a:noFill/>
            </a:ln>
          </c:spPr>
          <c:invertIfNegative val="0"/>
          <c:dLbls>
            <c:dLbl>
              <c:idx val="0"/>
              <c:layout>
                <c:manualLayout>
                  <c:x val="0"/>
                  <c:y val="-0.37397034596375617"/>
                </c:manualLayout>
              </c:layout>
              <c:numFmt formatCode="#,##0;&quot;-&quot;#,##0" sourceLinked="0"/>
              <c:spPr>
                <a:noFill/>
                <a:ln>
                  <a:noFill/>
                </a:ln>
              </c:spPr>
              <c:txPr>
                <a:bodyPr wrap="none"/>
                <a:lstStyle/>
                <a:p>
                  <a:pPr>
                    <a:defRPr sz="14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89B-5946-B846-D5E70BECD6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8</c:f>
              <c:numCache>
                <c:formatCode>General</c:formatCode>
                <c:ptCount val="1"/>
                <c:pt idx="0">
                  <c:v>100</c:v>
                </c:pt>
              </c:numCache>
            </c:numRef>
          </c:val>
          <c:extLst>
            <c:ext xmlns:c16="http://schemas.microsoft.com/office/drawing/2014/chart" uri="{C3380CC4-5D6E-409C-BE32-E72D297353CC}">
              <c16:uniqueId val="{0000000D-689B-5946-B846-D5E70BECD607}"/>
            </c:ext>
          </c:extLst>
        </c:ser>
        <c:dLbls>
          <c:showLegendKey val="0"/>
          <c:showVal val="0"/>
          <c:showCatName val="0"/>
          <c:showSerName val="0"/>
          <c:showPercent val="0"/>
          <c:showBubbleSize val="0"/>
        </c:dLbls>
        <c:gapWidth val="80"/>
        <c:axId val="1658425936"/>
        <c:axId val="1"/>
      </c:barChart>
      <c:catAx>
        <c:axId val="16584259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658425936"/>
        <c:crosses val="min"/>
        <c:crossBetween val="between"/>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6978508217446E-2"/>
          <c:y val="0.22487644151565075"/>
          <c:w val="0.93426042983565105"/>
          <c:h val="0.61614497528830314"/>
        </c:manualLayout>
      </c:layout>
      <c:barChart>
        <c:barDir val="col"/>
        <c:grouping val="clustered"/>
        <c:varyColors val="0"/>
        <c:ser>
          <c:idx val="0"/>
          <c:order val="0"/>
          <c:spPr>
            <a:solidFill>
              <a:srgbClr val="359BDB"/>
            </a:solidFill>
            <a:ln>
              <a:noFill/>
            </a:ln>
          </c:spPr>
          <c:invertIfNegative val="0"/>
          <c:dLbls>
            <c:dLbl>
              <c:idx val="0"/>
              <c:layout>
                <c:manualLayout>
                  <c:x val="0"/>
                  <c:y val="-0.23311367380560133"/>
                </c:manualLayout>
              </c:layout>
              <c:numFmt formatCode="#,##0;&quot;-&quot;#,##0" sourceLinked="0"/>
              <c:spPr>
                <a:noFill/>
                <a:ln>
                  <a:noFill/>
                </a:ln>
              </c:spPr>
              <c:txPr>
                <a:bodyPr wrap="none"/>
                <a:lstStyle/>
                <a:p>
                  <a:pPr>
                    <a:defRPr sz="14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C96-7546-B072-9736F39C86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85</c:v>
                </c:pt>
              </c:numCache>
            </c:numRef>
          </c:val>
          <c:extLst>
            <c:ext xmlns:c16="http://schemas.microsoft.com/office/drawing/2014/chart" uri="{C3380CC4-5D6E-409C-BE32-E72D297353CC}">
              <c16:uniqueId val="{00000001-FC96-7546-B072-9736F39C86EC}"/>
            </c:ext>
          </c:extLst>
        </c:ser>
        <c:ser>
          <c:idx val="1"/>
          <c:order val="1"/>
          <c:spPr>
            <a:solidFill>
              <a:srgbClr val="D1227D"/>
            </a:solidFill>
            <a:ln>
              <a:noFill/>
            </a:ln>
          </c:spPr>
          <c:invertIfNegative val="0"/>
          <c:dLbls>
            <c:dLbl>
              <c:idx val="0"/>
              <c:layout>
                <c:manualLayout>
                  <c:x val="0"/>
                  <c:y val="-0.23311367380560133"/>
                </c:manualLayout>
              </c:layout>
              <c:numFmt formatCode="#,##0;&quot;-&quot;#,##0" sourceLinked="0"/>
              <c:spPr>
                <a:noFill/>
                <a:ln>
                  <a:noFill/>
                </a:ln>
              </c:spPr>
              <c:txPr>
                <a:bodyPr wrap="none"/>
                <a:lstStyle/>
                <a:p>
                  <a:pPr>
                    <a:defRPr sz="14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C96-7546-B072-9736F39C86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85</c:v>
                </c:pt>
              </c:numCache>
            </c:numRef>
          </c:val>
          <c:extLst>
            <c:ext xmlns:c16="http://schemas.microsoft.com/office/drawing/2014/chart" uri="{C3380CC4-5D6E-409C-BE32-E72D297353CC}">
              <c16:uniqueId val="{00000003-FC96-7546-B072-9736F39C86EC}"/>
            </c:ext>
          </c:extLst>
        </c:ser>
        <c:ser>
          <c:idx val="2"/>
          <c:order val="2"/>
          <c:invertIfNegative val="0"/>
          <c:val>
            <c:numRef>
              <c:f>Sheet1!$A$3</c:f>
              <c:numCache>
                <c:formatCode>General</c:formatCode>
                <c:ptCount val="1"/>
                <c:pt idx="0">
                  <c:v>0</c:v>
                </c:pt>
              </c:numCache>
            </c:numRef>
          </c:val>
          <c:extLst>
            <c:ext xmlns:c16="http://schemas.microsoft.com/office/drawing/2014/chart" uri="{C3380CC4-5D6E-409C-BE32-E72D297353CC}">
              <c16:uniqueId val="{00000004-FC96-7546-B072-9736F39C86EC}"/>
            </c:ext>
          </c:extLst>
        </c:ser>
        <c:ser>
          <c:idx val="3"/>
          <c:order val="3"/>
          <c:spPr>
            <a:solidFill>
              <a:srgbClr val="1D6088"/>
            </a:solidFill>
            <a:ln>
              <a:noFill/>
            </a:ln>
          </c:spPr>
          <c:invertIfNegative val="0"/>
          <c:dLbls>
            <c:dLbl>
              <c:idx val="0"/>
              <c:layout>
                <c:manualLayout>
                  <c:x val="-1.5802781289506952E-2"/>
                  <c:y val="-0.26935749588138386"/>
                </c:manualLayout>
              </c:layout>
              <c:numFmt formatCode="#,##0;&quot;-&quot;#,##0" sourceLinked="0"/>
              <c:spPr>
                <a:noFill/>
                <a:ln>
                  <a:noFill/>
                </a:ln>
              </c:spPr>
              <c:txPr>
                <a:bodyPr wrap="none"/>
                <a:lstStyle/>
                <a:p>
                  <a:pPr>
                    <a:defRPr sz="14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C96-7546-B072-9736F39C86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04</c:v>
                </c:pt>
              </c:numCache>
            </c:numRef>
          </c:val>
          <c:extLst>
            <c:ext xmlns:c16="http://schemas.microsoft.com/office/drawing/2014/chart" uri="{C3380CC4-5D6E-409C-BE32-E72D297353CC}">
              <c16:uniqueId val="{00000006-FC96-7546-B072-9736F39C86EC}"/>
            </c:ext>
          </c:extLst>
        </c:ser>
        <c:ser>
          <c:idx val="4"/>
          <c:order val="4"/>
          <c:spPr>
            <a:solidFill>
              <a:srgbClr val="FF9300"/>
            </a:solidFill>
            <a:ln>
              <a:noFill/>
            </a:ln>
          </c:spPr>
          <c:invertIfNegative val="0"/>
          <c:dLbls>
            <c:dLbl>
              <c:idx val="0"/>
              <c:layout>
                <c:manualLayout>
                  <c:x val="1.0745891276864728E-2"/>
                  <c:y val="-0.29736408566721584"/>
                </c:manualLayout>
              </c:layout>
              <c:numFmt formatCode="#,##0;&quot;-&quot;#,##0" sourceLinked="0"/>
              <c:spPr>
                <a:noFill/>
                <a:ln>
                  <a:noFill/>
                </a:ln>
              </c:spPr>
              <c:txPr>
                <a:bodyPr wrap="none"/>
                <a:lstStyle/>
                <a:p>
                  <a:pPr>
                    <a:defRPr sz="14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C96-7546-B072-9736F39C86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18</c:v>
                </c:pt>
              </c:numCache>
            </c:numRef>
          </c:val>
          <c:extLst>
            <c:ext xmlns:c16="http://schemas.microsoft.com/office/drawing/2014/chart" uri="{C3380CC4-5D6E-409C-BE32-E72D297353CC}">
              <c16:uniqueId val="{00000008-FC96-7546-B072-9736F39C86EC}"/>
            </c:ext>
          </c:extLst>
        </c:ser>
        <c:ser>
          <c:idx val="5"/>
          <c:order val="5"/>
          <c:invertIfNegative val="0"/>
          <c:val>
            <c:numRef>
              <c:f>Sheet1!$A$6</c:f>
              <c:numCache>
                <c:formatCode>General</c:formatCode>
                <c:ptCount val="1"/>
                <c:pt idx="0">
                  <c:v>0</c:v>
                </c:pt>
              </c:numCache>
            </c:numRef>
          </c:val>
          <c:extLst>
            <c:ext xmlns:c16="http://schemas.microsoft.com/office/drawing/2014/chart" uri="{C3380CC4-5D6E-409C-BE32-E72D297353CC}">
              <c16:uniqueId val="{00000009-FC96-7546-B072-9736F39C86EC}"/>
            </c:ext>
          </c:extLst>
        </c:ser>
        <c:ser>
          <c:idx val="6"/>
          <c:order val="6"/>
          <c:spPr>
            <a:solidFill>
              <a:srgbClr val="805BCA"/>
            </a:solidFill>
            <a:ln>
              <a:noFill/>
            </a:ln>
          </c:spPr>
          <c:invertIfNegative val="0"/>
          <c:dLbls>
            <c:dLbl>
              <c:idx val="0"/>
              <c:layout>
                <c:manualLayout>
                  <c:x val="-1.5802781289506952E-2"/>
                  <c:y val="-0.35420098846787479"/>
                </c:manualLayout>
              </c:layout>
              <c:numFmt formatCode="#,##0;&quot;-&quot;#,##0" sourceLinked="0"/>
              <c:spPr>
                <a:noFill/>
                <a:ln>
                  <a:noFill/>
                </a:ln>
              </c:spPr>
              <c:txPr>
                <a:bodyPr wrap="none"/>
                <a:lstStyle/>
                <a:p>
                  <a:pPr>
                    <a:defRPr sz="14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C96-7546-B072-9736F39C86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c:f>
              <c:numCache>
                <c:formatCode>General</c:formatCode>
                <c:ptCount val="1"/>
                <c:pt idx="0">
                  <c:v>147</c:v>
                </c:pt>
              </c:numCache>
            </c:numRef>
          </c:val>
          <c:extLst>
            <c:ext xmlns:c16="http://schemas.microsoft.com/office/drawing/2014/chart" uri="{C3380CC4-5D6E-409C-BE32-E72D297353CC}">
              <c16:uniqueId val="{0000000B-FC96-7546-B072-9736F39C86EC}"/>
            </c:ext>
          </c:extLst>
        </c:ser>
        <c:ser>
          <c:idx val="7"/>
          <c:order val="7"/>
          <c:spPr>
            <a:solidFill>
              <a:srgbClr val="F78C98"/>
            </a:solidFill>
            <a:ln>
              <a:noFill/>
            </a:ln>
          </c:spPr>
          <c:invertIfNegative val="0"/>
          <c:dLbls>
            <c:dLbl>
              <c:idx val="0"/>
              <c:layout>
                <c:manualLayout>
                  <c:x val="1.3274336283185841E-2"/>
                  <c:y val="-0.37397034596375617"/>
                </c:manualLayout>
              </c:layout>
              <c:numFmt formatCode="#,##0;&quot;-&quot;#,##0" sourceLinked="0"/>
              <c:spPr>
                <a:noFill/>
                <a:ln>
                  <a:noFill/>
                </a:ln>
              </c:spPr>
              <c:txPr>
                <a:bodyPr wrap="none"/>
                <a:lstStyle/>
                <a:p>
                  <a:pPr>
                    <a:defRPr sz="14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C96-7546-B072-9736F39C86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8</c:f>
              <c:numCache>
                <c:formatCode>General</c:formatCode>
                <c:ptCount val="1"/>
                <c:pt idx="0">
                  <c:v>157</c:v>
                </c:pt>
              </c:numCache>
            </c:numRef>
          </c:val>
          <c:extLst>
            <c:ext xmlns:c16="http://schemas.microsoft.com/office/drawing/2014/chart" uri="{C3380CC4-5D6E-409C-BE32-E72D297353CC}">
              <c16:uniqueId val="{0000000D-FC96-7546-B072-9736F39C86EC}"/>
            </c:ext>
          </c:extLst>
        </c:ser>
        <c:dLbls>
          <c:showLegendKey val="0"/>
          <c:showVal val="0"/>
          <c:showCatName val="0"/>
          <c:showSerName val="0"/>
          <c:showPercent val="0"/>
          <c:showBubbleSize val="0"/>
        </c:dLbls>
        <c:gapWidth val="80"/>
        <c:axId val="975793712"/>
        <c:axId val="1"/>
      </c:barChart>
      <c:catAx>
        <c:axId val="9757937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7"/>
          <c:min val="0"/>
        </c:scaling>
        <c:delete val="1"/>
        <c:axPos val="l"/>
        <c:numFmt formatCode="General" sourceLinked="1"/>
        <c:majorTickMark val="out"/>
        <c:minorTickMark val="none"/>
        <c:tickLblPos val="nextTo"/>
        <c:crossAx val="975793712"/>
        <c:crosses val="min"/>
        <c:crossBetween val="between"/>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360351794628001E-2"/>
          <c:y val="2.1567814184985483E-2"/>
          <c:w val="0.97527929641074396"/>
          <c:h val="0.95686437163002902"/>
        </c:manualLayout>
      </c:layout>
      <c:barChart>
        <c:barDir val="bar"/>
        <c:grouping val="stacked"/>
        <c:varyColors val="0"/>
        <c:ser>
          <c:idx val="0"/>
          <c:order val="0"/>
          <c:spPr>
            <a:solidFill>
              <a:srgbClr val="A73DA8"/>
            </a:solidFill>
            <a:ln>
              <a:noFill/>
            </a:ln>
          </c:spPr>
          <c:invertIfNegative val="0"/>
          <c:val>
            <c:numRef>
              <c:f>Sheet1!$A$1:$AM$1</c:f>
              <c:numCache>
                <c:formatCode>General</c:formatCode>
                <c:ptCount val="39"/>
                <c:pt idx="0">
                  <c:v>-9</c:v>
                </c:pt>
                <c:pt idx="1">
                  <c:v>-15</c:v>
                </c:pt>
                <c:pt idx="2">
                  <c:v>-11</c:v>
                </c:pt>
                <c:pt idx="3">
                  <c:v>-12</c:v>
                </c:pt>
                <c:pt idx="4">
                  <c:v>-13</c:v>
                </c:pt>
                <c:pt idx="5">
                  <c:v>-17</c:v>
                </c:pt>
                <c:pt idx="6">
                  <c:v>-15</c:v>
                </c:pt>
                <c:pt idx="7">
                  <c:v>-13</c:v>
                </c:pt>
                <c:pt idx="8">
                  <c:v>-14.000000000000002</c:v>
                </c:pt>
                <c:pt idx="9">
                  <c:v>-17</c:v>
                </c:pt>
                <c:pt idx="10">
                  <c:v>-16</c:v>
                </c:pt>
                <c:pt idx="11">
                  <c:v>-15</c:v>
                </c:pt>
                <c:pt idx="12">
                  <c:v>-16</c:v>
                </c:pt>
                <c:pt idx="13">
                  <c:v>-20</c:v>
                </c:pt>
                <c:pt idx="14">
                  <c:v>-12</c:v>
                </c:pt>
                <c:pt idx="15">
                  <c:v>-16</c:v>
                </c:pt>
                <c:pt idx="16">
                  <c:v>-18</c:v>
                </c:pt>
                <c:pt idx="17">
                  <c:v>-16</c:v>
                </c:pt>
                <c:pt idx="18">
                  <c:v>-16</c:v>
                </c:pt>
                <c:pt idx="19">
                  <c:v>-18</c:v>
                </c:pt>
                <c:pt idx="20">
                  <c:v>-16</c:v>
                </c:pt>
                <c:pt idx="21">
                  <c:v>-16</c:v>
                </c:pt>
                <c:pt idx="22">
                  <c:v>-18</c:v>
                </c:pt>
                <c:pt idx="23">
                  <c:v>-20</c:v>
                </c:pt>
                <c:pt idx="24">
                  <c:v>-20</c:v>
                </c:pt>
                <c:pt idx="25">
                  <c:v>-20</c:v>
                </c:pt>
                <c:pt idx="26">
                  <c:v>-20</c:v>
                </c:pt>
                <c:pt idx="27">
                  <c:v>-22</c:v>
                </c:pt>
                <c:pt idx="28">
                  <c:v>-22</c:v>
                </c:pt>
                <c:pt idx="29">
                  <c:v>-21</c:v>
                </c:pt>
                <c:pt idx="30">
                  <c:v>-27</c:v>
                </c:pt>
                <c:pt idx="32">
                  <c:v>-16.210526315789476</c:v>
                </c:pt>
                <c:pt idx="33">
                  <c:v>-17.75</c:v>
                </c:pt>
                <c:pt idx="35">
                  <c:v>-17.428571428571431</c:v>
                </c:pt>
                <c:pt idx="36">
                  <c:v>-14.799999999999999</c:v>
                </c:pt>
                <c:pt idx="38">
                  <c:v>-14.810814478952953</c:v>
                </c:pt>
              </c:numCache>
            </c:numRef>
          </c:val>
          <c:extLst>
            <c:ext xmlns:c16="http://schemas.microsoft.com/office/drawing/2014/chart" uri="{C3380CC4-5D6E-409C-BE32-E72D297353CC}">
              <c16:uniqueId val="{00000000-8A6B-4304-85B4-E9993771DDC1}"/>
            </c:ext>
          </c:extLst>
        </c:ser>
        <c:ser>
          <c:idx val="1"/>
          <c:order val="1"/>
          <c:spPr>
            <a:solidFill>
              <a:srgbClr val="D1227D"/>
            </a:solidFill>
            <a:ln>
              <a:noFill/>
            </a:ln>
          </c:spPr>
          <c:invertIfNegative val="0"/>
          <c:val>
            <c:numRef>
              <c:f>Sheet1!$A$2:$AM$2</c:f>
              <c:numCache>
                <c:formatCode>General</c:formatCode>
                <c:ptCount val="39"/>
                <c:pt idx="0">
                  <c:v>-3</c:v>
                </c:pt>
                <c:pt idx="1">
                  <c:v>-7</c:v>
                </c:pt>
                <c:pt idx="2">
                  <c:v>-5</c:v>
                </c:pt>
                <c:pt idx="3">
                  <c:v>-4</c:v>
                </c:pt>
                <c:pt idx="4">
                  <c:v>-7</c:v>
                </c:pt>
                <c:pt idx="5">
                  <c:v>-6</c:v>
                </c:pt>
                <c:pt idx="6">
                  <c:v>-7</c:v>
                </c:pt>
                <c:pt idx="7">
                  <c:v>-8</c:v>
                </c:pt>
                <c:pt idx="8">
                  <c:v>-12.999999999999998</c:v>
                </c:pt>
                <c:pt idx="9">
                  <c:v>-4</c:v>
                </c:pt>
                <c:pt idx="10">
                  <c:v>-11</c:v>
                </c:pt>
                <c:pt idx="11">
                  <c:v>-6</c:v>
                </c:pt>
                <c:pt idx="12">
                  <c:v>-12</c:v>
                </c:pt>
                <c:pt idx="13">
                  <c:v>-7</c:v>
                </c:pt>
                <c:pt idx="14">
                  <c:v>-10</c:v>
                </c:pt>
                <c:pt idx="15">
                  <c:v>-12</c:v>
                </c:pt>
                <c:pt idx="16">
                  <c:v>-11</c:v>
                </c:pt>
                <c:pt idx="17">
                  <c:v>-9</c:v>
                </c:pt>
                <c:pt idx="18">
                  <c:v>-7</c:v>
                </c:pt>
                <c:pt idx="19">
                  <c:v>-9</c:v>
                </c:pt>
                <c:pt idx="20">
                  <c:v>-11</c:v>
                </c:pt>
                <c:pt idx="21">
                  <c:v>-22</c:v>
                </c:pt>
                <c:pt idx="22">
                  <c:v>-15</c:v>
                </c:pt>
                <c:pt idx="23">
                  <c:v>-19</c:v>
                </c:pt>
                <c:pt idx="24">
                  <c:v>-22</c:v>
                </c:pt>
                <c:pt idx="25">
                  <c:v>-21</c:v>
                </c:pt>
                <c:pt idx="26">
                  <c:v>-16</c:v>
                </c:pt>
                <c:pt idx="27">
                  <c:v>-15</c:v>
                </c:pt>
                <c:pt idx="28">
                  <c:v>-19</c:v>
                </c:pt>
                <c:pt idx="29">
                  <c:v>-15</c:v>
                </c:pt>
                <c:pt idx="30">
                  <c:v>-26</c:v>
                </c:pt>
                <c:pt idx="32">
                  <c:v>-9.4210526315789487</c:v>
                </c:pt>
                <c:pt idx="33">
                  <c:v>-15</c:v>
                </c:pt>
                <c:pt idx="35">
                  <c:v>-11.571428571428569</c:v>
                </c:pt>
                <c:pt idx="36">
                  <c:v>-8.7999999999999989</c:v>
                </c:pt>
                <c:pt idx="38">
                  <c:v>-8.384741883942322</c:v>
                </c:pt>
              </c:numCache>
            </c:numRef>
          </c:val>
          <c:extLst>
            <c:ext xmlns:c16="http://schemas.microsoft.com/office/drawing/2014/chart" uri="{C3380CC4-5D6E-409C-BE32-E72D297353CC}">
              <c16:uniqueId val="{00000001-8A6B-4304-85B4-E9993771DDC1}"/>
            </c:ext>
          </c:extLst>
        </c:ser>
        <c:ser>
          <c:idx val="2"/>
          <c:order val="2"/>
          <c:spPr>
            <a:solidFill>
              <a:srgbClr val="359BDB"/>
            </a:solidFill>
            <a:ln>
              <a:noFill/>
            </a:ln>
          </c:spPr>
          <c:invertIfNegative val="0"/>
          <c:val>
            <c:numRef>
              <c:f>Sheet1!$A$3:$AM$3</c:f>
              <c:numCache>
                <c:formatCode>General</c:formatCode>
                <c:ptCount val="39"/>
                <c:pt idx="0">
                  <c:v>33</c:v>
                </c:pt>
                <c:pt idx="1">
                  <c:v>33</c:v>
                </c:pt>
                <c:pt idx="2">
                  <c:v>21</c:v>
                </c:pt>
                <c:pt idx="3">
                  <c:v>26</c:v>
                </c:pt>
                <c:pt idx="4">
                  <c:v>25</c:v>
                </c:pt>
                <c:pt idx="5">
                  <c:v>24</c:v>
                </c:pt>
                <c:pt idx="6">
                  <c:v>26</c:v>
                </c:pt>
                <c:pt idx="7">
                  <c:v>25</c:v>
                </c:pt>
                <c:pt idx="8">
                  <c:v>15</c:v>
                </c:pt>
                <c:pt idx="9">
                  <c:v>22</c:v>
                </c:pt>
                <c:pt idx="10">
                  <c:v>19</c:v>
                </c:pt>
                <c:pt idx="11">
                  <c:v>25</c:v>
                </c:pt>
                <c:pt idx="12">
                  <c:v>20</c:v>
                </c:pt>
                <c:pt idx="13">
                  <c:v>25</c:v>
                </c:pt>
                <c:pt idx="14">
                  <c:v>16</c:v>
                </c:pt>
                <c:pt idx="15">
                  <c:v>19</c:v>
                </c:pt>
                <c:pt idx="16">
                  <c:v>22</c:v>
                </c:pt>
                <c:pt idx="17">
                  <c:v>20</c:v>
                </c:pt>
                <c:pt idx="18">
                  <c:v>18</c:v>
                </c:pt>
                <c:pt idx="19">
                  <c:v>18</c:v>
                </c:pt>
                <c:pt idx="20">
                  <c:v>18</c:v>
                </c:pt>
                <c:pt idx="21">
                  <c:v>16</c:v>
                </c:pt>
                <c:pt idx="22">
                  <c:v>21</c:v>
                </c:pt>
                <c:pt idx="23">
                  <c:v>18</c:v>
                </c:pt>
                <c:pt idx="24">
                  <c:v>16</c:v>
                </c:pt>
                <c:pt idx="25">
                  <c:v>19</c:v>
                </c:pt>
                <c:pt idx="26">
                  <c:v>19</c:v>
                </c:pt>
                <c:pt idx="27">
                  <c:v>17</c:v>
                </c:pt>
                <c:pt idx="28">
                  <c:v>16</c:v>
                </c:pt>
                <c:pt idx="29">
                  <c:v>16</c:v>
                </c:pt>
                <c:pt idx="30">
                  <c:v>14.000000000000002</c:v>
                </c:pt>
                <c:pt idx="32">
                  <c:v>21.842105263157897</c:v>
                </c:pt>
                <c:pt idx="33">
                  <c:v>18.916666666666661</c:v>
                </c:pt>
                <c:pt idx="35">
                  <c:v>19.142857142857146</c:v>
                </c:pt>
                <c:pt idx="36">
                  <c:v>24</c:v>
                </c:pt>
                <c:pt idx="38">
                  <c:v>25.034461832620469</c:v>
                </c:pt>
              </c:numCache>
            </c:numRef>
          </c:val>
          <c:extLst>
            <c:ext xmlns:c16="http://schemas.microsoft.com/office/drawing/2014/chart" uri="{C3380CC4-5D6E-409C-BE32-E72D297353CC}">
              <c16:uniqueId val="{00000002-8A6B-4304-85B4-E9993771DDC1}"/>
            </c:ext>
          </c:extLst>
        </c:ser>
        <c:ser>
          <c:idx val="3"/>
          <c:order val="3"/>
          <c:spPr>
            <a:solidFill>
              <a:srgbClr val="34A398"/>
            </a:solidFill>
            <a:ln>
              <a:noFill/>
            </a:ln>
          </c:spPr>
          <c:invertIfNegative val="0"/>
          <c:val>
            <c:numRef>
              <c:f>Sheet1!$A$4:$AM$4</c:f>
              <c:numCache>
                <c:formatCode>General</c:formatCode>
                <c:ptCount val="39"/>
                <c:pt idx="0">
                  <c:v>24</c:v>
                </c:pt>
                <c:pt idx="1">
                  <c:v>24</c:v>
                </c:pt>
                <c:pt idx="2">
                  <c:v>34</c:v>
                </c:pt>
                <c:pt idx="3">
                  <c:v>25</c:v>
                </c:pt>
                <c:pt idx="4">
                  <c:v>26</c:v>
                </c:pt>
                <c:pt idx="5">
                  <c:v>26</c:v>
                </c:pt>
                <c:pt idx="6">
                  <c:v>23</c:v>
                </c:pt>
                <c:pt idx="7">
                  <c:v>23</c:v>
                </c:pt>
                <c:pt idx="8">
                  <c:v>33</c:v>
                </c:pt>
                <c:pt idx="9">
                  <c:v>25</c:v>
                </c:pt>
                <c:pt idx="10">
                  <c:v>27</c:v>
                </c:pt>
                <c:pt idx="11">
                  <c:v>20</c:v>
                </c:pt>
                <c:pt idx="12">
                  <c:v>25</c:v>
                </c:pt>
                <c:pt idx="13">
                  <c:v>17</c:v>
                </c:pt>
                <c:pt idx="14">
                  <c:v>24</c:v>
                </c:pt>
                <c:pt idx="15">
                  <c:v>21</c:v>
                </c:pt>
                <c:pt idx="16">
                  <c:v>18</c:v>
                </c:pt>
                <c:pt idx="17">
                  <c:v>17</c:v>
                </c:pt>
                <c:pt idx="18">
                  <c:v>18</c:v>
                </c:pt>
                <c:pt idx="19">
                  <c:v>18</c:v>
                </c:pt>
                <c:pt idx="20">
                  <c:v>17</c:v>
                </c:pt>
                <c:pt idx="21">
                  <c:v>19</c:v>
                </c:pt>
                <c:pt idx="22">
                  <c:v>12</c:v>
                </c:pt>
                <c:pt idx="23">
                  <c:v>15</c:v>
                </c:pt>
                <c:pt idx="24">
                  <c:v>15</c:v>
                </c:pt>
                <c:pt idx="25">
                  <c:v>11</c:v>
                </c:pt>
                <c:pt idx="26">
                  <c:v>9</c:v>
                </c:pt>
                <c:pt idx="27">
                  <c:v>9</c:v>
                </c:pt>
                <c:pt idx="28">
                  <c:v>10</c:v>
                </c:pt>
                <c:pt idx="29">
                  <c:v>9</c:v>
                </c:pt>
                <c:pt idx="30">
                  <c:v>7.0000000000000018</c:v>
                </c:pt>
                <c:pt idx="32">
                  <c:v>21.000000000000007</c:v>
                </c:pt>
                <c:pt idx="33">
                  <c:v>16.833333333333332</c:v>
                </c:pt>
                <c:pt idx="35">
                  <c:v>16.714285714285715</c:v>
                </c:pt>
                <c:pt idx="36">
                  <c:v>21.799999999999997</c:v>
                </c:pt>
                <c:pt idx="38">
                  <c:v>20.308907242292275</c:v>
                </c:pt>
              </c:numCache>
            </c:numRef>
          </c:val>
          <c:extLst>
            <c:ext xmlns:c16="http://schemas.microsoft.com/office/drawing/2014/chart" uri="{C3380CC4-5D6E-409C-BE32-E72D297353CC}">
              <c16:uniqueId val="{00000003-8A6B-4304-85B4-E9993771DDC1}"/>
            </c:ext>
          </c:extLst>
        </c:ser>
        <c:dLbls>
          <c:showLegendKey val="0"/>
          <c:showVal val="0"/>
          <c:showCatName val="0"/>
          <c:showSerName val="0"/>
          <c:showPercent val="0"/>
          <c:showBubbleSize val="0"/>
        </c:dLbls>
        <c:gapWidth val="80"/>
        <c:overlap val="100"/>
        <c:axId val="1864825888"/>
        <c:axId val="1"/>
      </c:barChart>
      <c:catAx>
        <c:axId val="186482588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57"/>
          <c:min val="-53"/>
        </c:scaling>
        <c:delete val="1"/>
        <c:axPos val="t"/>
        <c:numFmt formatCode="General" sourceLinked="1"/>
        <c:majorTickMark val="out"/>
        <c:minorTickMark val="none"/>
        <c:tickLblPos val="nextTo"/>
        <c:crossAx val="1864825888"/>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645525017618044E-2"/>
          <c:y val="6.8209500609013402E-2"/>
          <c:w val="0.92670894996476394"/>
          <c:h val="0.86358099878197325"/>
        </c:manualLayout>
      </c:layout>
      <c:barChart>
        <c:barDir val="bar"/>
        <c:grouping val="stacked"/>
        <c:varyColors val="0"/>
        <c:ser>
          <c:idx val="0"/>
          <c:order val="0"/>
          <c:spPr>
            <a:solidFill>
              <a:schemeClr val="accent5"/>
            </a:solidFill>
            <a:ln>
              <a:noFill/>
            </a:ln>
          </c:spPr>
          <c:invertIfNegative val="0"/>
          <c:val>
            <c:numRef>
              <c:f>Sheet1!$A$1:$I$1</c:f>
              <c:numCache>
                <c:formatCode>General</c:formatCode>
                <c:ptCount val="9"/>
                <c:pt idx="0">
                  <c:v>0</c:v>
                </c:pt>
                <c:pt idx="1">
                  <c:v>0</c:v>
                </c:pt>
                <c:pt idx="2">
                  <c:v>-30</c:v>
                </c:pt>
                <c:pt idx="3">
                  <c:v>-29</c:v>
                </c:pt>
                <c:pt idx="4">
                  <c:v>-165</c:v>
                </c:pt>
                <c:pt idx="5">
                  <c:v>-301</c:v>
                </c:pt>
                <c:pt idx="6">
                  <c:v>-24</c:v>
                </c:pt>
                <c:pt idx="7">
                  <c:v>-550</c:v>
                </c:pt>
                <c:pt idx="8">
                  <c:v>-575</c:v>
                </c:pt>
              </c:numCache>
            </c:numRef>
          </c:val>
          <c:extLst>
            <c:ext xmlns:c16="http://schemas.microsoft.com/office/drawing/2014/chart" uri="{C3380CC4-5D6E-409C-BE32-E72D297353CC}">
              <c16:uniqueId val="{00000000-6558-794B-9886-6AAD90D7D431}"/>
            </c:ext>
          </c:extLst>
        </c:ser>
        <c:ser>
          <c:idx val="1"/>
          <c:order val="1"/>
          <c:spPr>
            <a:solidFill>
              <a:schemeClr val="accent6"/>
            </a:solidFill>
            <a:ln>
              <a:noFill/>
            </a:ln>
          </c:spPr>
          <c:invertIfNegative val="0"/>
          <c:dLbls>
            <c:dLbl>
              <c:idx val="4"/>
              <c:layout>
                <c:manualLayout>
                  <c:x val="8.0338266384778007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558-794B-9886-6AAD90D7D431}"/>
                </c:ext>
              </c:extLst>
            </c:dLbl>
            <c:dLbl>
              <c:idx val="7"/>
              <c:layout>
                <c:manualLayout>
                  <c:x val="5.9196617336152217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558-794B-9886-6AAD90D7D431}"/>
                </c:ext>
              </c:extLst>
            </c:dLbl>
            <c:dLbl>
              <c:idx val="8"/>
              <c:layout>
                <c:manualLayout>
                  <c:x val="6.13107822410148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558-794B-9886-6AAD90D7D4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1987</c:v>
                </c:pt>
                <c:pt idx="1">
                  <c:v>1134</c:v>
                </c:pt>
                <c:pt idx="2">
                  <c:v>3333</c:v>
                </c:pt>
                <c:pt idx="3">
                  <c:v>2919</c:v>
                </c:pt>
                <c:pt idx="4">
                  <c:v>108</c:v>
                </c:pt>
                <c:pt idx="5">
                  <c:v>961</c:v>
                </c:pt>
                <c:pt idx="6">
                  <c:v>30</c:v>
                </c:pt>
                <c:pt idx="7">
                  <c:v>37</c:v>
                </c:pt>
                <c:pt idx="8">
                  <c:v>90</c:v>
                </c:pt>
              </c:numCache>
            </c:numRef>
          </c:val>
          <c:extLst>
            <c:ext xmlns:c16="http://schemas.microsoft.com/office/drawing/2014/chart" uri="{C3380CC4-5D6E-409C-BE32-E72D297353CC}">
              <c16:uniqueId val="{00000004-6558-794B-9886-6AAD90D7D431}"/>
            </c:ext>
          </c:extLst>
        </c:ser>
        <c:dLbls>
          <c:showLegendKey val="0"/>
          <c:showVal val="0"/>
          <c:showCatName val="0"/>
          <c:showSerName val="0"/>
          <c:showPercent val="0"/>
          <c:showBubbleSize val="0"/>
        </c:dLbls>
        <c:gapWidth val="80"/>
        <c:overlap val="100"/>
        <c:axId val="922556191"/>
        <c:axId val="1"/>
      </c:barChart>
      <c:catAx>
        <c:axId val="922556191"/>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3000"/>
          <c:min val="-1000"/>
        </c:scaling>
        <c:delete val="1"/>
        <c:axPos val="t"/>
        <c:numFmt formatCode="General" sourceLinked="1"/>
        <c:majorTickMark val="out"/>
        <c:minorTickMark val="none"/>
        <c:tickLblPos val="nextTo"/>
        <c:crossAx val="922556191"/>
        <c:crosses val="min"/>
        <c:crossBetween val="between"/>
      </c:valAx>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6079077429983525"/>
          <c:y val="0.25"/>
          <c:w val="0.2784184514003295"/>
          <c:h val="0.5"/>
        </c:manualLayout>
      </c:layout>
      <c:pieChart>
        <c:varyColors val="0"/>
        <c:ser>
          <c:idx val="0"/>
          <c:order val="0"/>
          <c:dPt>
            <c:idx val="0"/>
            <c:bubble3D val="0"/>
            <c:spPr>
              <a:solidFill>
                <a:srgbClr val="C30C3E"/>
              </a:solidFill>
              <a:ln>
                <a:noFill/>
              </a:ln>
            </c:spPr>
            <c:extLst>
              <c:ext xmlns:c16="http://schemas.microsoft.com/office/drawing/2014/chart" uri="{C3380CC4-5D6E-409C-BE32-E72D297353CC}">
                <c16:uniqueId val="{00000000-11E9-42F4-A0D4-42852EA29E7E}"/>
              </c:ext>
            </c:extLst>
          </c:dPt>
          <c:dPt>
            <c:idx val="1"/>
            <c:bubble3D val="0"/>
            <c:spPr>
              <a:solidFill>
                <a:srgbClr val="364D6E"/>
              </a:solidFill>
              <a:ln>
                <a:noFill/>
              </a:ln>
            </c:spPr>
            <c:extLst>
              <c:ext xmlns:c16="http://schemas.microsoft.com/office/drawing/2014/chart" uri="{C3380CC4-5D6E-409C-BE32-E72D297353CC}">
                <c16:uniqueId val="{00000001-11E9-42F4-A0D4-42852EA29E7E}"/>
              </c:ext>
            </c:extLst>
          </c:dPt>
          <c:dPt>
            <c:idx val="2"/>
            <c:bubble3D val="0"/>
            <c:spPr>
              <a:solidFill>
                <a:schemeClr val="accent1"/>
              </a:solidFill>
              <a:ln>
                <a:noFill/>
              </a:ln>
            </c:spPr>
            <c:extLst>
              <c:ext xmlns:c16="http://schemas.microsoft.com/office/drawing/2014/chart" uri="{C3380CC4-5D6E-409C-BE32-E72D297353CC}">
                <c16:uniqueId val="{00000002-11E9-42F4-A0D4-42852EA29E7E}"/>
              </c:ext>
            </c:extLst>
          </c:dPt>
          <c:dPt>
            <c:idx val="3"/>
            <c:bubble3D val="0"/>
            <c:spPr>
              <a:solidFill>
                <a:srgbClr val="969696"/>
              </a:solidFill>
              <a:ln>
                <a:noFill/>
              </a:ln>
            </c:spPr>
            <c:extLst>
              <c:ext xmlns:c16="http://schemas.microsoft.com/office/drawing/2014/chart" uri="{C3380CC4-5D6E-409C-BE32-E72D297353CC}">
                <c16:uniqueId val="{00000003-11E9-42F4-A0D4-42852EA29E7E}"/>
              </c:ext>
            </c:extLst>
          </c:dPt>
          <c:dLbls>
            <c:dLbl>
              <c:idx val="2"/>
              <c:layout>
                <c:manualLayout>
                  <c:x val="-2.4711696869851728E-3"/>
                  <c:y val="2.0710059171597635E-2"/>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1E9-42F4-A0D4-42852EA29E7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14.646464646464647</c:v>
                </c:pt>
                <c:pt idx="1">
                  <c:v>25.252525252525253</c:v>
                </c:pt>
                <c:pt idx="2">
                  <c:v>27.27272727272727</c:v>
                </c:pt>
                <c:pt idx="3">
                  <c:v>32.828282828282831</c:v>
                </c:pt>
              </c:numCache>
            </c:numRef>
          </c:val>
          <c:extLst>
            <c:ext xmlns:c16="http://schemas.microsoft.com/office/drawing/2014/chart" uri="{C3380CC4-5D6E-409C-BE32-E72D297353CC}">
              <c16:uniqueId val="{00000004-11E9-42F4-A0D4-42852EA29E7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420098846787479"/>
          <c:y val="0.25"/>
          <c:w val="0.2784184514003295"/>
          <c:h val="0.5"/>
        </c:manualLayout>
      </c:layout>
      <c:pieChart>
        <c:varyColors val="0"/>
        <c:ser>
          <c:idx val="0"/>
          <c:order val="0"/>
          <c:dPt>
            <c:idx val="0"/>
            <c:bubble3D val="0"/>
            <c:spPr>
              <a:solidFill>
                <a:srgbClr val="C30C3E"/>
              </a:solidFill>
              <a:ln>
                <a:noFill/>
              </a:ln>
            </c:spPr>
            <c:extLst>
              <c:ext xmlns:c16="http://schemas.microsoft.com/office/drawing/2014/chart" uri="{C3380CC4-5D6E-409C-BE32-E72D297353CC}">
                <c16:uniqueId val="{00000000-2D9E-4303-A723-296F188856DC}"/>
              </c:ext>
            </c:extLst>
          </c:dPt>
          <c:dPt>
            <c:idx val="1"/>
            <c:bubble3D val="0"/>
            <c:spPr>
              <a:solidFill>
                <a:srgbClr val="364D6E"/>
              </a:solidFill>
              <a:ln>
                <a:noFill/>
              </a:ln>
            </c:spPr>
            <c:extLst>
              <c:ext xmlns:c16="http://schemas.microsoft.com/office/drawing/2014/chart" uri="{C3380CC4-5D6E-409C-BE32-E72D297353CC}">
                <c16:uniqueId val="{00000001-2D9E-4303-A723-296F188856DC}"/>
              </c:ext>
            </c:extLst>
          </c:dPt>
          <c:dPt>
            <c:idx val="2"/>
            <c:bubble3D val="0"/>
            <c:spPr>
              <a:solidFill>
                <a:schemeClr val="accent1"/>
              </a:solidFill>
              <a:ln>
                <a:noFill/>
              </a:ln>
            </c:spPr>
            <c:extLst>
              <c:ext xmlns:c16="http://schemas.microsoft.com/office/drawing/2014/chart" uri="{C3380CC4-5D6E-409C-BE32-E72D297353CC}">
                <c16:uniqueId val="{00000002-2D9E-4303-A723-296F188856DC}"/>
              </c:ext>
            </c:extLst>
          </c:dPt>
          <c:dLbls>
            <c:dLbl>
              <c:idx val="0"/>
              <c:layout>
                <c:manualLayout>
                  <c:x val="4.9423393739703456E-3"/>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9E-4303-A723-296F188856DC}"/>
                </c:ext>
              </c:extLst>
            </c:dLbl>
            <c:dLbl>
              <c:idx val="1"/>
              <c:layout>
                <c:manualLayout>
                  <c:x val="-8.2372322899505767E-4"/>
                  <c:y val="1.4792899408284023E-3"/>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9E-4303-A723-296F188856D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0</c:v>
                </c:pt>
                <c:pt idx="1">
                  <c:v>30</c:v>
                </c:pt>
                <c:pt idx="2">
                  <c:v>20</c:v>
                </c:pt>
              </c:numCache>
            </c:numRef>
          </c:val>
          <c:extLst>
            <c:ext xmlns:c16="http://schemas.microsoft.com/office/drawing/2014/chart" uri="{C3380CC4-5D6E-409C-BE32-E72D297353CC}">
              <c16:uniqueId val="{00000003-2D9E-4303-A723-296F188856D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420098846787479"/>
          <c:y val="0.25"/>
          <c:w val="0.2784184514003295"/>
          <c:h val="0.5"/>
        </c:manualLayout>
      </c:layout>
      <c:pieChart>
        <c:varyColors val="0"/>
        <c:ser>
          <c:idx val="0"/>
          <c:order val="0"/>
          <c:dPt>
            <c:idx val="0"/>
            <c:bubble3D val="0"/>
            <c:spPr>
              <a:solidFill>
                <a:srgbClr val="C30C3E"/>
              </a:solidFill>
              <a:ln>
                <a:noFill/>
              </a:ln>
            </c:spPr>
            <c:extLst>
              <c:ext xmlns:c16="http://schemas.microsoft.com/office/drawing/2014/chart" uri="{C3380CC4-5D6E-409C-BE32-E72D297353CC}">
                <c16:uniqueId val="{00000000-C769-4DF3-B865-90F6C0FA9C7E}"/>
              </c:ext>
            </c:extLst>
          </c:dPt>
          <c:dPt>
            <c:idx val="1"/>
            <c:bubble3D val="0"/>
            <c:spPr>
              <a:solidFill>
                <a:srgbClr val="364D6E"/>
              </a:solidFill>
              <a:ln>
                <a:noFill/>
              </a:ln>
            </c:spPr>
            <c:extLst>
              <c:ext xmlns:c16="http://schemas.microsoft.com/office/drawing/2014/chart" uri="{C3380CC4-5D6E-409C-BE32-E72D297353CC}">
                <c16:uniqueId val="{00000001-C769-4DF3-B865-90F6C0FA9C7E}"/>
              </c:ext>
            </c:extLst>
          </c:dPt>
          <c:dPt>
            <c:idx val="2"/>
            <c:bubble3D val="0"/>
            <c:spPr>
              <a:solidFill>
                <a:schemeClr val="accent1"/>
              </a:solidFill>
              <a:ln>
                <a:noFill/>
              </a:ln>
            </c:spPr>
            <c:extLst>
              <c:ext xmlns:c16="http://schemas.microsoft.com/office/drawing/2014/chart" uri="{C3380CC4-5D6E-409C-BE32-E72D297353CC}">
                <c16:uniqueId val="{00000002-C769-4DF3-B865-90F6C0FA9C7E}"/>
              </c:ext>
            </c:extLst>
          </c:dPt>
          <c:dPt>
            <c:idx val="3"/>
            <c:bubble3D val="0"/>
            <c:spPr>
              <a:solidFill>
                <a:srgbClr val="969696"/>
              </a:solidFill>
              <a:ln>
                <a:noFill/>
              </a:ln>
            </c:spPr>
            <c:extLst>
              <c:ext xmlns:c16="http://schemas.microsoft.com/office/drawing/2014/chart" uri="{C3380CC4-5D6E-409C-BE32-E72D297353CC}">
                <c16:uniqueId val="{00000003-C769-4DF3-B865-90F6C0FA9C7E}"/>
              </c:ext>
            </c:extLst>
          </c:dPt>
          <c:dLbls>
            <c:dLbl>
              <c:idx val="0"/>
              <c:layout>
                <c:manualLayout>
                  <c:x val="4.9423393739703456E-3"/>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69-4DF3-B865-90F6C0FA9C7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0</c:v>
                </c:pt>
                <c:pt idx="1">
                  <c:v>25</c:v>
                </c:pt>
                <c:pt idx="2">
                  <c:v>15</c:v>
                </c:pt>
                <c:pt idx="3">
                  <c:v>10</c:v>
                </c:pt>
              </c:numCache>
            </c:numRef>
          </c:val>
          <c:extLst>
            <c:ext xmlns:c16="http://schemas.microsoft.com/office/drawing/2014/chart" uri="{C3380CC4-5D6E-409C-BE32-E72D297353CC}">
              <c16:uniqueId val="{00000004-C769-4DF3-B865-90F6C0FA9C7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420098846787479"/>
          <c:y val="0.25"/>
          <c:w val="0.2784184514003295"/>
          <c:h val="0.5"/>
        </c:manualLayout>
      </c:layout>
      <c:pieChart>
        <c:varyColors val="0"/>
        <c:ser>
          <c:idx val="0"/>
          <c:order val="0"/>
          <c:dPt>
            <c:idx val="0"/>
            <c:bubble3D val="0"/>
            <c:spPr>
              <a:solidFill>
                <a:srgbClr val="C30C3E"/>
              </a:solidFill>
              <a:ln>
                <a:noFill/>
              </a:ln>
            </c:spPr>
            <c:extLst>
              <c:ext xmlns:c16="http://schemas.microsoft.com/office/drawing/2014/chart" uri="{C3380CC4-5D6E-409C-BE32-E72D297353CC}">
                <c16:uniqueId val="{00000000-37A4-4593-A42F-8F5875C32518}"/>
              </c:ext>
            </c:extLst>
          </c:dPt>
          <c:dPt>
            <c:idx val="1"/>
            <c:bubble3D val="0"/>
            <c:spPr>
              <a:solidFill>
                <a:srgbClr val="364D6E"/>
              </a:solidFill>
              <a:ln>
                <a:noFill/>
              </a:ln>
            </c:spPr>
            <c:extLst>
              <c:ext xmlns:c16="http://schemas.microsoft.com/office/drawing/2014/chart" uri="{C3380CC4-5D6E-409C-BE32-E72D297353CC}">
                <c16:uniqueId val="{00000001-37A4-4593-A42F-8F5875C32518}"/>
              </c:ext>
            </c:extLst>
          </c:dPt>
          <c:dPt>
            <c:idx val="2"/>
            <c:bubble3D val="0"/>
            <c:spPr>
              <a:solidFill>
                <a:schemeClr val="accent1"/>
              </a:solidFill>
              <a:ln>
                <a:noFill/>
              </a:ln>
            </c:spPr>
            <c:extLst>
              <c:ext xmlns:c16="http://schemas.microsoft.com/office/drawing/2014/chart" uri="{C3380CC4-5D6E-409C-BE32-E72D297353CC}">
                <c16:uniqueId val="{00000002-37A4-4593-A42F-8F5875C32518}"/>
              </c:ext>
            </c:extLst>
          </c:dPt>
          <c:dPt>
            <c:idx val="3"/>
            <c:bubble3D val="0"/>
            <c:spPr>
              <a:solidFill>
                <a:srgbClr val="969696"/>
              </a:solidFill>
              <a:ln>
                <a:noFill/>
              </a:ln>
            </c:spPr>
            <c:extLst>
              <c:ext xmlns:c16="http://schemas.microsoft.com/office/drawing/2014/chart" uri="{C3380CC4-5D6E-409C-BE32-E72D297353CC}">
                <c16:uniqueId val="{00000003-37A4-4593-A42F-8F5875C32518}"/>
              </c:ext>
            </c:extLst>
          </c:dPt>
          <c:dLbls>
            <c:dLbl>
              <c:idx val="0"/>
              <c:layout>
                <c:manualLayout>
                  <c:x val="4.9423393739703456E-3"/>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A4-4593-A42F-8F5875C32518}"/>
                </c:ext>
              </c:extLst>
            </c:dLbl>
            <c:dLbl>
              <c:idx val="2"/>
              <c:layout>
                <c:manualLayout>
                  <c:x val="-5.7660626029654039E-3"/>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7A4-4593-A42F-8F5875C3251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0</c:v>
                </c:pt>
                <c:pt idx="1">
                  <c:v>10</c:v>
                </c:pt>
                <c:pt idx="2">
                  <c:v>30</c:v>
                </c:pt>
                <c:pt idx="3">
                  <c:v>10</c:v>
                </c:pt>
              </c:numCache>
            </c:numRef>
          </c:val>
          <c:extLst>
            <c:ext xmlns:c16="http://schemas.microsoft.com/office/drawing/2014/chart" uri="{C3380CC4-5D6E-409C-BE32-E72D297353CC}">
              <c16:uniqueId val="{00000004-37A4-4593-A42F-8F5875C32518}"/>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425020048115477E-2"/>
          <c:y val="2.0257109466303078E-2"/>
          <c:w val="0.97914995990376907"/>
          <c:h val="0.95948578106739379"/>
        </c:manualLayout>
      </c:layout>
      <c:areaChart>
        <c:grouping val="stacked"/>
        <c:varyColors val="0"/>
        <c:ser>
          <c:idx val="0"/>
          <c:order val="0"/>
          <c:spPr>
            <a:solidFill>
              <a:srgbClr val="C3CFE1"/>
            </a:solidFill>
            <a:ln>
              <a:noFill/>
            </a:ln>
          </c:spPr>
          <c:val>
            <c:numRef>
              <c:f>Sheet1!$A$1:$BS$1</c:f>
              <c:numCache>
                <c:formatCode>General</c:formatCode>
                <c:ptCount val="71"/>
                <c:pt idx="0">
                  <c:v>60</c:v>
                </c:pt>
                <c:pt idx="1">
                  <c:v>60</c:v>
                </c:pt>
                <c:pt idx="2">
                  <c:v>237</c:v>
                </c:pt>
                <c:pt idx="3">
                  <c:v>177</c:v>
                </c:pt>
                <c:pt idx="4">
                  <c:v>177</c:v>
                </c:pt>
                <c:pt idx="5">
                  <c:v>194</c:v>
                </c:pt>
                <c:pt idx="6">
                  <c:v>27</c:v>
                </c:pt>
                <c:pt idx="7">
                  <c:v>27</c:v>
                </c:pt>
                <c:pt idx="8">
                  <c:v>17</c:v>
                </c:pt>
                <c:pt idx="9">
                  <c:v>1137</c:v>
                </c:pt>
                <c:pt idx="10">
                  <c:v>1502</c:v>
                </c:pt>
                <c:pt idx="11">
                  <c:v>3060</c:v>
                </c:pt>
                <c:pt idx="12">
                  <c:v>6370</c:v>
                </c:pt>
                <c:pt idx="13">
                  <c:v>15669</c:v>
                </c:pt>
                <c:pt idx="14">
                  <c:v>18245</c:v>
                </c:pt>
                <c:pt idx="15">
                  <c:v>26121</c:v>
                </c:pt>
                <c:pt idx="16">
                  <c:v>29286</c:v>
                </c:pt>
                <c:pt idx="17">
                  <c:v>32818</c:v>
                </c:pt>
                <c:pt idx="18">
                  <c:v>36993</c:v>
                </c:pt>
                <c:pt idx="19">
                  <c:v>39554</c:v>
                </c:pt>
                <c:pt idx="20">
                  <c:v>46951</c:v>
                </c:pt>
                <c:pt idx="21">
                  <c:v>48374</c:v>
                </c:pt>
                <c:pt idx="22">
                  <c:v>47107</c:v>
                </c:pt>
                <c:pt idx="23">
                  <c:v>46437</c:v>
                </c:pt>
                <c:pt idx="24">
                  <c:v>45150</c:v>
                </c:pt>
                <c:pt idx="25">
                  <c:v>47209</c:v>
                </c:pt>
                <c:pt idx="26">
                  <c:v>46015</c:v>
                </c:pt>
                <c:pt idx="27">
                  <c:v>39978</c:v>
                </c:pt>
                <c:pt idx="28">
                  <c:v>37266</c:v>
                </c:pt>
                <c:pt idx="29">
                  <c:v>33467</c:v>
                </c:pt>
                <c:pt idx="30">
                  <c:v>30178</c:v>
                </c:pt>
                <c:pt idx="31">
                  <c:v>21578</c:v>
                </c:pt>
                <c:pt idx="32">
                  <c:v>17235</c:v>
                </c:pt>
                <c:pt idx="33">
                  <c:v>10839</c:v>
                </c:pt>
                <c:pt idx="34">
                  <c:v>8399</c:v>
                </c:pt>
                <c:pt idx="35">
                  <c:v>5967</c:v>
                </c:pt>
                <c:pt idx="36">
                  <c:v>3516</c:v>
                </c:pt>
                <c:pt idx="37">
                  <c:v>3516</c:v>
                </c:pt>
                <c:pt idx="38">
                  <c:v>3516</c:v>
                </c:pt>
                <c:pt idx="39">
                  <c:v>2321</c:v>
                </c:pt>
                <c:pt idx="40">
                  <c:v>2321</c:v>
                </c:pt>
                <c:pt idx="41">
                  <c:v>2321</c:v>
                </c:pt>
                <c:pt idx="42">
                  <c:v>1164</c:v>
                </c:pt>
                <c:pt idx="43">
                  <c:v>1164</c:v>
                </c:pt>
                <c:pt idx="44">
                  <c:v>1164</c:v>
                </c:pt>
                <c:pt idx="45">
                  <c:v>1164</c:v>
                </c:pt>
                <c:pt idx="46">
                  <c:v>1164</c:v>
                </c:pt>
                <c:pt idx="47">
                  <c:v>1164</c:v>
                </c:pt>
                <c:pt idx="48">
                  <c:v>1164</c:v>
                </c:pt>
                <c:pt idx="49">
                  <c:v>1164</c:v>
                </c:pt>
                <c:pt idx="50">
                  <c:v>1164</c:v>
                </c:pt>
                <c:pt idx="51">
                  <c:v>1164</c:v>
                </c:pt>
                <c:pt idx="52">
                  <c:v>1164</c:v>
                </c:pt>
                <c:pt idx="53">
                  <c:v>1164</c:v>
                </c:pt>
                <c:pt idx="54">
                  <c:v>4648</c:v>
                </c:pt>
                <c:pt idx="55">
                  <c:v>5818</c:v>
                </c:pt>
                <c:pt idx="56">
                  <c:v>5818</c:v>
                </c:pt>
                <c:pt idx="57">
                  <c:v>5818</c:v>
                </c:pt>
                <c:pt idx="58">
                  <c:v>8052</c:v>
                </c:pt>
                <c:pt idx="59">
                  <c:v>8052</c:v>
                </c:pt>
                <c:pt idx="60">
                  <c:v>8052</c:v>
                </c:pt>
                <c:pt idx="61">
                  <c:v>8052</c:v>
                </c:pt>
                <c:pt idx="62">
                  <c:v>6888</c:v>
                </c:pt>
                <c:pt idx="63">
                  <c:v>6888</c:v>
                </c:pt>
                <c:pt idx="64">
                  <c:v>2234</c:v>
                </c:pt>
                <c:pt idx="65">
                  <c:v>2234</c:v>
                </c:pt>
                <c:pt idx="66">
                  <c:v>2234</c:v>
                </c:pt>
                <c:pt idx="67">
                  <c:v>2234</c:v>
                </c:pt>
                <c:pt idx="68">
                  <c:v>2234</c:v>
                </c:pt>
                <c:pt idx="69">
                  <c:v>1117</c:v>
                </c:pt>
                <c:pt idx="70">
                  <c:v>1117</c:v>
                </c:pt>
              </c:numCache>
            </c:numRef>
          </c:val>
          <c:extLst>
            <c:ext xmlns:c16="http://schemas.microsoft.com/office/drawing/2014/chart" uri="{C3380CC4-5D6E-409C-BE32-E72D297353CC}">
              <c16:uniqueId val="{00000000-16EB-480E-98C4-B91E3B66986D}"/>
            </c:ext>
          </c:extLst>
        </c:ser>
        <c:ser>
          <c:idx val="1"/>
          <c:order val="1"/>
          <c:spPr>
            <a:solidFill>
              <a:srgbClr val="9DB1CF"/>
            </a:solidFill>
            <a:ln>
              <a:noFill/>
            </a:ln>
          </c:spPr>
          <c:val>
            <c:numRef>
              <c:f>Sheet1!$A$2:$BS$2</c:f>
              <c:numCache>
                <c:formatCode>General</c:formatCode>
                <c:ptCount val="71"/>
                <c:pt idx="0">
                  <c:v>0</c:v>
                </c:pt>
                <c:pt idx="1">
                  <c:v>221</c:v>
                </c:pt>
                <c:pt idx="2">
                  <c:v>521</c:v>
                </c:pt>
                <c:pt idx="3">
                  <c:v>497</c:v>
                </c:pt>
                <c:pt idx="4">
                  <c:v>722</c:v>
                </c:pt>
                <c:pt idx="5">
                  <c:v>879</c:v>
                </c:pt>
                <c:pt idx="6">
                  <c:v>819</c:v>
                </c:pt>
                <c:pt idx="7">
                  <c:v>1056</c:v>
                </c:pt>
                <c:pt idx="8">
                  <c:v>989</c:v>
                </c:pt>
                <c:pt idx="9">
                  <c:v>1746</c:v>
                </c:pt>
                <c:pt idx="10">
                  <c:v>1909</c:v>
                </c:pt>
                <c:pt idx="11">
                  <c:v>4972</c:v>
                </c:pt>
                <c:pt idx="12">
                  <c:v>10999</c:v>
                </c:pt>
                <c:pt idx="13">
                  <c:v>17972</c:v>
                </c:pt>
                <c:pt idx="14">
                  <c:v>18732</c:v>
                </c:pt>
                <c:pt idx="15">
                  <c:v>20191</c:v>
                </c:pt>
                <c:pt idx="16">
                  <c:v>18217</c:v>
                </c:pt>
                <c:pt idx="17">
                  <c:v>20444</c:v>
                </c:pt>
                <c:pt idx="18">
                  <c:v>24865</c:v>
                </c:pt>
                <c:pt idx="19">
                  <c:v>29047</c:v>
                </c:pt>
                <c:pt idx="20">
                  <c:v>27358</c:v>
                </c:pt>
                <c:pt idx="21">
                  <c:v>28547</c:v>
                </c:pt>
                <c:pt idx="22">
                  <c:v>28141</c:v>
                </c:pt>
                <c:pt idx="23">
                  <c:v>27537</c:v>
                </c:pt>
                <c:pt idx="24">
                  <c:v>24130</c:v>
                </c:pt>
                <c:pt idx="25">
                  <c:v>23063</c:v>
                </c:pt>
                <c:pt idx="26">
                  <c:v>23063</c:v>
                </c:pt>
                <c:pt idx="27">
                  <c:v>22078</c:v>
                </c:pt>
                <c:pt idx="28">
                  <c:v>18699</c:v>
                </c:pt>
                <c:pt idx="29">
                  <c:v>18699</c:v>
                </c:pt>
                <c:pt idx="30">
                  <c:v>11473</c:v>
                </c:pt>
                <c:pt idx="31">
                  <c:v>9372</c:v>
                </c:pt>
                <c:pt idx="32">
                  <c:v>5025</c:v>
                </c:pt>
                <c:pt idx="33">
                  <c:v>2686</c:v>
                </c:pt>
                <c:pt idx="34">
                  <c:v>2686</c:v>
                </c:pt>
                <c:pt idx="35">
                  <c:v>775</c:v>
                </c:pt>
                <c:pt idx="36">
                  <c:v>775</c:v>
                </c:pt>
                <c:pt idx="37">
                  <c:v>775</c:v>
                </c:pt>
                <c:pt idx="38">
                  <c:v>775</c:v>
                </c:pt>
                <c:pt idx="39">
                  <c:v>775</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numCache>
            </c:numRef>
          </c:val>
          <c:extLst>
            <c:ext xmlns:c16="http://schemas.microsoft.com/office/drawing/2014/chart" uri="{C3380CC4-5D6E-409C-BE32-E72D297353CC}">
              <c16:uniqueId val="{00000001-16EB-480E-98C4-B91E3B66986D}"/>
            </c:ext>
          </c:extLst>
        </c:ser>
        <c:ser>
          <c:idx val="2"/>
          <c:order val="2"/>
          <c:spPr>
            <a:solidFill>
              <a:srgbClr val="6F8DB9"/>
            </a:solidFill>
            <a:ln>
              <a:noFill/>
            </a:ln>
          </c:spPr>
          <c:val>
            <c:numRef>
              <c:f>Sheet1!$A$3:$BS$3</c:f>
              <c:numCache>
                <c:formatCode>General</c:formatCode>
                <c:ptCount val="71"/>
                <c:pt idx="0">
                  <c:v>0</c:v>
                </c:pt>
                <c:pt idx="1">
                  <c:v>0</c:v>
                </c:pt>
                <c:pt idx="2">
                  <c:v>0</c:v>
                </c:pt>
                <c:pt idx="3">
                  <c:v>0</c:v>
                </c:pt>
                <c:pt idx="4">
                  <c:v>0</c:v>
                </c:pt>
                <c:pt idx="5">
                  <c:v>0</c:v>
                </c:pt>
                <c:pt idx="6">
                  <c:v>0</c:v>
                </c:pt>
                <c:pt idx="7">
                  <c:v>0</c:v>
                </c:pt>
                <c:pt idx="8">
                  <c:v>0</c:v>
                </c:pt>
                <c:pt idx="9">
                  <c:v>0</c:v>
                </c:pt>
                <c:pt idx="10">
                  <c:v>0</c:v>
                </c:pt>
                <c:pt idx="11">
                  <c:v>0</c:v>
                </c:pt>
                <c:pt idx="12">
                  <c:v>805</c:v>
                </c:pt>
                <c:pt idx="13">
                  <c:v>4867</c:v>
                </c:pt>
                <c:pt idx="14">
                  <c:v>5736</c:v>
                </c:pt>
                <c:pt idx="15">
                  <c:v>6717</c:v>
                </c:pt>
                <c:pt idx="16">
                  <c:v>6717</c:v>
                </c:pt>
                <c:pt idx="17">
                  <c:v>5912</c:v>
                </c:pt>
                <c:pt idx="18">
                  <c:v>5052</c:v>
                </c:pt>
                <c:pt idx="19">
                  <c:v>7888</c:v>
                </c:pt>
                <c:pt idx="20">
                  <c:v>7888</c:v>
                </c:pt>
                <c:pt idx="21">
                  <c:v>10079</c:v>
                </c:pt>
                <c:pt idx="22">
                  <c:v>9230</c:v>
                </c:pt>
                <c:pt idx="23">
                  <c:v>9230</c:v>
                </c:pt>
                <c:pt idx="24">
                  <c:v>8242</c:v>
                </c:pt>
                <c:pt idx="25">
                  <c:v>8242</c:v>
                </c:pt>
                <c:pt idx="26">
                  <c:v>8242</c:v>
                </c:pt>
                <c:pt idx="27">
                  <c:v>8242</c:v>
                </c:pt>
                <c:pt idx="28">
                  <c:v>7172</c:v>
                </c:pt>
                <c:pt idx="29">
                  <c:v>5105</c:v>
                </c:pt>
                <c:pt idx="30">
                  <c:v>5105</c:v>
                </c:pt>
                <c:pt idx="31">
                  <c:v>2626</c:v>
                </c:pt>
                <c:pt idx="32">
                  <c:v>1312</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numCache>
            </c:numRef>
          </c:val>
          <c:extLst>
            <c:ext xmlns:c16="http://schemas.microsoft.com/office/drawing/2014/chart" uri="{C3380CC4-5D6E-409C-BE32-E72D297353CC}">
              <c16:uniqueId val="{00000002-16EB-480E-98C4-B91E3B66986D}"/>
            </c:ext>
          </c:extLst>
        </c:ser>
        <c:ser>
          <c:idx val="3"/>
          <c:order val="3"/>
          <c:spPr>
            <a:solidFill>
              <a:srgbClr val="364D6E"/>
            </a:solidFill>
            <a:ln>
              <a:noFill/>
            </a:ln>
          </c:spPr>
          <c:val>
            <c:numRef>
              <c:f>Sheet1!$A$4:$BS$4</c:f>
              <c:numCache>
                <c:formatCode>General</c:formatCode>
                <c:ptCount val="71"/>
                <c:pt idx="0">
                  <c:v>0</c:v>
                </c:pt>
                <c:pt idx="1">
                  <c:v>0</c:v>
                </c:pt>
                <c:pt idx="2">
                  <c:v>0</c:v>
                </c:pt>
                <c:pt idx="3">
                  <c:v>0</c:v>
                </c:pt>
                <c:pt idx="4">
                  <c:v>0</c:v>
                </c:pt>
                <c:pt idx="5">
                  <c:v>206</c:v>
                </c:pt>
                <c:pt idx="6">
                  <c:v>206</c:v>
                </c:pt>
                <c:pt idx="7">
                  <c:v>206</c:v>
                </c:pt>
                <c:pt idx="8">
                  <c:v>206</c:v>
                </c:pt>
                <c:pt idx="9">
                  <c:v>206</c:v>
                </c:pt>
                <c:pt idx="10">
                  <c:v>340</c:v>
                </c:pt>
                <c:pt idx="11">
                  <c:v>1620</c:v>
                </c:pt>
                <c:pt idx="12">
                  <c:v>2135</c:v>
                </c:pt>
                <c:pt idx="13">
                  <c:v>2631</c:v>
                </c:pt>
                <c:pt idx="14">
                  <c:v>2631</c:v>
                </c:pt>
                <c:pt idx="15">
                  <c:v>3408</c:v>
                </c:pt>
                <c:pt idx="16">
                  <c:v>4219</c:v>
                </c:pt>
                <c:pt idx="17">
                  <c:v>4516</c:v>
                </c:pt>
                <c:pt idx="18">
                  <c:v>3867</c:v>
                </c:pt>
                <c:pt idx="19">
                  <c:v>5111</c:v>
                </c:pt>
                <c:pt idx="20">
                  <c:v>6287</c:v>
                </c:pt>
                <c:pt idx="21">
                  <c:v>7319</c:v>
                </c:pt>
                <c:pt idx="22">
                  <c:v>7203</c:v>
                </c:pt>
                <c:pt idx="23">
                  <c:v>7256</c:v>
                </c:pt>
                <c:pt idx="24">
                  <c:v>8083</c:v>
                </c:pt>
                <c:pt idx="25">
                  <c:v>8083</c:v>
                </c:pt>
                <c:pt idx="26">
                  <c:v>8774</c:v>
                </c:pt>
                <c:pt idx="27">
                  <c:v>9652</c:v>
                </c:pt>
                <c:pt idx="28">
                  <c:v>8480</c:v>
                </c:pt>
                <c:pt idx="29">
                  <c:v>8234</c:v>
                </c:pt>
                <c:pt idx="30">
                  <c:v>6962</c:v>
                </c:pt>
                <c:pt idx="31">
                  <c:v>6962</c:v>
                </c:pt>
                <c:pt idx="32">
                  <c:v>5629</c:v>
                </c:pt>
                <c:pt idx="33">
                  <c:v>4812</c:v>
                </c:pt>
                <c:pt idx="34">
                  <c:v>4812</c:v>
                </c:pt>
                <c:pt idx="35">
                  <c:v>4812</c:v>
                </c:pt>
                <c:pt idx="36">
                  <c:v>3056</c:v>
                </c:pt>
                <c:pt idx="37">
                  <c:v>3632</c:v>
                </c:pt>
                <c:pt idx="38">
                  <c:v>2754</c:v>
                </c:pt>
                <c:pt idx="39">
                  <c:v>3044</c:v>
                </c:pt>
                <c:pt idx="40">
                  <c:v>3044</c:v>
                </c:pt>
                <c:pt idx="41">
                  <c:v>3044</c:v>
                </c:pt>
                <c:pt idx="42">
                  <c:v>2394</c:v>
                </c:pt>
                <c:pt idx="43">
                  <c:v>3172</c:v>
                </c:pt>
                <c:pt idx="44">
                  <c:v>2571</c:v>
                </c:pt>
                <c:pt idx="45">
                  <c:v>2004</c:v>
                </c:pt>
                <c:pt idx="46">
                  <c:v>2004</c:v>
                </c:pt>
                <c:pt idx="47">
                  <c:v>2004</c:v>
                </c:pt>
                <c:pt idx="48">
                  <c:v>1327</c:v>
                </c:pt>
                <c:pt idx="49">
                  <c:v>650</c:v>
                </c:pt>
                <c:pt idx="50">
                  <c:v>650</c:v>
                </c:pt>
                <c:pt idx="51">
                  <c:v>650</c:v>
                </c:pt>
                <c:pt idx="52">
                  <c:v>65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numCache>
            </c:numRef>
          </c:val>
          <c:extLst>
            <c:ext xmlns:c16="http://schemas.microsoft.com/office/drawing/2014/chart" uri="{C3380CC4-5D6E-409C-BE32-E72D297353CC}">
              <c16:uniqueId val="{00000003-16EB-480E-98C4-B91E3B66986D}"/>
            </c:ext>
          </c:extLst>
        </c:ser>
        <c:ser>
          <c:idx val="4"/>
          <c:order val="4"/>
          <c:spPr>
            <a:solidFill>
              <a:srgbClr val="004FDD"/>
            </a:solidFill>
            <a:ln>
              <a:noFill/>
            </a:ln>
          </c:spPr>
          <c:val>
            <c:numRef>
              <c:f>Sheet1!$A$5:$BS$5</c:f>
              <c:numCache>
                <c:formatCode>General</c:formatCode>
                <c:ptCount val="71"/>
                <c:pt idx="0">
                  <c:v>0</c:v>
                </c:pt>
                <c:pt idx="1">
                  <c:v>0</c:v>
                </c:pt>
                <c:pt idx="2">
                  <c:v>10</c:v>
                </c:pt>
                <c:pt idx="3">
                  <c:v>10</c:v>
                </c:pt>
                <c:pt idx="4">
                  <c:v>10</c:v>
                </c:pt>
                <c:pt idx="5">
                  <c:v>10</c:v>
                </c:pt>
                <c:pt idx="6">
                  <c:v>10</c:v>
                </c:pt>
                <c:pt idx="7">
                  <c:v>315</c:v>
                </c:pt>
                <c:pt idx="8">
                  <c:v>705</c:v>
                </c:pt>
                <c:pt idx="9">
                  <c:v>705</c:v>
                </c:pt>
                <c:pt idx="10">
                  <c:v>1235</c:v>
                </c:pt>
                <c:pt idx="11">
                  <c:v>2173</c:v>
                </c:pt>
                <c:pt idx="12">
                  <c:v>2173</c:v>
                </c:pt>
                <c:pt idx="13">
                  <c:v>2348</c:v>
                </c:pt>
                <c:pt idx="14">
                  <c:v>3867</c:v>
                </c:pt>
                <c:pt idx="15">
                  <c:v>3477</c:v>
                </c:pt>
                <c:pt idx="16">
                  <c:v>4357</c:v>
                </c:pt>
                <c:pt idx="17">
                  <c:v>5209</c:v>
                </c:pt>
                <c:pt idx="18">
                  <c:v>6739</c:v>
                </c:pt>
                <c:pt idx="19">
                  <c:v>10329</c:v>
                </c:pt>
                <c:pt idx="20">
                  <c:v>19057</c:v>
                </c:pt>
                <c:pt idx="21">
                  <c:v>24659</c:v>
                </c:pt>
                <c:pt idx="22">
                  <c:v>29619</c:v>
                </c:pt>
                <c:pt idx="23">
                  <c:v>32239</c:v>
                </c:pt>
                <c:pt idx="24">
                  <c:v>41871</c:v>
                </c:pt>
                <c:pt idx="25">
                  <c:v>48996</c:v>
                </c:pt>
                <c:pt idx="26">
                  <c:v>43831</c:v>
                </c:pt>
                <c:pt idx="27">
                  <c:v>40700</c:v>
                </c:pt>
                <c:pt idx="28">
                  <c:v>40104</c:v>
                </c:pt>
                <c:pt idx="29">
                  <c:v>40604</c:v>
                </c:pt>
                <c:pt idx="30">
                  <c:v>34865</c:v>
                </c:pt>
                <c:pt idx="31">
                  <c:v>26458</c:v>
                </c:pt>
                <c:pt idx="32">
                  <c:v>21202</c:v>
                </c:pt>
                <c:pt idx="33">
                  <c:v>18816</c:v>
                </c:pt>
                <c:pt idx="34">
                  <c:v>15230</c:v>
                </c:pt>
                <c:pt idx="35">
                  <c:v>14263</c:v>
                </c:pt>
                <c:pt idx="36">
                  <c:v>11818</c:v>
                </c:pt>
                <c:pt idx="37">
                  <c:v>10518</c:v>
                </c:pt>
                <c:pt idx="38">
                  <c:v>9188</c:v>
                </c:pt>
                <c:pt idx="39">
                  <c:v>6934</c:v>
                </c:pt>
                <c:pt idx="40">
                  <c:v>5990</c:v>
                </c:pt>
                <c:pt idx="41">
                  <c:v>5990</c:v>
                </c:pt>
                <c:pt idx="42">
                  <c:v>6390</c:v>
                </c:pt>
                <c:pt idx="43">
                  <c:v>3395</c:v>
                </c:pt>
                <c:pt idx="44">
                  <c:v>3395</c:v>
                </c:pt>
                <c:pt idx="45">
                  <c:v>1900</c:v>
                </c:pt>
                <c:pt idx="46">
                  <c:v>1900</c:v>
                </c:pt>
                <c:pt idx="47">
                  <c:v>1900</c:v>
                </c:pt>
                <c:pt idx="48">
                  <c:v>0</c:v>
                </c:pt>
                <c:pt idx="49">
                  <c:v>0</c:v>
                </c:pt>
                <c:pt idx="50">
                  <c:v>1600</c:v>
                </c:pt>
                <c:pt idx="51">
                  <c:v>1600</c:v>
                </c:pt>
                <c:pt idx="52">
                  <c:v>3230</c:v>
                </c:pt>
                <c:pt idx="53">
                  <c:v>3230</c:v>
                </c:pt>
                <c:pt idx="54">
                  <c:v>4890</c:v>
                </c:pt>
                <c:pt idx="55">
                  <c:v>6550</c:v>
                </c:pt>
                <c:pt idx="56">
                  <c:v>6550</c:v>
                </c:pt>
                <c:pt idx="57">
                  <c:v>6550</c:v>
                </c:pt>
                <c:pt idx="58">
                  <c:v>6550</c:v>
                </c:pt>
                <c:pt idx="59">
                  <c:v>6550</c:v>
                </c:pt>
                <c:pt idx="60">
                  <c:v>6550</c:v>
                </c:pt>
                <c:pt idx="61">
                  <c:v>6550</c:v>
                </c:pt>
                <c:pt idx="62">
                  <c:v>6550</c:v>
                </c:pt>
                <c:pt idx="63">
                  <c:v>8180</c:v>
                </c:pt>
                <c:pt idx="64">
                  <c:v>8150</c:v>
                </c:pt>
                <c:pt idx="65">
                  <c:v>6490</c:v>
                </c:pt>
                <c:pt idx="66">
                  <c:v>6490</c:v>
                </c:pt>
                <c:pt idx="67">
                  <c:v>6490</c:v>
                </c:pt>
                <c:pt idx="68">
                  <c:v>4890</c:v>
                </c:pt>
                <c:pt idx="69">
                  <c:v>4890</c:v>
                </c:pt>
                <c:pt idx="70">
                  <c:v>4890</c:v>
                </c:pt>
              </c:numCache>
            </c:numRef>
          </c:val>
          <c:extLst>
            <c:ext xmlns:c16="http://schemas.microsoft.com/office/drawing/2014/chart" uri="{C3380CC4-5D6E-409C-BE32-E72D297353CC}">
              <c16:uniqueId val="{00000004-16EB-480E-98C4-B91E3B66986D}"/>
            </c:ext>
          </c:extLst>
        </c:ser>
        <c:ser>
          <c:idx val="5"/>
          <c:order val="5"/>
          <c:spPr>
            <a:solidFill>
              <a:schemeClr val="accent1"/>
            </a:solidFill>
            <a:ln>
              <a:noFill/>
            </a:ln>
          </c:spPr>
          <c:val>
            <c:numRef>
              <c:f>Sheet1!$A$6:$BS$6</c:f>
              <c:numCache>
                <c:formatCode>General</c:formatCode>
                <c:ptCount val="71"/>
                <c:pt idx="0">
                  <c:v>0</c:v>
                </c:pt>
                <c:pt idx="1">
                  <c:v>0</c:v>
                </c:pt>
                <c:pt idx="2">
                  <c:v>0</c:v>
                </c:pt>
                <c:pt idx="3">
                  <c:v>0</c:v>
                </c:pt>
                <c:pt idx="4">
                  <c:v>0</c:v>
                </c:pt>
                <c:pt idx="5">
                  <c:v>0</c:v>
                </c:pt>
                <c:pt idx="6">
                  <c:v>52</c:v>
                </c:pt>
                <c:pt idx="7">
                  <c:v>52</c:v>
                </c:pt>
                <c:pt idx="8">
                  <c:v>52</c:v>
                </c:pt>
                <c:pt idx="9">
                  <c:v>52</c:v>
                </c:pt>
                <c:pt idx="10">
                  <c:v>392</c:v>
                </c:pt>
                <c:pt idx="11">
                  <c:v>392</c:v>
                </c:pt>
                <c:pt idx="12">
                  <c:v>980</c:v>
                </c:pt>
                <c:pt idx="13">
                  <c:v>1960</c:v>
                </c:pt>
                <c:pt idx="14">
                  <c:v>2102</c:v>
                </c:pt>
                <c:pt idx="15">
                  <c:v>4930</c:v>
                </c:pt>
                <c:pt idx="16">
                  <c:v>4930</c:v>
                </c:pt>
                <c:pt idx="17">
                  <c:v>8538</c:v>
                </c:pt>
                <c:pt idx="18">
                  <c:v>8908</c:v>
                </c:pt>
                <c:pt idx="19">
                  <c:v>9772</c:v>
                </c:pt>
                <c:pt idx="20">
                  <c:v>9540</c:v>
                </c:pt>
                <c:pt idx="21">
                  <c:v>16157</c:v>
                </c:pt>
                <c:pt idx="22">
                  <c:v>14763</c:v>
                </c:pt>
                <c:pt idx="23">
                  <c:v>13885</c:v>
                </c:pt>
                <c:pt idx="24">
                  <c:v>13543</c:v>
                </c:pt>
                <c:pt idx="25">
                  <c:v>11643</c:v>
                </c:pt>
                <c:pt idx="26">
                  <c:v>12336</c:v>
                </c:pt>
                <c:pt idx="27">
                  <c:v>15116</c:v>
                </c:pt>
                <c:pt idx="28">
                  <c:v>15116</c:v>
                </c:pt>
                <c:pt idx="29">
                  <c:v>13770</c:v>
                </c:pt>
                <c:pt idx="30">
                  <c:v>8436</c:v>
                </c:pt>
                <c:pt idx="31">
                  <c:v>8436</c:v>
                </c:pt>
                <c:pt idx="32">
                  <c:v>7026</c:v>
                </c:pt>
                <c:pt idx="33">
                  <c:v>7026</c:v>
                </c:pt>
                <c:pt idx="34">
                  <c:v>3278</c:v>
                </c:pt>
                <c:pt idx="35">
                  <c:v>1968</c:v>
                </c:pt>
                <c:pt idx="36">
                  <c:v>1968</c:v>
                </c:pt>
                <c:pt idx="37">
                  <c:v>1968</c:v>
                </c:pt>
                <c:pt idx="38">
                  <c:v>1968</c:v>
                </c:pt>
                <c:pt idx="39">
                  <c:v>1968</c:v>
                </c:pt>
                <c:pt idx="40">
                  <c:v>1968</c:v>
                </c:pt>
                <c:pt idx="41">
                  <c:v>1968</c:v>
                </c:pt>
                <c:pt idx="42">
                  <c:v>1968</c:v>
                </c:pt>
                <c:pt idx="43">
                  <c:v>1968</c:v>
                </c:pt>
                <c:pt idx="44">
                  <c:v>1968</c:v>
                </c:pt>
                <c:pt idx="45">
                  <c:v>1968</c:v>
                </c:pt>
                <c:pt idx="46">
                  <c:v>693</c:v>
                </c:pt>
                <c:pt idx="47">
                  <c:v>693</c:v>
                </c:pt>
                <c:pt idx="48">
                  <c:v>693</c:v>
                </c:pt>
                <c:pt idx="49">
                  <c:v>693</c:v>
                </c:pt>
                <c:pt idx="50">
                  <c:v>693</c:v>
                </c:pt>
                <c:pt idx="51">
                  <c:v>693</c:v>
                </c:pt>
                <c:pt idx="52">
                  <c:v>693</c:v>
                </c:pt>
                <c:pt idx="53">
                  <c:v>693</c:v>
                </c:pt>
                <c:pt idx="54">
                  <c:v>693</c:v>
                </c:pt>
                <c:pt idx="55">
                  <c:v>2033</c:v>
                </c:pt>
                <c:pt idx="56">
                  <c:v>2033</c:v>
                </c:pt>
                <c:pt idx="57">
                  <c:v>2033</c:v>
                </c:pt>
                <c:pt idx="58">
                  <c:v>2033</c:v>
                </c:pt>
                <c:pt idx="59">
                  <c:v>2033</c:v>
                </c:pt>
                <c:pt idx="60">
                  <c:v>1340</c:v>
                </c:pt>
                <c:pt idx="61">
                  <c:v>1340</c:v>
                </c:pt>
                <c:pt idx="62">
                  <c:v>1340</c:v>
                </c:pt>
                <c:pt idx="63">
                  <c:v>1340</c:v>
                </c:pt>
                <c:pt idx="64">
                  <c:v>1340</c:v>
                </c:pt>
                <c:pt idx="65">
                  <c:v>1340</c:v>
                </c:pt>
                <c:pt idx="66">
                  <c:v>1340</c:v>
                </c:pt>
                <c:pt idx="67">
                  <c:v>1340</c:v>
                </c:pt>
                <c:pt idx="68">
                  <c:v>1340</c:v>
                </c:pt>
                <c:pt idx="69">
                  <c:v>1340</c:v>
                </c:pt>
                <c:pt idx="70">
                  <c:v>1340</c:v>
                </c:pt>
              </c:numCache>
            </c:numRef>
          </c:val>
          <c:extLst>
            <c:ext xmlns:c16="http://schemas.microsoft.com/office/drawing/2014/chart" uri="{C3380CC4-5D6E-409C-BE32-E72D297353CC}">
              <c16:uniqueId val="{00000005-16EB-480E-98C4-B91E3B66986D}"/>
            </c:ext>
          </c:extLst>
        </c:ser>
        <c:ser>
          <c:idx val="6"/>
          <c:order val="6"/>
          <c:spPr>
            <a:solidFill>
              <a:schemeClr val="accent6"/>
            </a:solidFill>
            <a:ln>
              <a:noFill/>
            </a:ln>
          </c:spPr>
          <c:val>
            <c:numRef>
              <c:f>Sheet1!$A$7:$BS$7</c:f>
              <c:numCache>
                <c:formatCode>General</c:formatCode>
                <c:ptCount val="71"/>
                <c:pt idx="0">
                  <c:v>0</c:v>
                </c:pt>
                <c:pt idx="1">
                  <c:v>0</c:v>
                </c:pt>
                <c:pt idx="2">
                  <c:v>522</c:v>
                </c:pt>
                <c:pt idx="3">
                  <c:v>675</c:v>
                </c:pt>
                <c:pt idx="4">
                  <c:v>675</c:v>
                </c:pt>
                <c:pt idx="5">
                  <c:v>1125</c:v>
                </c:pt>
                <c:pt idx="6">
                  <c:v>1125</c:v>
                </c:pt>
                <c:pt idx="7">
                  <c:v>1559</c:v>
                </c:pt>
                <c:pt idx="8">
                  <c:v>1037</c:v>
                </c:pt>
                <c:pt idx="9">
                  <c:v>884</c:v>
                </c:pt>
                <c:pt idx="10">
                  <c:v>884</c:v>
                </c:pt>
                <c:pt idx="11">
                  <c:v>668</c:v>
                </c:pt>
                <c:pt idx="12">
                  <c:v>2618</c:v>
                </c:pt>
                <c:pt idx="13">
                  <c:v>2401</c:v>
                </c:pt>
                <c:pt idx="14">
                  <c:v>2184</c:v>
                </c:pt>
                <c:pt idx="15">
                  <c:v>2184</c:v>
                </c:pt>
                <c:pt idx="16">
                  <c:v>2784</c:v>
                </c:pt>
                <c:pt idx="17">
                  <c:v>2784</c:v>
                </c:pt>
                <c:pt idx="18">
                  <c:v>2784</c:v>
                </c:pt>
                <c:pt idx="19">
                  <c:v>3674</c:v>
                </c:pt>
                <c:pt idx="20">
                  <c:v>5479</c:v>
                </c:pt>
                <c:pt idx="21">
                  <c:v>4645</c:v>
                </c:pt>
                <c:pt idx="22">
                  <c:v>4375</c:v>
                </c:pt>
                <c:pt idx="23">
                  <c:v>5065</c:v>
                </c:pt>
                <c:pt idx="24">
                  <c:v>4175</c:v>
                </c:pt>
                <c:pt idx="25">
                  <c:v>4175</c:v>
                </c:pt>
                <c:pt idx="26">
                  <c:v>3285</c:v>
                </c:pt>
                <c:pt idx="27">
                  <c:v>3285</c:v>
                </c:pt>
                <c:pt idx="28">
                  <c:v>3285</c:v>
                </c:pt>
                <c:pt idx="29">
                  <c:v>2100</c:v>
                </c:pt>
                <c:pt idx="30">
                  <c:v>2100</c:v>
                </c:pt>
                <c:pt idx="31">
                  <c:v>3135</c:v>
                </c:pt>
                <c:pt idx="32">
                  <c:v>4170</c:v>
                </c:pt>
                <c:pt idx="33">
                  <c:v>2985</c:v>
                </c:pt>
                <c:pt idx="34">
                  <c:v>2985</c:v>
                </c:pt>
                <c:pt idx="35">
                  <c:v>2985</c:v>
                </c:pt>
                <c:pt idx="36">
                  <c:v>2985</c:v>
                </c:pt>
                <c:pt idx="37">
                  <c:v>2985</c:v>
                </c:pt>
                <c:pt idx="38">
                  <c:v>2985</c:v>
                </c:pt>
                <c:pt idx="39">
                  <c:v>2985</c:v>
                </c:pt>
                <c:pt idx="40">
                  <c:v>2985</c:v>
                </c:pt>
                <c:pt idx="41">
                  <c:v>2985</c:v>
                </c:pt>
                <c:pt idx="42">
                  <c:v>2985</c:v>
                </c:pt>
                <c:pt idx="43">
                  <c:v>2985</c:v>
                </c:pt>
                <c:pt idx="44">
                  <c:v>2985</c:v>
                </c:pt>
                <c:pt idx="45">
                  <c:v>2985</c:v>
                </c:pt>
                <c:pt idx="46">
                  <c:v>2985</c:v>
                </c:pt>
                <c:pt idx="47">
                  <c:v>4849</c:v>
                </c:pt>
                <c:pt idx="48">
                  <c:v>4849</c:v>
                </c:pt>
                <c:pt idx="49">
                  <c:v>4849</c:v>
                </c:pt>
                <c:pt idx="50">
                  <c:v>4849</c:v>
                </c:pt>
                <c:pt idx="51">
                  <c:v>4849</c:v>
                </c:pt>
                <c:pt idx="52">
                  <c:v>4849</c:v>
                </c:pt>
                <c:pt idx="53">
                  <c:v>4849</c:v>
                </c:pt>
                <c:pt idx="54">
                  <c:v>4849</c:v>
                </c:pt>
                <c:pt idx="55">
                  <c:v>4849</c:v>
                </c:pt>
                <c:pt idx="56">
                  <c:v>4849</c:v>
                </c:pt>
                <c:pt idx="57">
                  <c:v>3934</c:v>
                </c:pt>
                <c:pt idx="58">
                  <c:v>5044</c:v>
                </c:pt>
                <c:pt idx="59">
                  <c:v>5222</c:v>
                </c:pt>
                <c:pt idx="60">
                  <c:v>5222</c:v>
                </c:pt>
                <c:pt idx="61">
                  <c:v>5222</c:v>
                </c:pt>
                <c:pt idx="62">
                  <c:v>6124</c:v>
                </c:pt>
                <c:pt idx="63">
                  <c:v>6124</c:v>
                </c:pt>
                <c:pt idx="64">
                  <c:v>7098</c:v>
                </c:pt>
                <c:pt idx="65">
                  <c:v>7098</c:v>
                </c:pt>
                <c:pt idx="66">
                  <c:v>7822</c:v>
                </c:pt>
                <c:pt idx="67">
                  <c:v>10022</c:v>
                </c:pt>
                <c:pt idx="68">
                  <c:v>11122</c:v>
                </c:pt>
                <c:pt idx="69">
                  <c:v>10012</c:v>
                </c:pt>
                <c:pt idx="70">
                  <c:v>10012</c:v>
                </c:pt>
              </c:numCache>
            </c:numRef>
          </c:val>
          <c:extLst>
            <c:ext xmlns:c16="http://schemas.microsoft.com/office/drawing/2014/chart" uri="{C3380CC4-5D6E-409C-BE32-E72D297353CC}">
              <c16:uniqueId val="{00000006-16EB-480E-98C4-B91E3B66986D}"/>
            </c:ext>
          </c:extLst>
        </c:ser>
        <c:ser>
          <c:idx val="7"/>
          <c:order val="7"/>
          <c:spPr>
            <a:solidFill>
              <a:srgbClr val="007770"/>
            </a:solidFill>
            <a:ln>
              <a:noFill/>
            </a:ln>
          </c:spPr>
          <c:val>
            <c:numRef>
              <c:f>Sheet1!$A$8:$BS$8</c:f>
              <c:numCache>
                <c:formatCode>General</c:formatCode>
                <c:ptCount val="71"/>
                <c:pt idx="0">
                  <c:v>0</c:v>
                </c:pt>
                <c:pt idx="1">
                  <c:v>0</c:v>
                </c:pt>
                <c:pt idx="2">
                  <c:v>0</c:v>
                </c:pt>
                <c:pt idx="3">
                  <c:v>0</c:v>
                </c:pt>
                <c:pt idx="4">
                  <c:v>0</c:v>
                </c:pt>
                <c:pt idx="5">
                  <c:v>0</c:v>
                </c:pt>
                <c:pt idx="6">
                  <c:v>0</c:v>
                </c:pt>
                <c:pt idx="7">
                  <c:v>0</c:v>
                </c:pt>
                <c:pt idx="8">
                  <c:v>0</c:v>
                </c:pt>
                <c:pt idx="9">
                  <c:v>0</c:v>
                </c:pt>
                <c:pt idx="10">
                  <c:v>0</c:v>
                </c:pt>
                <c:pt idx="11">
                  <c:v>0</c:v>
                </c:pt>
                <c:pt idx="12">
                  <c:v>770</c:v>
                </c:pt>
                <c:pt idx="13">
                  <c:v>770</c:v>
                </c:pt>
                <c:pt idx="14">
                  <c:v>1330</c:v>
                </c:pt>
                <c:pt idx="15">
                  <c:v>4046</c:v>
                </c:pt>
                <c:pt idx="16">
                  <c:v>4046</c:v>
                </c:pt>
                <c:pt idx="17">
                  <c:v>4586</c:v>
                </c:pt>
                <c:pt idx="18">
                  <c:v>6051</c:v>
                </c:pt>
                <c:pt idx="19">
                  <c:v>5665</c:v>
                </c:pt>
                <c:pt idx="20">
                  <c:v>7082</c:v>
                </c:pt>
                <c:pt idx="21">
                  <c:v>7482</c:v>
                </c:pt>
                <c:pt idx="22">
                  <c:v>7907</c:v>
                </c:pt>
                <c:pt idx="23">
                  <c:v>8832</c:v>
                </c:pt>
                <c:pt idx="24">
                  <c:v>8832</c:v>
                </c:pt>
                <c:pt idx="25">
                  <c:v>7932</c:v>
                </c:pt>
                <c:pt idx="26">
                  <c:v>9286</c:v>
                </c:pt>
                <c:pt idx="27">
                  <c:v>9850</c:v>
                </c:pt>
                <c:pt idx="28">
                  <c:v>9875</c:v>
                </c:pt>
                <c:pt idx="29">
                  <c:v>10825</c:v>
                </c:pt>
                <c:pt idx="30">
                  <c:v>10414</c:v>
                </c:pt>
                <c:pt idx="31">
                  <c:v>8564</c:v>
                </c:pt>
                <c:pt idx="32">
                  <c:v>7614</c:v>
                </c:pt>
                <c:pt idx="33">
                  <c:v>6664</c:v>
                </c:pt>
                <c:pt idx="34">
                  <c:v>5714</c:v>
                </c:pt>
                <c:pt idx="35">
                  <c:v>5714</c:v>
                </c:pt>
                <c:pt idx="36">
                  <c:v>4789</c:v>
                </c:pt>
                <c:pt idx="37">
                  <c:v>4789</c:v>
                </c:pt>
                <c:pt idx="38">
                  <c:v>4789</c:v>
                </c:pt>
                <c:pt idx="39">
                  <c:v>3839</c:v>
                </c:pt>
                <c:pt idx="40">
                  <c:v>3839</c:v>
                </c:pt>
                <c:pt idx="41">
                  <c:v>3839</c:v>
                </c:pt>
                <c:pt idx="42">
                  <c:v>3839</c:v>
                </c:pt>
                <c:pt idx="43">
                  <c:v>3839</c:v>
                </c:pt>
                <c:pt idx="44">
                  <c:v>3839</c:v>
                </c:pt>
                <c:pt idx="45">
                  <c:v>3839</c:v>
                </c:pt>
                <c:pt idx="46">
                  <c:v>3839</c:v>
                </c:pt>
                <c:pt idx="47">
                  <c:v>2850</c:v>
                </c:pt>
                <c:pt idx="48">
                  <c:v>2850</c:v>
                </c:pt>
                <c:pt idx="49">
                  <c:v>2850</c:v>
                </c:pt>
                <c:pt idx="50">
                  <c:v>1900</c:v>
                </c:pt>
                <c:pt idx="51">
                  <c:v>2720</c:v>
                </c:pt>
                <c:pt idx="52">
                  <c:v>2784</c:v>
                </c:pt>
                <c:pt idx="53">
                  <c:v>4985</c:v>
                </c:pt>
                <c:pt idx="54">
                  <c:v>7036</c:v>
                </c:pt>
                <c:pt idx="55">
                  <c:v>9116</c:v>
                </c:pt>
                <c:pt idx="56">
                  <c:v>8166</c:v>
                </c:pt>
                <c:pt idx="57">
                  <c:v>7216</c:v>
                </c:pt>
                <c:pt idx="58">
                  <c:v>7216</c:v>
                </c:pt>
                <c:pt idx="59">
                  <c:v>7216</c:v>
                </c:pt>
                <c:pt idx="60">
                  <c:v>6266</c:v>
                </c:pt>
                <c:pt idx="61">
                  <c:v>5446</c:v>
                </c:pt>
                <c:pt idx="62">
                  <c:v>5426</c:v>
                </c:pt>
                <c:pt idx="63">
                  <c:v>8820</c:v>
                </c:pt>
                <c:pt idx="64">
                  <c:v>7940</c:v>
                </c:pt>
                <c:pt idx="65">
                  <c:v>7889</c:v>
                </c:pt>
                <c:pt idx="66">
                  <c:v>10273</c:v>
                </c:pt>
                <c:pt idx="67">
                  <c:v>13758</c:v>
                </c:pt>
                <c:pt idx="68">
                  <c:v>13758</c:v>
                </c:pt>
                <c:pt idx="69">
                  <c:v>13758</c:v>
                </c:pt>
                <c:pt idx="70">
                  <c:v>13758</c:v>
                </c:pt>
              </c:numCache>
            </c:numRef>
          </c:val>
          <c:extLst>
            <c:ext xmlns:c16="http://schemas.microsoft.com/office/drawing/2014/chart" uri="{C3380CC4-5D6E-409C-BE32-E72D297353CC}">
              <c16:uniqueId val="{00000007-16EB-480E-98C4-B91E3B66986D}"/>
            </c:ext>
          </c:extLst>
        </c:ser>
        <c:ser>
          <c:idx val="8"/>
          <c:order val="8"/>
          <c:spPr>
            <a:solidFill>
              <a:srgbClr val="C30C3E"/>
            </a:solidFill>
            <a:ln>
              <a:noFill/>
            </a:ln>
          </c:spPr>
          <c:val>
            <c:numRef>
              <c:f>Sheet1!$A$9:$BS$9</c:f>
              <c:numCache>
                <c:formatCode>General</c:formatCode>
                <c:ptCount val="71"/>
                <c:pt idx="0">
                  <c:v>0</c:v>
                </c:pt>
                <c:pt idx="1">
                  <c:v>0</c:v>
                </c:pt>
                <c:pt idx="2">
                  <c:v>0</c:v>
                </c:pt>
                <c:pt idx="3">
                  <c:v>0</c:v>
                </c:pt>
                <c:pt idx="4">
                  <c:v>0</c:v>
                </c:pt>
                <c:pt idx="5">
                  <c:v>0</c:v>
                </c:pt>
                <c:pt idx="6">
                  <c:v>0</c:v>
                </c:pt>
                <c:pt idx="7">
                  <c:v>0</c:v>
                </c:pt>
                <c:pt idx="8">
                  <c:v>0</c:v>
                </c:pt>
                <c:pt idx="9">
                  <c:v>0</c:v>
                </c:pt>
                <c:pt idx="10">
                  <c:v>0</c:v>
                </c:pt>
                <c:pt idx="11">
                  <c:v>0</c:v>
                </c:pt>
                <c:pt idx="12">
                  <c:v>0</c:v>
                </c:pt>
                <c:pt idx="13">
                  <c:v>1315</c:v>
                </c:pt>
                <c:pt idx="14">
                  <c:v>1315</c:v>
                </c:pt>
                <c:pt idx="15">
                  <c:v>2375</c:v>
                </c:pt>
                <c:pt idx="16">
                  <c:v>2375</c:v>
                </c:pt>
                <c:pt idx="17">
                  <c:v>2375</c:v>
                </c:pt>
                <c:pt idx="18">
                  <c:v>2375</c:v>
                </c:pt>
                <c:pt idx="19">
                  <c:v>2245</c:v>
                </c:pt>
                <c:pt idx="20">
                  <c:v>2245</c:v>
                </c:pt>
                <c:pt idx="21">
                  <c:v>2245</c:v>
                </c:pt>
                <c:pt idx="22">
                  <c:v>2245</c:v>
                </c:pt>
                <c:pt idx="23">
                  <c:v>2245</c:v>
                </c:pt>
                <c:pt idx="24">
                  <c:v>2245</c:v>
                </c:pt>
                <c:pt idx="25">
                  <c:v>4685</c:v>
                </c:pt>
                <c:pt idx="26">
                  <c:v>4685</c:v>
                </c:pt>
                <c:pt idx="27">
                  <c:v>4685</c:v>
                </c:pt>
                <c:pt idx="28">
                  <c:v>4685</c:v>
                </c:pt>
                <c:pt idx="29">
                  <c:v>3610</c:v>
                </c:pt>
                <c:pt idx="30">
                  <c:v>2766</c:v>
                </c:pt>
                <c:pt idx="31">
                  <c:v>2766</c:v>
                </c:pt>
                <c:pt idx="32">
                  <c:v>2766</c:v>
                </c:pt>
                <c:pt idx="33">
                  <c:v>2766</c:v>
                </c:pt>
                <c:pt idx="34">
                  <c:v>931</c:v>
                </c:pt>
                <c:pt idx="35">
                  <c:v>326</c:v>
                </c:pt>
                <c:pt idx="36">
                  <c:v>326</c:v>
                </c:pt>
                <c:pt idx="37">
                  <c:v>0</c:v>
                </c:pt>
                <c:pt idx="38">
                  <c:v>300</c:v>
                </c:pt>
                <c:pt idx="39">
                  <c:v>300</c:v>
                </c:pt>
                <c:pt idx="40">
                  <c:v>300</c:v>
                </c:pt>
                <c:pt idx="41">
                  <c:v>923</c:v>
                </c:pt>
                <c:pt idx="42">
                  <c:v>1546</c:v>
                </c:pt>
                <c:pt idx="43">
                  <c:v>1546</c:v>
                </c:pt>
                <c:pt idx="44">
                  <c:v>1546</c:v>
                </c:pt>
                <c:pt idx="45">
                  <c:v>1546</c:v>
                </c:pt>
                <c:pt idx="46">
                  <c:v>1246</c:v>
                </c:pt>
                <c:pt idx="47">
                  <c:v>1246</c:v>
                </c:pt>
                <c:pt idx="48">
                  <c:v>623</c:v>
                </c:pt>
                <c:pt idx="49">
                  <c:v>623</c:v>
                </c:pt>
                <c:pt idx="50">
                  <c:v>1307</c:v>
                </c:pt>
                <c:pt idx="51">
                  <c:v>2937</c:v>
                </c:pt>
                <c:pt idx="52">
                  <c:v>4621</c:v>
                </c:pt>
                <c:pt idx="53">
                  <c:v>8712</c:v>
                </c:pt>
                <c:pt idx="54">
                  <c:v>12846</c:v>
                </c:pt>
                <c:pt idx="55">
                  <c:v>17048</c:v>
                </c:pt>
                <c:pt idx="56">
                  <c:v>16046</c:v>
                </c:pt>
                <c:pt idx="57">
                  <c:v>15116</c:v>
                </c:pt>
                <c:pt idx="58">
                  <c:v>14098</c:v>
                </c:pt>
                <c:pt idx="59">
                  <c:v>11976</c:v>
                </c:pt>
                <c:pt idx="60">
                  <c:v>15278</c:v>
                </c:pt>
                <c:pt idx="61">
                  <c:v>11621</c:v>
                </c:pt>
                <c:pt idx="62">
                  <c:v>8286</c:v>
                </c:pt>
                <c:pt idx="63">
                  <c:v>6973</c:v>
                </c:pt>
                <c:pt idx="64">
                  <c:v>8089</c:v>
                </c:pt>
                <c:pt idx="65">
                  <c:v>8731</c:v>
                </c:pt>
                <c:pt idx="66">
                  <c:v>7656</c:v>
                </c:pt>
                <c:pt idx="67">
                  <c:v>7902</c:v>
                </c:pt>
                <c:pt idx="68">
                  <c:v>10413</c:v>
                </c:pt>
                <c:pt idx="69">
                  <c:v>10413</c:v>
                </c:pt>
                <c:pt idx="70">
                  <c:v>10413</c:v>
                </c:pt>
              </c:numCache>
            </c:numRef>
          </c:val>
          <c:extLst>
            <c:ext xmlns:c16="http://schemas.microsoft.com/office/drawing/2014/chart" uri="{C3380CC4-5D6E-409C-BE32-E72D297353CC}">
              <c16:uniqueId val="{00000008-16EB-480E-98C4-B91E3B66986D}"/>
            </c:ext>
          </c:extLst>
        </c:ser>
        <c:ser>
          <c:idx val="9"/>
          <c:order val="9"/>
          <c:spPr>
            <a:solidFill>
              <a:schemeClr val="accent3"/>
            </a:solidFill>
            <a:ln>
              <a:noFill/>
            </a:ln>
          </c:spPr>
          <c:val>
            <c:numRef>
              <c:f>Sheet1!$A$10:$BS$10</c:f>
              <c:numCache>
                <c:formatCode>General</c:formatCode>
                <c:ptCount val="7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986</c:v>
                </c:pt>
                <c:pt idx="35">
                  <c:v>1956</c:v>
                </c:pt>
                <c:pt idx="36">
                  <c:v>1956</c:v>
                </c:pt>
                <c:pt idx="37">
                  <c:v>1956</c:v>
                </c:pt>
                <c:pt idx="38">
                  <c:v>3952</c:v>
                </c:pt>
                <c:pt idx="39">
                  <c:v>3952</c:v>
                </c:pt>
                <c:pt idx="40">
                  <c:v>2966</c:v>
                </c:pt>
                <c:pt idx="41">
                  <c:v>1996</c:v>
                </c:pt>
                <c:pt idx="42">
                  <c:v>3981</c:v>
                </c:pt>
                <c:pt idx="43">
                  <c:v>3981</c:v>
                </c:pt>
                <c:pt idx="44">
                  <c:v>2983</c:v>
                </c:pt>
                <c:pt idx="45">
                  <c:v>3980</c:v>
                </c:pt>
                <c:pt idx="46">
                  <c:v>3980</c:v>
                </c:pt>
                <c:pt idx="47">
                  <c:v>2988</c:v>
                </c:pt>
                <c:pt idx="48">
                  <c:v>1995</c:v>
                </c:pt>
                <c:pt idx="49">
                  <c:v>997</c:v>
                </c:pt>
                <c:pt idx="50">
                  <c:v>997</c:v>
                </c:pt>
                <c:pt idx="51">
                  <c:v>996</c:v>
                </c:pt>
                <c:pt idx="52">
                  <c:v>2989</c:v>
                </c:pt>
                <c:pt idx="53">
                  <c:v>5398</c:v>
                </c:pt>
                <c:pt idx="54">
                  <c:v>6816</c:v>
                </c:pt>
                <c:pt idx="55">
                  <c:v>6816</c:v>
                </c:pt>
                <c:pt idx="56">
                  <c:v>5820</c:v>
                </c:pt>
                <c:pt idx="57">
                  <c:v>8571</c:v>
                </c:pt>
                <c:pt idx="58">
                  <c:v>9255</c:v>
                </c:pt>
                <c:pt idx="59">
                  <c:v>10592</c:v>
                </c:pt>
                <c:pt idx="60">
                  <c:v>11902</c:v>
                </c:pt>
                <c:pt idx="61">
                  <c:v>10909</c:v>
                </c:pt>
                <c:pt idx="62">
                  <c:v>10833</c:v>
                </c:pt>
                <c:pt idx="63">
                  <c:v>12173</c:v>
                </c:pt>
                <c:pt idx="64">
                  <c:v>12173</c:v>
                </c:pt>
                <c:pt idx="65">
                  <c:v>10755</c:v>
                </c:pt>
                <c:pt idx="66">
                  <c:v>9418</c:v>
                </c:pt>
                <c:pt idx="67">
                  <c:v>8081</c:v>
                </c:pt>
                <c:pt idx="68">
                  <c:v>5330</c:v>
                </c:pt>
                <c:pt idx="69">
                  <c:v>3990</c:v>
                </c:pt>
                <c:pt idx="70">
                  <c:v>3990</c:v>
                </c:pt>
              </c:numCache>
            </c:numRef>
          </c:val>
          <c:extLst>
            <c:ext xmlns:c16="http://schemas.microsoft.com/office/drawing/2014/chart" uri="{C3380CC4-5D6E-409C-BE32-E72D297353CC}">
              <c16:uniqueId val="{00000009-16EB-480E-98C4-B91E3B66986D}"/>
            </c:ext>
          </c:extLst>
        </c:ser>
        <c:ser>
          <c:idx val="10"/>
          <c:order val="10"/>
          <c:spPr>
            <a:solidFill>
              <a:schemeClr val="accent5"/>
            </a:solidFill>
            <a:ln>
              <a:noFill/>
            </a:ln>
          </c:spPr>
          <c:val>
            <c:numRef>
              <c:f>Sheet1!$A$11:$BS$11</c:f>
              <c:numCache>
                <c:formatCode>General</c:formatCode>
                <c:ptCount val="7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439</c:v>
                </c:pt>
                <c:pt idx="16">
                  <c:v>439</c:v>
                </c:pt>
                <c:pt idx="17">
                  <c:v>587</c:v>
                </c:pt>
                <c:pt idx="18">
                  <c:v>1347</c:v>
                </c:pt>
                <c:pt idx="19">
                  <c:v>908</c:v>
                </c:pt>
                <c:pt idx="20">
                  <c:v>908</c:v>
                </c:pt>
                <c:pt idx="21">
                  <c:v>908</c:v>
                </c:pt>
                <c:pt idx="22">
                  <c:v>908</c:v>
                </c:pt>
                <c:pt idx="23">
                  <c:v>908</c:v>
                </c:pt>
                <c:pt idx="24">
                  <c:v>1067</c:v>
                </c:pt>
                <c:pt idx="25">
                  <c:v>1067</c:v>
                </c:pt>
                <c:pt idx="26">
                  <c:v>2134</c:v>
                </c:pt>
                <c:pt idx="27">
                  <c:v>2134</c:v>
                </c:pt>
                <c:pt idx="28">
                  <c:v>2134</c:v>
                </c:pt>
                <c:pt idx="29">
                  <c:v>1067</c:v>
                </c:pt>
                <c:pt idx="30">
                  <c:v>2923</c:v>
                </c:pt>
                <c:pt idx="31">
                  <c:v>2923</c:v>
                </c:pt>
                <c:pt idx="32">
                  <c:v>1856</c:v>
                </c:pt>
                <c:pt idx="33">
                  <c:v>1856</c:v>
                </c:pt>
                <c:pt idx="34">
                  <c:v>1572</c:v>
                </c:pt>
                <c:pt idx="35">
                  <c:v>1572</c:v>
                </c:pt>
                <c:pt idx="36">
                  <c:v>1572</c:v>
                </c:pt>
                <c:pt idx="37">
                  <c:v>1572</c:v>
                </c:pt>
                <c:pt idx="38">
                  <c:v>2887</c:v>
                </c:pt>
                <c:pt idx="39">
                  <c:v>1315</c:v>
                </c:pt>
                <c:pt idx="40">
                  <c:v>1315</c:v>
                </c:pt>
                <c:pt idx="41">
                  <c:v>1315</c:v>
                </c:pt>
                <c:pt idx="42">
                  <c:v>0</c:v>
                </c:pt>
                <c:pt idx="43">
                  <c:v>0</c:v>
                </c:pt>
                <c:pt idx="44">
                  <c:v>0</c:v>
                </c:pt>
                <c:pt idx="45">
                  <c:v>0</c:v>
                </c:pt>
                <c:pt idx="46">
                  <c:v>1108</c:v>
                </c:pt>
                <c:pt idx="47">
                  <c:v>1108</c:v>
                </c:pt>
                <c:pt idx="48">
                  <c:v>1108</c:v>
                </c:pt>
                <c:pt idx="49">
                  <c:v>1108</c:v>
                </c:pt>
                <c:pt idx="50">
                  <c:v>1108</c:v>
                </c:pt>
                <c:pt idx="51">
                  <c:v>1325</c:v>
                </c:pt>
                <c:pt idx="52">
                  <c:v>1325</c:v>
                </c:pt>
                <c:pt idx="53">
                  <c:v>1325</c:v>
                </c:pt>
                <c:pt idx="54">
                  <c:v>1325</c:v>
                </c:pt>
                <c:pt idx="55">
                  <c:v>2653</c:v>
                </c:pt>
                <c:pt idx="56">
                  <c:v>2653</c:v>
                </c:pt>
                <c:pt idx="57">
                  <c:v>2653</c:v>
                </c:pt>
                <c:pt idx="58">
                  <c:v>2653</c:v>
                </c:pt>
                <c:pt idx="59">
                  <c:v>2653</c:v>
                </c:pt>
                <c:pt idx="60">
                  <c:v>2653</c:v>
                </c:pt>
                <c:pt idx="61">
                  <c:v>2653</c:v>
                </c:pt>
                <c:pt idx="62">
                  <c:v>2653</c:v>
                </c:pt>
                <c:pt idx="63">
                  <c:v>2653</c:v>
                </c:pt>
                <c:pt idx="64">
                  <c:v>2653</c:v>
                </c:pt>
                <c:pt idx="65">
                  <c:v>2653</c:v>
                </c:pt>
                <c:pt idx="66">
                  <c:v>2653</c:v>
                </c:pt>
                <c:pt idx="67">
                  <c:v>2653</c:v>
                </c:pt>
                <c:pt idx="68">
                  <c:v>2653</c:v>
                </c:pt>
                <c:pt idx="69">
                  <c:v>2653</c:v>
                </c:pt>
                <c:pt idx="70">
                  <c:v>2653</c:v>
                </c:pt>
              </c:numCache>
            </c:numRef>
          </c:val>
          <c:extLst>
            <c:ext xmlns:c16="http://schemas.microsoft.com/office/drawing/2014/chart" uri="{C3380CC4-5D6E-409C-BE32-E72D297353CC}">
              <c16:uniqueId val="{0000000A-16EB-480E-98C4-B91E3B66986D}"/>
            </c:ext>
          </c:extLst>
        </c:ser>
        <c:ser>
          <c:idx val="11"/>
          <c:order val="11"/>
          <c:spPr>
            <a:solidFill>
              <a:srgbClr val="D6D7D9"/>
            </a:solidFill>
            <a:ln>
              <a:noFill/>
            </a:ln>
          </c:spPr>
          <c:val>
            <c:numRef>
              <c:f>Sheet1!$A$12:$BS$12</c:f>
              <c:numCache>
                <c:formatCode>General</c:formatCode>
                <c:ptCount val="71"/>
                <c:pt idx="0">
                  <c:v>438</c:v>
                </c:pt>
                <c:pt idx="1">
                  <c:v>796</c:v>
                </c:pt>
                <c:pt idx="2">
                  <c:v>1484</c:v>
                </c:pt>
                <c:pt idx="3">
                  <c:v>1583</c:v>
                </c:pt>
                <c:pt idx="4">
                  <c:v>2185</c:v>
                </c:pt>
                <c:pt idx="5">
                  <c:v>2032</c:v>
                </c:pt>
                <c:pt idx="6">
                  <c:v>2997</c:v>
                </c:pt>
                <c:pt idx="7">
                  <c:v>3259</c:v>
                </c:pt>
                <c:pt idx="8">
                  <c:v>4089</c:v>
                </c:pt>
                <c:pt idx="9">
                  <c:v>4544</c:v>
                </c:pt>
                <c:pt idx="10">
                  <c:v>5113</c:v>
                </c:pt>
                <c:pt idx="11">
                  <c:v>4163</c:v>
                </c:pt>
                <c:pt idx="12">
                  <c:v>5755</c:v>
                </c:pt>
                <c:pt idx="13">
                  <c:v>8709</c:v>
                </c:pt>
                <c:pt idx="14">
                  <c:v>10991</c:v>
                </c:pt>
                <c:pt idx="15">
                  <c:v>15643</c:v>
                </c:pt>
                <c:pt idx="16">
                  <c:v>18920</c:v>
                </c:pt>
                <c:pt idx="17">
                  <c:v>21734</c:v>
                </c:pt>
                <c:pt idx="18">
                  <c:v>24300</c:v>
                </c:pt>
                <c:pt idx="19">
                  <c:v>23926</c:v>
                </c:pt>
                <c:pt idx="20">
                  <c:v>19638</c:v>
                </c:pt>
                <c:pt idx="21">
                  <c:v>21266</c:v>
                </c:pt>
                <c:pt idx="22">
                  <c:v>20511</c:v>
                </c:pt>
                <c:pt idx="23">
                  <c:v>18398</c:v>
                </c:pt>
                <c:pt idx="24">
                  <c:v>18091</c:v>
                </c:pt>
                <c:pt idx="25">
                  <c:v>22981</c:v>
                </c:pt>
                <c:pt idx="26">
                  <c:v>25925</c:v>
                </c:pt>
                <c:pt idx="27">
                  <c:v>26080</c:v>
                </c:pt>
                <c:pt idx="28">
                  <c:v>26249</c:v>
                </c:pt>
                <c:pt idx="29">
                  <c:v>24382</c:v>
                </c:pt>
                <c:pt idx="30">
                  <c:v>24495</c:v>
                </c:pt>
                <c:pt idx="31">
                  <c:v>19726</c:v>
                </c:pt>
                <c:pt idx="32">
                  <c:v>14947</c:v>
                </c:pt>
                <c:pt idx="33">
                  <c:v>13961</c:v>
                </c:pt>
                <c:pt idx="34">
                  <c:v>15974</c:v>
                </c:pt>
                <c:pt idx="35">
                  <c:v>14714</c:v>
                </c:pt>
                <c:pt idx="36">
                  <c:v>13893</c:v>
                </c:pt>
                <c:pt idx="37">
                  <c:v>14205</c:v>
                </c:pt>
                <c:pt idx="38">
                  <c:v>11607</c:v>
                </c:pt>
                <c:pt idx="39">
                  <c:v>9388</c:v>
                </c:pt>
                <c:pt idx="40">
                  <c:v>7746</c:v>
                </c:pt>
                <c:pt idx="41">
                  <c:v>5150</c:v>
                </c:pt>
                <c:pt idx="42">
                  <c:v>2708</c:v>
                </c:pt>
                <c:pt idx="43">
                  <c:v>3504</c:v>
                </c:pt>
                <c:pt idx="44">
                  <c:v>4504</c:v>
                </c:pt>
                <c:pt idx="45">
                  <c:v>8674</c:v>
                </c:pt>
                <c:pt idx="46">
                  <c:v>8068</c:v>
                </c:pt>
                <c:pt idx="47">
                  <c:v>7878</c:v>
                </c:pt>
                <c:pt idx="48">
                  <c:v>8080</c:v>
                </c:pt>
                <c:pt idx="49">
                  <c:v>9416</c:v>
                </c:pt>
                <c:pt idx="50">
                  <c:v>6191</c:v>
                </c:pt>
                <c:pt idx="51">
                  <c:v>4634</c:v>
                </c:pt>
                <c:pt idx="52">
                  <c:v>3144</c:v>
                </c:pt>
                <c:pt idx="53">
                  <c:v>3960</c:v>
                </c:pt>
                <c:pt idx="54">
                  <c:v>4960</c:v>
                </c:pt>
                <c:pt idx="55">
                  <c:v>8188</c:v>
                </c:pt>
                <c:pt idx="56">
                  <c:v>9246</c:v>
                </c:pt>
                <c:pt idx="57">
                  <c:v>11254</c:v>
                </c:pt>
                <c:pt idx="58">
                  <c:v>14314</c:v>
                </c:pt>
                <c:pt idx="59">
                  <c:v>13314</c:v>
                </c:pt>
                <c:pt idx="60">
                  <c:v>14356</c:v>
                </c:pt>
                <c:pt idx="61">
                  <c:v>13398</c:v>
                </c:pt>
                <c:pt idx="62">
                  <c:v>12380</c:v>
                </c:pt>
                <c:pt idx="63">
                  <c:v>10320</c:v>
                </c:pt>
                <c:pt idx="64">
                  <c:v>9386</c:v>
                </c:pt>
                <c:pt idx="65">
                  <c:v>11745</c:v>
                </c:pt>
                <c:pt idx="66">
                  <c:v>14202</c:v>
                </c:pt>
                <c:pt idx="67">
                  <c:v>13478</c:v>
                </c:pt>
                <c:pt idx="68">
                  <c:v>13478</c:v>
                </c:pt>
                <c:pt idx="69">
                  <c:v>12478</c:v>
                </c:pt>
                <c:pt idx="70">
                  <c:v>12478</c:v>
                </c:pt>
              </c:numCache>
            </c:numRef>
          </c:val>
          <c:extLst>
            <c:ext xmlns:c16="http://schemas.microsoft.com/office/drawing/2014/chart" uri="{C3380CC4-5D6E-409C-BE32-E72D297353CC}">
              <c16:uniqueId val="{0000000B-16EB-480E-98C4-B91E3B66986D}"/>
            </c:ext>
          </c:extLst>
        </c:ser>
        <c:dLbls>
          <c:showLegendKey val="0"/>
          <c:showVal val="0"/>
          <c:showCatName val="0"/>
          <c:showSerName val="0"/>
          <c:showPercent val="0"/>
          <c:showBubbleSize val="0"/>
        </c:dLbls>
        <c:axId val="1047607903"/>
        <c:axId val="1"/>
      </c:areaChart>
      <c:catAx>
        <c:axId val="10476079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1047607903"/>
        <c:crosses val="min"/>
        <c:crossBetween val="midCat"/>
        <c:majorUnit val="50000"/>
      </c:valAx>
    </c:plotArea>
    <c:plotVisOnly val="0"/>
    <c:dispBlanksAs val="zero"/>
    <c:showDLblsOverMax val="1"/>
  </c:chart>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51891315929675E-2"/>
          <c:y val="4.5614035087719301E-2"/>
          <c:w val="0.97229621736814065"/>
          <c:h val="0.90877192982456145"/>
        </c:manualLayout>
      </c:layout>
      <c:barChart>
        <c:barDir val="col"/>
        <c:grouping val="stacked"/>
        <c:varyColors val="0"/>
        <c:ser>
          <c:idx val="0"/>
          <c:order val="0"/>
          <c:spPr>
            <a:solidFill>
              <a:srgbClr val="007770"/>
            </a:solidFill>
            <a:ln>
              <a:noFill/>
            </a:ln>
          </c:spPr>
          <c:invertIfNegative val="0"/>
          <c:val>
            <c:numRef>
              <c:f>Sheet1!$A$1:$K$1</c:f>
              <c:numCache>
                <c:formatCode>General</c:formatCode>
                <c:ptCount val="11"/>
                <c:pt idx="0">
                  <c:v>22451</c:v>
                </c:pt>
                <c:pt idx="1">
                  <c:v>23127</c:v>
                </c:pt>
                <c:pt idx="2">
                  <c:v>23607</c:v>
                </c:pt>
                <c:pt idx="3">
                  <c:v>24689</c:v>
                </c:pt>
                <c:pt idx="4">
                  <c:v>23321</c:v>
                </c:pt>
                <c:pt idx="5">
                  <c:v>21705</c:v>
                </c:pt>
                <c:pt idx="6">
                  <c:v>22808</c:v>
                </c:pt>
                <c:pt idx="7">
                  <c:v>19477</c:v>
                </c:pt>
                <c:pt idx="8">
                  <c:v>21819</c:v>
                </c:pt>
                <c:pt idx="9">
                  <c:v>21227</c:v>
                </c:pt>
                <c:pt idx="10">
                  <c:v>21100</c:v>
                </c:pt>
              </c:numCache>
            </c:numRef>
          </c:val>
          <c:extLst>
            <c:ext xmlns:c16="http://schemas.microsoft.com/office/drawing/2014/chart" uri="{C3380CC4-5D6E-409C-BE32-E72D297353CC}">
              <c16:uniqueId val="{00000000-86C3-42BB-9279-74BECFAA8234}"/>
            </c:ext>
          </c:extLst>
        </c:ser>
        <c:ser>
          <c:idx val="1"/>
          <c:order val="1"/>
          <c:spPr>
            <a:solidFill>
              <a:srgbClr val="364D6E"/>
            </a:solidFill>
            <a:ln>
              <a:noFill/>
            </a:ln>
          </c:spPr>
          <c:invertIfNegative val="0"/>
          <c:val>
            <c:numRef>
              <c:f>Sheet1!$A$2:$K$2</c:f>
              <c:numCache>
                <c:formatCode>General</c:formatCode>
                <c:ptCount val="11"/>
                <c:pt idx="0">
                  <c:v>9331</c:v>
                </c:pt>
                <c:pt idx="1">
                  <c:v>9124</c:v>
                </c:pt>
                <c:pt idx="2">
                  <c:v>13325</c:v>
                </c:pt>
                <c:pt idx="3">
                  <c:v>14039</c:v>
                </c:pt>
                <c:pt idx="4">
                  <c:v>13116</c:v>
                </c:pt>
                <c:pt idx="5">
                  <c:v>7001</c:v>
                </c:pt>
                <c:pt idx="6">
                  <c:v>6938</c:v>
                </c:pt>
                <c:pt idx="7">
                  <c:v>3885</c:v>
                </c:pt>
                <c:pt idx="8">
                  <c:v>4693</c:v>
                </c:pt>
                <c:pt idx="9">
                  <c:v>7351</c:v>
                </c:pt>
                <c:pt idx="10">
                  <c:v>11700</c:v>
                </c:pt>
              </c:numCache>
            </c:numRef>
          </c:val>
          <c:extLst>
            <c:ext xmlns:c16="http://schemas.microsoft.com/office/drawing/2014/chart" uri="{C3380CC4-5D6E-409C-BE32-E72D297353CC}">
              <c16:uniqueId val="{00000001-86C3-42BB-9279-74BECFAA8234}"/>
            </c:ext>
          </c:extLst>
        </c:ser>
        <c:ser>
          <c:idx val="2"/>
          <c:order val="2"/>
          <c:spPr>
            <a:solidFill>
              <a:schemeClr val="accent5"/>
            </a:solidFill>
            <a:ln>
              <a:noFill/>
            </a:ln>
          </c:spPr>
          <c:invertIfNegative val="0"/>
          <c:val>
            <c:numRef>
              <c:f>Sheet1!$A$3:$K$3</c:f>
              <c:numCache>
                <c:formatCode>General</c:formatCode>
                <c:ptCount val="11"/>
                <c:pt idx="0">
                  <c:v>4323</c:v>
                </c:pt>
                <c:pt idx="1">
                  <c:v>3255</c:v>
                </c:pt>
                <c:pt idx="2">
                  <c:v>2993</c:v>
                </c:pt>
                <c:pt idx="3">
                  <c:v>3654</c:v>
                </c:pt>
                <c:pt idx="4">
                  <c:v>4224</c:v>
                </c:pt>
                <c:pt idx="5">
                  <c:v>5525</c:v>
                </c:pt>
                <c:pt idx="6">
                  <c:v>5476</c:v>
                </c:pt>
                <c:pt idx="7">
                  <c:v>5413</c:v>
                </c:pt>
                <c:pt idx="8">
                  <c:v>5753</c:v>
                </c:pt>
                <c:pt idx="9">
                  <c:v>5613</c:v>
                </c:pt>
                <c:pt idx="10">
                  <c:v>7000</c:v>
                </c:pt>
              </c:numCache>
            </c:numRef>
          </c:val>
          <c:extLst>
            <c:ext xmlns:c16="http://schemas.microsoft.com/office/drawing/2014/chart" uri="{C3380CC4-5D6E-409C-BE32-E72D297353CC}">
              <c16:uniqueId val="{00000002-86C3-42BB-9279-74BECFAA8234}"/>
            </c:ext>
          </c:extLst>
        </c:ser>
        <c:ser>
          <c:idx val="3"/>
          <c:order val="3"/>
          <c:spPr>
            <a:solidFill>
              <a:srgbClr val="9DB1CF"/>
            </a:solidFill>
            <a:ln>
              <a:noFill/>
            </a:ln>
          </c:spPr>
          <c:invertIfNegative val="0"/>
          <c:val>
            <c:numRef>
              <c:f>Sheet1!$A$4:$K$4</c:f>
              <c:numCache>
                <c:formatCode>General</c:formatCode>
                <c:ptCount val="11"/>
                <c:pt idx="0">
                  <c:v>6350</c:v>
                </c:pt>
                <c:pt idx="1">
                  <c:v>5001</c:v>
                </c:pt>
                <c:pt idx="2">
                  <c:v>5654</c:v>
                </c:pt>
                <c:pt idx="3">
                  <c:v>6315</c:v>
                </c:pt>
                <c:pt idx="4">
                  <c:v>5882</c:v>
                </c:pt>
                <c:pt idx="5">
                  <c:v>6517</c:v>
                </c:pt>
                <c:pt idx="6">
                  <c:v>6613</c:v>
                </c:pt>
                <c:pt idx="7">
                  <c:v>6203</c:v>
                </c:pt>
                <c:pt idx="8">
                  <c:v>4192</c:v>
                </c:pt>
                <c:pt idx="9">
                  <c:v>4553</c:v>
                </c:pt>
                <c:pt idx="10">
                  <c:v>5500</c:v>
                </c:pt>
              </c:numCache>
            </c:numRef>
          </c:val>
          <c:extLst>
            <c:ext xmlns:c16="http://schemas.microsoft.com/office/drawing/2014/chart" uri="{C3380CC4-5D6E-409C-BE32-E72D297353CC}">
              <c16:uniqueId val="{00000003-86C3-42BB-9279-74BECFAA8234}"/>
            </c:ext>
          </c:extLst>
        </c:ser>
        <c:ser>
          <c:idx val="4"/>
          <c:order val="4"/>
          <c:spPr>
            <a:solidFill>
              <a:schemeClr val="accent6"/>
            </a:solidFill>
            <a:ln>
              <a:noFill/>
            </a:ln>
          </c:spPr>
          <c:invertIfNegative val="0"/>
          <c:val>
            <c:numRef>
              <c:f>Sheet1!$A$5:$K$5</c:f>
              <c:numCache>
                <c:formatCode>General</c:formatCode>
                <c:ptCount val="11"/>
                <c:pt idx="0">
                  <c:v>3135</c:v>
                </c:pt>
                <c:pt idx="1">
                  <c:v>2990</c:v>
                </c:pt>
                <c:pt idx="2">
                  <c:v>3055</c:v>
                </c:pt>
                <c:pt idx="3">
                  <c:v>3004</c:v>
                </c:pt>
                <c:pt idx="4">
                  <c:v>2917</c:v>
                </c:pt>
                <c:pt idx="5">
                  <c:v>2904</c:v>
                </c:pt>
                <c:pt idx="6">
                  <c:v>2911</c:v>
                </c:pt>
                <c:pt idx="7">
                  <c:v>2846</c:v>
                </c:pt>
                <c:pt idx="8">
                  <c:v>2635</c:v>
                </c:pt>
                <c:pt idx="9">
                  <c:v>2508</c:v>
                </c:pt>
                <c:pt idx="10">
                  <c:v>3700</c:v>
                </c:pt>
              </c:numCache>
            </c:numRef>
          </c:val>
          <c:extLst>
            <c:ext xmlns:c16="http://schemas.microsoft.com/office/drawing/2014/chart" uri="{C3380CC4-5D6E-409C-BE32-E72D297353CC}">
              <c16:uniqueId val="{00000004-86C3-42BB-9279-74BECFAA8234}"/>
            </c:ext>
          </c:extLst>
        </c:ser>
        <c:ser>
          <c:idx val="5"/>
          <c:order val="5"/>
          <c:spPr>
            <a:solidFill>
              <a:srgbClr val="C0C0C0"/>
            </a:solidFill>
            <a:ln>
              <a:noFill/>
            </a:ln>
          </c:spPr>
          <c:invertIfNegative val="0"/>
          <c:val>
            <c:numRef>
              <c:f>Sheet1!$A$6:$K$6</c:f>
              <c:numCache>
                <c:formatCode>General</c:formatCode>
                <c:ptCount val="11"/>
                <c:pt idx="0">
                  <c:v>13741</c:v>
                </c:pt>
                <c:pt idx="1">
                  <c:v>12544</c:v>
                </c:pt>
                <c:pt idx="2">
                  <c:v>11670</c:v>
                </c:pt>
                <c:pt idx="3">
                  <c:v>11506</c:v>
                </c:pt>
                <c:pt idx="4">
                  <c:v>11054</c:v>
                </c:pt>
                <c:pt idx="5">
                  <c:v>10502</c:v>
                </c:pt>
                <c:pt idx="6">
                  <c:v>9996</c:v>
                </c:pt>
                <c:pt idx="7">
                  <c:v>9907</c:v>
                </c:pt>
                <c:pt idx="8">
                  <c:v>8716</c:v>
                </c:pt>
                <c:pt idx="9">
                  <c:v>8103</c:v>
                </c:pt>
                <c:pt idx="10">
                  <c:v>6400</c:v>
                </c:pt>
              </c:numCache>
            </c:numRef>
          </c:val>
          <c:extLst>
            <c:ext xmlns:c16="http://schemas.microsoft.com/office/drawing/2014/chart" uri="{C3380CC4-5D6E-409C-BE32-E72D297353CC}">
              <c16:uniqueId val="{00000005-86C3-42BB-9279-74BECFAA8234}"/>
            </c:ext>
          </c:extLst>
        </c:ser>
        <c:dLbls>
          <c:showLegendKey val="0"/>
          <c:showVal val="0"/>
          <c:showCatName val="0"/>
          <c:showSerName val="0"/>
          <c:showPercent val="0"/>
          <c:showBubbleSize val="0"/>
        </c:dLbls>
        <c:gapWidth val="80"/>
        <c:overlap val="100"/>
        <c:axId val="1369566976"/>
        <c:axId val="1"/>
      </c:barChart>
      <c:catAx>
        <c:axId val="13695669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3207"/>
          <c:min val="0"/>
        </c:scaling>
        <c:delete val="1"/>
        <c:axPos val="l"/>
        <c:numFmt formatCode="General" sourceLinked="1"/>
        <c:majorTickMark val="out"/>
        <c:minorTickMark val="none"/>
        <c:tickLblPos val="nextTo"/>
        <c:crossAx val="1369566976"/>
        <c:crosses val="min"/>
        <c:crossBetween val="between"/>
      </c:valAx>
    </c:plotArea>
    <c:plotVisOnly val="0"/>
    <c:dispBlanksAs val="gap"/>
    <c:showDLblsOverMax val="1"/>
  </c:chart>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51891315929675E-2"/>
          <c:y val="4.5614035087719301E-2"/>
          <c:w val="0.97229621736814065"/>
          <c:h val="0.90877192982456145"/>
        </c:manualLayout>
      </c:layout>
      <c:barChart>
        <c:barDir val="col"/>
        <c:grouping val="stacked"/>
        <c:varyColors val="0"/>
        <c:ser>
          <c:idx val="0"/>
          <c:order val="0"/>
          <c:spPr>
            <a:solidFill>
              <a:srgbClr val="9DB1CF"/>
            </a:solidFill>
            <a:ln>
              <a:noFill/>
            </a:ln>
          </c:spPr>
          <c:invertIfNegative val="0"/>
          <c:val>
            <c:numRef>
              <c:f>Sheet1!$A$1:$K$1</c:f>
              <c:numCache>
                <c:formatCode>General</c:formatCode>
                <c:ptCount val="11"/>
                <c:pt idx="0">
                  <c:v>19.62</c:v>
                </c:pt>
                <c:pt idx="1">
                  <c:v>18.82</c:v>
                </c:pt>
                <c:pt idx="2">
                  <c:v>18.690000000000001</c:v>
                </c:pt>
                <c:pt idx="3">
                  <c:v>18.16</c:v>
                </c:pt>
                <c:pt idx="4">
                  <c:v>19</c:v>
                </c:pt>
                <c:pt idx="5">
                  <c:v>19.16</c:v>
                </c:pt>
                <c:pt idx="6">
                  <c:v>18.3</c:v>
                </c:pt>
                <c:pt idx="7">
                  <c:v>17.945</c:v>
                </c:pt>
                <c:pt idx="8">
                  <c:v>17.59</c:v>
                </c:pt>
                <c:pt idx="9">
                  <c:v>18.05</c:v>
                </c:pt>
                <c:pt idx="10">
                  <c:v>18.14</c:v>
                </c:pt>
              </c:numCache>
            </c:numRef>
          </c:val>
          <c:extLst>
            <c:ext xmlns:c16="http://schemas.microsoft.com/office/drawing/2014/chart" uri="{C3380CC4-5D6E-409C-BE32-E72D297353CC}">
              <c16:uniqueId val="{00000000-B77F-4079-801E-50CBE5095BFB}"/>
            </c:ext>
          </c:extLst>
        </c:ser>
        <c:ser>
          <c:idx val="1"/>
          <c:order val="1"/>
          <c:spPr>
            <a:solidFill>
              <a:srgbClr val="004FDD"/>
            </a:solidFill>
            <a:ln>
              <a:noFill/>
            </a:ln>
          </c:spPr>
          <c:invertIfNegative val="0"/>
          <c:val>
            <c:numRef>
              <c:f>Sheet1!$A$2:$K$2</c:f>
              <c:numCache>
                <c:formatCode>General</c:formatCode>
                <c:ptCount val="11"/>
                <c:pt idx="0">
                  <c:v>23.250000000000004</c:v>
                </c:pt>
                <c:pt idx="1">
                  <c:v>22.770000000000003</c:v>
                </c:pt>
                <c:pt idx="2">
                  <c:v>22.44</c:v>
                </c:pt>
                <c:pt idx="3">
                  <c:v>22.87</c:v>
                </c:pt>
                <c:pt idx="4">
                  <c:v>21.519999999999996</c:v>
                </c:pt>
                <c:pt idx="5">
                  <c:v>21.100000000000005</c:v>
                </c:pt>
                <c:pt idx="6">
                  <c:v>19.510000000000002</c:v>
                </c:pt>
                <c:pt idx="7">
                  <c:v>18.624999999999993</c:v>
                </c:pt>
                <c:pt idx="8">
                  <c:v>17.739999999999998</c:v>
                </c:pt>
                <c:pt idx="9">
                  <c:v>17.669999999999998</c:v>
                </c:pt>
                <c:pt idx="10">
                  <c:v>15.899999999999999</c:v>
                </c:pt>
              </c:numCache>
            </c:numRef>
          </c:val>
          <c:extLst>
            <c:ext xmlns:c16="http://schemas.microsoft.com/office/drawing/2014/chart" uri="{C3380CC4-5D6E-409C-BE32-E72D297353CC}">
              <c16:uniqueId val="{00000001-B77F-4079-801E-50CBE5095BFB}"/>
            </c:ext>
          </c:extLst>
        </c:ser>
        <c:ser>
          <c:idx val="2"/>
          <c:order val="2"/>
          <c:spPr>
            <a:solidFill>
              <a:srgbClr val="C30C3E"/>
            </a:solidFill>
            <a:ln>
              <a:noFill/>
            </a:ln>
          </c:spPr>
          <c:invertIfNegative val="0"/>
          <c:val>
            <c:numRef>
              <c:f>Sheet1!$A$3:$K$3</c:f>
              <c:numCache>
                <c:formatCode>General</c:formatCode>
                <c:ptCount val="11"/>
                <c:pt idx="0">
                  <c:v>6.7100000000000009</c:v>
                </c:pt>
                <c:pt idx="1">
                  <c:v>6.2999999999999972</c:v>
                </c:pt>
                <c:pt idx="2">
                  <c:v>8.1600000000000037</c:v>
                </c:pt>
                <c:pt idx="3">
                  <c:v>5.3400000000000034</c:v>
                </c:pt>
                <c:pt idx="4">
                  <c:v>8.2899999999999991</c:v>
                </c:pt>
                <c:pt idx="5">
                  <c:v>8.7100000000000009</c:v>
                </c:pt>
                <c:pt idx="6">
                  <c:v>10.810000000000002</c:v>
                </c:pt>
                <c:pt idx="7">
                  <c:v>10.185000000000002</c:v>
                </c:pt>
                <c:pt idx="8">
                  <c:v>9.5600000000000023</c:v>
                </c:pt>
                <c:pt idx="9">
                  <c:v>11.299999999999997</c:v>
                </c:pt>
                <c:pt idx="10">
                  <c:v>13.130000000000003</c:v>
                </c:pt>
              </c:numCache>
            </c:numRef>
          </c:val>
          <c:extLst>
            <c:ext xmlns:c16="http://schemas.microsoft.com/office/drawing/2014/chart" uri="{C3380CC4-5D6E-409C-BE32-E72D297353CC}">
              <c16:uniqueId val="{00000002-B77F-4079-801E-50CBE5095BFB}"/>
            </c:ext>
          </c:extLst>
        </c:ser>
        <c:ser>
          <c:idx val="3"/>
          <c:order val="3"/>
          <c:spPr>
            <a:solidFill>
              <a:schemeClr val="accent6"/>
            </a:solidFill>
            <a:ln>
              <a:noFill/>
            </a:ln>
          </c:spPr>
          <c:invertIfNegative val="0"/>
          <c:val>
            <c:numRef>
              <c:f>Sheet1!$A$4:$K$4</c:f>
              <c:numCache>
                <c:formatCode>General</c:formatCode>
                <c:ptCount val="11"/>
                <c:pt idx="0">
                  <c:v>5.0899999999999963</c:v>
                </c:pt>
                <c:pt idx="1">
                  <c:v>5.4600000000000009</c:v>
                </c:pt>
                <c:pt idx="2">
                  <c:v>4.2100000000000009</c:v>
                </c:pt>
                <c:pt idx="3">
                  <c:v>6.259999999999998</c:v>
                </c:pt>
                <c:pt idx="4">
                  <c:v>5.3800000000000026</c:v>
                </c:pt>
                <c:pt idx="5">
                  <c:v>5.6199999999999974</c:v>
                </c:pt>
                <c:pt idx="6">
                  <c:v>6.230000000000004</c:v>
                </c:pt>
                <c:pt idx="7">
                  <c:v>6.0799999999999983</c:v>
                </c:pt>
                <c:pt idx="8">
                  <c:v>5.93</c:v>
                </c:pt>
                <c:pt idx="9">
                  <c:v>6.2800000000000011</c:v>
                </c:pt>
                <c:pt idx="10">
                  <c:v>5.4399999999999977</c:v>
                </c:pt>
              </c:numCache>
            </c:numRef>
          </c:val>
          <c:extLst>
            <c:ext xmlns:c16="http://schemas.microsoft.com/office/drawing/2014/chart" uri="{C3380CC4-5D6E-409C-BE32-E72D297353CC}">
              <c16:uniqueId val="{00000003-B77F-4079-801E-50CBE5095BFB}"/>
            </c:ext>
          </c:extLst>
        </c:ser>
        <c:ser>
          <c:idx val="4"/>
          <c:order val="4"/>
          <c:spPr>
            <a:solidFill>
              <a:schemeClr val="accent3"/>
            </a:solidFill>
            <a:ln>
              <a:noFill/>
            </a:ln>
          </c:spPr>
          <c:invertIfNegative val="0"/>
          <c:val>
            <c:numRef>
              <c:f>Sheet1!$A$5:$K$5</c:f>
              <c:numCache>
                <c:formatCode>General</c:formatCode>
                <c:ptCount val="11"/>
                <c:pt idx="0">
                  <c:v>4.2199999999999989</c:v>
                </c:pt>
                <c:pt idx="1">
                  <c:v>5.0200000000000031</c:v>
                </c:pt>
                <c:pt idx="2">
                  <c:v>5.0200000000000031</c:v>
                </c:pt>
                <c:pt idx="3">
                  <c:v>5.009999999999998</c:v>
                </c:pt>
                <c:pt idx="4">
                  <c:v>4.730000000000004</c:v>
                </c:pt>
                <c:pt idx="5">
                  <c:v>4.5900000000000034</c:v>
                </c:pt>
                <c:pt idx="6">
                  <c:v>5.1199999999999974</c:v>
                </c:pt>
                <c:pt idx="7">
                  <c:v>4.6950000000000003</c:v>
                </c:pt>
                <c:pt idx="8">
                  <c:v>4.2700000000000031</c:v>
                </c:pt>
                <c:pt idx="9">
                  <c:v>4.1099999999999994</c:v>
                </c:pt>
                <c:pt idx="10">
                  <c:v>4.3100000000000023</c:v>
                </c:pt>
              </c:numCache>
            </c:numRef>
          </c:val>
          <c:extLst>
            <c:ext xmlns:c16="http://schemas.microsoft.com/office/drawing/2014/chart" uri="{C3380CC4-5D6E-409C-BE32-E72D297353CC}">
              <c16:uniqueId val="{00000004-B77F-4079-801E-50CBE5095BFB}"/>
            </c:ext>
          </c:extLst>
        </c:ser>
        <c:ser>
          <c:idx val="5"/>
          <c:order val="5"/>
          <c:spPr>
            <a:solidFill>
              <a:schemeClr val="accent5"/>
            </a:solidFill>
            <a:ln>
              <a:noFill/>
            </a:ln>
          </c:spPr>
          <c:invertIfNegative val="0"/>
          <c:val>
            <c:numRef>
              <c:f>Sheet1!$A$6:$K$6</c:f>
              <c:numCache>
                <c:formatCode>General</c:formatCode>
                <c:ptCount val="11"/>
                <c:pt idx="0">
                  <c:v>0.36999999999999744</c:v>
                </c:pt>
                <c:pt idx="1">
                  <c:v>2.1199999999999974</c:v>
                </c:pt>
                <c:pt idx="2">
                  <c:v>2.5499999999999972</c:v>
                </c:pt>
                <c:pt idx="3">
                  <c:v>0.67999999999999972</c:v>
                </c:pt>
                <c:pt idx="4">
                  <c:v>0.65999999999999659</c:v>
                </c:pt>
                <c:pt idx="5">
                  <c:v>1.3400000000000034</c:v>
                </c:pt>
                <c:pt idx="6">
                  <c:v>2.3399999999999963</c:v>
                </c:pt>
                <c:pt idx="7">
                  <c:v>1.8699999999999974</c:v>
                </c:pt>
                <c:pt idx="8">
                  <c:v>1.3999999999999986</c:v>
                </c:pt>
                <c:pt idx="9">
                  <c:v>1.7899999999999991</c:v>
                </c:pt>
                <c:pt idx="10">
                  <c:v>2.1799999999999997</c:v>
                </c:pt>
              </c:numCache>
            </c:numRef>
          </c:val>
          <c:extLst>
            <c:ext xmlns:c16="http://schemas.microsoft.com/office/drawing/2014/chart" uri="{C3380CC4-5D6E-409C-BE32-E72D297353CC}">
              <c16:uniqueId val="{00000005-B77F-4079-801E-50CBE5095BFB}"/>
            </c:ext>
          </c:extLst>
        </c:ser>
        <c:ser>
          <c:idx val="6"/>
          <c:order val="6"/>
          <c:spPr>
            <a:solidFill>
              <a:srgbClr val="C0C0C0"/>
            </a:solidFill>
            <a:ln>
              <a:noFill/>
            </a:ln>
          </c:spPr>
          <c:invertIfNegative val="0"/>
          <c:val>
            <c:numRef>
              <c:f>Sheet1!$A$7:$K$7</c:f>
              <c:numCache>
                <c:formatCode>General</c:formatCode>
                <c:ptCount val="11"/>
                <c:pt idx="0">
                  <c:v>5.8099999999999952</c:v>
                </c:pt>
                <c:pt idx="1">
                  <c:v>5.4199999999999946</c:v>
                </c:pt>
                <c:pt idx="2">
                  <c:v>5.8099999999999881</c:v>
                </c:pt>
                <c:pt idx="3">
                  <c:v>5.0799999999999983</c:v>
                </c:pt>
                <c:pt idx="4">
                  <c:v>5.4300000000000068</c:v>
                </c:pt>
                <c:pt idx="5">
                  <c:v>6.7199999999999847</c:v>
                </c:pt>
                <c:pt idx="6">
                  <c:v>5.960000000000008</c:v>
                </c:pt>
                <c:pt idx="7">
                  <c:v>5.9849999999999994</c:v>
                </c:pt>
                <c:pt idx="8">
                  <c:v>6.0099999999999909</c:v>
                </c:pt>
                <c:pt idx="9">
                  <c:v>6.4500000000000099</c:v>
                </c:pt>
                <c:pt idx="10">
                  <c:v>8.4199999999999946</c:v>
                </c:pt>
              </c:numCache>
            </c:numRef>
          </c:val>
          <c:extLst>
            <c:ext xmlns:c16="http://schemas.microsoft.com/office/drawing/2014/chart" uri="{C3380CC4-5D6E-409C-BE32-E72D297353CC}">
              <c16:uniqueId val="{00000006-B77F-4079-801E-50CBE5095BFB}"/>
            </c:ext>
          </c:extLst>
        </c:ser>
        <c:dLbls>
          <c:showLegendKey val="0"/>
          <c:showVal val="0"/>
          <c:showCatName val="0"/>
          <c:showSerName val="0"/>
          <c:showPercent val="0"/>
          <c:showBubbleSize val="0"/>
        </c:dLbls>
        <c:gapWidth val="80"/>
        <c:overlap val="100"/>
        <c:axId val="1369575296"/>
        <c:axId val="1"/>
      </c:barChart>
      <c:catAx>
        <c:axId val="1369575296"/>
        <c:scaling>
          <c:orientation val="minMax"/>
        </c:scaling>
        <c:delete val="0"/>
        <c:axPos val="t"/>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axMin"/>
          <c:max val="68.27000000000001"/>
          <c:min val="0"/>
        </c:scaling>
        <c:delete val="1"/>
        <c:axPos val="l"/>
        <c:numFmt formatCode="General" sourceLinked="1"/>
        <c:majorTickMark val="out"/>
        <c:minorTickMark val="none"/>
        <c:tickLblPos val="nextTo"/>
        <c:crossAx val="1369575296"/>
        <c:crosses val="min"/>
        <c:crossBetween val="between"/>
      </c:valAx>
    </c:plotArea>
    <c:plotVisOnly val="0"/>
    <c:dispBlanksAs val="gap"/>
    <c:showDLblsOverMax val="1"/>
  </c:chart>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2331378299120234"/>
          <c:y val="0.22298850574712645"/>
          <c:w val="0.35337243401759533"/>
          <c:h val="0.55402298850574716"/>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B318-433D-8FEA-1FB28EFA5BD8}"/>
              </c:ext>
            </c:extLst>
          </c:dPt>
          <c:dPt>
            <c:idx val="1"/>
            <c:bubble3D val="0"/>
            <c:spPr>
              <a:solidFill>
                <a:srgbClr val="364D6E"/>
              </a:solidFill>
              <a:ln>
                <a:noFill/>
              </a:ln>
            </c:spPr>
            <c:extLst>
              <c:ext xmlns:c16="http://schemas.microsoft.com/office/drawing/2014/chart" uri="{C3380CC4-5D6E-409C-BE32-E72D297353CC}">
                <c16:uniqueId val="{00000001-B318-433D-8FEA-1FB28EFA5BD8}"/>
              </c:ext>
            </c:extLst>
          </c:dPt>
          <c:dPt>
            <c:idx val="2"/>
            <c:bubble3D val="0"/>
            <c:spPr>
              <a:solidFill>
                <a:srgbClr val="004FDD"/>
              </a:solidFill>
              <a:ln>
                <a:noFill/>
              </a:ln>
            </c:spPr>
            <c:extLst>
              <c:ext xmlns:c16="http://schemas.microsoft.com/office/drawing/2014/chart" uri="{C3380CC4-5D6E-409C-BE32-E72D297353CC}">
                <c16:uniqueId val="{00000002-B318-433D-8FEA-1FB28EFA5BD8}"/>
              </c:ext>
            </c:extLst>
          </c:dPt>
          <c:dPt>
            <c:idx val="3"/>
            <c:bubble3D val="0"/>
            <c:spPr>
              <a:solidFill>
                <a:schemeClr val="accent6"/>
              </a:solidFill>
              <a:ln>
                <a:noFill/>
              </a:ln>
            </c:spPr>
            <c:extLst>
              <c:ext xmlns:c16="http://schemas.microsoft.com/office/drawing/2014/chart" uri="{C3380CC4-5D6E-409C-BE32-E72D297353CC}">
                <c16:uniqueId val="{00000003-B318-433D-8FEA-1FB28EFA5BD8}"/>
              </c:ext>
            </c:extLst>
          </c:dPt>
          <c:dPt>
            <c:idx val="4"/>
            <c:bubble3D val="0"/>
            <c:spPr>
              <a:solidFill>
                <a:srgbClr val="FF5E62"/>
              </a:solidFill>
              <a:ln>
                <a:noFill/>
              </a:ln>
            </c:spPr>
            <c:extLst>
              <c:ext xmlns:c16="http://schemas.microsoft.com/office/drawing/2014/chart" uri="{C3380CC4-5D6E-409C-BE32-E72D297353CC}">
                <c16:uniqueId val="{00000004-B318-433D-8FEA-1FB28EFA5BD8}"/>
              </c:ext>
            </c:extLst>
          </c:dPt>
          <c:dPt>
            <c:idx val="5"/>
            <c:bubble3D val="0"/>
            <c:spPr>
              <a:solidFill>
                <a:srgbClr val="C30C3E"/>
              </a:solidFill>
              <a:ln>
                <a:noFill/>
              </a:ln>
            </c:spPr>
            <c:extLst>
              <c:ext xmlns:c16="http://schemas.microsoft.com/office/drawing/2014/chart" uri="{C3380CC4-5D6E-409C-BE32-E72D297353CC}">
                <c16:uniqueId val="{00000005-B318-433D-8FEA-1FB28EFA5BD8}"/>
              </c:ext>
            </c:extLst>
          </c:dPt>
          <c:dPt>
            <c:idx val="6"/>
            <c:bubble3D val="0"/>
            <c:spPr>
              <a:solidFill>
                <a:srgbClr val="D6D7D9"/>
              </a:solidFill>
              <a:ln>
                <a:noFill/>
              </a:ln>
            </c:spPr>
            <c:extLst>
              <c:ext xmlns:c16="http://schemas.microsoft.com/office/drawing/2014/chart" uri="{C3380CC4-5D6E-409C-BE32-E72D297353CC}">
                <c16:uniqueId val="{00000006-B318-433D-8FEA-1FB28EFA5BD8}"/>
              </c:ext>
            </c:extLst>
          </c:dPt>
          <c:dLbls>
            <c:dLbl>
              <c:idx val="0"/>
              <c:layout>
                <c:manualLayout>
                  <c:x val="1.0263929618768328E-2"/>
                  <c:y val="-1.8390804597701149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18-433D-8FEA-1FB28EFA5BD8}"/>
                </c:ext>
              </c:extLst>
            </c:dLbl>
            <c:dLbl>
              <c:idx val="6"/>
              <c:layout>
                <c:manualLayout>
                  <c:x val="-1.1730205278592375E-2"/>
                  <c:y val="-1.4942528735632184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318-433D-8FEA-1FB28EFA5B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0">
                  <c:v>23</c:v>
                </c:pt>
                <c:pt idx="1">
                  <c:v>12</c:v>
                </c:pt>
                <c:pt idx="2">
                  <c:v>11</c:v>
                </c:pt>
                <c:pt idx="3">
                  <c:v>9</c:v>
                </c:pt>
                <c:pt idx="4">
                  <c:v>10</c:v>
                </c:pt>
                <c:pt idx="5">
                  <c:v>7.0000000000000009</c:v>
                </c:pt>
                <c:pt idx="6">
                  <c:v>28.000000000000004</c:v>
                </c:pt>
              </c:numCache>
            </c:numRef>
          </c:val>
          <c:extLst>
            <c:ext xmlns:c16="http://schemas.microsoft.com/office/drawing/2014/chart" uri="{C3380CC4-5D6E-409C-BE32-E72D297353CC}">
              <c16:uniqueId val="{00000007-B318-433D-8FEA-1FB28EFA5BD8}"/>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2331378299120234"/>
          <c:y val="0.22298850574712645"/>
          <c:w val="0.35337243401759533"/>
          <c:h val="0.55402298850574716"/>
        </c:manualLayout>
      </c:layout>
      <c:pieChart>
        <c:varyColors val="0"/>
        <c:ser>
          <c:idx val="0"/>
          <c:order val="0"/>
          <c:dPt>
            <c:idx val="0"/>
            <c:bubble3D val="0"/>
            <c:spPr>
              <a:solidFill>
                <a:srgbClr val="C30C3E"/>
              </a:solidFill>
              <a:ln>
                <a:noFill/>
              </a:ln>
            </c:spPr>
            <c:extLst>
              <c:ext xmlns:c16="http://schemas.microsoft.com/office/drawing/2014/chart" uri="{C3380CC4-5D6E-409C-BE32-E72D297353CC}">
                <c16:uniqueId val="{00000000-A42B-A043-919D-2FE529676EF6}"/>
              </c:ext>
            </c:extLst>
          </c:dPt>
          <c:dPt>
            <c:idx val="1"/>
            <c:bubble3D val="0"/>
            <c:spPr>
              <a:solidFill>
                <a:srgbClr val="004FDD"/>
              </a:solidFill>
              <a:ln>
                <a:noFill/>
              </a:ln>
            </c:spPr>
            <c:extLst>
              <c:ext xmlns:c16="http://schemas.microsoft.com/office/drawing/2014/chart" uri="{C3380CC4-5D6E-409C-BE32-E72D297353CC}">
                <c16:uniqueId val="{00000001-A42B-A043-919D-2FE529676EF6}"/>
              </c:ext>
            </c:extLst>
          </c:dPt>
          <c:dPt>
            <c:idx val="2"/>
            <c:bubble3D val="0"/>
            <c:spPr>
              <a:solidFill>
                <a:schemeClr val="accent6"/>
              </a:solidFill>
              <a:ln>
                <a:noFill/>
              </a:ln>
            </c:spPr>
            <c:extLst>
              <c:ext xmlns:c16="http://schemas.microsoft.com/office/drawing/2014/chart" uri="{C3380CC4-5D6E-409C-BE32-E72D297353CC}">
                <c16:uniqueId val="{00000002-A42B-A043-919D-2FE529676EF6}"/>
              </c:ext>
            </c:extLst>
          </c:dPt>
          <c:dPt>
            <c:idx val="3"/>
            <c:bubble3D val="0"/>
            <c:spPr>
              <a:solidFill>
                <a:schemeClr val="accent4"/>
              </a:solidFill>
              <a:ln>
                <a:noFill/>
              </a:ln>
            </c:spPr>
            <c:extLst>
              <c:ext xmlns:c16="http://schemas.microsoft.com/office/drawing/2014/chart" uri="{C3380CC4-5D6E-409C-BE32-E72D297353CC}">
                <c16:uniqueId val="{00000003-A42B-A043-919D-2FE529676EF6}"/>
              </c:ext>
            </c:extLst>
          </c:dPt>
          <c:dPt>
            <c:idx val="4"/>
            <c:bubble3D val="0"/>
            <c:spPr>
              <a:solidFill>
                <a:srgbClr val="D6D7D9"/>
              </a:solidFill>
              <a:ln>
                <a:noFill/>
              </a:ln>
            </c:spPr>
            <c:extLst>
              <c:ext xmlns:c16="http://schemas.microsoft.com/office/drawing/2014/chart" uri="{C3380CC4-5D6E-409C-BE32-E72D297353CC}">
                <c16:uniqueId val="{00000004-A42B-A043-919D-2FE529676EF6}"/>
              </c:ext>
            </c:extLst>
          </c:dPt>
          <c:dLbls>
            <c:dLbl>
              <c:idx val="2"/>
              <c:layout>
                <c:manualLayout>
                  <c:x val="1.4662756598240469E-3"/>
                  <c:y val="5.4022988505747126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42B-A043-919D-2FE529676EF6}"/>
                </c:ext>
              </c:extLst>
            </c:dLbl>
            <c:dLbl>
              <c:idx val="3"/>
              <c:layout>
                <c:manualLayout>
                  <c:x val="-1.1730205278592375E-2"/>
                  <c:y val="-1.3793103448275862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42B-A043-919D-2FE529676EF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15.898251192368839</c:v>
                </c:pt>
                <c:pt idx="1">
                  <c:v>11.923688394276629</c:v>
                </c:pt>
                <c:pt idx="2">
                  <c:v>43.08426073131956</c:v>
                </c:pt>
                <c:pt idx="3">
                  <c:v>28.45786963434022</c:v>
                </c:pt>
                <c:pt idx="4">
                  <c:v>0.63593004769475492</c:v>
                </c:pt>
              </c:numCache>
            </c:numRef>
          </c:val>
          <c:extLst>
            <c:ext xmlns:c16="http://schemas.microsoft.com/office/drawing/2014/chart" uri="{C3380CC4-5D6E-409C-BE32-E72D297353CC}">
              <c16:uniqueId val="{00000005-A42B-A043-919D-2FE529676EF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2331378299120234"/>
          <c:y val="0.22298850574712645"/>
          <c:w val="0.35337243401759533"/>
          <c:h val="0.55402298850574716"/>
        </c:manualLayout>
      </c:layout>
      <c:pieChart>
        <c:varyColors val="0"/>
        <c:ser>
          <c:idx val="0"/>
          <c:order val="0"/>
          <c:dPt>
            <c:idx val="0"/>
            <c:bubble3D val="0"/>
            <c:spPr>
              <a:solidFill>
                <a:srgbClr val="C30C3E"/>
              </a:solidFill>
              <a:ln>
                <a:noFill/>
              </a:ln>
            </c:spPr>
            <c:extLst>
              <c:ext xmlns:c16="http://schemas.microsoft.com/office/drawing/2014/chart" uri="{C3380CC4-5D6E-409C-BE32-E72D297353CC}">
                <c16:uniqueId val="{00000000-3833-4ABC-ADB4-4F478832C8BC}"/>
              </c:ext>
            </c:extLst>
          </c:dPt>
          <c:dPt>
            <c:idx val="1"/>
            <c:bubble3D val="0"/>
            <c:spPr>
              <a:solidFill>
                <a:srgbClr val="004FDD"/>
              </a:solidFill>
              <a:ln>
                <a:noFill/>
              </a:ln>
            </c:spPr>
            <c:extLst>
              <c:ext xmlns:c16="http://schemas.microsoft.com/office/drawing/2014/chart" uri="{C3380CC4-5D6E-409C-BE32-E72D297353CC}">
                <c16:uniqueId val="{00000001-3833-4ABC-ADB4-4F478832C8BC}"/>
              </c:ext>
            </c:extLst>
          </c:dPt>
          <c:dPt>
            <c:idx val="2"/>
            <c:bubble3D val="0"/>
            <c:spPr>
              <a:solidFill>
                <a:schemeClr val="accent6"/>
              </a:solidFill>
              <a:ln>
                <a:noFill/>
              </a:ln>
            </c:spPr>
            <c:extLst>
              <c:ext xmlns:c16="http://schemas.microsoft.com/office/drawing/2014/chart" uri="{C3380CC4-5D6E-409C-BE32-E72D297353CC}">
                <c16:uniqueId val="{00000002-3833-4ABC-ADB4-4F478832C8BC}"/>
              </c:ext>
            </c:extLst>
          </c:dPt>
          <c:dPt>
            <c:idx val="3"/>
            <c:bubble3D val="0"/>
            <c:spPr>
              <a:solidFill>
                <a:srgbClr val="C3CFE1"/>
              </a:solidFill>
              <a:ln>
                <a:noFill/>
              </a:ln>
            </c:spPr>
            <c:extLst>
              <c:ext xmlns:c16="http://schemas.microsoft.com/office/drawing/2014/chart" uri="{C3380CC4-5D6E-409C-BE32-E72D297353CC}">
                <c16:uniqueId val="{00000003-3833-4ABC-ADB4-4F478832C8BC}"/>
              </c:ext>
            </c:extLst>
          </c:dPt>
          <c:dPt>
            <c:idx val="4"/>
            <c:bubble3D val="0"/>
            <c:spPr>
              <a:solidFill>
                <a:srgbClr val="9DB1CF"/>
              </a:solidFill>
              <a:ln>
                <a:noFill/>
              </a:ln>
            </c:spPr>
            <c:extLst>
              <c:ext xmlns:c16="http://schemas.microsoft.com/office/drawing/2014/chart" uri="{C3380CC4-5D6E-409C-BE32-E72D297353CC}">
                <c16:uniqueId val="{00000004-3833-4ABC-ADB4-4F478832C8BC}"/>
              </c:ext>
            </c:extLst>
          </c:dPt>
          <c:dPt>
            <c:idx val="5"/>
            <c:bubble3D val="0"/>
            <c:spPr>
              <a:solidFill>
                <a:schemeClr val="accent3"/>
              </a:solidFill>
              <a:ln>
                <a:noFill/>
              </a:ln>
            </c:spPr>
            <c:extLst>
              <c:ext xmlns:c16="http://schemas.microsoft.com/office/drawing/2014/chart" uri="{C3380CC4-5D6E-409C-BE32-E72D297353CC}">
                <c16:uniqueId val="{00000005-3833-4ABC-ADB4-4F478832C8BC}"/>
              </c:ext>
            </c:extLst>
          </c:dPt>
          <c:dPt>
            <c:idx val="6"/>
            <c:bubble3D val="0"/>
            <c:spPr>
              <a:solidFill>
                <a:srgbClr val="D6D7D9"/>
              </a:solidFill>
              <a:ln>
                <a:noFill/>
              </a:ln>
            </c:spPr>
            <c:extLst>
              <c:ext xmlns:c16="http://schemas.microsoft.com/office/drawing/2014/chart" uri="{C3380CC4-5D6E-409C-BE32-E72D297353CC}">
                <c16:uniqueId val="{00000006-3833-4ABC-ADB4-4F478832C8BC}"/>
              </c:ext>
            </c:extLst>
          </c:dPt>
          <c:dLbls>
            <c:dLbl>
              <c:idx val="3"/>
              <c:layout>
                <c:manualLayout>
                  <c:x val="-1.0263929618768328E-2"/>
                  <c:y val="2.2988505747126436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833-4ABC-ADB4-4F478832C8B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0">
                  <c:v>9.0462651848022748</c:v>
                </c:pt>
                <c:pt idx="1">
                  <c:v>21.000258464719565</c:v>
                </c:pt>
                <c:pt idx="2">
                  <c:v>17.83406565003877</c:v>
                </c:pt>
                <c:pt idx="3">
                  <c:v>23.352287412768156</c:v>
                </c:pt>
                <c:pt idx="4">
                  <c:v>6.4616179891444814</c:v>
                </c:pt>
                <c:pt idx="5">
                  <c:v>4.5231325924011374</c:v>
                </c:pt>
                <c:pt idx="6">
                  <c:v>17.782372706125614</c:v>
                </c:pt>
              </c:numCache>
            </c:numRef>
          </c:val>
          <c:extLst>
            <c:ext xmlns:c16="http://schemas.microsoft.com/office/drawing/2014/chart" uri="{C3380CC4-5D6E-409C-BE32-E72D297353CC}">
              <c16:uniqueId val="{00000007-3833-4ABC-ADB4-4F478832C8B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372115155841065E-2"/>
          <c:y val="2.2510822510822513E-2"/>
          <c:w val="0.97525576968831784"/>
          <c:h val="0.95497835497835493"/>
        </c:manualLayout>
      </c:layout>
      <c:areaChart>
        <c:grouping val="stacked"/>
        <c:varyColors val="0"/>
        <c:ser>
          <c:idx val="0"/>
          <c:order val="0"/>
          <c:spPr>
            <a:solidFill>
              <a:srgbClr val="D1227D"/>
            </a:solidFill>
            <a:ln>
              <a:noFill/>
            </a:ln>
          </c:spPr>
          <c:val>
            <c:numRef>
              <c:f>Sheet1!$A$1:$X$1</c:f>
              <c:numCache>
                <c:formatCode>General</c:formatCode>
                <c:ptCount val="24"/>
                <c:pt idx="0">
                  <c:v>525063</c:v>
                </c:pt>
                <c:pt idx="1">
                  <c:v>524972</c:v>
                </c:pt>
                <c:pt idx="2">
                  <c:v>524484</c:v>
                </c:pt>
                <c:pt idx="3">
                  <c:v>524603</c:v>
                </c:pt>
                <c:pt idx="4">
                  <c:v>524958</c:v>
                </c:pt>
                <c:pt idx="5">
                  <c:v>525220</c:v>
                </c:pt>
                <c:pt idx="6">
                  <c:v>525745</c:v>
                </c:pt>
                <c:pt idx="7">
                  <c:v>526084</c:v>
                </c:pt>
                <c:pt idx="8">
                  <c:v>526145</c:v>
                </c:pt>
                <c:pt idx="9">
                  <c:v>522737</c:v>
                </c:pt>
                <c:pt idx="10">
                  <c:v>525717</c:v>
                </c:pt>
                <c:pt idx="11">
                  <c:v>522217</c:v>
                </c:pt>
                <c:pt idx="12">
                  <c:v>522027</c:v>
                </c:pt>
                <c:pt idx="13">
                  <c:v>525077</c:v>
                </c:pt>
                <c:pt idx="14">
                  <c:v>524936</c:v>
                </c:pt>
                <c:pt idx="15">
                  <c:v>524810</c:v>
                </c:pt>
                <c:pt idx="16">
                  <c:v>521511</c:v>
                </c:pt>
                <c:pt idx="17">
                  <c:v>521526</c:v>
                </c:pt>
                <c:pt idx="18">
                  <c:v>521613</c:v>
                </c:pt>
                <c:pt idx="19">
                  <c:v>524764</c:v>
                </c:pt>
                <c:pt idx="20">
                  <c:v>524619</c:v>
                </c:pt>
                <c:pt idx="21">
                  <c:v>524401</c:v>
                </c:pt>
                <c:pt idx="22">
                  <c:v>523924</c:v>
                </c:pt>
                <c:pt idx="23">
                  <c:v>522695</c:v>
                </c:pt>
              </c:numCache>
            </c:numRef>
          </c:val>
          <c:extLst>
            <c:ext xmlns:c16="http://schemas.microsoft.com/office/drawing/2014/chart" uri="{C3380CC4-5D6E-409C-BE32-E72D297353CC}">
              <c16:uniqueId val="{00000000-F8ED-49B3-8443-A8B448067018}"/>
            </c:ext>
          </c:extLst>
        </c:ser>
        <c:ser>
          <c:idx val="1"/>
          <c:order val="1"/>
          <c:spPr>
            <a:solidFill>
              <a:srgbClr val="808080"/>
            </a:solidFill>
            <a:ln>
              <a:noFill/>
            </a:ln>
          </c:spPr>
          <c:val>
            <c:numRef>
              <c:f>Sheet1!$A$2:$X$2</c:f>
              <c:numCache>
                <c:formatCode>General</c:formatCode>
                <c:ptCount val="24"/>
                <c:pt idx="0">
                  <c:v>938307</c:v>
                </c:pt>
                <c:pt idx="1">
                  <c:v>903807</c:v>
                </c:pt>
                <c:pt idx="2">
                  <c:v>879967</c:v>
                </c:pt>
                <c:pt idx="3">
                  <c:v>866676</c:v>
                </c:pt>
                <c:pt idx="4">
                  <c:v>852232</c:v>
                </c:pt>
                <c:pt idx="5">
                  <c:v>866134</c:v>
                </c:pt>
                <c:pt idx="6">
                  <c:v>901452</c:v>
                </c:pt>
                <c:pt idx="7">
                  <c:v>966292</c:v>
                </c:pt>
                <c:pt idx="8">
                  <c:v>1001969</c:v>
                </c:pt>
                <c:pt idx="9">
                  <c:v>935522</c:v>
                </c:pt>
                <c:pt idx="10">
                  <c:v>848372</c:v>
                </c:pt>
                <c:pt idx="11">
                  <c:v>783563</c:v>
                </c:pt>
                <c:pt idx="12">
                  <c:v>736676</c:v>
                </c:pt>
                <c:pt idx="13">
                  <c:v>726100</c:v>
                </c:pt>
                <c:pt idx="14">
                  <c:v>726952</c:v>
                </c:pt>
                <c:pt idx="15">
                  <c:v>732898</c:v>
                </c:pt>
                <c:pt idx="16">
                  <c:v>749609</c:v>
                </c:pt>
                <c:pt idx="17">
                  <c:v>796704</c:v>
                </c:pt>
                <c:pt idx="18">
                  <c:v>893410</c:v>
                </c:pt>
                <c:pt idx="19">
                  <c:v>1009231</c:v>
                </c:pt>
                <c:pt idx="20">
                  <c:v>1072999</c:v>
                </c:pt>
                <c:pt idx="21">
                  <c:v>1070528</c:v>
                </c:pt>
                <c:pt idx="22">
                  <c:v>1042817</c:v>
                </c:pt>
                <c:pt idx="23">
                  <c:v>997218</c:v>
                </c:pt>
              </c:numCache>
            </c:numRef>
          </c:val>
          <c:extLst>
            <c:ext xmlns:c16="http://schemas.microsoft.com/office/drawing/2014/chart" uri="{C3380CC4-5D6E-409C-BE32-E72D297353CC}">
              <c16:uniqueId val="{00000001-F8ED-49B3-8443-A8B448067018}"/>
            </c:ext>
          </c:extLst>
        </c:ser>
        <c:ser>
          <c:idx val="2"/>
          <c:order val="2"/>
          <c:spPr>
            <a:solidFill>
              <a:srgbClr val="000000"/>
            </a:solidFill>
            <a:ln>
              <a:noFill/>
            </a:ln>
          </c:spPr>
          <c:val>
            <c:numRef>
              <c:f>Sheet1!$A$3:$X$3</c:f>
              <c:numCache>
                <c:formatCode>General</c:formatCode>
                <c:ptCount val="24"/>
                <c:pt idx="0">
                  <c:v>450321</c:v>
                </c:pt>
                <c:pt idx="1">
                  <c:v>435142</c:v>
                </c:pt>
                <c:pt idx="2">
                  <c:v>419645</c:v>
                </c:pt>
                <c:pt idx="3">
                  <c:v>409517</c:v>
                </c:pt>
                <c:pt idx="4">
                  <c:v>407063</c:v>
                </c:pt>
                <c:pt idx="5">
                  <c:v>406871</c:v>
                </c:pt>
                <c:pt idx="6">
                  <c:v>416927</c:v>
                </c:pt>
                <c:pt idx="7">
                  <c:v>429853</c:v>
                </c:pt>
                <c:pt idx="8">
                  <c:v>450666</c:v>
                </c:pt>
                <c:pt idx="9">
                  <c:v>451590</c:v>
                </c:pt>
                <c:pt idx="10">
                  <c:v>431968</c:v>
                </c:pt>
                <c:pt idx="11">
                  <c:v>417954</c:v>
                </c:pt>
                <c:pt idx="12">
                  <c:v>402031</c:v>
                </c:pt>
                <c:pt idx="13">
                  <c:v>387820</c:v>
                </c:pt>
                <c:pt idx="14">
                  <c:v>380017</c:v>
                </c:pt>
                <c:pt idx="15">
                  <c:v>373717</c:v>
                </c:pt>
                <c:pt idx="16">
                  <c:v>369705</c:v>
                </c:pt>
                <c:pt idx="17">
                  <c:v>373375</c:v>
                </c:pt>
                <c:pt idx="18">
                  <c:v>392548</c:v>
                </c:pt>
                <c:pt idx="19">
                  <c:v>426067</c:v>
                </c:pt>
                <c:pt idx="20">
                  <c:v>459128</c:v>
                </c:pt>
                <c:pt idx="21">
                  <c:v>474071</c:v>
                </c:pt>
                <c:pt idx="22">
                  <c:v>471827</c:v>
                </c:pt>
                <c:pt idx="23">
                  <c:v>461255</c:v>
                </c:pt>
              </c:numCache>
            </c:numRef>
          </c:val>
          <c:extLst>
            <c:ext xmlns:c16="http://schemas.microsoft.com/office/drawing/2014/chart" uri="{C3380CC4-5D6E-409C-BE32-E72D297353CC}">
              <c16:uniqueId val="{00000002-F8ED-49B3-8443-A8B448067018}"/>
            </c:ext>
          </c:extLst>
        </c:ser>
        <c:ser>
          <c:idx val="3"/>
          <c:order val="3"/>
          <c:spPr>
            <a:solidFill>
              <a:srgbClr val="34A398"/>
            </a:solidFill>
            <a:ln>
              <a:noFill/>
            </a:ln>
          </c:spPr>
          <c:val>
            <c:numRef>
              <c:f>Sheet1!$A$4:$X$4</c:f>
              <c:numCache>
                <c:formatCode>General</c:formatCode>
                <c:ptCount val="24"/>
                <c:pt idx="0">
                  <c:v>188793</c:v>
                </c:pt>
                <c:pt idx="1">
                  <c:v>177202</c:v>
                </c:pt>
                <c:pt idx="2">
                  <c:v>168321</c:v>
                </c:pt>
                <c:pt idx="3">
                  <c:v>161565</c:v>
                </c:pt>
                <c:pt idx="4">
                  <c:v>159274</c:v>
                </c:pt>
                <c:pt idx="5">
                  <c:v>158931</c:v>
                </c:pt>
                <c:pt idx="6">
                  <c:v>170907</c:v>
                </c:pt>
                <c:pt idx="7">
                  <c:v>196109</c:v>
                </c:pt>
                <c:pt idx="8">
                  <c:v>213345</c:v>
                </c:pt>
                <c:pt idx="9">
                  <c:v>210466</c:v>
                </c:pt>
                <c:pt idx="10">
                  <c:v>198502</c:v>
                </c:pt>
                <c:pt idx="11">
                  <c:v>179730</c:v>
                </c:pt>
                <c:pt idx="12">
                  <c:v>160540</c:v>
                </c:pt>
                <c:pt idx="13">
                  <c:v>150337</c:v>
                </c:pt>
                <c:pt idx="14">
                  <c:v>141907</c:v>
                </c:pt>
                <c:pt idx="15">
                  <c:v>137540</c:v>
                </c:pt>
                <c:pt idx="16">
                  <c:v>135148</c:v>
                </c:pt>
                <c:pt idx="17">
                  <c:v>140247</c:v>
                </c:pt>
                <c:pt idx="18">
                  <c:v>156131</c:v>
                </c:pt>
                <c:pt idx="19">
                  <c:v>186663</c:v>
                </c:pt>
                <c:pt idx="20">
                  <c:v>212172</c:v>
                </c:pt>
                <c:pt idx="21">
                  <c:v>225241</c:v>
                </c:pt>
                <c:pt idx="22">
                  <c:v>216163</c:v>
                </c:pt>
                <c:pt idx="23">
                  <c:v>201856</c:v>
                </c:pt>
              </c:numCache>
            </c:numRef>
          </c:val>
          <c:extLst>
            <c:ext xmlns:c16="http://schemas.microsoft.com/office/drawing/2014/chart" uri="{C3380CC4-5D6E-409C-BE32-E72D297353CC}">
              <c16:uniqueId val="{00000003-F8ED-49B3-8443-A8B448067018}"/>
            </c:ext>
          </c:extLst>
        </c:ser>
        <c:ser>
          <c:idx val="4"/>
          <c:order val="4"/>
          <c:spPr>
            <a:solidFill>
              <a:srgbClr val="9DB1CF"/>
            </a:solidFill>
            <a:ln>
              <a:noFill/>
            </a:ln>
          </c:spPr>
          <c:val>
            <c:numRef>
              <c:f>Sheet1!$A$5:$X$5</c:f>
              <c:numCache>
                <c:formatCode>General</c:formatCode>
                <c:ptCount val="24"/>
                <c:pt idx="0">
                  <c:v>396117</c:v>
                </c:pt>
                <c:pt idx="1">
                  <c:v>393540</c:v>
                </c:pt>
                <c:pt idx="2">
                  <c:v>396656</c:v>
                </c:pt>
                <c:pt idx="3">
                  <c:v>396697</c:v>
                </c:pt>
                <c:pt idx="4">
                  <c:v>394867</c:v>
                </c:pt>
                <c:pt idx="5">
                  <c:v>393140</c:v>
                </c:pt>
                <c:pt idx="6">
                  <c:v>389693</c:v>
                </c:pt>
                <c:pt idx="7">
                  <c:v>392920</c:v>
                </c:pt>
                <c:pt idx="8">
                  <c:v>398385</c:v>
                </c:pt>
                <c:pt idx="9">
                  <c:v>398993</c:v>
                </c:pt>
                <c:pt idx="10">
                  <c:v>378610</c:v>
                </c:pt>
                <c:pt idx="11">
                  <c:v>345345</c:v>
                </c:pt>
                <c:pt idx="12">
                  <c:v>343617</c:v>
                </c:pt>
                <c:pt idx="13">
                  <c:v>349002</c:v>
                </c:pt>
                <c:pt idx="14">
                  <c:v>346697</c:v>
                </c:pt>
                <c:pt idx="15">
                  <c:v>344554</c:v>
                </c:pt>
                <c:pt idx="16">
                  <c:v>345393</c:v>
                </c:pt>
                <c:pt idx="17">
                  <c:v>346579</c:v>
                </c:pt>
                <c:pt idx="18">
                  <c:v>346144</c:v>
                </c:pt>
                <c:pt idx="19">
                  <c:v>345649</c:v>
                </c:pt>
                <c:pt idx="20">
                  <c:v>346982</c:v>
                </c:pt>
                <c:pt idx="21">
                  <c:v>360808</c:v>
                </c:pt>
                <c:pt idx="22">
                  <c:v>380967</c:v>
                </c:pt>
                <c:pt idx="23">
                  <c:v>394813</c:v>
                </c:pt>
              </c:numCache>
            </c:numRef>
          </c:val>
          <c:extLst>
            <c:ext xmlns:c16="http://schemas.microsoft.com/office/drawing/2014/chart" uri="{C3380CC4-5D6E-409C-BE32-E72D297353CC}">
              <c16:uniqueId val="{00000004-F8ED-49B3-8443-A8B448067018}"/>
            </c:ext>
          </c:extLst>
        </c:ser>
        <c:ser>
          <c:idx val="5"/>
          <c:order val="5"/>
          <c:spPr>
            <a:solidFill>
              <a:srgbClr val="FFC002"/>
            </a:solidFill>
            <a:ln>
              <a:noFill/>
            </a:ln>
          </c:spPr>
          <c:val>
            <c:numRef>
              <c:f>Sheet1!$A$6:$X$6</c:f>
              <c:numCache>
                <c:formatCode>General</c:formatCode>
                <c:ptCount val="24"/>
                <c:pt idx="0">
                  <c:v>2632</c:v>
                </c:pt>
                <c:pt idx="1">
                  <c:v>1665</c:v>
                </c:pt>
                <c:pt idx="2">
                  <c:v>1592</c:v>
                </c:pt>
                <c:pt idx="3">
                  <c:v>903</c:v>
                </c:pt>
                <c:pt idx="4">
                  <c:v>940</c:v>
                </c:pt>
                <c:pt idx="5">
                  <c:v>832</c:v>
                </c:pt>
                <c:pt idx="6">
                  <c:v>861</c:v>
                </c:pt>
                <c:pt idx="7">
                  <c:v>1094</c:v>
                </c:pt>
                <c:pt idx="8">
                  <c:v>20749</c:v>
                </c:pt>
                <c:pt idx="9">
                  <c:v>110741</c:v>
                </c:pt>
                <c:pt idx="10">
                  <c:v>240787</c:v>
                </c:pt>
                <c:pt idx="11">
                  <c:v>340203</c:v>
                </c:pt>
                <c:pt idx="12">
                  <c:v>410800</c:v>
                </c:pt>
                <c:pt idx="13">
                  <c:v>451777</c:v>
                </c:pt>
                <c:pt idx="14">
                  <c:v>456887</c:v>
                </c:pt>
                <c:pt idx="15">
                  <c:v>454124</c:v>
                </c:pt>
                <c:pt idx="16">
                  <c:v>437950</c:v>
                </c:pt>
                <c:pt idx="17">
                  <c:v>395973</c:v>
                </c:pt>
                <c:pt idx="18">
                  <c:v>305576</c:v>
                </c:pt>
                <c:pt idx="19">
                  <c:v>186026</c:v>
                </c:pt>
                <c:pt idx="20">
                  <c:v>97036</c:v>
                </c:pt>
                <c:pt idx="21">
                  <c:v>47478</c:v>
                </c:pt>
                <c:pt idx="22">
                  <c:v>10462</c:v>
                </c:pt>
                <c:pt idx="23">
                  <c:v>3638</c:v>
                </c:pt>
              </c:numCache>
            </c:numRef>
          </c:val>
          <c:extLst>
            <c:ext xmlns:c16="http://schemas.microsoft.com/office/drawing/2014/chart" uri="{C3380CC4-5D6E-409C-BE32-E72D297353CC}">
              <c16:uniqueId val="{00000005-F8ED-49B3-8443-A8B448067018}"/>
            </c:ext>
          </c:extLst>
        </c:ser>
        <c:ser>
          <c:idx val="6"/>
          <c:order val="6"/>
          <c:spPr>
            <a:solidFill>
              <a:srgbClr val="DFE5EF"/>
            </a:solidFill>
            <a:ln>
              <a:noFill/>
            </a:ln>
          </c:spPr>
          <c:val>
            <c:numRef>
              <c:f>Sheet1!$A$7:$X$7</c:f>
              <c:numCache>
                <c:formatCode>General</c:formatCode>
                <c:ptCount val="24"/>
                <c:pt idx="0">
                  <c:v>64713</c:v>
                </c:pt>
                <c:pt idx="1">
                  <c:v>51530</c:v>
                </c:pt>
                <c:pt idx="2">
                  <c:v>41506</c:v>
                </c:pt>
                <c:pt idx="3">
                  <c:v>30010</c:v>
                </c:pt>
                <c:pt idx="4">
                  <c:v>25743</c:v>
                </c:pt>
                <c:pt idx="5">
                  <c:v>26351</c:v>
                </c:pt>
                <c:pt idx="6">
                  <c:v>31311</c:v>
                </c:pt>
                <c:pt idx="7">
                  <c:v>42042</c:v>
                </c:pt>
                <c:pt idx="8">
                  <c:v>50582</c:v>
                </c:pt>
                <c:pt idx="9">
                  <c:v>50205</c:v>
                </c:pt>
                <c:pt idx="10">
                  <c:v>43758</c:v>
                </c:pt>
                <c:pt idx="11">
                  <c:v>40804</c:v>
                </c:pt>
                <c:pt idx="12">
                  <c:v>17984</c:v>
                </c:pt>
                <c:pt idx="13">
                  <c:v>-11</c:v>
                </c:pt>
                <c:pt idx="14">
                  <c:v>-4366</c:v>
                </c:pt>
                <c:pt idx="15">
                  <c:v>-5604</c:v>
                </c:pt>
                <c:pt idx="16">
                  <c:v>-9202</c:v>
                </c:pt>
                <c:pt idx="17">
                  <c:v>-4725</c:v>
                </c:pt>
                <c:pt idx="18">
                  <c:v>4883</c:v>
                </c:pt>
                <c:pt idx="19">
                  <c:v>26956</c:v>
                </c:pt>
                <c:pt idx="20">
                  <c:v>49357</c:v>
                </c:pt>
                <c:pt idx="21">
                  <c:v>73064</c:v>
                </c:pt>
                <c:pt idx="22">
                  <c:v>84861</c:v>
                </c:pt>
                <c:pt idx="23">
                  <c:v>78060</c:v>
                </c:pt>
              </c:numCache>
            </c:numRef>
          </c:val>
          <c:extLst>
            <c:ext xmlns:c16="http://schemas.microsoft.com/office/drawing/2014/chart" uri="{C3380CC4-5D6E-409C-BE32-E72D297353CC}">
              <c16:uniqueId val="{00000006-F8ED-49B3-8443-A8B448067018}"/>
            </c:ext>
          </c:extLst>
        </c:ser>
        <c:dLbls>
          <c:showLegendKey val="0"/>
          <c:showVal val="0"/>
          <c:showCatName val="0"/>
          <c:showSerName val="0"/>
          <c:showPercent val="0"/>
          <c:showBubbleSize val="0"/>
        </c:dLbls>
        <c:axId val="1986973920"/>
        <c:axId val="1"/>
      </c:areaChart>
      <c:catAx>
        <c:axId val="19869739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8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1986973920"/>
        <c:crosses val="min"/>
        <c:crossBetween val="midCat"/>
        <c:majorUnit val="200000"/>
      </c:valAx>
    </c:plotArea>
    <c:plotVisOnly val="0"/>
    <c:dispBlanksAs val="zero"/>
    <c:showDLblsOverMax val="1"/>
  </c:chart>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189149560117302"/>
          <c:y val="0.22298850574712645"/>
          <c:w val="0.35337243401759533"/>
          <c:h val="0.55402298850574716"/>
        </c:manualLayout>
      </c:layout>
      <c:pieChart>
        <c:varyColors val="0"/>
        <c:ser>
          <c:idx val="0"/>
          <c:order val="0"/>
          <c:dPt>
            <c:idx val="0"/>
            <c:bubble3D val="0"/>
            <c:spPr>
              <a:solidFill>
                <a:srgbClr val="004FDD"/>
              </a:solidFill>
              <a:ln>
                <a:noFill/>
              </a:ln>
            </c:spPr>
            <c:extLst>
              <c:ext xmlns:c16="http://schemas.microsoft.com/office/drawing/2014/chart" uri="{C3380CC4-5D6E-409C-BE32-E72D297353CC}">
                <c16:uniqueId val="{00000000-10F9-4586-92D0-E54F151A7F8C}"/>
              </c:ext>
            </c:extLst>
          </c:dPt>
          <c:dPt>
            <c:idx val="1"/>
            <c:bubble3D val="0"/>
            <c:spPr>
              <a:solidFill>
                <a:schemeClr val="accent6"/>
              </a:solidFill>
              <a:ln>
                <a:noFill/>
              </a:ln>
            </c:spPr>
            <c:extLst>
              <c:ext xmlns:c16="http://schemas.microsoft.com/office/drawing/2014/chart" uri="{C3380CC4-5D6E-409C-BE32-E72D297353CC}">
                <c16:uniqueId val="{00000001-10F9-4586-92D0-E54F151A7F8C}"/>
              </c:ext>
            </c:extLst>
          </c:dPt>
          <c:dPt>
            <c:idx val="2"/>
            <c:bubble3D val="0"/>
            <c:spPr>
              <a:solidFill>
                <a:schemeClr val="accent5"/>
              </a:solidFill>
              <a:ln>
                <a:noFill/>
              </a:ln>
            </c:spPr>
            <c:extLst>
              <c:ext xmlns:c16="http://schemas.microsoft.com/office/drawing/2014/chart" uri="{C3380CC4-5D6E-409C-BE32-E72D297353CC}">
                <c16:uniqueId val="{00000002-10F9-4586-92D0-E54F151A7F8C}"/>
              </c:ext>
            </c:extLst>
          </c:dPt>
          <c:dPt>
            <c:idx val="3"/>
            <c:bubble3D val="0"/>
            <c:spPr>
              <a:solidFill>
                <a:srgbClr val="FF5E62"/>
              </a:solidFill>
              <a:ln>
                <a:noFill/>
              </a:ln>
            </c:spPr>
            <c:extLst>
              <c:ext xmlns:c16="http://schemas.microsoft.com/office/drawing/2014/chart" uri="{C3380CC4-5D6E-409C-BE32-E72D297353CC}">
                <c16:uniqueId val="{00000003-10F9-4586-92D0-E54F151A7F8C}"/>
              </c:ext>
            </c:extLst>
          </c:dPt>
          <c:dLbls>
            <c:dLbl>
              <c:idx val="0"/>
              <c:layout>
                <c:manualLayout>
                  <c:x val="1.7595307917888565E-2"/>
                  <c:y val="3.4482758620689655E-3"/>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F9-4586-92D0-E54F151A7F8C}"/>
                </c:ext>
              </c:extLst>
            </c:dLbl>
            <c:dLbl>
              <c:idx val="2"/>
              <c:layout>
                <c:manualLayout>
                  <c:x val="-1.5395894428152493E-2"/>
                  <c:y val="-6.8965517241379309E-3"/>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F9-4586-92D0-E54F151A7F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3.797468354430379</c:v>
                </c:pt>
                <c:pt idx="1">
                  <c:v>12.658227848101266</c:v>
                </c:pt>
                <c:pt idx="2">
                  <c:v>25.316455696202532</c:v>
                </c:pt>
                <c:pt idx="3">
                  <c:v>8.2278481012658222</c:v>
                </c:pt>
              </c:numCache>
            </c:numRef>
          </c:val>
          <c:extLst>
            <c:ext xmlns:c16="http://schemas.microsoft.com/office/drawing/2014/chart" uri="{C3380CC4-5D6E-409C-BE32-E72D297353CC}">
              <c16:uniqueId val="{00000004-10F9-4586-92D0-E54F151A7F8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553596417576267E-2"/>
          <c:y val="2.0456333595594022E-2"/>
          <c:w val="0.97089280716484749"/>
          <c:h val="0.95476003147128241"/>
        </c:manualLayout>
      </c:layout>
      <c:bubbleChart>
        <c:varyColors val="0"/>
        <c:ser>
          <c:idx val="0"/>
          <c:order val="0"/>
          <c:spPr>
            <a:solidFill>
              <a:schemeClr val="hlink"/>
            </a:solidFill>
            <a:ln>
              <a:noFill/>
            </a:ln>
          </c:spPr>
          <c:invertIfNegative val="0"/>
          <c:xVal>
            <c:numRef>
              <c:f>Sheet1!$A$1:$A$32</c:f>
              <c:numCache>
                <c:formatCode>General</c:formatCode>
                <c:ptCount val="32"/>
                <c:pt idx="0">
                  <c:v>0.5</c:v>
                </c:pt>
              </c:numCache>
            </c:numRef>
          </c:xVal>
          <c:yVal>
            <c:numRef>
              <c:f>Sheet1!$B$1:$B$32</c:f>
              <c:numCache>
                <c:formatCode>General</c:formatCode>
                <c:ptCount val="32"/>
                <c:pt idx="0">
                  <c:v>1.2</c:v>
                </c:pt>
              </c:numCache>
            </c:numRef>
          </c:yVal>
          <c:bubbleSize>
            <c:numRef>
              <c:f>Sheet1!$C$1:$C$32</c:f>
              <c:numCache>
                <c:formatCode>General</c:formatCode>
                <c:ptCount val="32"/>
                <c:pt idx="0">
                  <c:v>5</c:v>
                </c:pt>
              </c:numCache>
            </c:numRef>
          </c:bubbleSize>
          <c:bubble3D val="0"/>
          <c:extLst>
            <c:ext xmlns:c16="http://schemas.microsoft.com/office/drawing/2014/chart" uri="{C3380CC4-5D6E-409C-BE32-E72D297353CC}">
              <c16:uniqueId val="{00000000-066C-414F-9A43-02A428234853}"/>
            </c:ext>
          </c:extLst>
        </c:ser>
        <c:ser>
          <c:idx val="1"/>
          <c:order val="1"/>
          <c:spPr>
            <a:solidFill>
              <a:schemeClr val="hlink"/>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1-066C-414F-9A43-02A428234853}"/>
              </c:ext>
            </c:extLst>
          </c:dPt>
          <c:dPt>
            <c:idx val="2"/>
            <c:invertIfNegative val="0"/>
            <c:bubble3D val="0"/>
            <c:extLst>
              <c:ext xmlns:c16="http://schemas.microsoft.com/office/drawing/2014/chart" uri="{C3380CC4-5D6E-409C-BE32-E72D297353CC}">
                <c16:uniqueId val="{00000002-066C-414F-9A43-02A428234853}"/>
              </c:ext>
            </c:extLst>
          </c:dPt>
          <c:dPt>
            <c:idx val="3"/>
            <c:invertIfNegative val="0"/>
            <c:bubble3D val="0"/>
            <c:extLst>
              <c:ext xmlns:c16="http://schemas.microsoft.com/office/drawing/2014/chart" uri="{C3380CC4-5D6E-409C-BE32-E72D297353CC}">
                <c16:uniqueId val="{00000003-066C-414F-9A43-02A428234853}"/>
              </c:ext>
            </c:extLst>
          </c:dPt>
          <c:dPt>
            <c:idx val="4"/>
            <c:invertIfNegative val="0"/>
            <c:bubble3D val="0"/>
            <c:extLst>
              <c:ext xmlns:c16="http://schemas.microsoft.com/office/drawing/2014/chart" uri="{C3380CC4-5D6E-409C-BE32-E72D297353CC}">
                <c16:uniqueId val="{00000004-066C-414F-9A43-02A428234853}"/>
              </c:ext>
            </c:extLst>
          </c:dPt>
          <c:dPt>
            <c:idx val="5"/>
            <c:invertIfNegative val="0"/>
            <c:bubble3D val="0"/>
            <c:spPr>
              <a:solidFill>
                <a:schemeClr val="accent1"/>
              </a:solidFill>
              <a:ln>
                <a:noFill/>
              </a:ln>
            </c:spPr>
            <c:extLst>
              <c:ext xmlns:c16="http://schemas.microsoft.com/office/drawing/2014/chart" uri="{C3380CC4-5D6E-409C-BE32-E72D297353CC}">
                <c16:uniqueId val="{00000005-066C-414F-9A43-02A428234853}"/>
              </c:ext>
            </c:extLst>
          </c:dPt>
          <c:dPt>
            <c:idx val="6"/>
            <c:invertIfNegative val="0"/>
            <c:bubble3D val="0"/>
            <c:extLst>
              <c:ext xmlns:c16="http://schemas.microsoft.com/office/drawing/2014/chart" uri="{C3380CC4-5D6E-409C-BE32-E72D297353CC}">
                <c16:uniqueId val="{00000006-066C-414F-9A43-02A428234853}"/>
              </c:ext>
            </c:extLst>
          </c:dPt>
          <c:dPt>
            <c:idx val="7"/>
            <c:invertIfNegative val="0"/>
            <c:bubble3D val="0"/>
            <c:extLst>
              <c:ext xmlns:c16="http://schemas.microsoft.com/office/drawing/2014/chart" uri="{C3380CC4-5D6E-409C-BE32-E72D297353CC}">
                <c16:uniqueId val="{00000007-066C-414F-9A43-02A428234853}"/>
              </c:ext>
            </c:extLst>
          </c:dPt>
          <c:dPt>
            <c:idx val="8"/>
            <c:invertIfNegative val="0"/>
            <c:bubble3D val="0"/>
            <c:spPr>
              <a:solidFill>
                <a:srgbClr val="C30C3E"/>
              </a:solidFill>
              <a:ln>
                <a:noFill/>
              </a:ln>
            </c:spPr>
            <c:extLst>
              <c:ext xmlns:c16="http://schemas.microsoft.com/office/drawing/2014/chart" uri="{C3380CC4-5D6E-409C-BE32-E72D297353CC}">
                <c16:uniqueId val="{00000008-066C-414F-9A43-02A428234853}"/>
              </c:ext>
            </c:extLst>
          </c:dPt>
          <c:dPt>
            <c:idx val="9"/>
            <c:invertIfNegative val="0"/>
            <c:bubble3D val="0"/>
            <c:spPr>
              <a:solidFill>
                <a:srgbClr val="C30C3E"/>
              </a:solidFill>
              <a:ln>
                <a:noFill/>
              </a:ln>
            </c:spPr>
            <c:extLst>
              <c:ext xmlns:c16="http://schemas.microsoft.com/office/drawing/2014/chart" uri="{C3380CC4-5D6E-409C-BE32-E72D297353CC}">
                <c16:uniqueId val="{00000009-066C-414F-9A43-02A428234853}"/>
              </c:ext>
            </c:extLst>
          </c:dPt>
          <c:dPt>
            <c:idx val="10"/>
            <c:invertIfNegative val="0"/>
            <c:bubble3D val="0"/>
            <c:spPr>
              <a:solidFill>
                <a:srgbClr val="C30C3E"/>
              </a:solidFill>
              <a:ln>
                <a:noFill/>
              </a:ln>
            </c:spPr>
            <c:extLst>
              <c:ext xmlns:c16="http://schemas.microsoft.com/office/drawing/2014/chart" uri="{C3380CC4-5D6E-409C-BE32-E72D297353CC}">
                <c16:uniqueId val="{0000000A-066C-414F-9A43-02A428234853}"/>
              </c:ext>
            </c:extLst>
          </c:dPt>
          <c:dPt>
            <c:idx val="11"/>
            <c:invertIfNegative val="0"/>
            <c:bubble3D val="0"/>
            <c:spPr>
              <a:solidFill>
                <a:schemeClr val="accent1"/>
              </a:solidFill>
              <a:ln>
                <a:noFill/>
              </a:ln>
            </c:spPr>
            <c:extLst>
              <c:ext xmlns:c16="http://schemas.microsoft.com/office/drawing/2014/chart" uri="{C3380CC4-5D6E-409C-BE32-E72D297353CC}">
                <c16:uniqueId val="{0000000B-066C-414F-9A43-02A428234853}"/>
              </c:ext>
            </c:extLst>
          </c:dPt>
          <c:dPt>
            <c:idx val="12"/>
            <c:invertIfNegative val="0"/>
            <c:bubble3D val="0"/>
            <c:extLst>
              <c:ext xmlns:c16="http://schemas.microsoft.com/office/drawing/2014/chart" uri="{C3380CC4-5D6E-409C-BE32-E72D297353CC}">
                <c16:uniqueId val="{0000000C-066C-414F-9A43-02A428234853}"/>
              </c:ext>
            </c:extLst>
          </c:dPt>
          <c:dPt>
            <c:idx val="13"/>
            <c:invertIfNegative val="0"/>
            <c:bubble3D val="0"/>
            <c:spPr>
              <a:solidFill>
                <a:srgbClr val="C30C3E"/>
              </a:solidFill>
              <a:ln>
                <a:noFill/>
              </a:ln>
            </c:spPr>
            <c:extLst>
              <c:ext xmlns:c16="http://schemas.microsoft.com/office/drawing/2014/chart" uri="{C3380CC4-5D6E-409C-BE32-E72D297353CC}">
                <c16:uniqueId val="{0000000D-066C-414F-9A43-02A428234853}"/>
              </c:ext>
            </c:extLst>
          </c:dPt>
          <c:dPt>
            <c:idx val="14"/>
            <c:invertIfNegative val="0"/>
            <c:bubble3D val="0"/>
            <c:extLst>
              <c:ext xmlns:c16="http://schemas.microsoft.com/office/drawing/2014/chart" uri="{C3380CC4-5D6E-409C-BE32-E72D297353CC}">
                <c16:uniqueId val="{0000000E-066C-414F-9A43-02A428234853}"/>
              </c:ext>
            </c:extLst>
          </c:dPt>
          <c:dPt>
            <c:idx val="15"/>
            <c:invertIfNegative val="0"/>
            <c:bubble3D val="0"/>
            <c:extLst>
              <c:ext xmlns:c16="http://schemas.microsoft.com/office/drawing/2014/chart" uri="{C3380CC4-5D6E-409C-BE32-E72D297353CC}">
                <c16:uniqueId val="{0000000F-066C-414F-9A43-02A428234853}"/>
              </c:ext>
            </c:extLst>
          </c:dPt>
          <c:dPt>
            <c:idx val="16"/>
            <c:invertIfNegative val="0"/>
            <c:bubble3D val="0"/>
            <c:extLst>
              <c:ext xmlns:c16="http://schemas.microsoft.com/office/drawing/2014/chart" uri="{C3380CC4-5D6E-409C-BE32-E72D297353CC}">
                <c16:uniqueId val="{00000010-066C-414F-9A43-02A428234853}"/>
              </c:ext>
            </c:extLst>
          </c:dPt>
          <c:dPt>
            <c:idx val="17"/>
            <c:invertIfNegative val="0"/>
            <c:bubble3D val="0"/>
            <c:extLst>
              <c:ext xmlns:c16="http://schemas.microsoft.com/office/drawing/2014/chart" uri="{C3380CC4-5D6E-409C-BE32-E72D297353CC}">
                <c16:uniqueId val="{00000011-066C-414F-9A43-02A428234853}"/>
              </c:ext>
            </c:extLst>
          </c:dPt>
          <c:dPt>
            <c:idx val="18"/>
            <c:invertIfNegative val="0"/>
            <c:bubble3D val="0"/>
            <c:extLst>
              <c:ext xmlns:c16="http://schemas.microsoft.com/office/drawing/2014/chart" uri="{C3380CC4-5D6E-409C-BE32-E72D297353CC}">
                <c16:uniqueId val="{00000012-066C-414F-9A43-02A428234853}"/>
              </c:ext>
            </c:extLst>
          </c:dPt>
          <c:dPt>
            <c:idx val="19"/>
            <c:invertIfNegative val="0"/>
            <c:bubble3D val="0"/>
            <c:spPr>
              <a:solidFill>
                <a:schemeClr val="accent3"/>
              </a:solidFill>
              <a:ln>
                <a:noFill/>
              </a:ln>
            </c:spPr>
            <c:extLst>
              <c:ext xmlns:c16="http://schemas.microsoft.com/office/drawing/2014/chart" uri="{C3380CC4-5D6E-409C-BE32-E72D297353CC}">
                <c16:uniqueId val="{00000013-066C-414F-9A43-02A428234853}"/>
              </c:ext>
            </c:extLst>
          </c:dPt>
          <c:dPt>
            <c:idx val="20"/>
            <c:invertIfNegative val="0"/>
            <c:bubble3D val="0"/>
            <c:spPr>
              <a:solidFill>
                <a:srgbClr val="C30C3E"/>
              </a:solidFill>
              <a:ln>
                <a:noFill/>
              </a:ln>
            </c:spPr>
            <c:extLst>
              <c:ext xmlns:c16="http://schemas.microsoft.com/office/drawing/2014/chart" uri="{C3380CC4-5D6E-409C-BE32-E72D297353CC}">
                <c16:uniqueId val="{00000014-066C-414F-9A43-02A428234853}"/>
              </c:ext>
            </c:extLst>
          </c:dPt>
          <c:dPt>
            <c:idx val="21"/>
            <c:invertIfNegative val="0"/>
            <c:bubble3D val="0"/>
            <c:extLst>
              <c:ext xmlns:c16="http://schemas.microsoft.com/office/drawing/2014/chart" uri="{C3380CC4-5D6E-409C-BE32-E72D297353CC}">
                <c16:uniqueId val="{00000015-066C-414F-9A43-02A428234853}"/>
              </c:ext>
            </c:extLst>
          </c:dPt>
          <c:dPt>
            <c:idx val="22"/>
            <c:invertIfNegative val="0"/>
            <c:bubble3D val="0"/>
            <c:extLst>
              <c:ext xmlns:c16="http://schemas.microsoft.com/office/drawing/2014/chart" uri="{C3380CC4-5D6E-409C-BE32-E72D297353CC}">
                <c16:uniqueId val="{00000016-066C-414F-9A43-02A428234853}"/>
              </c:ext>
            </c:extLst>
          </c:dPt>
          <c:dPt>
            <c:idx val="23"/>
            <c:invertIfNegative val="0"/>
            <c:bubble3D val="0"/>
            <c:spPr>
              <a:solidFill>
                <a:schemeClr val="accent3"/>
              </a:solidFill>
              <a:ln>
                <a:noFill/>
              </a:ln>
            </c:spPr>
            <c:extLst>
              <c:ext xmlns:c16="http://schemas.microsoft.com/office/drawing/2014/chart" uri="{C3380CC4-5D6E-409C-BE32-E72D297353CC}">
                <c16:uniqueId val="{00000017-066C-414F-9A43-02A428234853}"/>
              </c:ext>
            </c:extLst>
          </c:dPt>
          <c:dPt>
            <c:idx val="24"/>
            <c:invertIfNegative val="0"/>
            <c:bubble3D val="0"/>
            <c:spPr>
              <a:solidFill>
                <a:schemeClr val="accent1"/>
              </a:solidFill>
              <a:ln>
                <a:noFill/>
              </a:ln>
            </c:spPr>
            <c:extLst>
              <c:ext xmlns:c16="http://schemas.microsoft.com/office/drawing/2014/chart" uri="{C3380CC4-5D6E-409C-BE32-E72D297353CC}">
                <c16:uniqueId val="{00000018-066C-414F-9A43-02A428234853}"/>
              </c:ext>
            </c:extLst>
          </c:dPt>
          <c:dPt>
            <c:idx val="25"/>
            <c:invertIfNegative val="0"/>
            <c:bubble3D val="0"/>
            <c:spPr>
              <a:solidFill>
                <a:schemeClr val="accent1"/>
              </a:solidFill>
              <a:ln>
                <a:noFill/>
              </a:ln>
            </c:spPr>
            <c:extLst>
              <c:ext xmlns:c16="http://schemas.microsoft.com/office/drawing/2014/chart" uri="{C3380CC4-5D6E-409C-BE32-E72D297353CC}">
                <c16:uniqueId val="{00000019-066C-414F-9A43-02A428234853}"/>
              </c:ext>
            </c:extLst>
          </c:dPt>
          <c:dPt>
            <c:idx val="26"/>
            <c:invertIfNegative val="0"/>
            <c:bubble3D val="0"/>
            <c:spPr>
              <a:solidFill>
                <a:srgbClr val="C30C3E"/>
              </a:solidFill>
              <a:ln>
                <a:noFill/>
              </a:ln>
            </c:spPr>
            <c:extLst>
              <c:ext xmlns:c16="http://schemas.microsoft.com/office/drawing/2014/chart" uri="{C3380CC4-5D6E-409C-BE32-E72D297353CC}">
                <c16:uniqueId val="{0000001A-066C-414F-9A43-02A428234853}"/>
              </c:ext>
            </c:extLst>
          </c:dPt>
          <c:xVal>
            <c:numRef>
              <c:f>Sheet1!$A$1:$A$32</c:f>
              <c:numCache>
                <c:formatCode>General</c:formatCode>
                <c:ptCount val="32"/>
                <c:pt idx="1">
                  <c:v>2</c:v>
                </c:pt>
                <c:pt idx="2">
                  <c:v>2.6</c:v>
                </c:pt>
                <c:pt idx="3">
                  <c:v>1.2</c:v>
                </c:pt>
                <c:pt idx="4">
                  <c:v>2.4</c:v>
                </c:pt>
                <c:pt idx="5">
                  <c:v>3</c:v>
                </c:pt>
                <c:pt idx="6">
                  <c:v>2.2999999999999998</c:v>
                </c:pt>
                <c:pt idx="7">
                  <c:v>2.2999999999999998</c:v>
                </c:pt>
                <c:pt idx="8">
                  <c:v>3</c:v>
                </c:pt>
                <c:pt idx="9">
                  <c:v>2</c:v>
                </c:pt>
                <c:pt idx="10">
                  <c:v>0.5</c:v>
                </c:pt>
                <c:pt idx="11">
                  <c:v>2</c:v>
                </c:pt>
                <c:pt idx="12">
                  <c:v>1.8</c:v>
                </c:pt>
                <c:pt idx="13">
                  <c:v>2.2000000000000002</c:v>
                </c:pt>
                <c:pt idx="14">
                  <c:v>2.6</c:v>
                </c:pt>
                <c:pt idx="15">
                  <c:v>2.8</c:v>
                </c:pt>
                <c:pt idx="16">
                  <c:v>1.5</c:v>
                </c:pt>
                <c:pt idx="17">
                  <c:v>0.4</c:v>
                </c:pt>
                <c:pt idx="18">
                  <c:v>0.5</c:v>
                </c:pt>
                <c:pt idx="19">
                  <c:v>0.8</c:v>
                </c:pt>
                <c:pt idx="20">
                  <c:v>2.8</c:v>
                </c:pt>
                <c:pt idx="21">
                  <c:v>1.7</c:v>
                </c:pt>
                <c:pt idx="22">
                  <c:v>2.2999999999999998</c:v>
                </c:pt>
                <c:pt idx="23">
                  <c:v>3</c:v>
                </c:pt>
                <c:pt idx="24">
                  <c:v>3.4</c:v>
                </c:pt>
                <c:pt idx="25">
                  <c:v>4</c:v>
                </c:pt>
                <c:pt idx="26">
                  <c:v>0.5</c:v>
                </c:pt>
              </c:numCache>
            </c:numRef>
          </c:xVal>
          <c:yVal>
            <c:numRef>
              <c:f>Sheet1!$D$1:$D$32</c:f>
              <c:numCache>
                <c:formatCode>General</c:formatCode>
                <c:ptCount val="32"/>
                <c:pt idx="1">
                  <c:v>2.9</c:v>
                </c:pt>
                <c:pt idx="2">
                  <c:v>2.6</c:v>
                </c:pt>
                <c:pt idx="3">
                  <c:v>2.7</c:v>
                </c:pt>
                <c:pt idx="4">
                  <c:v>3.2</c:v>
                </c:pt>
                <c:pt idx="5">
                  <c:v>3</c:v>
                </c:pt>
                <c:pt idx="6">
                  <c:v>2.7</c:v>
                </c:pt>
                <c:pt idx="7">
                  <c:v>3.1</c:v>
                </c:pt>
                <c:pt idx="8">
                  <c:v>3.8</c:v>
                </c:pt>
                <c:pt idx="9">
                  <c:v>2.6</c:v>
                </c:pt>
                <c:pt idx="10">
                  <c:v>2.6</c:v>
                </c:pt>
                <c:pt idx="11">
                  <c:v>2.7</c:v>
                </c:pt>
                <c:pt idx="12">
                  <c:v>2.7</c:v>
                </c:pt>
                <c:pt idx="13">
                  <c:v>2.6</c:v>
                </c:pt>
                <c:pt idx="14">
                  <c:v>3.2</c:v>
                </c:pt>
                <c:pt idx="15">
                  <c:v>3.2</c:v>
                </c:pt>
                <c:pt idx="16">
                  <c:v>2.4</c:v>
                </c:pt>
                <c:pt idx="17">
                  <c:v>2.2000000000000002</c:v>
                </c:pt>
                <c:pt idx="18">
                  <c:v>2.1</c:v>
                </c:pt>
                <c:pt idx="19">
                  <c:v>2.2999999999999998</c:v>
                </c:pt>
                <c:pt idx="20">
                  <c:v>3.4</c:v>
                </c:pt>
                <c:pt idx="21">
                  <c:v>3.5</c:v>
                </c:pt>
                <c:pt idx="22">
                  <c:v>2.5</c:v>
                </c:pt>
                <c:pt idx="23">
                  <c:v>2.5</c:v>
                </c:pt>
                <c:pt idx="24">
                  <c:v>3.3</c:v>
                </c:pt>
                <c:pt idx="25">
                  <c:v>4</c:v>
                </c:pt>
                <c:pt idx="26">
                  <c:v>0.7</c:v>
                </c:pt>
              </c:numCache>
            </c:numRef>
          </c:yVal>
          <c:bubbleSize>
            <c:numRef>
              <c:f>Sheet1!$E$1:$E$32</c:f>
              <c:numCache>
                <c:formatCode>General</c:formatCode>
                <c:ptCount val="32"/>
                <c:pt idx="1">
                  <c:v>5</c:v>
                </c:pt>
                <c:pt idx="2">
                  <c:v>5</c:v>
                </c:pt>
                <c:pt idx="3">
                  <c:v>5</c:v>
                </c:pt>
                <c:pt idx="4">
                  <c:v>5</c:v>
                </c:pt>
                <c:pt idx="5">
                  <c:v>17</c:v>
                </c:pt>
                <c:pt idx="6">
                  <c:v>5</c:v>
                </c:pt>
                <c:pt idx="7">
                  <c:v>5</c:v>
                </c:pt>
                <c:pt idx="8">
                  <c:v>23</c:v>
                </c:pt>
                <c:pt idx="9">
                  <c:v>5</c:v>
                </c:pt>
                <c:pt idx="10">
                  <c:v>33</c:v>
                </c:pt>
                <c:pt idx="11">
                  <c:v>5</c:v>
                </c:pt>
                <c:pt idx="12">
                  <c:v>5</c:v>
                </c:pt>
                <c:pt idx="13">
                  <c:v>6</c:v>
                </c:pt>
                <c:pt idx="14">
                  <c:v>5</c:v>
                </c:pt>
                <c:pt idx="15">
                  <c:v>36</c:v>
                </c:pt>
                <c:pt idx="16">
                  <c:v>5</c:v>
                </c:pt>
                <c:pt idx="17">
                  <c:v>5</c:v>
                </c:pt>
                <c:pt idx="18">
                  <c:v>7</c:v>
                </c:pt>
                <c:pt idx="19">
                  <c:v>5</c:v>
                </c:pt>
                <c:pt idx="20">
                  <c:v>26</c:v>
                </c:pt>
                <c:pt idx="21">
                  <c:v>6</c:v>
                </c:pt>
                <c:pt idx="22">
                  <c:v>15</c:v>
                </c:pt>
                <c:pt idx="23">
                  <c:v>5</c:v>
                </c:pt>
                <c:pt idx="24">
                  <c:v>97</c:v>
                </c:pt>
                <c:pt idx="25">
                  <c:v>0</c:v>
                </c:pt>
                <c:pt idx="26">
                  <c:v>5</c:v>
                </c:pt>
              </c:numCache>
            </c:numRef>
          </c:bubbleSize>
          <c:bubble3D val="0"/>
          <c:extLst>
            <c:ext xmlns:c16="http://schemas.microsoft.com/office/drawing/2014/chart" uri="{C3380CC4-5D6E-409C-BE32-E72D297353CC}">
              <c16:uniqueId val="{0000001B-066C-414F-9A43-02A428234853}"/>
            </c:ext>
          </c:extLst>
        </c:ser>
        <c:ser>
          <c:idx val="2"/>
          <c:order val="2"/>
          <c:spPr>
            <a:solidFill>
              <a:schemeClr val="hlink"/>
            </a:solidFill>
            <a:ln>
              <a:noFill/>
            </a:ln>
          </c:spPr>
          <c:invertIfNegative val="0"/>
          <c:dPt>
            <c:idx val="27"/>
            <c:invertIfNegative val="0"/>
            <c:bubble3D val="0"/>
            <c:spPr>
              <a:solidFill>
                <a:schemeClr val="accent3"/>
              </a:solidFill>
              <a:ln>
                <a:noFill/>
              </a:ln>
            </c:spPr>
            <c:extLst>
              <c:ext xmlns:c16="http://schemas.microsoft.com/office/drawing/2014/chart" uri="{C3380CC4-5D6E-409C-BE32-E72D297353CC}">
                <c16:uniqueId val="{0000001C-066C-414F-9A43-02A428234853}"/>
              </c:ext>
            </c:extLst>
          </c:dPt>
          <c:dPt>
            <c:idx val="28"/>
            <c:invertIfNegative val="0"/>
            <c:bubble3D val="0"/>
            <c:spPr>
              <a:solidFill>
                <a:srgbClr val="C30C3E"/>
              </a:solidFill>
              <a:ln>
                <a:noFill/>
              </a:ln>
            </c:spPr>
            <c:extLst>
              <c:ext xmlns:c16="http://schemas.microsoft.com/office/drawing/2014/chart" uri="{C3380CC4-5D6E-409C-BE32-E72D297353CC}">
                <c16:uniqueId val="{0000001D-066C-414F-9A43-02A428234853}"/>
              </c:ext>
            </c:extLst>
          </c:dPt>
          <c:xVal>
            <c:numRef>
              <c:f>Sheet1!$A$1:$A$32</c:f>
              <c:numCache>
                <c:formatCode>General</c:formatCode>
                <c:ptCount val="32"/>
                <c:pt idx="27">
                  <c:v>3.1</c:v>
                </c:pt>
                <c:pt idx="28">
                  <c:v>3.7</c:v>
                </c:pt>
                <c:pt idx="29">
                  <c:v>3.2</c:v>
                </c:pt>
                <c:pt idx="30">
                  <c:v>3.8</c:v>
                </c:pt>
                <c:pt idx="31">
                  <c:v>3.2</c:v>
                </c:pt>
              </c:numCache>
            </c:numRef>
          </c:xVal>
          <c:yVal>
            <c:numRef>
              <c:f>Sheet1!$F$1:$F$32</c:f>
              <c:numCache>
                <c:formatCode>General</c:formatCode>
                <c:ptCount val="32"/>
                <c:pt idx="27">
                  <c:v>3.2</c:v>
                </c:pt>
                <c:pt idx="28">
                  <c:v>3.7</c:v>
                </c:pt>
                <c:pt idx="29">
                  <c:v>3.4</c:v>
                </c:pt>
                <c:pt idx="30">
                  <c:v>3.5</c:v>
                </c:pt>
                <c:pt idx="31">
                  <c:v>3.6</c:v>
                </c:pt>
              </c:numCache>
            </c:numRef>
          </c:yVal>
          <c:bubbleSize>
            <c:numRef>
              <c:f>Sheet1!$G$1:$G$32</c:f>
              <c:numCache>
                <c:formatCode>General</c:formatCode>
                <c:ptCount val="32"/>
                <c:pt idx="27">
                  <c:v>5</c:v>
                </c:pt>
                <c:pt idx="28">
                  <c:v>58</c:v>
                </c:pt>
                <c:pt idx="29">
                  <c:v>6</c:v>
                </c:pt>
                <c:pt idx="30">
                  <c:v>57</c:v>
                </c:pt>
                <c:pt idx="31">
                  <c:v>9</c:v>
                </c:pt>
              </c:numCache>
            </c:numRef>
          </c:bubbleSize>
          <c:bubble3D val="0"/>
          <c:extLst>
            <c:ext xmlns:c16="http://schemas.microsoft.com/office/drawing/2014/chart" uri="{C3380CC4-5D6E-409C-BE32-E72D297353CC}">
              <c16:uniqueId val="{0000001E-066C-414F-9A43-02A428234853}"/>
            </c:ext>
          </c:extLst>
        </c:ser>
        <c:dLbls>
          <c:showLegendKey val="0"/>
          <c:showVal val="0"/>
          <c:showCatName val="0"/>
          <c:showSerName val="0"/>
          <c:showPercent val="0"/>
          <c:showBubbleSize val="0"/>
        </c:dLbls>
        <c:bubbleScale val="109"/>
        <c:showNegBubbles val="0"/>
        <c:sizeRepresents val="w"/>
        <c:axId val="125033151"/>
        <c:axId val="1"/>
      </c:bubbleChart>
      <c:valAx>
        <c:axId val="125033151"/>
        <c:scaling>
          <c:orientation val="minMax"/>
          <c:max val="4"/>
          <c:min val="0"/>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
        <c:crosses val="min"/>
        <c:crossBetween val="midCat"/>
      </c:valAx>
      <c:valAx>
        <c:axId val="1"/>
        <c:scaling>
          <c:orientation val="minMax"/>
          <c:max val="4"/>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25033151"/>
        <c:crosses val="min"/>
        <c:crossBetween val="midCat"/>
      </c:valAx>
    </c:plotArea>
    <c:plotVisOnly val="0"/>
    <c:dispBlanksAs val="gap"/>
    <c:showDLblsOverMax val="1"/>
  </c:chart>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112185686653772E-2"/>
          <c:y val="0.12351543942992874"/>
          <c:w val="0.9477756286266924"/>
          <c:h val="0.31591448931116389"/>
        </c:manualLayout>
      </c:layout>
      <c:scatterChart>
        <c:scatterStyle val="lineMarker"/>
        <c:varyColors val="0"/>
        <c:ser>
          <c:idx val="0"/>
          <c:order val="0"/>
          <c:smooth val="0"/>
          <c:extLst>
            <c:ext xmlns:c16="http://schemas.microsoft.com/office/drawing/2014/chart" uri="{C3380CC4-5D6E-409C-BE32-E72D297353CC}">
              <c16:uniqueId val="{00000000-A003-4209-8323-CF0E34E14BA2}"/>
            </c:ext>
          </c:extLst>
        </c:ser>
        <c:dLbls>
          <c:showLegendKey val="0"/>
          <c:showVal val="0"/>
          <c:showCatName val="0"/>
          <c:showSerName val="0"/>
          <c:showPercent val="0"/>
          <c:showBubbleSize val="0"/>
        </c:dLbls>
        <c:axId val="4"/>
        <c:axId val="5"/>
      </c:scatterChart>
      <c:valAx>
        <c:axId val="4"/>
        <c:scaling>
          <c:orientation val="minMax"/>
          <c:max val="2033"/>
          <c:min val="2022"/>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b="1" kern="1200">
                <a:solidFill>
                  <a:schemeClr val="tx1"/>
                </a:solidFill>
                <a:latin typeface="+mn-lt"/>
                <a:ea typeface="+mn-ea"/>
                <a:cs typeface="+mn-cs"/>
              </a:defRPr>
            </a:pPr>
            <a:endParaRPr lang="en-US"/>
          </a:p>
        </c:txPr>
        <c:crossAx val="5"/>
        <c:crosses val="min"/>
        <c:crossBetween val="midCat"/>
        <c:majorUnit val="1"/>
      </c:valAx>
      <c:valAx>
        <c:axId val="5"/>
        <c:scaling>
          <c:orientation val="minMax"/>
          <c:max val="1"/>
          <c:min val="0"/>
        </c:scaling>
        <c:delete val="1"/>
        <c:axPos val="l"/>
        <c:majorTickMark val="out"/>
        <c:minorTickMark val="none"/>
        <c:tickLblPos val="nextTo"/>
        <c:crossAx val="4"/>
        <c:crosses val="min"/>
        <c:crossBetween val="midCat"/>
      </c:valAx>
    </c:plotArea>
    <c:plotVisOnly val="0"/>
    <c:dispBlanksAs val="gap"/>
    <c:showDLblsOverMax val="1"/>
  </c:chart>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162853819309809E-2"/>
          <c:y val="5.8757062146892657E-2"/>
          <c:w val="0.95967429236138035"/>
          <c:h val="0.88248587570621473"/>
        </c:manualLayout>
      </c:layout>
      <c:barChart>
        <c:barDir val="col"/>
        <c:grouping val="stacked"/>
        <c:varyColors val="0"/>
        <c:ser>
          <c:idx val="0"/>
          <c:order val="0"/>
          <c:spPr>
            <a:solidFill>
              <a:srgbClr val="DFE5EF"/>
            </a:solidFill>
            <a:ln>
              <a:noFill/>
            </a:ln>
          </c:spPr>
          <c:invertIfNegative val="0"/>
          <c:dPt>
            <c:idx val="40"/>
            <c:invertIfNegative val="0"/>
            <c:bubble3D val="0"/>
            <c:spPr>
              <a:solidFill>
                <a:srgbClr val="C3CFE1"/>
              </a:solidFill>
              <a:ln>
                <a:noFill/>
              </a:ln>
            </c:spPr>
            <c:extLst>
              <c:ext xmlns:c16="http://schemas.microsoft.com/office/drawing/2014/chart" uri="{C3380CC4-5D6E-409C-BE32-E72D297353CC}">
                <c16:uniqueId val="{00000000-B0FB-CE48-8741-BA1F6FDC9F5A}"/>
              </c:ext>
            </c:extLst>
          </c:dPt>
          <c:dPt>
            <c:idx val="41"/>
            <c:invertIfNegative val="0"/>
            <c:bubble3D val="0"/>
            <c:spPr>
              <a:solidFill>
                <a:srgbClr val="C3CFE1"/>
              </a:solidFill>
              <a:ln>
                <a:noFill/>
              </a:ln>
            </c:spPr>
            <c:extLst>
              <c:ext xmlns:c16="http://schemas.microsoft.com/office/drawing/2014/chart" uri="{C3380CC4-5D6E-409C-BE32-E72D297353CC}">
                <c16:uniqueId val="{00000001-B0FB-CE48-8741-BA1F6FDC9F5A}"/>
              </c:ext>
            </c:extLst>
          </c:dPt>
          <c:dPt>
            <c:idx val="42"/>
            <c:invertIfNegative val="0"/>
            <c:bubble3D val="0"/>
            <c:spPr>
              <a:solidFill>
                <a:srgbClr val="C3CFE1"/>
              </a:solidFill>
              <a:ln>
                <a:noFill/>
              </a:ln>
            </c:spPr>
            <c:extLst>
              <c:ext xmlns:c16="http://schemas.microsoft.com/office/drawing/2014/chart" uri="{C3380CC4-5D6E-409C-BE32-E72D297353CC}">
                <c16:uniqueId val="{00000002-B0FB-CE48-8741-BA1F6FDC9F5A}"/>
              </c:ext>
            </c:extLst>
          </c:dPt>
          <c:dPt>
            <c:idx val="43"/>
            <c:invertIfNegative val="0"/>
            <c:bubble3D val="0"/>
            <c:spPr>
              <a:solidFill>
                <a:srgbClr val="C3CFE1"/>
              </a:solidFill>
              <a:ln>
                <a:noFill/>
              </a:ln>
            </c:spPr>
            <c:extLst>
              <c:ext xmlns:c16="http://schemas.microsoft.com/office/drawing/2014/chart" uri="{C3380CC4-5D6E-409C-BE32-E72D297353CC}">
                <c16:uniqueId val="{00000003-B0FB-CE48-8741-BA1F6FDC9F5A}"/>
              </c:ext>
            </c:extLst>
          </c:dPt>
          <c:dPt>
            <c:idx val="44"/>
            <c:invertIfNegative val="0"/>
            <c:bubble3D val="0"/>
            <c:spPr>
              <a:solidFill>
                <a:srgbClr val="C3CFE1"/>
              </a:solidFill>
              <a:ln>
                <a:noFill/>
              </a:ln>
            </c:spPr>
            <c:extLst>
              <c:ext xmlns:c16="http://schemas.microsoft.com/office/drawing/2014/chart" uri="{C3380CC4-5D6E-409C-BE32-E72D297353CC}">
                <c16:uniqueId val="{00000004-B0FB-CE48-8741-BA1F6FDC9F5A}"/>
              </c:ext>
            </c:extLst>
          </c:dPt>
          <c:dPt>
            <c:idx val="45"/>
            <c:invertIfNegative val="0"/>
            <c:bubble3D val="0"/>
            <c:spPr>
              <a:solidFill>
                <a:srgbClr val="C3CFE1"/>
              </a:solidFill>
              <a:ln>
                <a:noFill/>
              </a:ln>
            </c:spPr>
            <c:extLst>
              <c:ext xmlns:c16="http://schemas.microsoft.com/office/drawing/2014/chart" uri="{C3380CC4-5D6E-409C-BE32-E72D297353CC}">
                <c16:uniqueId val="{00000005-B0FB-CE48-8741-BA1F6FDC9F5A}"/>
              </c:ext>
            </c:extLst>
          </c:dPt>
          <c:dPt>
            <c:idx val="46"/>
            <c:invertIfNegative val="0"/>
            <c:bubble3D val="0"/>
            <c:spPr>
              <a:solidFill>
                <a:srgbClr val="C3CFE1"/>
              </a:solidFill>
              <a:ln>
                <a:noFill/>
              </a:ln>
            </c:spPr>
            <c:extLst>
              <c:ext xmlns:c16="http://schemas.microsoft.com/office/drawing/2014/chart" uri="{C3380CC4-5D6E-409C-BE32-E72D297353CC}">
                <c16:uniqueId val="{00000006-B0FB-CE48-8741-BA1F6FDC9F5A}"/>
              </c:ext>
            </c:extLst>
          </c:dPt>
          <c:dPt>
            <c:idx val="47"/>
            <c:invertIfNegative val="0"/>
            <c:bubble3D val="0"/>
            <c:spPr>
              <a:solidFill>
                <a:srgbClr val="C3CFE1"/>
              </a:solidFill>
              <a:ln>
                <a:noFill/>
              </a:ln>
            </c:spPr>
            <c:extLst>
              <c:ext xmlns:c16="http://schemas.microsoft.com/office/drawing/2014/chart" uri="{C3380CC4-5D6E-409C-BE32-E72D297353CC}">
                <c16:uniqueId val="{00000007-B0FB-CE48-8741-BA1F6FDC9F5A}"/>
              </c:ext>
            </c:extLst>
          </c:dPt>
          <c:dPt>
            <c:idx val="48"/>
            <c:invertIfNegative val="0"/>
            <c:bubble3D val="0"/>
            <c:spPr>
              <a:solidFill>
                <a:srgbClr val="9DB1CF"/>
              </a:solidFill>
              <a:ln>
                <a:noFill/>
              </a:ln>
            </c:spPr>
            <c:extLst>
              <c:ext xmlns:c16="http://schemas.microsoft.com/office/drawing/2014/chart" uri="{C3380CC4-5D6E-409C-BE32-E72D297353CC}">
                <c16:uniqueId val="{00000008-B0FB-CE48-8741-BA1F6FDC9F5A}"/>
              </c:ext>
            </c:extLst>
          </c:dPt>
          <c:dPt>
            <c:idx val="49"/>
            <c:invertIfNegative val="0"/>
            <c:bubble3D val="0"/>
            <c:spPr>
              <a:solidFill>
                <a:srgbClr val="9DB1CF"/>
              </a:solidFill>
              <a:ln>
                <a:noFill/>
              </a:ln>
            </c:spPr>
            <c:extLst>
              <c:ext xmlns:c16="http://schemas.microsoft.com/office/drawing/2014/chart" uri="{C3380CC4-5D6E-409C-BE32-E72D297353CC}">
                <c16:uniqueId val="{00000009-B0FB-CE48-8741-BA1F6FDC9F5A}"/>
              </c:ext>
            </c:extLst>
          </c:dPt>
          <c:dPt>
            <c:idx val="50"/>
            <c:invertIfNegative val="0"/>
            <c:bubble3D val="0"/>
            <c:spPr>
              <a:solidFill>
                <a:srgbClr val="9DB1CF"/>
              </a:solidFill>
              <a:ln>
                <a:noFill/>
              </a:ln>
            </c:spPr>
            <c:extLst>
              <c:ext xmlns:c16="http://schemas.microsoft.com/office/drawing/2014/chart" uri="{C3380CC4-5D6E-409C-BE32-E72D297353CC}">
                <c16:uniqueId val="{0000000A-B0FB-CE48-8741-BA1F6FDC9F5A}"/>
              </c:ext>
            </c:extLst>
          </c:dPt>
          <c:dPt>
            <c:idx val="51"/>
            <c:invertIfNegative val="0"/>
            <c:bubble3D val="0"/>
            <c:spPr>
              <a:solidFill>
                <a:srgbClr val="9DB1CF"/>
              </a:solidFill>
              <a:ln>
                <a:noFill/>
              </a:ln>
            </c:spPr>
            <c:extLst>
              <c:ext xmlns:c16="http://schemas.microsoft.com/office/drawing/2014/chart" uri="{C3380CC4-5D6E-409C-BE32-E72D297353CC}">
                <c16:uniqueId val="{0000000B-B0FB-CE48-8741-BA1F6FDC9F5A}"/>
              </c:ext>
            </c:extLst>
          </c:dPt>
          <c:dPt>
            <c:idx val="52"/>
            <c:invertIfNegative val="0"/>
            <c:bubble3D val="0"/>
            <c:spPr>
              <a:solidFill>
                <a:srgbClr val="9DB1CF"/>
              </a:solidFill>
              <a:ln>
                <a:noFill/>
              </a:ln>
            </c:spPr>
            <c:extLst>
              <c:ext xmlns:c16="http://schemas.microsoft.com/office/drawing/2014/chart" uri="{C3380CC4-5D6E-409C-BE32-E72D297353CC}">
                <c16:uniqueId val="{0000000C-B0FB-CE48-8741-BA1F6FDC9F5A}"/>
              </c:ext>
            </c:extLst>
          </c:dPt>
          <c:dPt>
            <c:idx val="53"/>
            <c:invertIfNegative val="0"/>
            <c:bubble3D val="0"/>
            <c:spPr>
              <a:solidFill>
                <a:srgbClr val="9DB1CF"/>
              </a:solidFill>
              <a:ln>
                <a:noFill/>
              </a:ln>
            </c:spPr>
            <c:extLst>
              <c:ext xmlns:c16="http://schemas.microsoft.com/office/drawing/2014/chart" uri="{C3380CC4-5D6E-409C-BE32-E72D297353CC}">
                <c16:uniqueId val="{0000000D-B0FB-CE48-8741-BA1F6FDC9F5A}"/>
              </c:ext>
            </c:extLst>
          </c:dPt>
          <c:dPt>
            <c:idx val="54"/>
            <c:invertIfNegative val="0"/>
            <c:bubble3D val="0"/>
            <c:spPr>
              <a:solidFill>
                <a:srgbClr val="9DB1CF"/>
              </a:solidFill>
              <a:ln>
                <a:noFill/>
              </a:ln>
            </c:spPr>
            <c:extLst>
              <c:ext xmlns:c16="http://schemas.microsoft.com/office/drawing/2014/chart" uri="{C3380CC4-5D6E-409C-BE32-E72D297353CC}">
                <c16:uniqueId val="{0000000E-B0FB-CE48-8741-BA1F6FDC9F5A}"/>
              </c:ext>
            </c:extLst>
          </c:dPt>
          <c:val>
            <c:numRef>
              <c:f>Sheet1!$A$1:$BC$1</c:f>
              <c:numCache>
                <c:formatCode>General</c:formatCode>
                <c:ptCount val="55"/>
                <c:pt idx="0">
                  <c:v>1685</c:v>
                </c:pt>
                <c:pt idx="1">
                  <c:v>2215</c:v>
                </c:pt>
                <c:pt idx="2">
                  <c:v>2690</c:v>
                </c:pt>
                <c:pt idx="3">
                  <c:v>2460</c:v>
                </c:pt>
                <c:pt idx="4">
                  <c:v>2122</c:v>
                </c:pt>
                <c:pt idx="5">
                  <c:v>1802</c:v>
                </c:pt>
                <c:pt idx="6">
                  <c:v>1727</c:v>
                </c:pt>
                <c:pt idx="7">
                  <c:v>1227</c:v>
                </c:pt>
                <c:pt idx="8">
                  <c:v>3067</c:v>
                </c:pt>
                <c:pt idx="9">
                  <c:v>5344</c:v>
                </c:pt>
                <c:pt idx="10">
                  <c:v>10455</c:v>
                </c:pt>
                <c:pt idx="11">
                  <c:v>18029</c:v>
                </c:pt>
                <c:pt idx="12">
                  <c:v>17887</c:v>
                </c:pt>
                <c:pt idx="13">
                  <c:v>22652</c:v>
                </c:pt>
                <c:pt idx="14">
                  <c:v>26472</c:v>
                </c:pt>
                <c:pt idx="15">
                  <c:v>33050</c:v>
                </c:pt>
                <c:pt idx="16">
                  <c:v>37979</c:v>
                </c:pt>
                <c:pt idx="17">
                  <c:v>40251</c:v>
                </c:pt>
                <c:pt idx="18">
                  <c:v>39627</c:v>
                </c:pt>
                <c:pt idx="19">
                  <c:v>34779</c:v>
                </c:pt>
                <c:pt idx="20">
                  <c:v>36161</c:v>
                </c:pt>
                <c:pt idx="21">
                  <c:v>34121</c:v>
                </c:pt>
                <c:pt idx="22">
                  <c:v>33045</c:v>
                </c:pt>
                <c:pt idx="23">
                  <c:v>26467</c:v>
                </c:pt>
                <c:pt idx="24">
                  <c:v>21061</c:v>
                </c:pt>
                <c:pt idx="25">
                  <c:v>15982</c:v>
                </c:pt>
                <c:pt idx="26">
                  <c:v>10940</c:v>
                </c:pt>
                <c:pt idx="27">
                  <c:v>8214</c:v>
                </c:pt>
                <c:pt idx="28">
                  <c:v>6832</c:v>
                </c:pt>
                <c:pt idx="29">
                  <c:v>4107</c:v>
                </c:pt>
                <c:pt idx="30">
                  <c:v>4483</c:v>
                </c:pt>
                <c:pt idx="31">
                  <c:v>4483</c:v>
                </c:pt>
                <c:pt idx="32">
                  <c:v>6242</c:v>
                </c:pt>
                <c:pt idx="33">
                  <c:v>6242</c:v>
                </c:pt>
                <c:pt idx="34">
                  <c:v>6242</c:v>
                </c:pt>
                <c:pt idx="35">
                  <c:v>6242</c:v>
                </c:pt>
                <c:pt idx="36">
                  <c:v>6242</c:v>
                </c:pt>
                <c:pt idx="37">
                  <c:v>6242</c:v>
                </c:pt>
                <c:pt idx="38">
                  <c:v>3122</c:v>
                </c:pt>
                <c:pt idx="39">
                  <c:v>3122</c:v>
                </c:pt>
                <c:pt idx="40">
                  <c:v>6242</c:v>
                </c:pt>
                <c:pt idx="41">
                  <c:v>6242</c:v>
                </c:pt>
                <c:pt idx="42">
                  <c:v>6242</c:v>
                </c:pt>
                <c:pt idx="43">
                  <c:v>6242</c:v>
                </c:pt>
                <c:pt idx="44">
                  <c:v>6242</c:v>
                </c:pt>
                <c:pt idx="45">
                  <c:v>6242</c:v>
                </c:pt>
                <c:pt idx="46">
                  <c:v>3122</c:v>
                </c:pt>
                <c:pt idx="47">
                  <c:v>3122</c:v>
                </c:pt>
                <c:pt idx="48">
                  <c:v>6242</c:v>
                </c:pt>
                <c:pt idx="49">
                  <c:v>6242</c:v>
                </c:pt>
                <c:pt idx="50">
                  <c:v>6242</c:v>
                </c:pt>
                <c:pt idx="51">
                  <c:v>6242</c:v>
                </c:pt>
                <c:pt idx="52">
                  <c:v>6242</c:v>
                </c:pt>
                <c:pt idx="53">
                  <c:v>6242</c:v>
                </c:pt>
                <c:pt idx="54">
                  <c:v>3122</c:v>
                </c:pt>
              </c:numCache>
            </c:numRef>
          </c:val>
          <c:extLst>
            <c:ext xmlns:c16="http://schemas.microsoft.com/office/drawing/2014/chart" uri="{C3380CC4-5D6E-409C-BE32-E72D297353CC}">
              <c16:uniqueId val="{0000000F-B0FB-CE48-8741-BA1F6FDC9F5A}"/>
            </c:ext>
          </c:extLst>
        </c:ser>
        <c:ser>
          <c:idx val="1"/>
          <c:order val="1"/>
          <c:spPr>
            <a:solidFill>
              <a:srgbClr val="C3CFE1"/>
            </a:solidFill>
            <a:ln>
              <a:noFill/>
            </a:ln>
          </c:spPr>
          <c:invertIfNegative val="0"/>
          <c:dPt>
            <c:idx val="40"/>
            <c:invertIfNegative val="0"/>
            <c:bubble3D val="0"/>
            <c:spPr>
              <a:solidFill>
                <a:srgbClr val="9DB1CF"/>
              </a:solidFill>
              <a:ln>
                <a:noFill/>
              </a:ln>
            </c:spPr>
            <c:extLst>
              <c:ext xmlns:c16="http://schemas.microsoft.com/office/drawing/2014/chart" uri="{C3380CC4-5D6E-409C-BE32-E72D297353CC}">
                <c16:uniqueId val="{00000010-B0FB-CE48-8741-BA1F6FDC9F5A}"/>
              </c:ext>
            </c:extLst>
          </c:dPt>
          <c:dPt>
            <c:idx val="41"/>
            <c:invertIfNegative val="0"/>
            <c:bubble3D val="0"/>
            <c:spPr>
              <a:solidFill>
                <a:srgbClr val="9DB1CF"/>
              </a:solidFill>
              <a:ln>
                <a:noFill/>
              </a:ln>
            </c:spPr>
            <c:extLst>
              <c:ext xmlns:c16="http://schemas.microsoft.com/office/drawing/2014/chart" uri="{C3380CC4-5D6E-409C-BE32-E72D297353CC}">
                <c16:uniqueId val="{00000011-B0FB-CE48-8741-BA1F6FDC9F5A}"/>
              </c:ext>
            </c:extLst>
          </c:dPt>
          <c:dPt>
            <c:idx val="42"/>
            <c:invertIfNegative val="0"/>
            <c:bubble3D val="0"/>
            <c:spPr>
              <a:solidFill>
                <a:srgbClr val="9DB1CF"/>
              </a:solidFill>
              <a:ln>
                <a:noFill/>
              </a:ln>
            </c:spPr>
            <c:extLst>
              <c:ext xmlns:c16="http://schemas.microsoft.com/office/drawing/2014/chart" uri="{C3380CC4-5D6E-409C-BE32-E72D297353CC}">
                <c16:uniqueId val="{00000012-B0FB-CE48-8741-BA1F6FDC9F5A}"/>
              </c:ext>
            </c:extLst>
          </c:dPt>
          <c:dPt>
            <c:idx val="43"/>
            <c:invertIfNegative val="0"/>
            <c:bubble3D val="0"/>
            <c:spPr>
              <a:solidFill>
                <a:srgbClr val="9DB1CF"/>
              </a:solidFill>
              <a:ln>
                <a:noFill/>
              </a:ln>
            </c:spPr>
            <c:extLst>
              <c:ext xmlns:c16="http://schemas.microsoft.com/office/drawing/2014/chart" uri="{C3380CC4-5D6E-409C-BE32-E72D297353CC}">
                <c16:uniqueId val="{00000013-B0FB-CE48-8741-BA1F6FDC9F5A}"/>
              </c:ext>
            </c:extLst>
          </c:dPt>
          <c:dPt>
            <c:idx val="44"/>
            <c:invertIfNegative val="0"/>
            <c:bubble3D val="0"/>
            <c:spPr>
              <a:solidFill>
                <a:srgbClr val="9DB1CF"/>
              </a:solidFill>
              <a:ln>
                <a:noFill/>
              </a:ln>
            </c:spPr>
            <c:extLst>
              <c:ext xmlns:c16="http://schemas.microsoft.com/office/drawing/2014/chart" uri="{C3380CC4-5D6E-409C-BE32-E72D297353CC}">
                <c16:uniqueId val="{00000014-B0FB-CE48-8741-BA1F6FDC9F5A}"/>
              </c:ext>
            </c:extLst>
          </c:dPt>
          <c:dPt>
            <c:idx val="45"/>
            <c:invertIfNegative val="0"/>
            <c:bubble3D val="0"/>
            <c:spPr>
              <a:solidFill>
                <a:srgbClr val="9DB1CF"/>
              </a:solidFill>
              <a:ln>
                <a:noFill/>
              </a:ln>
            </c:spPr>
            <c:extLst>
              <c:ext xmlns:c16="http://schemas.microsoft.com/office/drawing/2014/chart" uri="{C3380CC4-5D6E-409C-BE32-E72D297353CC}">
                <c16:uniqueId val="{00000015-B0FB-CE48-8741-BA1F6FDC9F5A}"/>
              </c:ext>
            </c:extLst>
          </c:dPt>
          <c:dPt>
            <c:idx val="46"/>
            <c:invertIfNegative val="0"/>
            <c:bubble3D val="0"/>
            <c:spPr>
              <a:solidFill>
                <a:srgbClr val="9DB1CF"/>
              </a:solidFill>
              <a:ln>
                <a:noFill/>
              </a:ln>
            </c:spPr>
            <c:extLst>
              <c:ext xmlns:c16="http://schemas.microsoft.com/office/drawing/2014/chart" uri="{C3380CC4-5D6E-409C-BE32-E72D297353CC}">
                <c16:uniqueId val="{00000016-B0FB-CE48-8741-BA1F6FDC9F5A}"/>
              </c:ext>
            </c:extLst>
          </c:dPt>
          <c:dPt>
            <c:idx val="47"/>
            <c:invertIfNegative val="0"/>
            <c:bubble3D val="0"/>
            <c:spPr>
              <a:solidFill>
                <a:srgbClr val="9DB1CF"/>
              </a:solidFill>
              <a:ln>
                <a:noFill/>
              </a:ln>
            </c:spPr>
            <c:extLst>
              <c:ext xmlns:c16="http://schemas.microsoft.com/office/drawing/2014/chart" uri="{C3380CC4-5D6E-409C-BE32-E72D297353CC}">
                <c16:uniqueId val="{00000017-B0FB-CE48-8741-BA1F6FDC9F5A}"/>
              </c:ext>
            </c:extLst>
          </c:dPt>
          <c:dPt>
            <c:idx val="48"/>
            <c:invertIfNegative val="0"/>
            <c:bubble3D val="0"/>
            <c:spPr>
              <a:solidFill>
                <a:srgbClr val="6F8DB9"/>
              </a:solidFill>
              <a:ln>
                <a:noFill/>
              </a:ln>
            </c:spPr>
            <c:extLst>
              <c:ext xmlns:c16="http://schemas.microsoft.com/office/drawing/2014/chart" uri="{C3380CC4-5D6E-409C-BE32-E72D297353CC}">
                <c16:uniqueId val="{00000018-B0FB-CE48-8741-BA1F6FDC9F5A}"/>
              </c:ext>
            </c:extLst>
          </c:dPt>
          <c:dPt>
            <c:idx val="49"/>
            <c:invertIfNegative val="0"/>
            <c:bubble3D val="0"/>
            <c:spPr>
              <a:solidFill>
                <a:srgbClr val="6F8DB9"/>
              </a:solidFill>
              <a:ln>
                <a:noFill/>
              </a:ln>
            </c:spPr>
            <c:extLst>
              <c:ext xmlns:c16="http://schemas.microsoft.com/office/drawing/2014/chart" uri="{C3380CC4-5D6E-409C-BE32-E72D297353CC}">
                <c16:uniqueId val="{00000019-B0FB-CE48-8741-BA1F6FDC9F5A}"/>
              </c:ext>
            </c:extLst>
          </c:dPt>
          <c:dPt>
            <c:idx val="50"/>
            <c:invertIfNegative val="0"/>
            <c:bubble3D val="0"/>
            <c:spPr>
              <a:solidFill>
                <a:srgbClr val="6F8DB9"/>
              </a:solidFill>
              <a:ln>
                <a:noFill/>
              </a:ln>
            </c:spPr>
            <c:extLst>
              <c:ext xmlns:c16="http://schemas.microsoft.com/office/drawing/2014/chart" uri="{C3380CC4-5D6E-409C-BE32-E72D297353CC}">
                <c16:uniqueId val="{0000001A-B0FB-CE48-8741-BA1F6FDC9F5A}"/>
              </c:ext>
            </c:extLst>
          </c:dPt>
          <c:dPt>
            <c:idx val="51"/>
            <c:invertIfNegative val="0"/>
            <c:bubble3D val="0"/>
            <c:spPr>
              <a:solidFill>
                <a:srgbClr val="6F8DB9"/>
              </a:solidFill>
              <a:ln>
                <a:noFill/>
              </a:ln>
            </c:spPr>
            <c:extLst>
              <c:ext xmlns:c16="http://schemas.microsoft.com/office/drawing/2014/chart" uri="{C3380CC4-5D6E-409C-BE32-E72D297353CC}">
                <c16:uniqueId val="{0000001B-B0FB-CE48-8741-BA1F6FDC9F5A}"/>
              </c:ext>
            </c:extLst>
          </c:dPt>
          <c:dPt>
            <c:idx val="52"/>
            <c:invertIfNegative val="0"/>
            <c:bubble3D val="0"/>
            <c:spPr>
              <a:solidFill>
                <a:srgbClr val="6F8DB9"/>
              </a:solidFill>
              <a:ln>
                <a:noFill/>
              </a:ln>
            </c:spPr>
            <c:extLst>
              <c:ext xmlns:c16="http://schemas.microsoft.com/office/drawing/2014/chart" uri="{C3380CC4-5D6E-409C-BE32-E72D297353CC}">
                <c16:uniqueId val="{0000001C-B0FB-CE48-8741-BA1F6FDC9F5A}"/>
              </c:ext>
            </c:extLst>
          </c:dPt>
          <c:dPt>
            <c:idx val="53"/>
            <c:invertIfNegative val="0"/>
            <c:bubble3D val="0"/>
            <c:spPr>
              <a:solidFill>
                <a:srgbClr val="6F8DB9"/>
              </a:solidFill>
              <a:ln>
                <a:noFill/>
              </a:ln>
            </c:spPr>
            <c:extLst>
              <c:ext xmlns:c16="http://schemas.microsoft.com/office/drawing/2014/chart" uri="{C3380CC4-5D6E-409C-BE32-E72D297353CC}">
                <c16:uniqueId val="{0000001D-B0FB-CE48-8741-BA1F6FDC9F5A}"/>
              </c:ext>
            </c:extLst>
          </c:dPt>
          <c:dPt>
            <c:idx val="54"/>
            <c:invertIfNegative val="0"/>
            <c:bubble3D val="0"/>
            <c:spPr>
              <a:solidFill>
                <a:srgbClr val="6F8DB9"/>
              </a:solidFill>
              <a:ln>
                <a:noFill/>
              </a:ln>
            </c:spPr>
            <c:extLst>
              <c:ext xmlns:c16="http://schemas.microsoft.com/office/drawing/2014/chart" uri="{C3380CC4-5D6E-409C-BE32-E72D297353CC}">
                <c16:uniqueId val="{0000001E-B0FB-CE48-8741-BA1F6FDC9F5A}"/>
              </c:ext>
            </c:extLst>
          </c:dPt>
          <c:val>
            <c:numRef>
              <c:f>Sheet1!$A$2:$BC$2</c:f>
              <c:numCache>
                <c:formatCode>General</c:formatCode>
                <c:ptCount val="55"/>
                <c:pt idx="0">
                  <c:v>86</c:v>
                </c:pt>
                <c:pt idx="1">
                  <c:v>86</c:v>
                </c:pt>
                <c:pt idx="2">
                  <c:v>166</c:v>
                </c:pt>
                <c:pt idx="3">
                  <c:v>316</c:v>
                </c:pt>
                <c:pt idx="4">
                  <c:v>796</c:v>
                </c:pt>
                <c:pt idx="5">
                  <c:v>1073</c:v>
                </c:pt>
                <c:pt idx="6">
                  <c:v>1105</c:v>
                </c:pt>
                <c:pt idx="7">
                  <c:v>1605</c:v>
                </c:pt>
                <c:pt idx="8">
                  <c:v>1605</c:v>
                </c:pt>
                <c:pt idx="9">
                  <c:v>2135</c:v>
                </c:pt>
                <c:pt idx="10">
                  <c:v>2690</c:v>
                </c:pt>
                <c:pt idx="11">
                  <c:v>2460</c:v>
                </c:pt>
                <c:pt idx="12">
                  <c:v>2122</c:v>
                </c:pt>
                <c:pt idx="13">
                  <c:v>1802</c:v>
                </c:pt>
                <c:pt idx="14">
                  <c:v>1727</c:v>
                </c:pt>
                <c:pt idx="15">
                  <c:v>1227</c:v>
                </c:pt>
                <c:pt idx="16">
                  <c:v>3067</c:v>
                </c:pt>
                <c:pt idx="17">
                  <c:v>5344</c:v>
                </c:pt>
                <c:pt idx="18">
                  <c:v>10455</c:v>
                </c:pt>
                <c:pt idx="19">
                  <c:v>18029</c:v>
                </c:pt>
                <c:pt idx="20">
                  <c:v>17887</c:v>
                </c:pt>
                <c:pt idx="21">
                  <c:v>22652</c:v>
                </c:pt>
                <c:pt idx="22">
                  <c:v>26472</c:v>
                </c:pt>
                <c:pt idx="23">
                  <c:v>33050</c:v>
                </c:pt>
                <c:pt idx="24">
                  <c:v>37979</c:v>
                </c:pt>
                <c:pt idx="25">
                  <c:v>40251</c:v>
                </c:pt>
                <c:pt idx="26">
                  <c:v>39627</c:v>
                </c:pt>
                <c:pt idx="27">
                  <c:v>34779</c:v>
                </c:pt>
                <c:pt idx="28">
                  <c:v>34919</c:v>
                </c:pt>
                <c:pt idx="29">
                  <c:v>32879</c:v>
                </c:pt>
                <c:pt idx="30">
                  <c:v>31803</c:v>
                </c:pt>
                <c:pt idx="31">
                  <c:v>25225</c:v>
                </c:pt>
                <c:pt idx="32">
                  <c:v>21061</c:v>
                </c:pt>
                <c:pt idx="33">
                  <c:v>15982</c:v>
                </c:pt>
                <c:pt idx="34">
                  <c:v>10940</c:v>
                </c:pt>
                <c:pt idx="35">
                  <c:v>8214</c:v>
                </c:pt>
                <c:pt idx="36">
                  <c:v>6832</c:v>
                </c:pt>
                <c:pt idx="37">
                  <c:v>4107</c:v>
                </c:pt>
                <c:pt idx="38">
                  <c:v>4483</c:v>
                </c:pt>
                <c:pt idx="39">
                  <c:v>4483</c:v>
                </c:pt>
                <c:pt idx="40">
                  <c:v>21061</c:v>
                </c:pt>
                <c:pt idx="41">
                  <c:v>15982</c:v>
                </c:pt>
                <c:pt idx="42">
                  <c:v>10940</c:v>
                </c:pt>
                <c:pt idx="43">
                  <c:v>8214</c:v>
                </c:pt>
                <c:pt idx="44">
                  <c:v>6832</c:v>
                </c:pt>
                <c:pt idx="45">
                  <c:v>4107</c:v>
                </c:pt>
                <c:pt idx="46">
                  <c:v>4483</c:v>
                </c:pt>
                <c:pt idx="47">
                  <c:v>4483</c:v>
                </c:pt>
                <c:pt idx="48">
                  <c:v>21061</c:v>
                </c:pt>
                <c:pt idx="49">
                  <c:v>15982</c:v>
                </c:pt>
                <c:pt idx="50">
                  <c:v>10940</c:v>
                </c:pt>
                <c:pt idx="51">
                  <c:v>8214</c:v>
                </c:pt>
                <c:pt idx="52">
                  <c:v>6832</c:v>
                </c:pt>
                <c:pt idx="53">
                  <c:v>4107</c:v>
                </c:pt>
                <c:pt idx="54">
                  <c:v>4483</c:v>
                </c:pt>
              </c:numCache>
            </c:numRef>
          </c:val>
          <c:extLst>
            <c:ext xmlns:c16="http://schemas.microsoft.com/office/drawing/2014/chart" uri="{C3380CC4-5D6E-409C-BE32-E72D297353CC}">
              <c16:uniqueId val="{0000001F-B0FB-CE48-8741-BA1F6FDC9F5A}"/>
            </c:ext>
          </c:extLst>
        </c:ser>
        <c:ser>
          <c:idx val="2"/>
          <c:order val="2"/>
          <c:spPr>
            <a:solidFill>
              <a:srgbClr val="9DB1CF"/>
            </a:solidFill>
            <a:ln>
              <a:noFill/>
            </a:ln>
          </c:spPr>
          <c:invertIfNegative val="0"/>
          <c:dPt>
            <c:idx val="40"/>
            <c:invertIfNegative val="0"/>
            <c:bubble3D val="0"/>
            <c:spPr>
              <a:solidFill>
                <a:srgbClr val="6F8DB9"/>
              </a:solidFill>
              <a:ln>
                <a:noFill/>
              </a:ln>
            </c:spPr>
            <c:extLst>
              <c:ext xmlns:c16="http://schemas.microsoft.com/office/drawing/2014/chart" uri="{C3380CC4-5D6E-409C-BE32-E72D297353CC}">
                <c16:uniqueId val="{00000020-B0FB-CE48-8741-BA1F6FDC9F5A}"/>
              </c:ext>
            </c:extLst>
          </c:dPt>
          <c:dPt>
            <c:idx val="41"/>
            <c:invertIfNegative val="0"/>
            <c:bubble3D val="0"/>
            <c:spPr>
              <a:solidFill>
                <a:srgbClr val="6F8DB9"/>
              </a:solidFill>
              <a:ln>
                <a:noFill/>
              </a:ln>
            </c:spPr>
            <c:extLst>
              <c:ext xmlns:c16="http://schemas.microsoft.com/office/drawing/2014/chart" uri="{C3380CC4-5D6E-409C-BE32-E72D297353CC}">
                <c16:uniqueId val="{00000021-B0FB-CE48-8741-BA1F6FDC9F5A}"/>
              </c:ext>
            </c:extLst>
          </c:dPt>
          <c:dPt>
            <c:idx val="42"/>
            <c:invertIfNegative val="0"/>
            <c:bubble3D val="0"/>
            <c:spPr>
              <a:solidFill>
                <a:srgbClr val="6F8DB9"/>
              </a:solidFill>
              <a:ln>
                <a:noFill/>
              </a:ln>
            </c:spPr>
            <c:extLst>
              <c:ext xmlns:c16="http://schemas.microsoft.com/office/drawing/2014/chart" uri="{C3380CC4-5D6E-409C-BE32-E72D297353CC}">
                <c16:uniqueId val="{00000022-B0FB-CE48-8741-BA1F6FDC9F5A}"/>
              </c:ext>
            </c:extLst>
          </c:dPt>
          <c:dPt>
            <c:idx val="43"/>
            <c:invertIfNegative val="0"/>
            <c:bubble3D val="0"/>
            <c:spPr>
              <a:solidFill>
                <a:srgbClr val="6F8DB9"/>
              </a:solidFill>
              <a:ln>
                <a:noFill/>
              </a:ln>
            </c:spPr>
            <c:extLst>
              <c:ext xmlns:c16="http://schemas.microsoft.com/office/drawing/2014/chart" uri="{C3380CC4-5D6E-409C-BE32-E72D297353CC}">
                <c16:uniqueId val="{00000023-B0FB-CE48-8741-BA1F6FDC9F5A}"/>
              </c:ext>
            </c:extLst>
          </c:dPt>
          <c:dPt>
            <c:idx val="44"/>
            <c:invertIfNegative val="0"/>
            <c:bubble3D val="0"/>
            <c:spPr>
              <a:solidFill>
                <a:srgbClr val="6F8DB9"/>
              </a:solidFill>
              <a:ln>
                <a:noFill/>
              </a:ln>
            </c:spPr>
            <c:extLst>
              <c:ext xmlns:c16="http://schemas.microsoft.com/office/drawing/2014/chart" uri="{C3380CC4-5D6E-409C-BE32-E72D297353CC}">
                <c16:uniqueId val="{00000024-B0FB-CE48-8741-BA1F6FDC9F5A}"/>
              </c:ext>
            </c:extLst>
          </c:dPt>
          <c:dPt>
            <c:idx val="45"/>
            <c:invertIfNegative val="0"/>
            <c:bubble3D val="0"/>
            <c:spPr>
              <a:solidFill>
                <a:srgbClr val="6F8DB9"/>
              </a:solidFill>
              <a:ln>
                <a:noFill/>
              </a:ln>
            </c:spPr>
            <c:extLst>
              <c:ext xmlns:c16="http://schemas.microsoft.com/office/drawing/2014/chart" uri="{C3380CC4-5D6E-409C-BE32-E72D297353CC}">
                <c16:uniqueId val="{00000025-B0FB-CE48-8741-BA1F6FDC9F5A}"/>
              </c:ext>
            </c:extLst>
          </c:dPt>
          <c:dPt>
            <c:idx val="46"/>
            <c:invertIfNegative val="0"/>
            <c:bubble3D val="0"/>
            <c:spPr>
              <a:solidFill>
                <a:srgbClr val="6F8DB9"/>
              </a:solidFill>
              <a:ln>
                <a:noFill/>
              </a:ln>
            </c:spPr>
            <c:extLst>
              <c:ext xmlns:c16="http://schemas.microsoft.com/office/drawing/2014/chart" uri="{C3380CC4-5D6E-409C-BE32-E72D297353CC}">
                <c16:uniqueId val="{00000026-B0FB-CE48-8741-BA1F6FDC9F5A}"/>
              </c:ext>
            </c:extLst>
          </c:dPt>
          <c:dPt>
            <c:idx val="47"/>
            <c:invertIfNegative val="0"/>
            <c:bubble3D val="0"/>
            <c:spPr>
              <a:solidFill>
                <a:srgbClr val="6F8DB9"/>
              </a:solidFill>
              <a:ln>
                <a:noFill/>
              </a:ln>
            </c:spPr>
            <c:extLst>
              <c:ext xmlns:c16="http://schemas.microsoft.com/office/drawing/2014/chart" uri="{C3380CC4-5D6E-409C-BE32-E72D297353CC}">
                <c16:uniqueId val="{00000027-B0FB-CE48-8741-BA1F6FDC9F5A}"/>
              </c:ext>
            </c:extLst>
          </c:dPt>
          <c:dPt>
            <c:idx val="48"/>
            <c:invertIfNegative val="0"/>
            <c:bubble3D val="0"/>
            <c:spPr>
              <a:solidFill>
                <a:srgbClr val="4C6C9C"/>
              </a:solidFill>
              <a:ln>
                <a:noFill/>
              </a:ln>
            </c:spPr>
            <c:extLst>
              <c:ext xmlns:c16="http://schemas.microsoft.com/office/drawing/2014/chart" uri="{C3380CC4-5D6E-409C-BE32-E72D297353CC}">
                <c16:uniqueId val="{00000028-B0FB-CE48-8741-BA1F6FDC9F5A}"/>
              </c:ext>
            </c:extLst>
          </c:dPt>
          <c:dPt>
            <c:idx val="49"/>
            <c:invertIfNegative val="0"/>
            <c:bubble3D val="0"/>
            <c:spPr>
              <a:solidFill>
                <a:srgbClr val="4C6C9C"/>
              </a:solidFill>
              <a:ln>
                <a:noFill/>
              </a:ln>
            </c:spPr>
            <c:extLst>
              <c:ext xmlns:c16="http://schemas.microsoft.com/office/drawing/2014/chart" uri="{C3380CC4-5D6E-409C-BE32-E72D297353CC}">
                <c16:uniqueId val="{00000029-B0FB-CE48-8741-BA1F6FDC9F5A}"/>
              </c:ext>
            </c:extLst>
          </c:dPt>
          <c:dPt>
            <c:idx val="50"/>
            <c:invertIfNegative val="0"/>
            <c:bubble3D val="0"/>
            <c:spPr>
              <a:solidFill>
                <a:srgbClr val="4C6C9C"/>
              </a:solidFill>
              <a:ln>
                <a:noFill/>
              </a:ln>
            </c:spPr>
            <c:extLst>
              <c:ext xmlns:c16="http://schemas.microsoft.com/office/drawing/2014/chart" uri="{C3380CC4-5D6E-409C-BE32-E72D297353CC}">
                <c16:uniqueId val="{0000002A-B0FB-CE48-8741-BA1F6FDC9F5A}"/>
              </c:ext>
            </c:extLst>
          </c:dPt>
          <c:dPt>
            <c:idx val="51"/>
            <c:invertIfNegative val="0"/>
            <c:bubble3D val="0"/>
            <c:spPr>
              <a:solidFill>
                <a:srgbClr val="4C6C9C"/>
              </a:solidFill>
              <a:ln>
                <a:noFill/>
              </a:ln>
            </c:spPr>
            <c:extLst>
              <c:ext xmlns:c16="http://schemas.microsoft.com/office/drawing/2014/chart" uri="{C3380CC4-5D6E-409C-BE32-E72D297353CC}">
                <c16:uniqueId val="{0000002B-B0FB-CE48-8741-BA1F6FDC9F5A}"/>
              </c:ext>
            </c:extLst>
          </c:dPt>
          <c:dPt>
            <c:idx val="52"/>
            <c:invertIfNegative val="0"/>
            <c:bubble3D val="0"/>
            <c:spPr>
              <a:solidFill>
                <a:srgbClr val="4C6C9C"/>
              </a:solidFill>
              <a:ln>
                <a:noFill/>
              </a:ln>
            </c:spPr>
            <c:extLst>
              <c:ext xmlns:c16="http://schemas.microsoft.com/office/drawing/2014/chart" uri="{C3380CC4-5D6E-409C-BE32-E72D297353CC}">
                <c16:uniqueId val="{0000002C-B0FB-CE48-8741-BA1F6FDC9F5A}"/>
              </c:ext>
            </c:extLst>
          </c:dPt>
          <c:dPt>
            <c:idx val="53"/>
            <c:invertIfNegative val="0"/>
            <c:bubble3D val="0"/>
            <c:spPr>
              <a:solidFill>
                <a:srgbClr val="4C6C9C"/>
              </a:solidFill>
              <a:ln>
                <a:noFill/>
              </a:ln>
            </c:spPr>
            <c:extLst>
              <c:ext xmlns:c16="http://schemas.microsoft.com/office/drawing/2014/chart" uri="{C3380CC4-5D6E-409C-BE32-E72D297353CC}">
                <c16:uniqueId val="{0000002D-B0FB-CE48-8741-BA1F6FDC9F5A}"/>
              </c:ext>
            </c:extLst>
          </c:dPt>
          <c:dPt>
            <c:idx val="54"/>
            <c:invertIfNegative val="0"/>
            <c:bubble3D val="0"/>
            <c:spPr>
              <a:solidFill>
                <a:srgbClr val="4C6C9C"/>
              </a:solidFill>
              <a:ln>
                <a:noFill/>
              </a:ln>
            </c:spPr>
            <c:extLst>
              <c:ext xmlns:c16="http://schemas.microsoft.com/office/drawing/2014/chart" uri="{C3380CC4-5D6E-409C-BE32-E72D297353CC}">
                <c16:uniqueId val="{0000002E-B0FB-CE48-8741-BA1F6FDC9F5A}"/>
              </c:ext>
            </c:extLst>
          </c:dPt>
          <c:val>
            <c:numRef>
              <c:f>Sheet1!$A$3:$BC$3</c:f>
              <c:numCache>
                <c:formatCode>General</c:formatCode>
                <c:ptCount val="55"/>
                <c:pt idx="5">
                  <c:v>43</c:v>
                </c:pt>
                <c:pt idx="6">
                  <c:v>86</c:v>
                </c:pt>
                <c:pt idx="7">
                  <c:v>86</c:v>
                </c:pt>
                <c:pt idx="8">
                  <c:v>86</c:v>
                </c:pt>
                <c:pt idx="9">
                  <c:v>86</c:v>
                </c:pt>
                <c:pt idx="10">
                  <c:v>43</c:v>
                </c:pt>
                <c:pt idx="11">
                  <c:v>273</c:v>
                </c:pt>
                <c:pt idx="12">
                  <c:v>753</c:v>
                </c:pt>
                <c:pt idx="13">
                  <c:v>1073</c:v>
                </c:pt>
                <c:pt idx="14">
                  <c:v>1105</c:v>
                </c:pt>
                <c:pt idx="15">
                  <c:v>1300</c:v>
                </c:pt>
                <c:pt idx="16">
                  <c:v>1300</c:v>
                </c:pt>
                <c:pt idx="17">
                  <c:v>1830</c:v>
                </c:pt>
                <c:pt idx="18">
                  <c:v>2385</c:v>
                </c:pt>
                <c:pt idx="19">
                  <c:v>2385</c:v>
                </c:pt>
                <c:pt idx="20">
                  <c:v>1547</c:v>
                </c:pt>
                <c:pt idx="21">
                  <c:v>1227</c:v>
                </c:pt>
                <c:pt idx="22">
                  <c:v>697</c:v>
                </c:pt>
                <c:pt idx="23">
                  <c:v>697</c:v>
                </c:pt>
                <c:pt idx="24">
                  <c:v>1982</c:v>
                </c:pt>
                <c:pt idx="25">
                  <c:v>4789</c:v>
                </c:pt>
                <c:pt idx="26">
                  <c:v>10455</c:v>
                </c:pt>
                <c:pt idx="27">
                  <c:v>18029</c:v>
                </c:pt>
                <c:pt idx="28">
                  <c:v>17887</c:v>
                </c:pt>
                <c:pt idx="29">
                  <c:v>22652</c:v>
                </c:pt>
                <c:pt idx="30">
                  <c:v>26472</c:v>
                </c:pt>
                <c:pt idx="31">
                  <c:v>33050</c:v>
                </c:pt>
                <c:pt idx="32">
                  <c:v>36737</c:v>
                </c:pt>
                <c:pt idx="33">
                  <c:v>39009</c:v>
                </c:pt>
                <c:pt idx="34">
                  <c:v>38385</c:v>
                </c:pt>
                <c:pt idx="35">
                  <c:v>33537</c:v>
                </c:pt>
                <c:pt idx="36">
                  <c:v>34919</c:v>
                </c:pt>
                <c:pt idx="37">
                  <c:v>32879</c:v>
                </c:pt>
                <c:pt idx="38">
                  <c:v>31803</c:v>
                </c:pt>
                <c:pt idx="39">
                  <c:v>25225</c:v>
                </c:pt>
                <c:pt idx="40">
                  <c:v>36737</c:v>
                </c:pt>
                <c:pt idx="41">
                  <c:v>39009</c:v>
                </c:pt>
                <c:pt idx="42">
                  <c:v>38385</c:v>
                </c:pt>
                <c:pt idx="43">
                  <c:v>33537</c:v>
                </c:pt>
                <c:pt idx="44">
                  <c:v>34919</c:v>
                </c:pt>
                <c:pt idx="45">
                  <c:v>32879</c:v>
                </c:pt>
                <c:pt idx="46">
                  <c:v>31803</c:v>
                </c:pt>
                <c:pt idx="47">
                  <c:v>25225</c:v>
                </c:pt>
                <c:pt idx="48">
                  <c:v>36737</c:v>
                </c:pt>
                <c:pt idx="49">
                  <c:v>39009</c:v>
                </c:pt>
                <c:pt idx="50">
                  <c:v>38385</c:v>
                </c:pt>
                <c:pt idx="51">
                  <c:v>33537</c:v>
                </c:pt>
                <c:pt idx="52">
                  <c:v>34919</c:v>
                </c:pt>
                <c:pt idx="53">
                  <c:v>32879</c:v>
                </c:pt>
                <c:pt idx="54">
                  <c:v>31803</c:v>
                </c:pt>
              </c:numCache>
            </c:numRef>
          </c:val>
          <c:extLst>
            <c:ext xmlns:c16="http://schemas.microsoft.com/office/drawing/2014/chart" uri="{C3380CC4-5D6E-409C-BE32-E72D297353CC}">
              <c16:uniqueId val="{0000002F-B0FB-CE48-8741-BA1F6FDC9F5A}"/>
            </c:ext>
          </c:extLst>
        </c:ser>
        <c:ser>
          <c:idx val="3"/>
          <c:order val="3"/>
          <c:spPr>
            <a:solidFill>
              <a:srgbClr val="6F8DB9"/>
            </a:solidFill>
            <a:ln>
              <a:noFill/>
            </a:ln>
          </c:spPr>
          <c:invertIfNegative val="0"/>
          <c:dPt>
            <c:idx val="40"/>
            <c:invertIfNegative val="0"/>
            <c:bubble3D val="0"/>
            <c:spPr>
              <a:solidFill>
                <a:srgbClr val="4C6C9C"/>
              </a:solidFill>
              <a:ln>
                <a:noFill/>
              </a:ln>
            </c:spPr>
            <c:extLst>
              <c:ext xmlns:c16="http://schemas.microsoft.com/office/drawing/2014/chart" uri="{C3380CC4-5D6E-409C-BE32-E72D297353CC}">
                <c16:uniqueId val="{00000030-B0FB-CE48-8741-BA1F6FDC9F5A}"/>
              </c:ext>
            </c:extLst>
          </c:dPt>
          <c:dPt>
            <c:idx val="41"/>
            <c:invertIfNegative val="0"/>
            <c:bubble3D val="0"/>
            <c:spPr>
              <a:solidFill>
                <a:srgbClr val="4C6C9C"/>
              </a:solidFill>
              <a:ln>
                <a:noFill/>
              </a:ln>
            </c:spPr>
            <c:extLst>
              <c:ext xmlns:c16="http://schemas.microsoft.com/office/drawing/2014/chart" uri="{C3380CC4-5D6E-409C-BE32-E72D297353CC}">
                <c16:uniqueId val="{00000031-B0FB-CE48-8741-BA1F6FDC9F5A}"/>
              </c:ext>
            </c:extLst>
          </c:dPt>
          <c:dPt>
            <c:idx val="42"/>
            <c:invertIfNegative val="0"/>
            <c:bubble3D val="0"/>
            <c:spPr>
              <a:solidFill>
                <a:srgbClr val="4C6C9C"/>
              </a:solidFill>
              <a:ln>
                <a:noFill/>
              </a:ln>
            </c:spPr>
            <c:extLst>
              <c:ext xmlns:c16="http://schemas.microsoft.com/office/drawing/2014/chart" uri="{C3380CC4-5D6E-409C-BE32-E72D297353CC}">
                <c16:uniqueId val="{00000032-B0FB-CE48-8741-BA1F6FDC9F5A}"/>
              </c:ext>
            </c:extLst>
          </c:dPt>
          <c:dPt>
            <c:idx val="43"/>
            <c:invertIfNegative val="0"/>
            <c:bubble3D val="0"/>
            <c:spPr>
              <a:solidFill>
                <a:srgbClr val="4C6C9C"/>
              </a:solidFill>
              <a:ln>
                <a:noFill/>
              </a:ln>
            </c:spPr>
            <c:extLst>
              <c:ext xmlns:c16="http://schemas.microsoft.com/office/drawing/2014/chart" uri="{C3380CC4-5D6E-409C-BE32-E72D297353CC}">
                <c16:uniqueId val="{00000033-B0FB-CE48-8741-BA1F6FDC9F5A}"/>
              </c:ext>
            </c:extLst>
          </c:dPt>
          <c:dPt>
            <c:idx val="44"/>
            <c:invertIfNegative val="0"/>
            <c:bubble3D val="0"/>
            <c:spPr>
              <a:solidFill>
                <a:srgbClr val="4C6C9C"/>
              </a:solidFill>
              <a:ln>
                <a:noFill/>
              </a:ln>
            </c:spPr>
            <c:extLst>
              <c:ext xmlns:c16="http://schemas.microsoft.com/office/drawing/2014/chart" uri="{C3380CC4-5D6E-409C-BE32-E72D297353CC}">
                <c16:uniqueId val="{00000034-B0FB-CE48-8741-BA1F6FDC9F5A}"/>
              </c:ext>
            </c:extLst>
          </c:dPt>
          <c:dPt>
            <c:idx val="45"/>
            <c:invertIfNegative val="0"/>
            <c:bubble3D val="0"/>
            <c:spPr>
              <a:solidFill>
                <a:srgbClr val="4C6C9C"/>
              </a:solidFill>
              <a:ln>
                <a:noFill/>
              </a:ln>
            </c:spPr>
            <c:extLst>
              <c:ext xmlns:c16="http://schemas.microsoft.com/office/drawing/2014/chart" uri="{C3380CC4-5D6E-409C-BE32-E72D297353CC}">
                <c16:uniqueId val="{00000035-B0FB-CE48-8741-BA1F6FDC9F5A}"/>
              </c:ext>
            </c:extLst>
          </c:dPt>
          <c:dPt>
            <c:idx val="46"/>
            <c:invertIfNegative val="0"/>
            <c:bubble3D val="0"/>
            <c:spPr>
              <a:solidFill>
                <a:srgbClr val="4C6C9C"/>
              </a:solidFill>
              <a:ln>
                <a:noFill/>
              </a:ln>
            </c:spPr>
            <c:extLst>
              <c:ext xmlns:c16="http://schemas.microsoft.com/office/drawing/2014/chart" uri="{C3380CC4-5D6E-409C-BE32-E72D297353CC}">
                <c16:uniqueId val="{00000036-B0FB-CE48-8741-BA1F6FDC9F5A}"/>
              </c:ext>
            </c:extLst>
          </c:dPt>
          <c:dPt>
            <c:idx val="47"/>
            <c:invertIfNegative val="0"/>
            <c:bubble3D val="0"/>
            <c:spPr>
              <a:solidFill>
                <a:srgbClr val="4C6C9C"/>
              </a:solidFill>
              <a:ln>
                <a:noFill/>
              </a:ln>
            </c:spPr>
            <c:extLst>
              <c:ext xmlns:c16="http://schemas.microsoft.com/office/drawing/2014/chart" uri="{C3380CC4-5D6E-409C-BE32-E72D297353CC}">
                <c16:uniqueId val="{00000037-B0FB-CE48-8741-BA1F6FDC9F5A}"/>
              </c:ext>
            </c:extLst>
          </c:dPt>
          <c:dPt>
            <c:idx val="48"/>
            <c:invertIfNegative val="0"/>
            <c:bubble3D val="0"/>
            <c:spPr>
              <a:solidFill>
                <a:srgbClr val="364D6E"/>
              </a:solidFill>
              <a:ln>
                <a:noFill/>
              </a:ln>
            </c:spPr>
            <c:extLst>
              <c:ext xmlns:c16="http://schemas.microsoft.com/office/drawing/2014/chart" uri="{C3380CC4-5D6E-409C-BE32-E72D297353CC}">
                <c16:uniqueId val="{00000038-B0FB-CE48-8741-BA1F6FDC9F5A}"/>
              </c:ext>
            </c:extLst>
          </c:dPt>
          <c:dPt>
            <c:idx val="49"/>
            <c:invertIfNegative val="0"/>
            <c:bubble3D val="0"/>
            <c:spPr>
              <a:solidFill>
                <a:srgbClr val="364D6E"/>
              </a:solidFill>
              <a:ln>
                <a:noFill/>
              </a:ln>
            </c:spPr>
            <c:extLst>
              <c:ext xmlns:c16="http://schemas.microsoft.com/office/drawing/2014/chart" uri="{C3380CC4-5D6E-409C-BE32-E72D297353CC}">
                <c16:uniqueId val="{00000039-B0FB-CE48-8741-BA1F6FDC9F5A}"/>
              </c:ext>
            </c:extLst>
          </c:dPt>
          <c:dPt>
            <c:idx val="50"/>
            <c:invertIfNegative val="0"/>
            <c:bubble3D val="0"/>
            <c:spPr>
              <a:solidFill>
                <a:srgbClr val="364D6E"/>
              </a:solidFill>
              <a:ln>
                <a:noFill/>
              </a:ln>
            </c:spPr>
            <c:extLst>
              <c:ext xmlns:c16="http://schemas.microsoft.com/office/drawing/2014/chart" uri="{C3380CC4-5D6E-409C-BE32-E72D297353CC}">
                <c16:uniqueId val="{0000003A-B0FB-CE48-8741-BA1F6FDC9F5A}"/>
              </c:ext>
            </c:extLst>
          </c:dPt>
          <c:dPt>
            <c:idx val="51"/>
            <c:invertIfNegative val="0"/>
            <c:bubble3D val="0"/>
            <c:spPr>
              <a:solidFill>
                <a:srgbClr val="364D6E"/>
              </a:solidFill>
              <a:ln>
                <a:noFill/>
              </a:ln>
            </c:spPr>
            <c:extLst>
              <c:ext xmlns:c16="http://schemas.microsoft.com/office/drawing/2014/chart" uri="{C3380CC4-5D6E-409C-BE32-E72D297353CC}">
                <c16:uniqueId val="{0000003B-B0FB-CE48-8741-BA1F6FDC9F5A}"/>
              </c:ext>
            </c:extLst>
          </c:dPt>
          <c:dPt>
            <c:idx val="52"/>
            <c:invertIfNegative val="0"/>
            <c:bubble3D val="0"/>
            <c:spPr>
              <a:solidFill>
                <a:srgbClr val="364D6E"/>
              </a:solidFill>
              <a:ln>
                <a:noFill/>
              </a:ln>
            </c:spPr>
            <c:extLst>
              <c:ext xmlns:c16="http://schemas.microsoft.com/office/drawing/2014/chart" uri="{C3380CC4-5D6E-409C-BE32-E72D297353CC}">
                <c16:uniqueId val="{0000003C-B0FB-CE48-8741-BA1F6FDC9F5A}"/>
              </c:ext>
            </c:extLst>
          </c:dPt>
          <c:dPt>
            <c:idx val="53"/>
            <c:invertIfNegative val="0"/>
            <c:bubble3D val="0"/>
            <c:spPr>
              <a:solidFill>
                <a:srgbClr val="364D6E"/>
              </a:solidFill>
              <a:ln>
                <a:noFill/>
              </a:ln>
            </c:spPr>
            <c:extLst>
              <c:ext xmlns:c16="http://schemas.microsoft.com/office/drawing/2014/chart" uri="{C3380CC4-5D6E-409C-BE32-E72D297353CC}">
                <c16:uniqueId val="{0000003D-B0FB-CE48-8741-BA1F6FDC9F5A}"/>
              </c:ext>
            </c:extLst>
          </c:dPt>
          <c:dPt>
            <c:idx val="54"/>
            <c:invertIfNegative val="0"/>
            <c:bubble3D val="0"/>
            <c:spPr>
              <a:solidFill>
                <a:srgbClr val="364D6E"/>
              </a:solidFill>
              <a:ln>
                <a:noFill/>
              </a:ln>
            </c:spPr>
            <c:extLst>
              <c:ext xmlns:c16="http://schemas.microsoft.com/office/drawing/2014/chart" uri="{C3380CC4-5D6E-409C-BE32-E72D297353CC}">
                <c16:uniqueId val="{0000003E-B0FB-CE48-8741-BA1F6FDC9F5A}"/>
              </c:ext>
            </c:extLst>
          </c:dPt>
          <c:val>
            <c:numRef>
              <c:f>Sheet1!$A$4:$BC$4</c:f>
              <c:numCache>
                <c:formatCode>General</c:formatCode>
                <c:ptCount val="55"/>
                <c:pt idx="28">
                  <c:v>142</c:v>
                </c:pt>
                <c:pt idx="29">
                  <c:v>142</c:v>
                </c:pt>
                <c:pt idx="30">
                  <c:v>142</c:v>
                </c:pt>
                <c:pt idx="31">
                  <c:v>142</c:v>
                </c:pt>
                <c:pt idx="32">
                  <c:v>1982</c:v>
                </c:pt>
                <c:pt idx="33">
                  <c:v>4789</c:v>
                </c:pt>
                <c:pt idx="34">
                  <c:v>10455</c:v>
                </c:pt>
                <c:pt idx="35">
                  <c:v>18029</c:v>
                </c:pt>
                <c:pt idx="36">
                  <c:v>17887</c:v>
                </c:pt>
                <c:pt idx="37">
                  <c:v>22652</c:v>
                </c:pt>
                <c:pt idx="38">
                  <c:v>26472</c:v>
                </c:pt>
                <c:pt idx="39">
                  <c:v>33050</c:v>
                </c:pt>
                <c:pt idx="40">
                  <c:v>1840</c:v>
                </c:pt>
                <c:pt idx="41">
                  <c:v>4647</c:v>
                </c:pt>
                <c:pt idx="42">
                  <c:v>10313</c:v>
                </c:pt>
                <c:pt idx="43">
                  <c:v>17887</c:v>
                </c:pt>
                <c:pt idx="44">
                  <c:v>17887</c:v>
                </c:pt>
                <c:pt idx="45">
                  <c:v>22652</c:v>
                </c:pt>
                <c:pt idx="46">
                  <c:v>26472</c:v>
                </c:pt>
                <c:pt idx="47">
                  <c:v>33050</c:v>
                </c:pt>
                <c:pt idx="48">
                  <c:v>1840</c:v>
                </c:pt>
                <c:pt idx="49">
                  <c:v>4647</c:v>
                </c:pt>
                <c:pt idx="50">
                  <c:v>8473</c:v>
                </c:pt>
                <c:pt idx="51">
                  <c:v>16047</c:v>
                </c:pt>
                <c:pt idx="52">
                  <c:v>16047</c:v>
                </c:pt>
                <c:pt idx="53">
                  <c:v>20812</c:v>
                </c:pt>
                <c:pt idx="54">
                  <c:v>24632</c:v>
                </c:pt>
              </c:numCache>
            </c:numRef>
          </c:val>
          <c:extLst>
            <c:ext xmlns:c16="http://schemas.microsoft.com/office/drawing/2014/chart" uri="{C3380CC4-5D6E-409C-BE32-E72D297353CC}">
              <c16:uniqueId val="{0000003F-B0FB-CE48-8741-BA1F6FDC9F5A}"/>
            </c:ext>
          </c:extLst>
        </c:ser>
        <c:ser>
          <c:idx val="4"/>
          <c:order val="4"/>
          <c:spPr>
            <a:solidFill>
              <a:srgbClr val="4C6C9C"/>
            </a:solidFill>
            <a:ln>
              <a:noFill/>
            </a:ln>
          </c:spPr>
          <c:invertIfNegative val="0"/>
          <c:val>
            <c:numRef>
              <c:f>Sheet1!$A$5:$BC$5</c:f>
              <c:numCache>
                <c:formatCode>General</c:formatCode>
                <c:ptCount val="55"/>
                <c:pt idx="36">
                  <c:v>142</c:v>
                </c:pt>
                <c:pt idx="37">
                  <c:v>142</c:v>
                </c:pt>
                <c:pt idx="38">
                  <c:v>142</c:v>
                </c:pt>
                <c:pt idx="39">
                  <c:v>142</c:v>
                </c:pt>
              </c:numCache>
            </c:numRef>
          </c:val>
          <c:extLst>
            <c:ext xmlns:c16="http://schemas.microsoft.com/office/drawing/2014/chart" uri="{C3380CC4-5D6E-409C-BE32-E72D297353CC}">
              <c16:uniqueId val="{00000040-B0FB-CE48-8741-BA1F6FDC9F5A}"/>
            </c:ext>
          </c:extLst>
        </c:ser>
        <c:dLbls>
          <c:showLegendKey val="0"/>
          <c:showVal val="0"/>
          <c:showCatName val="0"/>
          <c:showSerName val="0"/>
          <c:showPercent val="0"/>
          <c:showBubbleSize val="0"/>
        </c:dLbls>
        <c:gapWidth val="10"/>
        <c:overlap val="100"/>
        <c:axId val="1492939520"/>
        <c:axId val="1"/>
      </c:barChart>
      <c:catAx>
        <c:axId val="14929395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000"/>
          <c:min val="0"/>
        </c:scaling>
        <c:delete val="0"/>
        <c:axPos val="l"/>
        <c:majorGridlines>
          <c:spPr>
            <a:ln w="3175" cmpd="sng" algn="ctr">
              <a:solidFill>
                <a:schemeClr val="tx1"/>
              </a:solidFill>
              <a:prstDash val="solid"/>
            </a:ln>
          </c:spPr>
        </c:majorGridlines>
        <c:numFmt formatCode="General" sourceLinked="1"/>
        <c:majorTickMark val="none"/>
        <c:minorTickMark val="none"/>
        <c:tickLblPos val="none"/>
        <c:spPr>
          <a:ln>
            <a:noFill/>
          </a:ln>
        </c:spPr>
        <c:crossAx val="1492939520"/>
        <c:crosses val="min"/>
        <c:crossBetween val="between"/>
        <c:majorUnit val="20000"/>
      </c:valAx>
    </c:plotArea>
    <c:plotVisOnly val="0"/>
    <c:dispBlanksAs val="gap"/>
    <c:showDLblsOverMax val="1"/>
  </c:chart>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162853819309809E-2"/>
          <c:y val="5.8757062146892657E-2"/>
          <c:w val="0.95967429236138035"/>
          <c:h val="0.88248587570621473"/>
        </c:manualLayout>
      </c:layout>
      <c:barChart>
        <c:barDir val="col"/>
        <c:grouping val="stacked"/>
        <c:varyColors val="0"/>
        <c:ser>
          <c:idx val="0"/>
          <c:order val="0"/>
          <c:spPr>
            <a:solidFill>
              <a:srgbClr val="DFE5EF"/>
            </a:solidFill>
            <a:ln>
              <a:noFill/>
            </a:ln>
          </c:spPr>
          <c:invertIfNegative val="0"/>
          <c:dPt>
            <c:idx val="27"/>
            <c:invertIfNegative val="0"/>
            <c:bubble3D val="0"/>
            <c:spPr>
              <a:solidFill>
                <a:srgbClr val="C3CFE1"/>
              </a:solidFill>
              <a:ln>
                <a:noFill/>
              </a:ln>
            </c:spPr>
            <c:extLst>
              <c:ext xmlns:c16="http://schemas.microsoft.com/office/drawing/2014/chart" uri="{C3380CC4-5D6E-409C-BE32-E72D297353CC}">
                <c16:uniqueId val="{00000000-8F05-C544-AC99-D382D85530F5}"/>
              </c:ext>
            </c:extLst>
          </c:dPt>
          <c:dPt>
            <c:idx val="28"/>
            <c:invertIfNegative val="0"/>
            <c:bubble3D val="0"/>
            <c:spPr>
              <a:solidFill>
                <a:srgbClr val="C3CFE1"/>
              </a:solidFill>
              <a:ln>
                <a:noFill/>
              </a:ln>
            </c:spPr>
            <c:extLst>
              <c:ext xmlns:c16="http://schemas.microsoft.com/office/drawing/2014/chart" uri="{C3380CC4-5D6E-409C-BE32-E72D297353CC}">
                <c16:uniqueId val="{00000001-8F05-C544-AC99-D382D85530F5}"/>
              </c:ext>
            </c:extLst>
          </c:dPt>
          <c:dPt>
            <c:idx val="29"/>
            <c:invertIfNegative val="0"/>
            <c:bubble3D val="0"/>
            <c:spPr>
              <a:solidFill>
                <a:srgbClr val="C3CFE1"/>
              </a:solidFill>
              <a:ln>
                <a:noFill/>
              </a:ln>
            </c:spPr>
            <c:extLst>
              <c:ext xmlns:c16="http://schemas.microsoft.com/office/drawing/2014/chart" uri="{C3380CC4-5D6E-409C-BE32-E72D297353CC}">
                <c16:uniqueId val="{00000002-8F05-C544-AC99-D382D85530F5}"/>
              </c:ext>
            </c:extLst>
          </c:dPt>
          <c:dPt>
            <c:idx val="30"/>
            <c:invertIfNegative val="0"/>
            <c:bubble3D val="0"/>
            <c:spPr>
              <a:solidFill>
                <a:srgbClr val="C3CFE1"/>
              </a:solidFill>
              <a:ln>
                <a:noFill/>
              </a:ln>
            </c:spPr>
            <c:extLst>
              <c:ext xmlns:c16="http://schemas.microsoft.com/office/drawing/2014/chart" uri="{C3380CC4-5D6E-409C-BE32-E72D297353CC}">
                <c16:uniqueId val="{00000003-8F05-C544-AC99-D382D85530F5}"/>
              </c:ext>
            </c:extLst>
          </c:dPt>
          <c:dPt>
            <c:idx val="31"/>
            <c:invertIfNegative val="0"/>
            <c:bubble3D val="0"/>
            <c:spPr>
              <a:solidFill>
                <a:srgbClr val="C3CFE1"/>
              </a:solidFill>
              <a:ln>
                <a:noFill/>
              </a:ln>
            </c:spPr>
            <c:extLst>
              <c:ext xmlns:c16="http://schemas.microsoft.com/office/drawing/2014/chart" uri="{C3380CC4-5D6E-409C-BE32-E72D297353CC}">
                <c16:uniqueId val="{00000004-8F05-C544-AC99-D382D85530F5}"/>
              </c:ext>
            </c:extLst>
          </c:dPt>
          <c:dPt>
            <c:idx val="32"/>
            <c:invertIfNegative val="0"/>
            <c:bubble3D val="0"/>
            <c:spPr>
              <a:solidFill>
                <a:srgbClr val="C3CFE1"/>
              </a:solidFill>
              <a:ln>
                <a:noFill/>
              </a:ln>
            </c:spPr>
            <c:extLst>
              <c:ext xmlns:c16="http://schemas.microsoft.com/office/drawing/2014/chart" uri="{C3380CC4-5D6E-409C-BE32-E72D297353CC}">
                <c16:uniqueId val="{00000005-8F05-C544-AC99-D382D85530F5}"/>
              </c:ext>
            </c:extLst>
          </c:dPt>
          <c:dPt>
            <c:idx val="33"/>
            <c:invertIfNegative val="0"/>
            <c:bubble3D val="0"/>
            <c:spPr>
              <a:solidFill>
                <a:srgbClr val="C3CFE1"/>
              </a:solidFill>
              <a:ln>
                <a:noFill/>
              </a:ln>
            </c:spPr>
            <c:extLst>
              <c:ext xmlns:c16="http://schemas.microsoft.com/office/drawing/2014/chart" uri="{C3380CC4-5D6E-409C-BE32-E72D297353CC}">
                <c16:uniqueId val="{00000006-8F05-C544-AC99-D382D85530F5}"/>
              </c:ext>
            </c:extLst>
          </c:dPt>
          <c:dPt>
            <c:idx val="34"/>
            <c:invertIfNegative val="0"/>
            <c:bubble3D val="0"/>
            <c:spPr>
              <a:solidFill>
                <a:srgbClr val="C3CFE1"/>
              </a:solidFill>
              <a:ln>
                <a:noFill/>
              </a:ln>
            </c:spPr>
            <c:extLst>
              <c:ext xmlns:c16="http://schemas.microsoft.com/office/drawing/2014/chart" uri="{C3380CC4-5D6E-409C-BE32-E72D297353CC}">
                <c16:uniqueId val="{00000007-8F05-C544-AC99-D382D85530F5}"/>
              </c:ext>
            </c:extLst>
          </c:dPt>
          <c:dPt>
            <c:idx val="35"/>
            <c:invertIfNegative val="0"/>
            <c:bubble3D val="0"/>
            <c:spPr>
              <a:solidFill>
                <a:srgbClr val="9DB1CF"/>
              </a:solidFill>
              <a:ln>
                <a:noFill/>
              </a:ln>
            </c:spPr>
            <c:extLst>
              <c:ext xmlns:c16="http://schemas.microsoft.com/office/drawing/2014/chart" uri="{C3380CC4-5D6E-409C-BE32-E72D297353CC}">
                <c16:uniqueId val="{00000008-8F05-C544-AC99-D382D85530F5}"/>
              </c:ext>
            </c:extLst>
          </c:dPt>
          <c:dPt>
            <c:idx val="36"/>
            <c:invertIfNegative val="0"/>
            <c:bubble3D val="0"/>
            <c:spPr>
              <a:solidFill>
                <a:srgbClr val="9DB1CF"/>
              </a:solidFill>
              <a:ln>
                <a:noFill/>
              </a:ln>
            </c:spPr>
            <c:extLst>
              <c:ext xmlns:c16="http://schemas.microsoft.com/office/drawing/2014/chart" uri="{C3380CC4-5D6E-409C-BE32-E72D297353CC}">
                <c16:uniqueId val="{00000009-8F05-C544-AC99-D382D85530F5}"/>
              </c:ext>
            </c:extLst>
          </c:dPt>
          <c:dPt>
            <c:idx val="37"/>
            <c:invertIfNegative val="0"/>
            <c:bubble3D val="0"/>
            <c:spPr>
              <a:solidFill>
                <a:srgbClr val="9DB1CF"/>
              </a:solidFill>
              <a:ln>
                <a:noFill/>
              </a:ln>
            </c:spPr>
            <c:extLst>
              <c:ext xmlns:c16="http://schemas.microsoft.com/office/drawing/2014/chart" uri="{C3380CC4-5D6E-409C-BE32-E72D297353CC}">
                <c16:uniqueId val="{0000000A-8F05-C544-AC99-D382D85530F5}"/>
              </c:ext>
            </c:extLst>
          </c:dPt>
          <c:dPt>
            <c:idx val="38"/>
            <c:invertIfNegative val="0"/>
            <c:bubble3D val="0"/>
            <c:spPr>
              <a:solidFill>
                <a:srgbClr val="9DB1CF"/>
              </a:solidFill>
              <a:ln>
                <a:noFill/>
              </a:ln>
            </c:spPr>
            <c:extLst>
              <c:ext xmlns:c16="http://schemas.microsoft.com/office/drawing/2014/chart" uri="{C3380CC4-5D6E-409C-BE32-E72D297353CC}">
                <c16:uniqueId val="{0000000B-8F05-C544-AC99-D382D85530F5}"/>
              </c:ext>
            </c:extLst>
          </c:dPt>
          <c:dPt>
            <c:idx val="39"/>
            <c:invertIfNegative val="0"/>
            <c:bubble3D val="0"/>
            <c:spPr>
              <a:solidFill>
                <a:srgbClr val="9DB1CF"/>
              </a:solidFill>
              <a:ln>
                <a:noFill/>
              </a:ln>
            </c:spPr>
            <c:extLst>
              <c:ext xmlns:c16="http://schemas.microsoft.com/office/drawing/2014/chart" uri="{C3380CC4-5D6E-409C-BE32-E72D297353CC}">
                <c16:uniqueId val="{0000000C-8F05-C544-AC99-D382D85530F5}"/>
              </c:ext>
            </c:extLst>
          </c:dPt>
          <c:dPt>
            <c:idx val="40"/>
            <c:invertIfNegative val="0"/>
            <c:bubble3D val="0"/>
            <c:spPr>
              <a:solidFill>
                <a:srgbClr val="9DB1CF"/>
              </a:solidFill>
              <a:ln>
                <a:noFill/>
              </a:ln>
            </c:spPr>
            <c:extLst>
              <c:ext xmlns:c16="http://schemas.microsoft.com/office/drawing/2014/chart" uri="{C3380CC4-5D6E-409C-BE32-E72D297353CC}">
                <c16:uniqueId val="{0000000D-8F05-C544-AC99-D382D85530F5}"/>
              </c:ext>
            </c:extLst>
          </c:dPt>
          <c:dPt>
            <c:idx val="41"/>
            <c:invertIfNegative val="0"/>
            <c:bubble3D val="0"/>
            <c:spPr>
              <a:solidFill>
                <a:srgbClr val="9DB1CF"/>
              </a:solidFill>
              <a:ln>
                <a:noFill/>
              </a:ln>
            </c:spPr>
            <c:extLst>
              <c:ext xmlns:c16="http://schemas.microsoft.com/office/drawing/2014/chart" uri="{C3380CC4-5D6E-409C-BE32-E72D297353CC}">
                <c16:uniqueId val="{0000000E-8F05-C544-AC99-D382D85530F5}"/>
              </c:ext>
            </c:extLst>
          </c:dPt>
          <c:dPt>
            <c:idx val="42"/>
            <c:invertIfNegative val="0"/>
            <c:bubble3D val="0"/>
            <c:spPr>
              <a:solidFill>
                <a:srgbClr val="9DB1CF"/>
              </a:solidFill>
              <a:ln>
                <a:noFill/>
              </a:ln>
            </c:spPr>
            <c:extLst>
              <c:ext xmlns:c16="http://schemas.microsoft.com/office/drawing/2014/chart" uri="{C3380CC4-5D6E-409C-BE32-E72D297353CC}">
                <c16:uniqueId val="{0000000F-8F05-C544-AC99-D382D85530F5}"/>
              </c:ext>
            </c:extLst>
          </c:dPt>
          <c:dPt>
            <c:idx val="43"/>
            <c:invertIfNegative val="0"/>
            <c:bubble3D val="0"/>
            <c:spPr>
              <a:solidFill>
                <a:srgbClr val="6F8DB9"/>
              </a:solidFill>
              <a:ln>
                <a:noFill/>
              </a:ln>
            </c:spPr>
            <c:extLst>
              <c:ext xmlns:c16="http://schemas.microsoft.com/office/drawing/2014/chart" uri="{C3380CC4-5D6E-409C-BE32-E72D297353CC}">
                <c16:uniqueId val="{00000010-8F05-C544-AC99-D382D85530F5}"/>
              </c:ext>
            </c:extLst>
          </c:dPt>
          <c:dPt>
            <c:idx val="44"/>
            <c:invertIfNegative val="0"/>
            <c:bubble3D val="0"/>
            <c:spPr>
              <a:solidFill>
                <a:srgbClr val="6F8DB9"/>
              </a:solidFill>
              <a:ln>
                <a:noFill/>
              </a:ln>
            </c:spPr>
            <c:extLst>
              <c:ext xmlns:c16="http://schemas.microsoft.com/office/drawing/2014/chart" uri="{C3380CC4-5D6E-409C-BE32-E72D297353CC}">
                <c16:uniqueId val="{00000011-8F05-C544-AC99-D382D85530F5}"/>
              </c:ext>
            </c:extLst>
          </c:dPt>
          <c:dPt>
            <c:idx val="45"/>
            <c:invertIfNegative val="0"/>
            <c:bubble3D val="0"/>
            <c:spPr>
              <a:solidFill>
                <a:srgbClr val="6F8DB9"/>
              </a:solidFill>
              <a:ln>
                <a:noFill/>
              </a:ln>
            </c:spPr>
            <c:extLst>
              <c:ext xmlns:c16="http://schemas.microsoft.com/office/drawing/2014/chart" uri="{C3380CC4-5D6E-409C-BE32-E72D297353CC}">
                <c16:uniqueId val="{00000012-8F05-C544-AC99-D382D85530F5}"/>
              </c:ext>
            </c:extLst>
          </c:dPt>
          <c:dPt>
            <c:idx val="46"/>
            <c:invertIfNegative val="0"/>
            <c:bubble3D val="0"/>
            <c:spPr>
              <a:solidFill>
                <a:srgbClr val="6F8DB9"/>
              </a:solidFill>
              <a:ln>
                <a:noFill/>
              </a:ln>
            </c:spPr>
            <c:extLst>
              <c:ext xmlns:c16="http://schemas.microsoft.com/office/drawing/2014/chart" uri="{C3380CC4-5D6E-409C-BE32-E72D297353CC}">
                <c16:uniqueId val="{00000013-8F05-C544-AC99-D382D85530F5}"/>
              </c:ext>
            </c:extLst>
          </c:dPt>
          <c:dPt>
            <c:idx val="47"/>
            <c:invertIfNegative val="0"/>
            <c:bubble3D val="0"/>
            <c:spPr>
              <a:solidFill>
                <a:srgbClr val="6F8DB9"/>
              </a:solidFill>
              <a:ln>
                <a:noFill/>
              </a:ln>
            </c:spPr>
            <c:extLst>
              <c:ext xmlns:c16="http://schemas.microsoft.com/office/drawing/2014/chart" uri="{C3380CC4-5D6E-409C-BE32-E72D297353CC}">
                <c16:uniqueId val="{00000014-8F05-C544-AC99-D382D85530F5}"/>
              </c:ext>
            </c:extLst>
          </c:dPt>
          <c:dPt>
            <c:idx val="48"/>
            <c:invertIfNegative val="0"/>
            <c:bubble3D val="0"/>
            <c:spPr>
              <a:solidFill>
                <a:srgbClr val="6F8DB9"/>
              </a:solidFill>
              <a:ln>
                <a:noFill/>
              </a:ln>
            </c:spPr>
            <c:extLst>
              <c:ext xmlns:c16="http://schemas.microsoft.com/office/drawing/2014/chart" uri="{C3380CC4-5D6E-409C-BE32-E72D297353CC}">
                <c16:uniqueId val="{00000015-8F05-C544-AC99-D382D85530F5}"/>
              </c:ext>
            </c:extLst>
          </c:dPt>
          <c:dPt>
            <c:idx val="49"/>
            <c:invertIfNegative val="0"/>
            <c:bubble3D val="0"/>
            <c:spPr>
              <a:solidFill>
                <a:srgbClr val="6F8DB9"/>
              </a:solidFill>
              <a:ln>
                <a:noFill/>
              </a:ln>
            </c:spPr>
            <c:extLst>
              <c:ext xmlns:c16="http://schemas.microsoft.com/office/drawing/2014/chart" uri="{C3380CC4-5D6E-409C-BE32-E72D297353CC}">
                <c16:uniqueId val="{00000016-8F05-C544-AC99-D382D85530F5}"/>
              </c:ext>
            </c:extLst>
          </c:dPt>
          <c:dPt>
            <c:idx val="50"/>
            <c:invertIfNegative val="0"/>
            <c:bubble3D val="0"/>
            <c:spPr>
              <a:solidFill>
                <a:srgbClr val="6F8DB9"/>
              </a:solidFill>
              <a:ln>
                <a:noFill/>
              </a:ln>
            </c:spPr>
            <c:extLst>
              <c:ext xmlns:c16="http://schemas.microsoft.com/office/drawing/2014/chart" uri="{C3380CC4-5D6E-409C-BE32-E72D297353CC}">
                <c16:uniqueId val="{00000017-8F05-C544-AC99-D382D85530F5}"/>
              </c:ext>
            </c:extLst>
          </c:dPt>
          <c:dPt>
            <c:idx val="51"/>
            <c:invertIfNegative val="0"/>
            <c:bubble3D val="0"/>
            <c:spPr>
              <a:solidFill>
                <a:srgbClr val="4C6C9C"/>
              </a:solidFill>
              <a:ln>
                <a:noFill/>
              </a:ln>
            </c:spPr>
            <c:extLst>
              <c:ext xmlns:c16="http://schemas.microsoft.com/office/drawing/2014/chart" uri="{C3380CC4-5D6E-409C-BE32-E72D297353CC}">
                <c16:uniqueId val="{00000018-8F05-C544-AC99-D382D85530F5}"/>
              </c:ext>
            </c:extLst>
          </c:dPt>
          <c:dPt>
            <c:idx val="52"/>
            <c:invertIfNegative val="0"/>
            <c:bubble3D val="0"/>
            <c:spPr>
              <a:solidFill>
                <a:srgbClr val="4C6C9C"/>
              </a:solidFill>
              <a:ln>
                <a:noFill/>
              </a:ln>
            </c:spPr>
            <c:extLst>
              <c:ext xmlns:c16="http://schemas.microsoft.com/office/drawing/2014/chart" uri="{C3380CC4-5D6E-409C-BE32-E72D297353CC}">
                <c16:uniqueId val="{00000019-8F05-C544-AC99-D382D85530F5}"/>
              </c:ext>
            </c:extLst>
          </c:dPt>
          <c:dPt>
            <c:idx val="53"/>
            <c:invertIfNegative val="0"/>
            <c:bubble3D val="0"/>
            <c:spPr>
              <a:solidFill>
                <a:schemeClr val="accent2"/>
              </a:solidFill>
              <a:ln>
                <a:noFill/>
              </a:ln>
            </c:spPr>
            <c:extLst>
              <c:ext xmlns:c16="http://schemas.microsoft.com/office/drawing/2014/chart" uri="{C3380CC4-5D6E-409C-BE32-E72D297353CC}">
                <c16:uniqueId val="{0000001A-8F05-C544-AC99-D382D85530F5}"/>
              </c:ext>
            </c:extLst>
          </c:dPt>
          <c:dPt>
            <c:idx val="54"/>
            <c:invertIfNegative val="0"/>
            <c:bubble3D val="0"/>
            <c:spPr>
              <a:solidFill>
                <a:schemeClr val="accent2"/>
              </a:solidFill>
              <a:ln>
                <a:noFill/>
              </a:ln>
            </c:spPr>
            <c:extLst>
              <c:ext xmlns:c16="http://schemas.microsoft.com/office/drawing/2014/chart" uri="{C3380CC4-5D6E-409C-BE32-E72D297353CC}">
                <c16:uniqueId val="{0000001B-8F05-C544-AC99-D382D85530F5}"/>
              </c:ext>
            </c:extLst>
          </c:dPt>
          <c:val>
            <c:numRef>
              <c:f>Sheet1!$A$1:$BC$1</c:f>
              <c:numCache>
                <c:formatCode>General</c:formatCode>
                <c:ptCount val="55"/>
                <c:pt idx="0">
                  <c:v>1044</c:v>
                </c:pt>
                <c:pt idx="1">
                  <c:v>1017</c:v>
                </c:pt>
                <c:pt idx="2">
                  <c:v>1689</c:v>
                </c:pt>
                <c:pt idx="3">
                  <c:v>1795</c:v>
                </c:pt>
                <c:pt idx="4">
                  <c:v>2002</c:v>
                </c:pt>
                <c:pt idx="5">
                  <c:v>4087</c:v>
                </c:pt>
                <c:pt idx="6">
                  <c:v>4659</c:v>
                </c:pt>
                <c:pt idx="7">
                  <c:v>6393</c:v>
                </c:pt>
                <c:pt idx="8">
                  <c:v>6833</c:v>
                </c:pt>
                <c:pt idx="9">
                  <c:v>9616</c:v>
                </c:pt>
                <c:pt idx="10">
                  <c:v>9870</c:v>
                </c:pt>
                <c:pt idx="11">
                  <c:v>9870</c:v>
                </c:pt>
                <c:pt idx="12">
                  <c:v>10775</c:v>
                </c:pt>
                <c:pt idx="13">
                  <c:v>8440</c:v>
                </c:pt>
                <c:pt idx="14">
                  <c:v>10346</c:v>
                </c:pt>
                <c:pt idx="15">
                  <c:v>12482</c:v>
                </c:pt>
                <c:pt idx="16">
                  <c:v>13522</c:v>
                </c:pt>
                <c:pt idx="17">
                  <c:v>12349</c:v>
                </c:pt>
                <c:pt idx="18">
                  <c:v>12704</c:v>
                </c:pt>
                <c:pt idx="19">
                  <c:v>14104</c:v>
                </c:pt>
                <c:pt idx="20">
                  <c:v>12759</c:v>
                </c:pt>
                <c:pt idx="21">
                  <c:v>12759</c:v>
                </c:pt>
                <c:pt idx="22">
                  <c:v>10013</c:v>
                </c:pt>
                <c:pt idx="23">
                  <c:v>5771</c:v>
                </c:pt>
                <c:pt idx="24">
                  <c:v>4291</c:v>
                </c:pt>
                <c:pt idx="25">
                  <c:v>4291</c:v>
                </c:pt>
                <c:pt idx="26">
                  <c:v>1400</c:v>
                </c:pt>
                <c:pt idx="27">
                  <c:v>14104</c:v>
                </c:pt>
                <c:pt idx="28">
                  <c:v>12759</c:v>
                </c:pt>
                <c:pt idx="29">
                  <c:v>12759</c:v>
                </c:pt>
                <c:pt idx="30">
                  <c:v>10013</c:v>
                </c:pt>
                <c:pt idx="31">
                  <c:v>5771</c:v>
                </c:pt>
                <c:pt idx="32">
                  <c:v>4291</c:v>
                </c:pt>
                <c:pt idx="33">
                  <c:v>4291</c:v>
                </c:pt>
                <c:pt idx="34">
                  <c:v>1400</c:v>
                </c:pt>
                <c:pt idx="35">
                  <c:v>14104</c:v>
                </c:pt>
                <c:pt idx="36">
                  <c:v>12759</c:v>
                </c:pt>
                <c:pt idx="37">
                  <c:v>12759</c:v>
                </c:pt>
                <c:pt idx="38">
                  <c:v>10013</c:v>
                </c:pt>
                <c:pt idx="39">
                  <c:v>5771</c:v>
                </c:pt>
                <c:pt idx="40">
                  <c:v>4291</c:v>
                </c:pt>
                <c:pt idx="41">
                  <c:v>4291</c:v>
                </c:pt>
                <c:pt idx="42">
                  <c:v>1400</c:v>
                </c:pt>
                <c:pt idx="43">
                  <c:v>12702</c:v>
                </c:pt>
                <c:pt idx="44">
                  <c:v>11357</c:v>
                </c:pt>
                <c:pt idx="45">
                  <c:v>11357</c:v>
                </c:pt>
                <c:pt idx="46">
                  <c:v>10013</c:v>
                </c:pt>
                <c:pt idx="47">
                  <c:v>5771</c:v>
                </c:pt>
                <c:pt idx="48">
                  <c:v>4291</c:v>
                </c:pt>
                <c:pt idx="49">
                  <c:v>4291</c:v>
                </c:pt>
                <c:pt idx="50">
                  <c:v>1400</c:v>
                </c:pt>
                <c:pt idx="51">
                  <c:v>4291</c:v>
                </c:pt>
                <c:pt idx="52">
                  <c:v>4291</c:v>
                </c:pt>
                <c:pt idx="53">
                  <c:v>0</c:v>
                </c:pt>
                <c:pt idx="54">
                  <c:v>0</c:v>
                </c:pt>
              </c:numCache>
            </c:numRef>
          </c:val>
          <c:extLst>
            <c:ext xmlns:c16="http://schemas.microsoft.com/office/drawing/2014/chart" uri="{C3380CC4-5D6E-409C-BE32-E72D297353CC}">
              <c16:uniqueId val="{0000001C-8F05-C544-AC99-D382D85530F5}"/>
            </c:ext>
          </c:extLst>
        </c:ser>
        <c:ser>
          <c:idx val="1"/>
          <c:order val="1"/>
          <c:spPr>
            <a:solidFill>
              <a:srgbClr val="C3CFE1"/>
            </a:solidFill>
            <a:ln>
              <a:noFill/>
            </a:ln>
          </c:spPr>
          <c:invertIfNegative val="0"/>
          <c:dPt>
            <c:idx val="27"/>
            <c:invertIfNegative val="0"/>
            <c:bubble3D val="0"/>
            <c:spPr>
              <a:solidFill>
                <a:srgbClr val="9DB1CF"/>
              </a:solidFill>
              <a:ln>
                <a:noFill/>
              </a:ln>
            </c:spPr>
            <c:extLst>
              <c:ext xmlns:c16="http://schemas.microsoft.com/office/drawing/2014/chart" uri="{C3380CC4-5D6E-409C-BE32-E72D297353CC}">
                <c16:uniqueId val="{0000001D-8F05-C544-AC99-D382D85530F5}"/>
              </c:ext>
            </c:extLst>
          </c:dPt>
          <c:dPt>
            <c:idx val="28"/>
            <c:invertIfNegative val="0"/>
            <c:bubble3D val="0"/>
            <c:spPr>
              <a:solidFill>
                <a:srgbClr val="9DB1CF"/>
              </a:solidFill>
              <a:ln>
                <a:noFill/>
              </a:ln>
            </c:spPr>
            <c:extLst>
              <c:ext xmlns:c16="http://schemas.microsoft.com/office/drawing/2014/chart" uri="{C3380CC4-5D6E-409C-BE32-E72D297353CC}">
                <c16:uniqueId val="{0000001E-8F05-C544-AC99-D382D85530F5}"/>
              </c:ext>
            </c:extLst>
          </c:dPt>
          <c:dPt>
            <c:idx val="29"/>
            <c:invertIfNegative val="0"/>
            <c:bubble3D val="0"/>
            <c:spPr>
              <a:solidFill>
                <a:srgbClr val="9DB1CF"/>
              </a:solidFill>
              <a:ln>
                <a:noFill/>
              </a:ln>
            </c:spPr>
            <c:extLst>
              <c:ext xmlns:c16="http://schemas.microsoft.com/office/drawing/2014/chart" uri="{C3380CC4-5D6E-409C-BE32-E72D297353CC}">
                <c16:uniqueId val="{0000001F-8F05-C544-AC99-D382D85530F5}"/>
              </c:ext>
            </c:extLst>
          </c:dPt>
          <c:dPt>
            <c:idx val="30"/>
            <c:invertIfNegative val="0"/>
            <c:bubble3D val="0"/>
            <c:spPr>
              <a:solidFill>
                <a:srgbClr val="9DB1CF"/>
              </a:solidFill>
              <a:ln>
                <a:noFill/>
              </a:ln>
            </c:spPr>
            <c:extLst>
              <c:ext xmlns:c16="http://schemas.microsoft.com/office/drawing/2014/chart" uri="{C3380CC4-5D6E-409C-BE32-E72D297353CC}">
                <c16:uniqueId val="{00000020-8F05-C544-AC99-D382D85530F5}"/>
              </c:ext>
            </c:extLst>
          </c:dPt>
          <c:dPt>
            <c:idx val="31"/>
            <c:invertIfNegative val="0"/>
            <c:bubble3D val="0"/>
            <c:spPr>
              <a:solidFill>
                <a:srgbClr val="9DB1CF"/>
              </a:solidFill>
              <a:ln>
                <a:noFill/>
              </a:ln>
            </c:spPr>
            <c:extLst>
              <c:ext xmlns:c16="http://schemas.microsoft.com/office/drawing/2014/chart" uri="{C3380CC4-5D6E-409C-BE32-E72D297353CC}">
                <c16:uniqueId val="{00000021-8F05-C544-AC99-D382D85530F5}"/>
              </c:ext>
            </c:extLst>
          </c:dPt>
          <c:dPt>
            <c:idx val="32"/>
            <c:invertIfNegative val="0"/>
            <c:bubble3D val="0"/>
            <c:spPr>
              <a:solidFill>
                <a:srgbClr val="9DB1CF"/>
              </a:solidFill>
              <a:ln>
                <a:noFill/>
              </a:ln>
            </c:spPr>
            <c:extLst>
              <c:ext xmlns:c16="http://schemas.microsoft.com/office/drawing/2014/chart" uri="{C3380CC4-5D6E-409C-BE32-E72D297353CC}">
                <c16:uniqueId val="{00000022-8F05-C544-AC99-D382D85530F5}"/>
              </c:ext>
            </c:extLst>
          </c:dPt>
          <c:dPt>
            <c:idx val="33"/>
            <c:invertIfNegative val="0"/>
            <c:bubble3D val="0"/>
            <c:spPr>
              <a:solidFill>
                <a:srgbClr val="9DB1CF"/>
              </a:solidFill>
              <a:ln>
                <a:noFill/>
              </a:ln>
            </c:spPr>
            <c:extLst>
              <c:ext xmlns:c16="http://schemas.microsoft.com/office/drawing/2014/chart" uri="{C3380CC4-5D6E-409C-BE32-E72D297353CC}">
                <c16:uniqueId val="{00000023-8F05-C544-AC99-D382D85530F5}"/>
              </c:ext>
            </c:extLst>
          </c:dPt>
          <c:dPt>
            <c:idx val="34"/>
            <c:invertIfNegative val="0"/>
            <c:bubble3D val="0"/>
            <c:spPr>
              <a:solidFill>
                <a:srgbClr val="9DB1CF"/>
              </a:solidFill>
              <a:ln>
                <a:noFill/>
              </a:ln>
            </c:spPr>
            <c:extLst>
              <c:ext xmlns:c16="http://schemas.microsoft.com/office/drawing/2014/chart" uri="{C3380CC4-5D6E-409C-BE32-E72D297353CC}">
                <c16:uniqueId val="{00000024-8F05-C544-AC99-D382D85530F5}"/>
              </c:ext>
            </c:extLst>
          </c:dPt>
          <c:dPt>
            <c:idx val="35"/>
            <c:invertIfNegative val="0"/>
            <c:bubble3D val="0"/>
            <c:spPr>
              <a:solidFill>
                <a:srgbClr val="6F8DB9"/>
              </a:solidFill>
              <a:ln>
                <a:noFill/>
              </a:ln>
            </c:spPr>
            <c:extLst>
              <c:ext xmlns:c16="http://schemas.microsoft.com/office/drawing/2014/chart" uri="{C3380CC4-5D6E-409C-BE32-E72D297353CC}">
                <c16:uniqueId val="{00000025-8F05-C544-AC99-D382D85530F5}"/>
              </c:ext>
            </c:extLst>
          </c:dPt>
          <c:dPt>
            <c:idx val="36"/>
            <c:invertIfNegative val="0"/>
            <c:bubble3D val="0"/>
            <c:spPr>
              <a:solidFill>
                <a:srgbClr val="6F8DB9"/>
              </a:solidFill>
              <a:ln>
                <a:noFill/>
              </a:ln>
            </c:spPr>
            <c:extLst>
              <c:ext xmlns:c16="http://schemas.microsoft.com/office/drawing/2014/chart" uri="{C3380CC4-5D6E-409C-BE32-E72D297353CC}">
                <c16:uniqueId val="{00000026-8F05-C544-AC99-D382D85530F5}"/>
              </c:ext>
            </c:extLst>
          </c:dPt>
          <c:dPt>
            <c:idx val="37"/>
            <c:invertIfNegative val="0"/>
            <c:bubble3D val="0"/>
            <c:spPr>
              <a:solidFill>
                <a:srgbClr val="6F8DB9"/>
              </a:solidFill>
              <a:ln>
                <a:noFill/>
              </a:ln>
            </c:spPr>
            <c:extLst>
              <c:ext xmlns:c16="http://schemas.microsoft.com/office/drawing/2014/chart" uri="{C3380CC4-5D6E-409C-BE32-E72D297353CC}">
                <c16:uniqueId val="{00000027-8F05-C544-AC99-D382D85530F5}"/>
              </c:ext>
            </c:extLst>
          </c:dPt>
          <c:dPt>
            <c:idx val="38"/>
            <c:invertIfNegative val="0"/>
            <c:bubble3D val="0"/>
            <c:spPr>
              <a:solidFill>
                <a:srgbClr val="6F8DB9"/>
              </a:solidFill>
              <a:ln>
                <a:noFill/>
              </a:ln>
            </c:spPr>
            <c:extLst>
              <c:ext xmlns:c16="http://schemas.microsoft.com/office/drawing/2014/chart" uri="{C3380CC4-5D6E-409C-BE32-E72D297353CC}">
                <c16:uniqueId val="{00000028-8F05-C544-AC99-D382D85530F5}"/>
              </c:ext>
            </c:extLst>
          </c:dPt>
          <c:dPt>
            <c:idx val="39"/>
            <c:invertIfNegative val="0"/>
            <c:bubble3D val="0"/>
            <c:spPr>
              <a:solidFill>
                <a:srgbClr val="6F8DB9"/>
              </a:solidFill>
              <a:ln>
                <a:noFill/>
              </a:ln>
            </c:spPr>
            <c:extLst>
              <c:ext xmlns:c16="http://schemas.microsoft.com/office/drawing/2014/chart" uri="{C3380CC4-5D6E-409C-BE32-E72D297353CC}">
                <c16:uniqueId val="{00000029-8F05-C544-AC99-D382D85530F5}"/>
              </c:ext>
            </c:extLst>
          </c:dPt>
          <c:dPt>
            <c:idx val="40"/>
            <c:invertIfNegative val="0"/>
            <c:bubble3D val="0"/>
            <c:spPr>
              <a:solidFill>
                <a:srgbClr val="6F8DB9"/>
              </a:solidFill>
              <a:ln>
                <a:noFill/>
              </a:ln>
            </c:spPr>
            <c:extLst>
              <c:ext xmlns:c16="http://schemas.microsoft.com/office/drawing/2014/chart" uri="{C3380CC4-5D6E-409C-BE32-E72D297353CC}">
                <c16:uniqueId val="{0000002A-8F05-C544-AC99-D382D85530F5}"/>
              </c:ext>
            </c:extLst>
          </c:dPt>
          <c:dPt>
            <c:idx val="41"/>
            <c:invertIfNegative val="0"/>
            <c:bubble3D val="0"/>
            <c:spPr>
              <a:solidFill>
                <a:srgbClr val="6F8DB9"/>
              </a:solidFill>
              <a:ln>
                <a:noFill/>
              </a:ln>
            </c:spPr>
            <c:extLst>
              <c:ext xmlns:c16="http://schemas.microsoft.com/office/drawing/2014/chart" uri="{C3380CC4-5D6E-409C-BE32-E72D297353CC}">
                <c16:uniqueId val="{0000002B-8F05-C544-AC99-D382D85530F5}"/>
              </c:ext>
            </c:extLst>
          </c:dPt>
          <c:dPt>
            <c:idx val="42"/>
            <c:invertIfNegative val="0"/>
            <c:bubble3D val="0"/>
            <c:spPr>
              <a:solidFill>
                <a:srgbClr val="6F8DB9"/>
              </a:solidFill>
              <a:ln>
                <a:noFill/>
              </a:ln>
            </c:spPr>
            <c:extLst>
              <c:ext xmlns:c16="http://schemas.microsoft.com/office/drawing/2014/chart" uri="{C3380CC4-5D6E-409C-BE32-E72D297353CC}">
                <c16:uniqueId val="{0000002C-8F05-C544-AC99-D382D85530F5}"/>
              </c:ext>
            </c:extLst>
          </c:dPt>
          <c:dPt>
            <c:idx val="43"/>
            <c:invertIfNegative val="0"/>
            <c:bubble3D val="0"/>
            <c:spPr>
              <a:solidFill>
                <a:srgbClr val="4C6C9C"/>
              </a:solidFill>
              <a:ln>
                <a:noFill/>
              </a:ln>
            </c:spPr>
            <c:extLst>
              <c:ext xmlns:c16="http://schemas.microsoft.com/office/drawing/2014/chart" uri="{C3380CC4-5D6E-409C-BE32-E72D297353CC}">
                <c16:uniqueId val="{0000002D-8F05-C544-AC99-D382D85530F5}"/>
              </c:ext>
            </c:extLst>
          </c:dPt>
          <c:dPt>
            <c:idx val="44"/>
            <c:invertIfNegative val="0"/>
            <c:bubble3D val="0"/>
            <c:spPr>
              <a:solidFill>
                <a:srgbClr val="4C6C9C"/>
              </a:solidFill>
              <a:ln>
                <a:noFill/>
              </a:ln>
            </c:spPr>
            <c:extLst>
              <c:ext xmlns:c16="http://schemas.microsoft.com/office/drawing/2014/chart" uri="{C3380CC4-5D6E-409C-BE32-E72D297353CC}">
                <c16:uniqueId val="{0000002E-8F05-C544-AC99-D382D85530F5}"/>
              </c:ext>
            </c:extLst>
          </c:dPt>
          <c:dPt>
            <c:idx val="45"/>
            <c:invertIfNegative val="0"/>
            <c:bubble3D val="0"/>
            <c:spPr>
              <a:solidFill>
                <a:srgbClr val="4C6C9C"/>
              </a:solidFill>
              <a:ln>
                <a:noFill/>
              </a:ln>
            </c:spPr>
            <c:extLst>
              <c:ext xmlns:c16="http://schemas.microsoft.com/office/drawing/2014/chart" uri="{C3380CC4-5D6E-409C-BE32-E72D297353CC}">
                <c16:uniqueId val="{0000002F-8F05-C544-AC99-D382D85530F5}"/>
              </c:ext>
            </c:extLst>
          </c:dPt>
          <c:dPt>
            <c:idx val="46"/>
            <c:invertIfNegative val="0"/>
            <c:bubble3D val="0"/>
            <c:spPr>
              <a:solidFill>
                <a:srgbClr val="4C6C9C"/>
              </a:solidFill>
              <a:ln>
                <a:noFill/>
              </a:ln>
            </c:spPr>
            <c:extLst>
              <c:ext xmlns:c16="http://schemas.microsoft.com/office/drawing/2014/chart" uri="{C3380CC4-5D6E-409C-BE32-E72D297353CC}">
                <c16:uniqueId val="{00000030-8F05-C544-AC99-D382D85530F5}"/>
              </c:ext>
            </c:extLst>
          </c:dPt>
          <c:dPt>
            <c:idx val="47"/>
            <c:invertIfNegative val="0"/>
            <c:bubble3D val="0"/>
            <c:spPr>
              <a:solidFill>
                <a:srgbClr val="4C6C9C"/>
              </a:solidFill>
              <a:ln>
                <a:noFill/>
              </a:ln>
            </c:spPr>
            <c:extLst>
              <c:ext xmlns:c16="http://schemas.microsoft.com/office/drawing/2014/chart" uri="{C3380CC4-5D6E-409C-BE32-E72D297353CC}">
                <c16:uniqueId val="{00000031-8F05-C544-AC99-D382D85530F5}"/>
              </c:ext>
            </c:extLst>
          </c:dPt>
          <c:dPt>
            <c:idx val="48"/>
            <c:invertIfNegative val="0"/>
            <c:bubble3D val="0"/>
            <c:spPr>
              <a:solidFill>
                <a:srgbClr val="4C6C9C"/>
              </a:solidFill>
              <a:ln>
                <a:noFill/>
              </a:ln>
            </c:spPr>
            <c:extLst>
              <c:ext xmlns:c16="http://schemas.microsoft.com/office/drawing/2014/chart" uri="{C3380CC4-5D6E-409C-BE32-E72D297353CC}">
                <c16:uniqueId val="{00000032-8F05-C544-AC99-D382D85530F5}"/>
              </c:ext>
            </c:extLst>
          </c:dPt>
          <c:dPt>
            <c:idx val="49"/>
            <c:invertIfNegative val="0"/>
            <c:bubble3D val="0"/>
            <c:spPr>
              <a:solidFill>
                <a:srgbClr val="4C6C9C"/>
              </a:solidFill>
              <a:ln>
                <a:noFill/>
              </a:ln>
            </c:spPr>
            <c:extLst>
              <c:ext xmlns:c16="http://schemas.microsoft.com/office/drawing/2014/chart" uri="{C3380CC4-5D6E-409C-BE32-E72D297353CC}">
                <c16:uniqueId val="{00000033-8F05-C544-AC99-D382D85530F5}"/>
              </c:ext>
            </c:extLst>
          </c:dPt>
          <c:dPt>
            <c:idx val="50"/>
            <c:invertIfNegative val="0"/>
            <c:bubble3D val="0"/>
            <c:spPr>
              <a:solidFill>
                <a:srgbClr val="4C6C9C"/>
              </a:solidFill>
              <a:ln>
                <a:noFill/>
              </a:ln>
            </c:spPr>
            <c:extLst>
              <c:ext xmlns:c16="http://schemas.microsoft.com/office/drawing/2014/chart" uri="{C3380CC4-5D6E-409C-BE32-E72D297353CC}">
                <c16:uniqueId val="{00000034-8F05-C544-AC99-D382D85530F5}"/>
              </c:ext>
            </c:extLst>
          </c:dPt>
          <c:dPt>
            <c:idx val="51"/>
            <c:invertIfNegative val="0"/>
            <c:bubble3D val="0"/>
            <c:spPr>
              <a:solidFill>
                <a:srgbClr val="364D6E"/>
              </a:solidFill>
              <a:ln>
                <a:noFill/>
              </a:ln>
            </c:spPr>
            <c:extLst>
              <c:ext xmlns:c16="http://schemas.microsoft.com/office/drawing/2014/chart" uri="{C3380CC4-5D6E-409C-BE32-E72D297353CC}">
                <c16:uniqueId val="{00000035-8F05-C544-AC99-D382D85530F5}"/>
              </c:ext>
            </c:extLst>
          </c:dPt>
          <c:dPt>
            <c:idx val="52"/>
            <c:invertIfNegative val="0"/>
            <c:bubble3D val="0"/>
            <c:spPr>
              <a:solidFill>
                <a:srgbClr val="364D6E"/>
              </a:solidFill>
              <a:ln>
                <a:noFill/>
              </a:ln>
            </c:spPr>
            <c:extLst>
              <c:ext xmlns:c16="http://schemas.microsoft.com/office/drawing/2014/chart" uri="{C3380CC4-5D6E-409C-BE32-E72D297353CC}">
                <c16:uniqueId val="{00000036-8F05-C544-AC99-D382D85530F5}"/>
              </c:ext>
            </c:extLst>
          </c:dPt>
          <c:dPt>
            <c:idx val="53"/>
            <c:invertIfNegative val="0"/>
            <c:bubble3D val="0"/>
            <c:spPr>
              <a:solidFill>
                <a:srgbClr val="364D6E"/>
              </a:solidFill>
              <a:ln>
                <a:noFill/>
              </a:ln>
            </c:spPr>
            <c:extLst>
              <c:ext xmlns:c16="http://schemas.microsoft.com/office/drawing/2014/chart" uri="{C3380CC4-5D6E-409C-BE32-E72D297353CC}">
                <c16:uniqueId val="{00000037-8F05-C544-AC99-D382D85530F5}"/>
              </c:ext>
            </c:extLst>
          </c:dPt>
          <c:dPt>
            <c:idx val="54"/>
            <c:invertIfNegative val="0"/>
            <c:bubble3D val="0"/>
            <c:spPr>
              <a:solidFill>
                <a:srgbClr val="364D6E"/>
              </a:solidFill>
              <a:ln>
                <a:noFill/>
              </a:ln>
            </c:spPr>
            <c:extLst>
              <c:ext xmlns:c16="http://schemas.microsoft.com/office/drawing/2014/chart" uri="{C3380CC4-5D6E-409C-BE32-E72D297353CC}">
                <c16:uniqueId val="{00000038-8F05-C544-AC99-D382D85530F5}"/>
              </c:ext>
            </c:extLst>
          </c:dPt>
          <c:val>
            <c:numRef>
              <c:f>Sheet1!$A$2:$BC$2</c:f>
              <c:numCache>
                <c:formatCode>General</c:formatCode>
                <c:ptCount val="55"/>
                <c:pt idx="0">
                  <c:v>16</c:v>
                </c:pt>
                <c:pt idx="1">
                  <c:v>16</c:v>
                </c:pt>
                <c:pt idx="2">
                  <c:v>16</c:v>
                </c:pt>
                <c:pt idx="3">
                  <c:v>16</c:v>
                </c:pt>
                <c:pt idx="4">
                  <c:v>143</c:v>
                </c:pt>
                <c:pt idx="5">
                  <c:v>393</c:v>
                </c:pt>
                <c:pt idx="6">
                  <c:v>661</c:v>
                </c:pt>
                <c:pt idx="7">
                  <c:v>499</c:v>
                </c:pt>
                <c:pt idx="8">
                  <c:v>499</c:v>
                </c:pt>
                <c:pt idx="9">
                  <c:v>499</c:v>
                </c:pt>
                <c:pt idx="10">
                  <c:v>1171</c:v>
                </c:pt>
                <c:pt idx="11">
                  <c:v>1171</c:v>
                </c:pt>
                <c:pt idx="12">
                  <c:v>1484</c:v>
                </c:pt>
                <c:pt idx="13">
                  <c:v>3819</c:v>
                </c:pt>
                <c:pt idx="14">
                  <c:v>4659</c:v>
                </c:pt>
                <c:pt idx="15">
                  <c:v>6393</c:v>
                </c:pt>
                <c:pt idx="16">
                  <c:v>6833</c:v>
                </c:pt>
                <c:pt idx="17">
                  <c:v>9616</c:v>
                </c:pt>
                <c:pt idx="18">
                  <c:v>9870</c:v>
                </c:pt>
                <c:pt idx="19">
                  <c:v>9870</c:v>
                </c:pt>
                <c:pt idx="20">
                  <c:v>9455</c:v>
                </c:pt>
                <c:pt idx="21">
                  <c:v>7539</c:v>
                </c:pt>
                <c:pt idx="22">
                  <c:v>9445</c:v>
                </c:pt>
                <c:pt idx="23">
                  <c:v>11581</c:v>
                </c:pt>
                <c:pt idx="24">
                  <c:v>13061</c:v>
                </c:pt>
                <c:pt idx="25">
                  <c:v>10739</c:v>
                </c:pt>
                <c:pt idx="26">
                  <c:v>12704</c:v>
                </c:pt>
                <c:pt idx="27">
                  <c:v>7419</c:v>
                </c:pt>
                <c:pt idx="28">
                  <c:v>8764</c:v>
                </c:pt>
                <c:pt idx="29">
                  <c:v>7539</c:v>
                </c:pt>
                <c:pt idx="30">
                  <c:v>9445</c:v>
                </c:pt>
                <c:pt idx="31">
                  <c:v>11581</c:v>
                </c:pt>
                <c:pt idx="32">
                  <c:v>13061</c:v>
                </c:pt>
                <c:pt idx="33">
                  <c:v>10739</c:v>
                </c:pt>
                <c:pt idx="34">
                  <c:v>12704</c:v>
                </c:pt>
                <c:pt idx="35">
                  <c:v>7419</c:v>
                </c:pt>
                <c:pt idx="36">
                  <c:v>8764</c:v>
                </c:pt>
                <c:pt idx="37">
                  <c:v>7539</c:v>
                </c:pt>
                <c:pt idx="38">
                  <c:v>9445</c:v>
                </c:pt>
                <c:pt idx="39">
                  <c:v>11581</c:v>
                </c:pt>
                <c:pt idx="40">
                  <c:v>13061</c:v>
                </c:pt>
                <c:pt idx="41">
                  <c:v>8411</c:v>
                </c:pt>
                <c:pt idx="42">
                  <c:v>11302</c:v>
                </c:pt>
                <c:pt idx="43">
                  <c:v>0</c:v>
                </c:pt>
                <c:pt idx="44">
                  <c:v>1345</c:v>
                </c:pt>
                <c:pt idx="45">
                  <c:v>0</c:v>
                </c:pt>
                <c:pt idx="46">
                  <c:v>1344</c:v>
                </c:pt>
                <c:pt idx="47">
                  <c:v>4242</c:v>
                </c:pt>
                <c:pt idx="48">
                  <c:v>5722</c:v>
                </c:pt>
                <c:pt idx="49">
                  <c:v>4254</c:v>
                </c:pt>
                <c:pt idx="50">
                  <c:v>7145</c:v>
                </c:pt>
                <c:pt idx="51">
                  <c:v>0</c:v>
                </c:pt>
                <c:pt idx="52">
                  <c:v>0</c:v>
                </c:pt>
                <c:pt idx="53">
                  <c:v>0</c:v>
                </c:pt>
                <c:pt idx="54">
                  <c:v>0</c:v>
                </c:pt>
              </c:numCache>
            </c:numRef>
          </c:val>
          <c:extLst>
            <c:ext xmlns:c16="http://schemas.microsoft.com/office/drawing/2014/chart" uri="{C3380CC4-5D6E-409C-BE32-E72D297353CC}">
              <c16:uniqueId val="{00000039-8F05-C544-AC99-D382D85530F5}"/>
            </c:ext>
          </c:extLst>
        </c:ser>
        <c:ser>
          <c:idx val="2"/>
          <c:order val="2"/>
          <c:spPr>
            <a:solidFill>
              <a:srgbClr val="9DB1CF"/>
            </a:solidFill>
            <a:ln>
              <a:noFill/>
            </a:ln>
          </c:spPr>
          <c:invertIfNegative val="0"/>
          <c:dPt>
            <c:idx val="27"/>
            <c:invertIfNegative val="0"/>
            <c:bubble3D val="0"/>
            <c:spPr>
              <a:solidFill>
                <a:srgbClr val="6F8DB9"/>
              </a:solidFill>
              <a:ln>
                <a:noFill/>
              </a:ln>
            </c:spPr>
            <c:extLst>
              <c:ext xmlns:c16="http://schemas.microsoft.com/office/drawing/2014/chart" uri="{C3380CC4-5D6E-409C-BE32-E72D297353CC}">
                <c16:uniqueId val="{0000003A-8F05-C544-AC99-D382D85530F5}"/>
              </c:ext>
            </c:extLst>
          </c:dPt>
          <c:dPt>
            <c:idx val="28"/>
            <c:invertIfNegative val="0"/>
            <c:bubble3D val="0"/>
            <c:spPr>
              <a:solidFill>
                <a:srgbClr val="6F8DB9"/>
              </a:solidFill>
              <a:ln>
                <a:noFill/>
              </a:ln>
            </c:spPr>
            <c:extLst>
              <c:ext xmlns:c16="http://schemas.microsoft.com/office/drawing/2014/chart" uri="{C3380CC4-5D6E-409C-BE32-E72D297353CC}">
                <c16:uniqueId val="{0000003B-8F05-C544-AC99-D382D85530F5}"/>
              </c:ext>
            </c:extLst>
          </c:dPt>
          <c:dPt>
            <c:idx val="29"/>
            <c:invertIfNegative val="0"/>
            <c:bubble3D val="0"/>
            <c:spPr>
              <a:solidFill>
                <a:srgbClr val="6F8DB9"/>
              </a:solidFill>
              <a:ln>
                <a:noFill/>
              </a:ln>
            </c:spPr>
            <c:extLst>
              <c:ext xmlns:c16="http://schemas.microsoft.com/office/drawing/2014/chart" uri="{C3380CC4-5D6E-409C-BE32-E72D297353CC}">
                <c16:uniqueId val="{0000003C-8F05-C544-AC99-D382D85530F5}"/>
              </c:ext>
            </c:extLst>
          </c:dPt>
          <c:dPt>
            <c:idx val="30"/>
            <c:invertIfNegative val="0"/>
            <c:bubble3D val="0"/>
            <c:spPr>
              <a:solidFill>
                <a:srgbClr val="6F8DB9"/>
              </a:solidFill>
              <a:ln>
                <a:noFill/>
              </a:ln>
            </c:spPr>
            <c:extLst>
              <c:ext xmlns:c16="http://schemas.microsoft.com/office/drawing/2014/chart" uri="{C3380CC4-5D6E-409C-BE32-E72D297353CC}">
                <c16:uniqueId val="{0000003D-8F05-C544-AC99-D382D85530F5}"/>
              </c:ext>
            </c:extLst>
          </c:dPt>
          <c:dPt>
            <c:idx val="31"/>
            <c:invertIfNegative val="0"/>
            <c:bubble3D val="0"/>
            <c:spPr>
              <a:solidFill>
                <a:srgbClr val="6F8DB9"/>
              </a:solidFill>
              <a:ln>
                <a:noFill/>
              </a:ln>
            </c:spPr>
            <c:extLst>
              <c:ext xmlns:c16="http://schemas.microsoft.com/office/drawing/2014/chart" uri="{C3380CC4-5D6E-409C-BE32-E72D297353CC}">
                <c16:uniqueId val="{0000003E-8F05-C544-AC99-D382D85530F5}"/>
              </c:ext>
            </c:extLst>
          </c:dPt>
          <c:dPt>
            <c:idx val="32"/>
            <c:invertIfNegative val="0"/>
            <c:bubble3D val="0"/>
            <c:spPr>
              <a:solidFill>
                <a:srgbClr val="6F8DB9"/>
              </a:solidFill>
              <a:ln>
                <a:noFill/>
              </a:ln>
            </c:spPr>
            <c:extLst>
              <c:ext xmlns:c16="http://schemas.microsoft.com/office/drawing/2014/chart" uri="{C3380CC4-5D6E-409C-BE32-E72D297353CC}">
                <c16:uniqueId val="{0000003F-8F05-C544-AC99-D382D85530F5}"/>
              </c:ext>
            </c:extLst>
          </c:dPt>
          <c:dPt>
            <c:idx val="33"/>
            <c:invertIfNegative val="0"/>
            <c:bubble3D val="0"/>
            <c:spPr>
              <a:solidFill>
                <a:srgbClr val="6F8DB9"/>
              </a:solidFill>
              <a:ln>
                <a:noFill/>
              </a:ln>
            </c:spPr>
            <c:extLst>
              <c:ext xmlns:c16="http://schemas.microsoft.com/office/drawing/2014/chart" uri="{C3380CC4-5D6E-409C-BE32-E72D297353CC}">
                <c16:uniqueId val="{00000040-8F05-C544-AC99-D382D85530F5}"/>
              </c:ext>
            </c:extLst>
          </c:dPt>
          <c:dPt>
            <c:idx val="34"/>
            <c:invertIfNegative val="0"/>
            <c:bubble3D val="0"/>
            <c:spPr>
              <a:solidFill>
                <a:srgbClr val="6F8DB9"/>
              </a:solidFill>
              <a:ln>
                <a:noFill/>
              </a:ln>
            </c:spPr>
            <c:extLst>
              <c:ext xmlns:c16="http://schemas.microsoft.com/office/drawing/2014/chart" uri="{C3380CC4-5D6E-409C-BE32-E72D297353CC}">
                <c16:uniqueId val="{00000041-8F05-C544-AC99-D382D85530F5}"/>
              </c:ext>
            </c:extLst>
          </c:dPt>
          <c:dPt>
            <c:idx val="35"/>
            <c:invertIfNegative val="0"/>
            <c:bubble3D val="0"/>
            <c:spPr>
              <a:solidFill>
                <a:srgbClr val="4C6C9C"/>
              </a:solidFill>
              <a:ln>
                <a:noFill/>
              </a:ln>
            </c:spPr>
            <c:extLst>
              <c:ext xmlns:c16="http://schemas.microsoft.com/office/drawing/2014/chart" uri="{C3380CC4-5D6E-409C-BE32-E72D297353CC}">
                <c16:uniqueId val="{00000042-8F05-C544-AC99-D382D85530F5}"/>
              </c:ext>
            </c:extLst>
          </c:dPt>
          <c:dPt>
            <c:idx val="36"/>
            <c:invertIfNegative val="0"/>
            <c:bubble3D val="0"/>
            <c:spPr>
              <a:solidFill>
                <a:srgbClr val="4C6C9C"/>
              </a:solidFill>
              <a:ln>
                <a:noFill/>
              </a:ln>
            </c:spPr>
            <c:extLst>
              <c:ext xmlns:c16="http://schemas.microsoft.com/office/drawing/2014/chart" uri="{C3380CC4-5D6E-409C-BE32-E72D297353CC}">
                <c16:uniqueId val="{00000043-8F05-C544-AC99-D382D85530F5}"/>
              </c:ext>
            </c:extLst>
          </c:dPt>
          <c:dPt>
            <c:idx val="37"/>
            <c:invertIfNegative val="0"/>
            <c:bubble3D val="0"/>
            <c:spPr>
              <a:solidFill>
                <a:srgbClr val="4C6C9C"/>
              </a:solidFill>
              <a:ln>
                <a:noFill/>
              </a:ln>
            </c:spPr>
            <c:extLst>
              <c:ext xmlns:c16="http://schemas.microsoft.com/office/drawing/2014/chart" uri="{C3380CC4-5D6E-409C-BE32-E72D297353CC}">
                <c16:uniqueId val="{00000044-8F05-C544-AC99-D382D85530F5}"/>
              </c:ext>
            </c:extLst>
          </c:dPt>
          <c:dPt>
            <c:idx val="38"/>
            <c:invertIfNegative val="0"/>
            <c:bubble3D val="0"/>
            <c:spPr>
              <a:solidFill>
                <a:srgbClr val="4C6C9C"/>
              </a:solidFill>
              <a:ln>
                <a:noFill/>
              </a:ln>
            </c:spPr>
            <c:extLst>
              <c:ext xmlns:c16="http://schemas.microsoft.com/office/drawing/2014/chart" uri="{C3380CC4-5D6E-409C-BE32-E72D297353CC}">
                <c16:uniqueId val="{00000045-8F05-C544-AC99-D382D85530F5}"/>
              </c:ext>
            </c:extLst>
          </c:dPt>
          <c:dPt>
            <c:idx val="39"/>
            <c:invertIfNegative val="0"/>
            <c:bubble3D val="0"/>
            <c:spPr>
              <a:solidFill>
                <a:srgbClr val="4C6C9C"/>
              </a:solidFill>
              <a:ln>
                <a:noFill/>
              </a:ln>
            </c:spPr>
            <c:extLst>
              <c:ext xmlns:c16="http://schemas.microsoft.com/office/drawing/2014/chart" uri="{C3380CC4-5D6E-409C-BE32-E72D297353CC}">
                <c16:uniqueId val="{00000046-8F05-C544-AC99-D382D85530F5}"/>
              </c:ext>
            </c:extLst>
          </c:dPt>
          <c:dPt>
            <c:idx val="40"/>
            <c:invertIfNegative val="0"/>
            <c:bubble3D val="0"/>
            <c:spPr>
              <a:solidFill>
                <a:srgbClr val="4C6C9C"/>
              </a:solidFill>
              <a:ln>
                <a:noFill/>
              </a:ln>
            </c:spPr>
            <c:extLst>
              <c:ext xmlns:c16="http://schemas.microsoft.com/office/drawing/2014/chart" uri="{C3380CC4-5D6E-409C-BE32-E72D297353CC}">
                <c16:uniqueId val="{00000047-8F05-C544-AC99-D382D85530F5}"/>
              </c:ext>
            </c:extLst>
          </c:dPt>
          <c:dPt>
            <c:idx val="41"/>
            <c:invertIfNegative val="0"/>
            <c:bubble3D val="0"/>
            <c:spPr>
              <a:solidFill>
                <a:srgbClr val="4C6C9C"/>
              </a:solidFill>
              <a:ln>
                <a:noFill/>
              </a:ln>
            </c:spPr>
            <c:extLst>
              <c:ext xmlns:c16="http://schemas.microsoft.com/office/drawing/2014/chart" uri="{C3380CC4-5D6E-409C-BE32-E72D297353CC}">
                <c16:uniqueId val="{00000048-8F05-C544-AC99-D382D85530F5}"/>
              </c:ext>
            </c:extLst>
          </c:dPt>
          <c:dPt>
            <c:idx val="42"/>
            <c:invertIfNegative val="0"/>
            <c:bubble3D val="0"/>
            <c:spPr>
              <a:solidFill>
                <a:srgbClr val="4C6C9C"/>
              </a:solidFill>
              <a:ln>
                <a:noFill/>
              </a:ln>
            </c:spPr>
            <c:extLst>
              <c:ext xmlns:c16="http://schemas.microsoft.com/office/drawing/2014/chart" uri="{C3380CC4-5D6E-409C-BE32-E72D297353CC}">
                <c16:uniqueId val="{00000049-8F05-C544-AC99-D382D85530F5}"/>
              </c:ext>
            </c:extLst>
          </c:dPt>
          <c:dPt>
            <c:idx val="43"/>
            <c:invertIfNegative val="0"/>
            <c:bubble3D val="0"/>
            <c:spPr>
              <a:solidFill>
                <a:srgbClr val="364D6E"/>
              </a:solidFill>
              <a:ln>
                <a:noFill/>
              </a:ln>
            </c:spPr>
            <c:extLst>
              <c:ext xmlns:c16="http://schemas.microsoft.com/office/drawing/2014/chart" uri="{C3380CC4-5D6E-409C-BE32-E72D297353CC}">
                <c16:uniqueId val="{0000004A-8F05-C544-AC99-D382D85530F5}"/>
              </c:ext>
            </c:extLst>
          </c:dPt>
          <c:dPt>
            <c:idx val="44"/>
            <c:invertIfNegative val="0"/>
            <c:bubble3D val="0"/>
            <c:spPr>
              <a:solidFill>
                <a:srgbClr val="364D6E"/>
              </a:solidFill>
              <a:ln>
                <a:noFill/>
              </a:ln>
            </c:spPr>
            <c:extLst>
              <c:ext xmlns:c16="http://schemas.microsoft.com/office/drawing/2014/chart" uri="{C3380CC4-5D6E-409C-BE32-E72D297353CC}">
                <c16:uniqueId val="{0000004B-8F05-C544-AC99-D382D85530F5}"/>
              </c:ext>
            </c:extLst>
          </c:dPt>
          <c:dPt>
            <c:idx val="45"/>
            <c:invertIfNegative val="0"/>
            <c:bubble3D val="0"/>
            <c:spPr>
              <a:solidFill>
                <a:srgbClr val="364D6E"/>
              </a:solidFill>
              <a:ln>
                <a:noFill/>
              </a:ln>
            </c:spPr>
            <c:extLst>
              <c:ext xmlns:c16="http://schemas.microsoft.com/office/drawing/2014/chart" uri="{C3380CC4-5D6E-409C-BE32-E72D297353CC}">
                <c16:uniqueId val="{0000004C-8F05-C544-AC99-D382D85530F5}"/>
              </c:ext>
            </c:extLst>
          </c:dPt>
          <c:dPt>
            <c:idx val="46"/>
            <c:invertIfNegative val="0"/>
            <c:bubble3D val="0"/>
            <c:spPr>
              <a:solidFill>
                <a:srgbClr val="364D6E"/>
              </a:solidFill>
              <a:ln>
                <a:noFill/>
              </a:ln>
            </c:spPr>
            <c:extLst>
              <c:ext xmlns:c16="http://schemas.microsoft.com/office/drawing/2014/chart" uri="{C3380CC4-5D6E-409C-BE32-E72D297353CC}">
                <c16:uniqueId val="{0000004D-8F05-C544-AC99-D382D85530F5}"/>
              </c:ext>
            </c:extLst>
          </c:dPt>
          <c:dPt>
            <c:idx val="47"/>
            <c:invertIfNegative val="0"/>
            <c:bubble3D val="0"/>
            <c:spPr>
              <a:solidFill>
                <a:srgbClr val="364D6E"/>
              </a:solidFill>
              <a:ln>
                <a:noFill/>
              </a:ln>
            </c:spPr>
            <c:extLst>
              <c:ext xmlns:c16="http://schemas.microsoft.com/office/drawing/2014/chart" uri="{C3380CC4-5D6E-409C-BE32-E72D297353CC}">
                <c16:uniqueId val="{0000004E-8F05-C544-AC99-D382D85530F5}"/>
              </c:ext>
            </c:extLst>
          </c:dPt>
          <c:dPt>
            <c:idx val="48"/>
            <c:invertIfNegative val="0"/>
            <c:bubble3D val="0"/>
            <c:spPr>
              <a:solidFill>
                <a:srgbClr val="364D6E"/>
              </a:solidFill>
              <a:ln>
                <a:noFill/>
              </a:ln>
            </c:spPr>
            <c:extLst>
              <c:ext xmlns:c16="http://schemas.microsoft.com/office/drawing/2014/chart" uri="{C3380CC4-5D6E-409C-BE32-E72D297353CC}">
                <c16:uniqueId val="{0000004F-8F05-C544-AC99-D382D85530F5}"/>
              </c:ext>
            </c:extLst>
          </c:dPt>
          <c:dPt>
            <c:idx val="49"/>
            <c:invertIfNegative val="0"/>
            <c:bubble3D val="0"/>
            <c:spPr>
              <a:solidFill>
                <a:srgbClr val="364D6E"/>
              </a:solidFill>
              <a:ln>
                <a:noFill/>
              </a:ln>
            </c:spPr>
            <c:extLst>
              <c:ext xmlns:c16="http://schemas.microsoft.com/office/drawing/2014/chart" uri="{C3380CC4-5D6E-409C-BE32-E72D297353CC}">
                <c16:uniqueId val="{00000050-8F05-C544-AC99-D382D85530F5}"/>
              </c:ext>
            </c:extLst>
          </c:dPt>
          <c:dPt>
            <c:idx val="50"/>
            <c:invertIfNegative val="0"/>
            <c:bubble3D val="0"/>
            <c:spPr>
              <a:solidFill>
                <a:srgbClr val="364D6E"/>
              </a:solidFill>
              <a:ln>
                <a:noFill/>
              </a:ln>
            </c:spPr>
            <c:extLst>
              <c:ext xmlns:c16="http://schemas.microsoft.com/office/drawing/2014/chart" uri="{C3380CC4-5D6E-409C-BE32-E72D297353CC}">
                <c16:uniqueId val="{00000051-8F05-C544-AC99-D382D85530F5}"/>
              </c:ext>
            </c:extLst>
          </c:dPt>
          <c:dPt>
            <c:idx val="51"/>
            <c:invertIfNegative val="0"/>
            <c:bubble3D val="0"/>
            <c:spPr>
              <a:solidFill>
                <a:schemeClr val="accent2"/>
              </a:solidFill>
              <a:ln>
                <a:noFill/>
              </a:ln>
            </c:spPr>
            <c:extLst>
              <c:ext xmlns:c16="http://schemas.microsoft.com/office/drawing/2014/chart" uri="{C3380CC4-5D6E-409C-BE32-E72D297353CC}">
                <c16:uniqueId val="{00000052-8F05-C544-AC99-D382D85530F5}"/>
              </c:ext>
            </c:extLst>
          </c:dPt>
          <c:dPt>
            <c:idx val="52"/>
            <c:invertIfNegative val="0"/>
            <c:bubble3D val="0"/>
            <c:spPr>
              <a:solidFill>
                <a:schemeClr val="accent2"/>
              </a:solidFill>
              <a:ln>
                <a:noFill/>
              </a:ln>
            </c:spPr>
            <c:extLst>
              <c:ext xmlns:c16="http://schemas.microsoft.com/office/drawing/2014/chart" uri="{C3380CC4-5D6E-409C-BE32-E72D297353CC}">
                <c16:uniqueId val="{00000053-8F05-C544-AC99-D382D85530F5}"/>
              </c:ext>
            </c:extLst>
          </c:dPt>
          <c:dPt>
            <c:idx val="53"/>
            <c:invertIfNegative val="0"/>
            <c:bubble3D val="0"/>
            <c:spPr>
              <a:solidFill>
                <a:srgbClr val="4C6C9C"/>
              </a:solidFill>
              <a:ln>
                <a:noFill/>
              </a:ln>
            </c:spPr>
            <c:extLst>
              <c:ext xmlns:c16="http://schemas.microsoft.com/office/drawing/2014/chart" uri="{C3380CC4-5D6E-409C-BE32-E72D297353CC}">
                <c16:uniqueId val="{00000054-8F05-C544-AC99-D382D85530F5}"/>
              </c:ext>
            </c:extLst>
          </c:dPt>
          <c:dPt>
            <c:idx val="54"/>
            <c:invertIfNegative val="0"/>
            <c:bubble3D val="0"/>
            <c:spPr>
              <a:solidFill>
                <a:srgbClr val="4C6C9C"/>
              </a:solidFill>
              <a:ln>
                <a:noFill/>
              </a:ln>
            </c:spPr>
            <c:extLst>
              <c:ext xmlns:c16="http://schemas.microsoft.com/office/drawing/2014/chart" uri="{C3380CC4-5D6E-409C-BE32-E72D297353CC}">
                <c16:uniqueId val="{00000055-8F05-C544-AC99-D382D85530F5}"/>
              </c:ext>
            </c:extLst>
          </c:dPt>
          <c:val>
            <c:numRef>
              <c:f>Sheet1!$A$3:$BC$3</c:f>
              <c:numCache>
                <c:formatCode>General</c:formatCode>
                <c:ptCount val="55"/>
                <c:pt idx="0">
                  <c:v>0</c:v>
                </c:pt>
                <c:pt idx="1">
                  <c:v>0</c:v>
                </c:pt>
                <c:pt idx="2">
                  <c:v>0</c:v>
                </c:pt>
                <c:pt idx="3">
                  <c:v>0</c:v>
                </c:pt>
                <c:pt idx="4">
                  <c:v>0</c:v>
                </c:pt>
                <c:pt idx="5">
                  <c:v>0</c:v>
                </c:pt>
                <c:pt idx="6">
                  <c:v>0</c:v>
                </c:pt>
                <c:pt idx="7">
                  <c:v>16</c:v>
                </c:pt>
                <c:pt idx="8">
                  <c:v>16</c:v>
                </c:pt>
                <c:pt idx="9">
                  <c:v>16</c:v>
                </c:pt>
                <c:pt idx="10">
                  <c:v>16</c:v>
                </c:pt>
                <c:pt idx="11">
                  <c:v>16</c:v>
                </c:pt>
                <c:pt idx="12">
                  <c:v>143</c:v>
                </c:pt>
                <c:pt idx="13">
                  <c:v>143</c:v>
                </c:pt>
                <c:pt idx="14">
                  <c:v>86</c:v>
                </c:pt>
                <c:pt idx="15">
                  <c:v>442</c:v>
                </c:pt>
                <c:pt idx="16">
                  <c:v>442</c:v>
                </c:pt>
                <c:pt idx="17">
                  <c:v>442</c:v>
                </c:pt>
                <c:pt idx="18">
                  <c:v>1099</c:v>
                </c:pt>
                <c:pt idx="19">
                  <c:v>1099</c:v>
                </c:pt>
                <c:pt idx="20">
                  <c:v>1029</c:v>
                </c:pt>
                <c:pt idx="21">
                  <c:v>2924</c:v>
                </c:pt>
                <c:pt idx="22">
                  <c:v>3764</c:v>
                </c:pt>
                <c:pt idx="23">
                  <c:v>5513</c:v>
                </c:pt>
                <c:pt idx="24">
                  <c:v>4843</c:v>
                </c:pt>
                <c:pt idx="25">
                  <c:v>7165</c:v>
                </c:pt>
                <c:pt idx="26">
                  <c:v>7419</c:v>
                </c:pt>
                <c:pt idx="27">
                  <c:v>1029</c:v>
                </c:pt>
                <c:pt idx="28">
                  <c:v>1029</c:v>
                </c:pt>
                <c:pt idx="29">
                  <c:v>2254</c:v>
                </c:pt>
                <c:pt idx="30">
                  <c:v>3094</c:v>
                </c:pt>
                <c:pt idx="31">
                  <c:v>4843</c:v>
                </c:pt>
                <c:pt idx="32">
                  <c:v>4843</c:v>
                </c:pt>
                <c:pt idx="33">
                  <c:v>6493</c:v>
                </c:pt>
                <c:pt idx="34">
                  <c:v>7419</c:v>
                </c:pt>
                <c:pt idx="35">
                  <c:v>0</c:v>
                </c:pt>
                <c:pt idx="36">
                  <c:v>0</c:v>
                </c:pt>
                <c:pt idx="37">
                  <c:v>1225</c:v>
                </c:pt>
                <c:pt idx="38">
                  <c:v>2065</c:v>
                </c:pt>
                <c:pt idx="39">
                  <c:v>4171</c:v>
                </c:pt>
                <c:pt idx="40">
                  <c:v>4171</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numCache>
            </c:numRef>
          </c:val>
          <c:extLst>
            <c:ext xmlns:c16="http://schemas.microsoft.com/office/drawing/2014/chart" uri="{C3380CC4-5D6E-409C-BE32-E72D297353CC}">
              <c16:uniqueId val="{00000056-8F05-C544-AC99-D382D85530F5}"/>
            </c:ext>
          </c:extLst>
        </c:ser>
        <c:ser>
          <c:idx val="3"/>
          <c:order val="3"/>
          <c:spPr>
            <a:solidFill>
              <a:srgbClr val="6F8DB9"/>
            </a:solidFill>
            <a:ln>
              <a:noFill/>
            </a:ln>
          </c:spPr>
          <c:invertIfNegative val="0"/>
          <c:dPt>
            <c:idx val="27"/>
            <c:invertIfNegative val="0"/>
            <c:bubble3D val="0"/>
            <c:spPr>
              <a:solidFill>
                <a:srgbClr val="4C6C9C"/>
              </a:solidFill>
              <a:ln>
                <a:noFill/>
              </a:ln>
            </c:spPr>
            <c:extLst>
              <c:ext xmlns:c16="http://schemas.microsoft.com/office/drawing/2014/chart" uri="{C3380CC4-5D6E-409C-BE32-E72D297353CC}">
                <c16:uniqueId val="{00000057-8F05-C544-AC99-D382D85530F5}"/>
              </c:ext>
            </c:extLst>
          </c:dPt>
          <c:dPt>
            <c:idx val="28"/>
            <c:invertIfNegative val="0"/>
            <c:bubble3D val="0"/>
            <c:spPr>
              <a:solidFill>
                <a:srgbClr val="4C6C9C"/>
              </a:solidFill>
              <a:ln>
                <a:noFill/>
              </a:ln>
            </c:spPr>
            <c:extLst>
              <c:ext xmlns:c16="http://schemas.microsoft.com/office/drawing/2014/chart" uri="{C3380CC4-5D6E-409C-BE32-E72D297353CC}">
                <c16:uniqueId val="{00000058-8F05-C544-AC99-D382D85530F5}"/>
              </c:ext>
            </c:extLst>
          </c:dPt>
          <c:dPt>
            <c:idx val="29"/>
            <c:invertIfNegative val="0"/>
            <c:bubble3D val="0"/>
            <c:spPr>
              <a:solidFill>
                <a:srgbClr val="4C6C9C"/>
              </a:solidFill>
              <a:ln>
                <a:noFill/>
              </a:ln>
            </c:spPr>
            <c:extLst>
              <c:ext xmlns:c16="http://schemas.microsoft.com/office/drawing/2014/chart" uri="{C3380CC4-5D6E-409C-BE32-E72D297353CC}">
                <c16:uniqueId val="{00000059-8F05-C544-AC99-D382D85530F5}"/>
              </c:ext>
            </c:extLst>
          </c:dPt>
          <c:dPt>
            <c:idx val="30"/>
            <c:invertIfNegative val="0"/>
            <c:bubble3D val="0"/>
            <c:spPr>
              <a:solidFill>
                <a:srgbClr val="4C6C9C"/>
              </a:solidFill>
              <a:ln>
                <a:noFill/>
              </a:ln>
            </c:spPr>
            <c:extLst>
              <c:ext xmlns:c16="http://schemas.microsoft.com/office/drawing/2014/chart" uri="{C3380CC4-5D6E-409C-BE32-E72D297353CC}">
                <c16:uniqueId val="{0000005A-8F05-C544-AC99-D382D85530F5}"/>
              </c:ext>
            </c:extLst>
          </c:dPt>
          <c:dPt>
            <c:idx val="31"/>
            <c:invertIfNegative val="0"/>
            <c:bubble3D val="0"/>
            <c:spPr>
              <a:solidFill>
                <a:srgbClr val="4C6C9C"/>
              </a:solidFill>
              <a:ln>
                <a:noFill/>
              </a:ln>
            </c:spPr>
            <c:extLst>
              <c:ext xmlns:c16="http://schemas.microsoft.com/office/drawing/2014/chart" uri="{C3380CC4-5D6E-409C-BE32-E72D297353CC}">
                <c16:uniqueId val="{0000005B-8F05-C544-AC99-D382D85530F5}"/>
              </c:ext>
            </c:extLst>
          </c:dPt>
          <c:dPt>
            <c:idx val="32"/>
            <c:invertIfNegative val="0"/>
            <c:bubble3D val="0"/>
            <c:spPr>
              <a:solidFill>
                <a:srgbClr val="4C6C9C"/>
              </a:solidFill>
              <a:ln>
                <a:noFill/>
              </a:ln>
            </c:spPr>
            <c:extLst>
              <c:ext xmlns:c16="http://schemas.microsoft.com/office/drawing/2014/chart" uri="{C3380CC4-5D6E-409C-BE32-E72D297353CC}">
                <c16:uniqueId val="{0000005C-8F05-C544-AC99-D382D85530F5}"/>
              </c:ext>
            </c:extLst>
          </c:dPt>
          <c:dPt>
            <c:idx val="33"/>
            <c:invertIfNegative val="0"/>
            <c:bubble3D val="0"/>
            <c:spPr>
              <a:solidFill>
                <a:srgbClr val="4C6C9C"/>
              </a:solidFill>
              <a:ln>
                <a:noFill/>
              </a:ln>
            </c:spPr>
            <c:extLst>
              <c:ext xmlns:c16="http://schemas.microsoft.com/office/drawing/2014/chart" uri="{C3380CC4-5D6E-409C-BE32-E72D297353CC}">
                <c16:uniqueId val="{0000005D-8F05-C544-AC99-D382D85530F5}"/>
              </c:ext>
            </c:extLst>
          </c:dPt>
          <c:dPt>
            <c:idx val="34"/>
            <c:invertIfNegative val="0"/>
            <c:bubble3D val="0"/>
            <c:spPr>
              <a:solidFill>
                <a:srgbClr val="4C6C9C"/>
              </a:solidFill>
              <a:ln>
                <a:noFill/>
              </a:ln>
            </c:spPr>
            <c:extLst>
              <c:ext xmlns:c16="http://schemas.microsoft.com/office/drawing/2014/chart" uri="{C3380CC4-5D6E-409C-BE32-E72D297353CC}">
                <c16:uniqueId val="{0000005E-8F05-C544-AC99-D382D85530F5}"/>
              </c:ext>
            </c:extLst>
          </c:dPt>
          <c:dPt>
            <c:idx val="35"/>
            <c:invertIfNegative val="0"/>
            <c:bubble3D val="0"/>
            <c:spPr>
              <a:solidFill>
                <a:srgbClr val="364D6E"/>
              </a:solidFill>
              <a:ln>
                <a:noFill/>
              </a:ln>
            </c:spPr>
            <c:extLst>
              <c:ext xmlns:c16="http://schemas.microsoft.com/office/drawing/2014/chart" uri="{C3380CC4-5D6E-409C-BE32-E72D297353CC}">
                <c16:uniqueId val="{0000005F-8F05-C544-AC99-D382D85530F5}"/>
              </c:ext>
            </c:extLst>
          </c:dPt>
          <c:dPt>
            <c:idx val="36"/>
            <c:invertIfNegative val="0"/>
            <c:bubble3D val="0"/>
            <c:spPr>
              <a:solidFill>
                <a:srgbClr val="364D6E"/>
              </a:solidFill>
              <a:ln>
                <a:noFill/>
              </a:ln>
            </c:spPr>
            <c:extLst>
              <c:ext xmlns:c16="http://schemas.microsoft.com/office/drawing/2014/chart" uri="{C3380CC4-5D6E-409C-BE32-E72D297353CC}">
                <c16:uniqueId val="{00000060-8F05-C544-AC99-D382D85530F5}"/>
              </c:ext>
            </c:extLst>
          </c:dPt>
          <c:dPt>
            <c:idx val="37"/>
            <c:invertIfNegative val="0"/>
            <c:bubble3D val="0"/>
            <c:spPr>
              <a:solidFill>
                <a:srgbClr val="364D6E"/>
              </a:solidFill>
              <a:ln>
                <a:noFill/>
              </a:ln>
            </c:spPr>
            <c:extLst>
              <c:ext xmlns:c16="http://schemas.microsoft.com/office/drawing/2014/chart" uri="{C3380CC4-5D6E-409C-BE32-E72D297353CC}">
                <c16:uniqueId val="{00000061-8F05-C544-AC99-D382D85530F5}"/>
              </c:ext>
            </c:extLst>
          </c:dPt>
          <c:dPt>
            <c:idx val="38"/>
            <c:invertIfNegative val="0"/>
            <c:bubble3D val="0"/>
            <c:spPr>
              <a:solidFill>
                <a:srgbClr val="364D6E"/>
              </a:solidFill>
              <a:ln>
                <a:noFill/>
              </a:ln>
            </c:spPr>
            <c:extLst>
              <c:ext xmlns:c16="http://schemas.microsoft.com/office/drawing/2014/chart" uri="{C3380CC4-5D6E-409C-BE32-E72D297353CC}">
                <c16:uniqueId val="{00000062-8F05-C544-AC99-D382D85530F5}"/>
              </c:ext>
            </c:extLst>
          </c:dPt>
          <c:dPt>
            <c:idx val="39"/>
            <c:invertIfNegative val="0"/>
            <c:bubble3D val="0"/>
            <c:spPr>
              <a:solidFill>
                <a:srgbClr val="364D6E"/>
              </a:solidFill>
              <a:ln>
                <a:noFill/>
              </a:ln>
            </c:spPr>
            <c:extLst>
              <c:ext xmlns:c16="http://schemas.microsoft.com/office/drawing/2014/chart" uri="{C3380CC4-5D6E-409C-BE32-E72D297353CC}">
                <c16:uniqueId val="{00000063-8F05-C544-AC99-D382D85530F5}"/>
              </c:ext>
            </c:extLst>
          </c:dPt>
          <c:dPt>
            <c:idx val="40"/>
            <c:invertIfNegative val="0"/>
            <c:bubble3D val="0"/>
            <c:spPr>
              <a:solidFill>
                <a:srgbClr val="364D6E"/>
              </a:solidFill>
              <a:ln>
                <a:noFill/>
              </a:ln>
            </c:spPr>
            <c:extLst>
              <c:ext xmlns:c16="http://schemas.microsoft.com/office/drawing/2014/chart" uri="{C3380CC4-5D6E-409C-BE32-E72D297353CC}">
                <c16:uniqueId val="{00000064-8F05-C544-AC99-D382D85530F5}"/>
              </c:ext>
            </c:extLst>
          </c:dPt>
          <c:dPt>
            <c:idx val="41"/>
            <c:invertIfNegative val="0"/>
            <c:bubble3D val="0"/>
            <c:spPr>
              <a:solidFill>
                <a:srgbClr val="364D6E"/>
              </a:solidFill>
              <a:ln>
                <a:noFill/>
              </a:ln>
            </c:spPr>
            <c:extLst>
              <c:ext xmlns:c16="http://schemas.microsoft.com/office/drawing/2014/chart" uri="{C3380CC4-5D6E-409C-BE32-E72D297353CC}">
                <c16:uniqueId val="{00000065-8F05-C544-AC99-D382D85530F5}"/>
              </c:ext>
            </c:extLst>
          </c:dPt>
          <c:dPt>
            <c:idx val="42"/>
            <c:invertIfNegative val="0"/>
            <c:bubble3D val="0"/>
            <c:spPr>
              <a:solidFill>
                <a:srgbClr val="364D6E"/>
              </a:solidFill>
              <a:ln>
                <a:noFill/>
              </a:ln>
            </c:spPr>
            <c:extLst>
              <c:ext xmlns:c16="http://schemas.microsoft.com/office/drawing/2014/chart" uri="{C3380CC4-5D6E-409C-BE32-E72D297353CC}">
                <c16:uniqueId val="{00000066-8F05-C544-AC99-D382D85530F5}"/>
              </c:ext>
            </c:extLst>
          </c:dPt>
          <c:dPt>
            <c:idx val="43"/>
            <c:invertIfNegative val="0"/>
            <c:bubble3D val="0"/>
            <c:spPr>
              <a:solidFill>
                <a:schemeClr val="accent2"/>
              </a:solidFill>
              <a:ln>
                <a:noFill/>
              </a:ln>
            </c:spPr>
            <c:extLst>
              <c:ext xmlns:c16="http://schemas.microsoft.com/office/drawing/2014/chart" uri="{C3380CC4-5D6E-409C-BE32-E72D297353CC}">
                <c16:uniqueId val="{00000067-8F05-C544-AC99-D382D85530F5}"/>
              </c:ext>
            </c:extLst>
          </c:dPt>
          <c:dPt>
            <c:idx val="44"/>
            <c:invertIfNegative val="0"/>
            <c:bubble3D val="0"/>
            <c:spPr>
              <a:solidFill>
                <a:schemeClr val="accent2"/>
              </a:solidFill>
              <a:ln>
                <a:noFill/>
              </a:ln>
            </c:spPr>
            <c:extLst>
              <c:ext xmlns:c16="http://schemas.microsoft.com/office/drawing/2014/chart" uri="{C3380CC4-5D6E-409C-BE32-E72D297353CC}">
                <c16:uniqueId val="{00000068-8F05-C544-AC99-D382D85530F5}"/>
              </c:ext>
            </c:extLst>
          </c:dPt>
          <c:dPt>
            <c:idx val="45"/>
            <c:invertIfNegative val="0"/>
            <c:bubble3D val="0"/>
            <c:spPr>
              <a:solidFill>
                <a:schemeClr val="accent2"/>
              </a:solidFill>
              <a:ln>
                <a:noFill/>
              </a:ln>
            </c:spPr>
            <c:extLst>
              <c:ext xmlns:c16="http://schemas.microsoft.com/office/drawing/2014/chart" uri="{C3380CC4-5D6E-409C-BE32-E72D297353CC}">
                <c16:uniqueId val="{00000069-8F05-C544-AC99-D382D85530F5}"/>
              </c:ext>
            </c:extLst>
          </c:dPt>
          <c:dPt>
            <c:idx val="46"/>
            <c:invertIfNegative val="0"/>
            <c:bubble3D val="0"/>
            <c:spPr>
              <a:solidFill>
                <a:schemeClr val="accent2"/>
              </a:solidFill>
              <a:ln>
                <a:noFill/>
              </a:ln>
            </c:spPr>
            <c:extLst>
              <c:ext xmlns:c16="http://schemas.microsoft.com/office/drawing/2014/chart" uri="{C3380CC4-5D6E-409C-BE32-E72D297353CC}">
                <c16:uniqueId val="{0000006A-8F05-C544-AC99-D382D85530F5}"/>
              </c:ext>
            </c:extLst>
          </c:dPt>
          <c:dPt>
            <c:idx val="47"/>
            <c:invertIfNegative val="0"/>
            <c:bubble3D val="0"/>
            <c:spPr>
              <a:solidFill>
                <a:schemeClr val="accent2"/>
              </a:solidFill>
              <a:ln>
                <a:noFill/>
              </a:ln>
            </c:spPr>
            <c:extLst>
              <c:ext xmlns:c16="http://schemas.microsoft.com/office/drawing/2014/chart" uri="{C3380CC4-5D6E-409C-BE32-E72D297353CC}">
                <c16:uniqueId val="{0000006B-8F05-C544-AC99-D382D85530F5}"/>
              </c:ext>
            </c:extLst>
          </c:dPt>
          <c:dPt>
            <c:idx val="48"/>
            <c:invertIfNegative val="0"/>
            <c:bubble3D val="0"/>
            <c:spPr>
              <a:solidFill>
                <a:schemeClr val="accent2"/>
              </a:solidFill>
              <a:ln>
                <a:noFill/>
              </a:ln>
            </c:spPr>
            <c:extLst>
              <c:ext xmlns:c16="http://schemas.microsoft.com/office/drawing/2014/chart" uri="{C3380CC4-5D6E-409C-BE32-E72D297353CC}">
                <c16:uniqueId val="{0000006C-8F05-C544-AC99-D382D85530F5}"/>
              </c:ext>
            </c:extLst>
          </c:dPt>
          <c:dPt>
            <c:idx val="49"/>
            <c:invertIfNegative val="0"/>
            <c:bubble3D val="0"/>
            <c:spPr>
              <a:solidFill>
                <a:schemeClr val="accent2"/>
              </a:solidFill>
              <a:ln>
                <a:noFill/>
              </a:ln>
            </c:spPr>
            <c:extLst>
              <c:ext xmlns:c16="http://schemas.microsoft.com/office/drawing/2014/chart" uri="{C3380CC4-5D6E-409C-BE32-E72D297353CC}">
                <c16:uniqueId val="{0000006D-8F05-C544-AC99-D382D85530F5}"/>
              </c:ext>
            </c:extLst>
          </c:dPt>
          <c:dPt>
            <c:idx val="50"/>
            <c:invertIfNegative val="0"/>
            <c:bubble3D val="0"/>
            <c:spPr>
              <a:solidFill>
                <a:schemeClr val="accent2"/>
              </a:solidFill>
              <a:ln>
                <a:noFill/>
              </a:ln>
            </c:spPr>
            <c:extLst>
              <c:ext xmlns:c16="http://schemas.microsoft.com/office/drawing/2014/chart" uri="{C3380CC4-5D6E-409C-BE32-E72D297353CC}">
                <c16:uniqueId val="{0000006E-8F05-C544-AC99-D382D85530F5}"/>
              </c:ext>
            </c:extLst>
          </c:dPt>
          <c:val>
            <c:numRef>
              <c:f>Sheet1!$A$4:$BC$4</c:f>
              <c:numCache>
                <c:formatCode>General</c:formatCode>
                <c:ptCount val="5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357</c:v>
                </c:pt>
                <c:pt idx="24">
                  <c:v>357</c:v>
                </c:pt>
                <c:pt idx="25">
                  <c:v>357</c:v>
                </c:pt>
                <c:pt idx="26">
                  <c:v>1029</c:v>
                </c:pt>
                <c:pt idx="27">
                  <c:v>0</c:v>
                </c:pt>
                <c:pt idx="28">
                  <c:v>0</c:v>
                </c:pt>
                <c:pt idx="29">
                  <c:v>0</c:v>
                </c:pt>
                <c:pt idx="30">
                  <c:v>0</c:v>
                </c:pt>
                <c:pt idx="31">
                  <c:v>357</c:v>
                </c:pt>
                <c:pt idx="32">
                  <c:v>357</c:v>
                </c:pt>
                <c:pt idx="33">
                  <c:v>357</c:v>
                </c:pt>
                <c:pt idx="34">
                  <c:v>357</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numCache>
            </c:numRef>
          </c:val>
          <c:extLst>
            <c:ext xmlns:c16="http://schemas.microsoft.com/office/drawing/2014/chart" uri="{C3380CC4-5D6E-409C-BE32-E72D297353CC}">
              <c16:uniqueId val="{0000006F-8F05-C544-AC99-D382D85530F5}"/>
            </c:ext>
          </c:extLst>
        </c:ser>
        <c:ser>
          <c:idx val="4"/>
          <c:order val="4"/>
          <c:spPr>
            <a:solidFill>
              <a:srgbClr val="4C6C9C"/>
            </a:solidFill>
            <a:ln>
              <a:noFill/>
            </a:ln>
          </c:spPr>
          <c:invertIfNegative val="0"/>
          <c:dPt>
            <c:idx val="27"/>
            <c:invertIfNegative val="0"/>
            <c:bubble3D val="0"/>
            <c:spPr>
              <a:solidFill>
                <a:srgbClr val="364D6E"/>
              </a:solidFill>
              <a:ln>
                <a:noFill/>
              </a:ln>
            </c:spPr>
            <c:extLst>
              <c:ext xmlns:c16="http://schemas.microsoft.com/office/drawing/2014/chart" uri="{C3380CC4-5D6E-409C-BE32-E72D297353CC}">
                <c16:uniqueId val="{00000070-8F05-C544-AC99-D382D85530F5}"/>
              </c:ext>
            </c:extLst>
          </c:dPt>
          <c:dPt>
            <c:idx val="28"/>
            <c:invertIfNegative val="0"/>
            <c:bubble3D val="0"/>
            <c:spPr>
              <a:solidFill>
                <a:srgbClr val="364D6E"/>
              </a:solidFill>
              <a:ln>
                <a:noFill/>
              </a:ln>
            </c:spPr>
            <c:extLst>
              <c:ext xmlns:c16="http://schemas.microsoft.com/office/drawing/2014/chart" uri="{C3380CC4-5D6E-409C-BE32-E72D297353CC}">
                <c16:uniqueId val="{00000071-8F05-C544-AC99-D382D85530F5}"/>
              </c:ext>
            </c:extLst>
          </c:dPt>
          <c:dPt>
            <c:idx val="29"/>
            <c:invertIfNegative val="0"/>
            <c:bubble3D val="0"/>
            <c:spPr>
              <a:solidFill>
                <a:srgbClr val="364D6E"/>
              </a:solidFill>
              <a:ln>
                <a:noFill/>
              </a:ln>
            </c:spPr>
            <c:extLst>
              <c:ext xmlns:c16="http://schemas.microsoft.com/office/drawing/2014/chart" uri="{C3380CC4-5D6E-409C-BE32-E72D297353CC}">
                <c16:uniqueId val="{00000072-8F05-C544-AC99-D382D85530F5}"/>
              </c:ext>
            </c:extLst>
          </c:dPt>
          <c:dPt>
            <c:idx val="30"/>
            <c:invertIfNegative val="0"/>
            <c:bubble3D val="0"/>
            <c:spPr>
              <a:solidFill>
                <a:srgbClr val="364D6E"/>
              </a:solidFill>
              <a:ln>
                <a:noFill/>
              </a:ln>
            </c:spPr>
            <c:extLst>
              <c:ext xmlns:c16="http://schemas.microsoft.com/office/drawing/2014/chart" uri="{C3380CC4-5D6E-409C-BE32-E72D297353CC}">
                <c16:uniqueId val="{00000073-8F05-C544-AC99-D382D85530F5}"/>
              </c:ext>
            </c:extLst>
          </c:dPt>
          <c:dPt>
            <c:idx val="31"/>
            <c:invertIfNegative val="0"/>
            <c:bubble3D val="0"/>
            <c:spPr>
              <a:solidFill>
                <a:srgbClr val="364D6E"/>
              </a:solidFill>
              <a:ln>
                <a:noFill/>
              </a:ln>
            </c:spPr>
            <c:extLst>
              <c:ext xmlns:c16="http://schemas.microsoft.com/office/drawing/2014/chart" uri="{C3380CC4-5D6E-409C-BE32-E72D297353CC}">
                <c16:uniqueId val="{00000074-8F05-C544-AC99-D382D85530F5}"/>
              </c:ext>
            </c:extLst>
          </c:dPt>
          <c:dPt>
            <c:idx val="32"/>
            <c:invertIfNegative val="0"/>
            <c:bubble3D val="0"/>
            <c:spPr>
              <a:solidFill>
                <a:srgbClr val="364D6E"/>
              </a:solidFill>
              <a:ln>
                <a:noFill/>
              </a:ln>
            </c:spPr>
            <c:extLst>
              <c:ext xmlns:c16="http://schemas.microsoft.com/office/drawing/2014/chart" uri="{C3380CC4-5D6E-409C-BE32-E72D297353CC}">
                <c16:uniqueId val="{00000075-8F05-C544-AC99-D382D85530F5}"/>
              </c:ext>
            </c:extLst>
          </c:dPt>
          <c:dPt>
            <c:idx val="33"/>
            <c:invertIfNegative val="0"/>
            <c:bubble3D val="0"/>
            <c:spPr>
              <a:solidFill>
                <a:srgbClr val="364D6E"/>
              </a:solidFill>
              <a:ln>
                <a:noFill/>
              </a:ln>
            </c:spPr>
            <c:extLst>
              <c:ext xmlns:c16="http://schemas.microsoft.com/office/drawing/2014/chart" uri="{C3380CC4-5D6E-409C-BE32-E72D297353CC}">
                <c16:uniqueId val="{00000076-8F05-C544-AC99-D382D85530F5}"/>
              </c:ext>
            </c:extLst>
          </c:dPt>
          <c:dPt>
            <c:idx val="34"/>
            <c:invertIfNegative val="0"/>
            <c:bubble3D val="0"/>
            <c:spPr>
              <a:solidFill>
                <a:srgbClr val="364D6E"/>
              </a:solidFill>
              <a:ln>
                <a:noFill/>
              </a:ln>
            </c:spPr>
            <c:extLst>
              <c:ext xmlns:c16="http://schemas.microsoft.com/office/drawing/2014/chart" uri="{C3380CC4-5D6E-409C-BE32-E72D297353CC}">
                <c16:uniqueId val="{00000077-8F05-C544-AC99-D382D85530F5}"/>
              </c:ext>
            </c:extLst>
          </c:dPt>
          <c:dPt>
            <c:idx val="35"/>
            <c:invertIfNegative val="0"/>
            <c:bubble3D val="0"/>
            <c:spPr>
              <a:solidFill>
                <a:schemeClr val="accent2"/>
              </a:solidFill>
              <a:ln>
                <a:noFill/>
              </a:ln>
            </c:spPr>
            <c:extLst>
              <c:ext xmlns:c16="http://schemas.microsoft.com/office/drawing/2014/chart" uri="{C3380CC4-5D6E-409C-BE32-E72D297353CC}">
                <c16:uniqueId val="{00000078-8F05-C544-AC99-D382D85530F5}"/>
              </c:ext>
            </c:extLst>
          </c:dPt>
          <c:dPt>
            <c:idx val="36"/>
            <c:invertIfNegative val="0"/>
            <c:bubble3D val="0"/>
            <c:spPr>
              <a:solidFill>
                <a:schemeClr val="accent2"/>
              </a:solidFill>
              <a:ln>
                <a:noFill/>
              </a:ln>
            </c:spPr>
            <c:extLst>
              <c:ext xmlns:c16="http://schemas.microsoft.com/office/drawing/2014/chart" uri="{C3380CC4-5D6E-409C-BE32-E72D297353CC}">
                <c16:uniqueId val="{00000079-8F05-C544-AC99-D382D85530F5}"/>
              </c:ext>
            </c:extLst>
          </c:dPt>
          <c:dPt>
            <c:idx val="37"/>
            <c:invertIfNegative val="0"/>
            <c:bubble3D val="0"/>
            <c:spPr>
              <a:solidFill>
                <a:schemeClr val="accent2"/>
              </a:solidFill>
              <a:ln>
                <a:noFill/>
              </a:ln>
            </c:spPr>
            <c:extLst>
              <c:ext xmlns:c16="http://schemas.microsoft.com/office/drawing/2014/chart" uri="{C3380CC4-5D6E-409C-BE32-E72D297353CC}">
                <c16:uniqueId val="{0000007A-8F05-C544-AC99-D382D85530F5}"/>
              </c:ext>
            </c:extLst>
          </c:dPt>
          <c:dPt>
            <c:idx val="38"/>
            <c:invertIfNegative val="0"/>
            <c:bubble3D val="0"/>
            <c:spPr>
              <a:solidFill>
                <a:schemeClr val="accent2"/>
              </a:solidFill>
              <a:ln>
                <a:noFill/>
              </a:ln>
            </c:spPr>
            <c:extLst>
              <c:ext xmlns:c16="http://schemas.microsoft.com/office/drawing/2014/chart" uri="{C3380CC4-5D6E-409C-BE32-E72D297353CC}">
                <c16:uniqueId val="{0000007B-8F05-C544-AC99-D382D85530F5}"/>
              </c:ext>
            </c:extLst>
          </c:dPt>
          <c:dPt>
            <c:idx val="39"/>
            <c:invertIfNegative val="0"/>
            <c:bubble3D val="0"/>
            <c:spPr>
              <a:solidFill>
                <a:schemeClr val="accent2"/>
              </a:solidFill>
              <a:ln>
                <a:noFill/>
              </a:ln>
            </c:spPr>
            <c:extLst>
              <c:ext xmlns:c16="http://schemas.microsoft.com/office/drawing/2014/chart" uri="{C3380CC4-5D6E-409C-BE32-E72D297353CC}">
                <c16:uniqueId val="{0000007C-8F05-C544-AC99-D382D85530F5}"/>
              </c:ext>
            </c:extLst>
          </c:dPt>
          <c:dPt>
            <c:idx val="40"/>
            <c:invertIfNegative val="0"/>
            <c:bubble3D val="0"/>
            <c:spPr>
              <a:solidFill>
                <a:schemeClr val="accent2"/>
              </a:solidFill>
              <a:ln>
                <a:noFill/>
              </a:ln>
            </c:spPr>
            <c:extLst>
              <c:ext xmlns:c16="http://schemas.microsoft.com/office/drawing/2014/chart" uri="{C3380CC4-5D6E-409C-BE32-E72D297353CC}">
                <c16:uniqueId val="{0000007D-8F05-C544-AC99-D382D85530F5}"/>
              </c:ext>
            </c:extLst>
          </c:dPt>
          <c:dPt>
            <c:idx val="41"/>
            <c:invertIfNegative val="0"/>
            <c:bubble3D val="0"/>
            <c:spPr>
              <a:solidFill>
                <a:schemeClr val="accent2"/>
              </a:solidFill>
              <a:ln>
                <a:noFill/>
              </a:ln>
            </c:spPr>
            <c:extLst>
              <c:ext xmlns:c16="http://schemas.microsoft.com/office/drawing/2014/chart" uri="{C3380CC4-5D6E-409C-BE32-E72D297353CC}">
                <c16:uniqueId val="{0000007E-8F05-C544-AC99-D382D85530F5}"/>
              </c:ext>
            </c:extLst>
          </c:dPt>
          <c:dPt>
            <c:idx val="42"/>
            <c:invertIfNegative val="0"/>
            <c:bubble3D val="0"/>
            <c:spPr>
              <a:solidFill>
                <a:schemeClr val="accent2"/>
              </a:solidFill>
              <a:ln>
                <a:noFill/>
              </a:ln>
            </c:spPr>
            <c:extLst>
              <c:ext xmlns:c16="http://schemas.microsoft.com/office/drawing/2014/chart" uri="{C3380CC4-5D6E-409C-BE32-E72D297353CC}">
                <c16:uniqueId val="{0000007F-8F05-C544-AC99-D382D85530F5}"/>
              </c:ext>
            </c:extLst>
          </c:dPt>
          <c:dPt>
            <c:idx val="43"/>
            <c:invertIfNegative val="0"/>
            <c:bubble3D val="0"/>
            <c:spPr>
              <a:solidFill>
                <a:srgbClr val="9DB1CF"/>
              </a:solidFill>
              <a:ln>
                <a:noFill/>
              </a:ln>
            </c:spPr>
            <c:extLst>
              <c:ext xmlns:c16="http://schemas.microsoft.com/office/drawing/2014/chart" uri="{C3380CC4-5D6E-409C-BE32-E72D297353CC}">
                <c16:uniqueId val="{00000080-8F05-C544-AC99-D382D85530F5}"/>
              </c:ext>
            </c:extLst>
          </c:dPt>
          <c:dPt>
            <c:idx val="44"/>
            <c:invertIfNegative val="0"/>
            <c:bubble3D val="0"/>
            <c:spPr>
              <a:solidFill>
                <a:srgbClr val="9DB1CF"/>
              </a:solidFill>
              <a:ln>
                <a:noFill/>
              </a:ln>
            </c:spPr>
            <c:extLst>
              <c:ext xmlns:c16="http://schemas.microsoft.com/office/drawing/2014/chart" uri="{C3380CC4-5D6E-409C-BE32-E72D297353CC}">
                <c16:uniqueId val="{00000081-8F05-C544-AC99-D382D85530F5}"/>
              </c:ext>
            </c:extLst>
          </c:dPt>
          <c:dPt>
            <c:idx val="45"/>
            <c:invertIfNegative val="0"/>
            <c:bubble3D val="0"/>
            <c:spPr>
              <a:solidFill>
                <a:srgbClr val="9DB1CF"/>
              </a:solidFill>
              <a:ln>
                <a:noFill/>
              </a:ln>
            </c:spPr>
            <c:extLst>
              <c:ext xmlns:c16="http://schemas.microsoft.com/office/drawing/2014/chart" uri="{C3380CC4-5D6E-409C-BE32-E72D297353CC}">
                <c16:uniqueId val="{00000082-8F05-C544-AC99-D382D85530F5}"/>
              </c:ext>
            </c:extLst>
          </c:dPt>
          <c:dPt>
            <c:idx val="46"/>
            <c:invertIfNegative val="0"/>
            <c:bubble3D val="0"/>
            <c:spPr>
              <a:solidFill>
                <a:srgbClr val="9DB1CF"/>
              </a:solidFill>
              <a:ln>
                <a:noFill/>
              </a:ln>
            </c:spPr>
            <c:extLst>
              <c:ext xmlns:c16="http://schemas.microsoft.com/office/drawing/2014/chart" uri="{C3380CC4-5D6E-409C-BE32-E72D297353CC}">
                <c16:uniqueId val="{00000083-8F05-C544-AC99-D382D85530F5}"/>
              </c:ext>
            </c:extLst>
          </c:dPt>
          <c:dPt>
            <c:idx val="47"/>
            <c:invertIfNegative val="0"/>
            <c:bubble3D val="0"/>
            <c:spPr>
              <a:solidFill>
                <a:srgbClr val="9DB1CF"/>
              </a:solidFill>
              <a:ln>
                <a:noFill/>
              </a:ln>
            </c:spPr>
            <c:extLst>
              <c:ext xmlns:c16="http://schemas.microsoft.com/office/drawing/2014/chart" uri="{C3380CC4-5D6E-409C-BE32-E72D297353CC}">
                <c16:uniqueId val="{00000084-8F05-C544-AC99-D382D85530F5}"/>
              </c:ext>
            </c:extLst>
          </c:dPt>
          <c:dPt>
            <c:idx val="48"/>
            <c:invertIfNegative val="0"/>
            <c:bubble3D val="0"/>
            <c:spPr>
              <a:solidFill>
                <a:srgbClr val="9DB1CF"/>
              </a:solidFill>
              <a:ln>
                <a:noFill/>
              </a:ln>
            </c:spPr>
            <c:extLst>
              <c:ext xmlns:c16="http://schemas.microsoft.com/office/drawing/2014/chart" uri="{C3380CC4-5D6E-409C-BE32-E72D297353CC}">
                <c16:uniqueId val="{00000085-8F05-C544-AC99-D382D85530F5}"/>
              </c:ext>
            </c:extLst>
          </c:dPt>
          <c:dPt>
            <c:idx val="49"/>
            <c:invertIfNegative val="0"/>
            <c:bubble3D val="0"/>
            <c:spPr>
              <a:solidFill>
                <a:srgbClr val="9DB1CF"/>
              </a:solidFill>
              <a:ln>
                <a:noFill/>
              </a:ln>
            </c:spPr>
            <c:extLst>
              <c:ext xmlns:c16="http://schemas.microsoft.com/office/drawing/2014/chart" uri="{C3380CC4-5D6E-409C-BE32-E72D297353CC}">
                <c16:uniqueId val="{00000086-8F05-C544-AC99-D382D85530F5}"/>
              </c:ext>
            </c:extLst>
          </c:dPt>
          <c:dPt>
            <c:idx val="50"/>
            <c:invertIfNegative val="0"/>
            <c:bubble3D val="0"/>
            <c:spPr>
              <a:solidFill>
                <a:srgbClr val="9DB1CF"/>
              </a:solidFill>
              <a:ln>
                <a:noFill/>
              </a:ln>
            </c:spPr>
            <c:extLst>
              <c:ext xmlns:c16="http://schemas.microsoft.com/office/drawing/2014/chart" uri="{C3380CC4-5D6E-409C-BE32-E72D297353CC}">
                <c16:uniqueId val="{00000087-8F05-C544-AC99-D382D85530F5}"/>
              </c:ext>
            </c:extLst>
          </c:dPt>
          <c:dPt>
            <c:idx val="51"/>
            <c:invertIfNegative val="0"/>
            <c:bubble3D val="0"/>
            <c:spPr>
              <a:solidFill>
                <a:srgbClr val="9DB1CF"/>
              </a:solidFill>
              <a:ln>
                <a:noFill/>
              </a:ln>
            </c:spPr>
            <c:extLst>
              <c:ext xmlns:c16="http://schemas.microsoft.com/office/drawing/2014/chart" uri="{C3380CC4-5D6E-409C-BE32-E72D297353CC}">
                <c16:uniqueId val="{00000088-8F05-C544-AC99-D382D85530F5}"/>
              </c:ext>
            </c:extLst>
          </c:dPt>
          <c:dPt>
            <c:idx val="52"/>
            <c:invertIfNegative val="0"/>
            <c:bubble3D val="0"/>
            <c:spPr>
              <a:solidFill>
                <a:srgbClr val="9DB1CF"/>
              </a:solidFill>
              <a:ln>
                <a:noFill/>
              </a:ln>
            </c:spPr>
            <c:extLst>
              <c:ext xmlns:c16="http://schemas.microsoft.com/office/drawing/2014/chart" uri="{C3380CC4-5D6E-409C-BE32-E72D297353CC}">
                <c16:uniqueId val="{00000089-8F05-C544-AC99-D382D85530F5}"/>
              </c:ext>
            </c:extLst>
          </c:dPt>
          <c:dPt>
            <c:idx val="53"/>
            <c:invertIfNegative val="0"/>
            <c:bubble3D val="0"/>
            <c:spPr>
              <a:solidFill>
                <a:srgbClr val="9DB1CF"/>
              </a:solidFill>
              <a:ln>
                <a:noFill/>
              </a:ln>
            </c:spPr>
            <c:extLst>
              <c:ext xmlns:c16="http://schemas.microsoft.com/office/drawing/2014/chart" uri="{C3380CC4-5D6E-409C-BE32-E72D297353CC}">
                <c16:uniqueId val="{0000008A-8F05-C544-AC99-D382D85530F5}"/>
              </c:ext>
            </c:extLst>
          </c:dPt>
          <c:dPt>
            <c:idx val="54"/>
            <c:invertIfNegative val="0"/>
            <c:bubble3D val="0"/>
            <c:spPr>
              <a:solidFill>
                <a:srgbClr val="9DB1CF"/>
              </a:solidFill>
              <a:ln>
                <a:noFill/>
              </a:ln>
            </c:spPr>
            <c:extLst>
              <c:ext xmlns:c16="http://schemas.microsoft.com/office/drawing/2014/chart" uri="{C3380CC4-5D6E-409C-BE32-E72D297353CC}">
                <c16:uniqueId val="{0000008B-8F05-C544-AC99-D382D85530F5}"/>
              </c:ext>
            </c:extLst>
          </c:dPt>
          <c:val>
            <c:numRef>
              <c:f>Sheet1!$A$5:$BC$5</c:f>
              <c:numCache>
                <c:formatCode>General</c:formatCode>
                <c:ptCount val="5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numCache>
            </c:numRef>
          </c:val>
          <c:extLst>
            <c:ext xmlns:c16="http://schemas.microsoft.com/office/drawing/2014/chart" uri="{C3380CC4-5D6E-409C-BE32-E72D297353CC}">
              <c16:uniqueId val="{0000008C-8F05-C544-AC99-D382D85530F5}"/>
            </c:ext>
          </c:extLst>
        </c:ser>
        <c:ser>
          <c:idx val="5"/>
          <c:order val="5"/>
          <c:spPr>
            <a:solidFill>
              <a:srgbClr val="364D6E"/>
            </a:solidFill>
            <a:ln>
              <a:noFill/>
            </a:ln>
          </c:spPr>
          <c:invertIfNegative val="0"/>
          <c:dPt>
            <c:idx val="27"/>
            <c:invertIfNegative val="0"/>
            <c:bubble3D val="0"/>
            <c:spPr>
              <a:solidFill>
                <a:schemeClr val="accent2"/>
              </a:solidFill>
              <a:ln>
                <a:noFill/>
              </a:ln>
            </c:spPr>
            <c:extLst>
              <c:ext xmlns:c16="http://schemas.microsoft.com/office/drawing/2014/chart" uri="{C3380CC4-5D6E-409C-BE32-E72D297353CC}">
                <c16:uniqueId val="{0000008D-8F05-C544-AC99-D382D85530F5}"/>
              </c:ext>
            </c:extLst>
          </c:dPt>
          <c:dPt>
            <c:idx val="28"/>
            <c:invertIfNegative val="0"/>
            <c:bubble3D val="0"/>
            <c:spPr>
              <a:solidFill>
                <a:schemeClr val="accent2"/>
              </a:solidFill>
              <a:ln>
                <a:noFill/>
              </a:ln>
            </c:spPr>
            <c:extLst>
              <c:ext xmlns:c16="http://schemas.microsoft.com/office/drawing/2014/chart" uri="{C3380CC4-5D6E-409C-BE32-E72D297353CC}">
                <c16:uniqueId val="{0000008E-8F05-C544-AC99-D382D85530F5}"/>
              </c:ext>
            </c:extLst>
          </c:dPt>
          <c:dPt>
            <c:idx val="29"/>
            <c:invertIfNegative val="0"/>
            <c:bubble3D val="0"/>
            <c:spPr>
              <a:solidFill>
                <a:schemeClr val="accent2"/>
              </a:solidFill>
              <a:ln>
                <a:noFill/>
              </a:ln>
            </c:spPr>
            <c:extLst>
              <c:ext xmlns:c16="http://schemas.microsoft.com/office/drawing/2014/chart" uri="{C3380CC4-5D6E-409C-BE32-E72D297353CC}">
                <c16:uniqueId val="{0000008F-8F05-C544-AC99-D382D85530F5}"/>
              </c:ext>
            </c:extLst>
          </c:dPt>
          <c:dPt>
            <c:idx val="30"/>
            <c:invertIfNegative val="0"/>
            <c:bubble3D val="0"/>
            <c:spPr>
              <a:solidFill>
                <a:schemeClr val="accent2"/>
              </a:solidFill>
              <a:ln>
                <a:noFill/>
              </a:ln>
            </c:spPr>
            <c:extLst>
              <c:ext xmlns:c16="http://schemas.microsoft.com/office/drawing/2014/chart" uri="{C3380CC4-5D6E-409C-BE32-E72D297353CC}">
                <c16:uniqueId val="{00000090-8F05-C544-AC99-D382D85530F5}"/>
              </c:ext>
            </c:extLst>
          </c:dPt>
          <c:dPt>
            <c:idx val="31"/>
            <c:invertIfNegative val="0"/>
            <c:bubble3D val="0"/>
            <c:spPr>
              <a:solidFill>
                <a:schemeClr val="accent2"/>
              </a:solidFill>
              <a:ln>
                <a:noFill/>
              </a:ln>
            </c:spPr>
            <c:extLst>
              <c:ext xmlns:c16="http://schemas.microsoft.com/office/drawing/2014/chart" uri="{C3380CC4-5D6E-409C-BE32-E72D297353CC}">
                <c16:uniqueId val="{00000091-8F05-C544-AC99-D382D85530F5}"/>
              </c:ext>
            </c:extLst>
          </c:dPt>
          <c:dPt>
            <c:idx val="32"/>
            <c:invertIfNegative val="0"/>
            <c:bubble3D val="0"/>
            <c:spPr>
              <a:solidFill>
                <a:schemeClr val="accent2"/>
              </a:solidFill>
              <a:ln>
                <a:noFill/>
              </a:ln>
            </c:spPr>
            <c:extLst>
              <c:ext xmlns:c16="http://schemas.microsoft.com/office/drawing/2014/chart" uri="{C3380CC4-5D6E-409C-BE32-E72D297353CC}">
                <c16:uniqueId val="{00000092-8F05-C544-AC99-D382D85530F5}"/>
              </c:ext>
            </c:extLst>
          </c:dPt>
          <c:dPt>
            <c:idx val="33"/>
            <c:invertIfNegative val="0"/>
            <c:bubble3D val="0"/>
            <c:spPr>
              <a:solidFill>
                <a:schemeClr val="accent2"/>
              </a:solidFill>
              <a:ln>
                <a:noFill/>
              </a:ln>
            </c:spPr>
            <c:extLst>
              <c:ext xmlns:c16="http://schemas.microsoft.com/office/drawing/2014/chart" uri="{C3380CC4-5D6E-409C-BE32-E72D297353CC}">
                <c16:uniqueId val="{00000093-8F05-C544-AC99-D382D85530F5}"/>
              </c:ext>
            </c:extLst>
          </c:dPt>
          <c:dPt>
            <c:idx val="34"/>
            <c:invertIfNegative val="0"/>
            <c:bubble3D val="0"/>
            <c:spPr>
              <a:solidFill>
                <a:schemeClr val="accent2"/>
              </a:solidFill>
              <a:ln>
                <a:noFill/>
              </a:ln>
            </c:spPr>
            <c:extLst>
              <c:ext xmlns:c16="http://schemas.microsoft.com/office/drawing/2014/chart" uri="{C3380CC4-5D6E-409C-BE32-E72D297353CC}">
                <c16:uniqueId val="{00000094-8F05-C544-AC99-D382D85530F5}"/>
              </c:ext>
            </c:extLst>
          </c:dPt>
          <c:dPt>
            <c:idx val="35"/>
            <c:invertIfNegative val="0"/>
            <c:bubble3D val="0"/>
            <c:spPr>
              <a:solidFill>
                <a:srgbClr val="C3CFE1"/>
              </a:solidFill>
              <a:ln>
                <a:noFill/>
              </a:ln>
            </c:spPr>
            <c:extLst>
              <c:ext xmlns:c16="http://schemas.microsoft.com/office/drawing/2014/chart" uri="{C3380CC4-5D6E-409C-BE32-E72D297353CC}">
                <c16:uniqueId val="{00000095-8F05-C544-AC99-D382D85530F5}"/>
              </c:ext>
            </c:extLst>
          </c:dPt>
          <c:dPt>
            <c:idx val="36"/>
            <c:invertIfNegative val="0"/>
            <c:bubble3D val="0"/>
            <c:spPr>
              <a:solidFill>
                <a:srgbClr val="C3CFE1"/>
              </a:solidFill>
              <a:ln>
                <a:noFill/>
              </a:ln>
            </c:spPr>
            <c:extLst>
              <c:ext xmlns:c16="http://schemas.microsoft.com/office/drawing/2014/chart" uri="{C3380CC4-5D6E-409C-BE32-E72D297353CC}">
                <c16:uniqueId val="{00000096-8F05-C544-AC99-D382D85530F5}"/>
              </c:ext>
            </c:extLst>
          </c:dPt>
          <c:dPt>
            <c:idx val="37"/>
            <c:invertIfNegative val="0"/>
            <c:bubble3D val="0"/>
            <c:spPr>
              <a:solidFill>
                <a:srgbClr val="C3CFE1"/>
              </a:solidFill>
              <a:ln>
                <a:noFill/>
              </a:ln>
            </c:spPr>
            <c:extLst>
              <c:ext xmlns:c16="http://schemas.microsoft.com/office/drawing/2014/chart" uri="{C3380CC4-5D6E-409C-BE32-E72D297353CC}">
                <c16:uniqueId val="{00000097-8F05-C544-AC99-D382D85530F5}"/>
              </c:ext>
            </c:extLst>
          </c:dPt>
          <c:dPt>
            <c:idx val="38"/>
            <c:invertIfNegative val="0"/>
            <c:bubble3D val="0"/>
            <c:spPr>
              <a:solidFill>
                <a:srgbClr val="C3CFE1"/>
              </a:solidFill>
              <a:ln>
                <a:noFill/>
              </a:ln>
            </c:spPr>
            <c:extLst>
              <c:ext xmlns:c16="http://schemas.microsoft.com/office/drawing/2014/chart" uri="{C3380CC4-5D6E-409C-BE32-E72D297353CC}">
                <c16:uniqueId val="{00000098-8F05-C544-AC99-D382D85530F5}"/>
              </c:ext>
            </c:extLst>
          </c:dPt>
          <c:dPt>
            <c:idx val="39"/>
            <c:invertIfNegative val="0"/>
            <c:bubble3D val="0"/>
            <c:spPr>
              <a:solidFill>
                <a:srgbClr val="C3CFE1"/>
              </a:solidFill>
              <a:ln>
                <a:noFill/>
              </a:ln>
            </c:spPr>
            <c:extLst>
              <c:ext xmlns:c16="http://schemas.microsoft.com/office/drawing/2014/chart" uri="{C3380CC4-5D6E-409C-BE32-E72D297353CC}">
                <c16:uniqueId val="{00000099-8F05-C544-AC99-D382D85530F5}"/>
              </c:ext>
            </c:extLst>
          </c:dPt>
          <c:dPt>
            <c:idx val="40"/>
            <c:invertIfNegative val="0"/>
            <c:bubble3D val="0"/>
            <c:spPr>
              <a:solidFill>
                <a:srgbClr val="C3CFE1"/>
              </a:solidFill>
              <a:ln>
                <a:noFill/>
              </a:ln>
            </c:spPr>
            <c:extLst>
              <c:ext xmlns:c16="http://schemas.microsoft.com/office/drawing/2014/chart" uri="{C3380CC4-5D6E-409C-BE32-E72D297353CC}">
                <c16:uniqueId val="{0000009A-8F05-C544-AC99-D382D85530F5}"/>
              </c:ext>
            </c:extLst>
          </c:dPt>
          <c:dPt>
            <c:idx val="41"/>
            <c:invertIfNegative val="0"/>
            <c:bubble3D val="0"/>
            <c:spPr>
              <a:solidFill>
                <a:srgbClr val="C3CFE1"/>
              </a:solidFill>
              <a:ln>
                <a:noFill/>
              </a:ln>
            </c:spPr>
            <c:extLst>
              <c:ext xmlns:c16="http://schemas.microsoft.com/office/drawing/2014/chart" uri="{C3380CC4-5D6E-409C-BE32-E72D297353CC}">
                <c16:uniqueId val="{0000009B-8F05-C544-AC99-D382D85530F5}"/>
              </c:ext>
            </c:extLst>
          </c:dPt>
          <c:dPt>
            <c:idx val="42"/>
            <c:invertIfNegative val="0"/>
            <c:bubble3D val="0"/>
            <c:spPr>
              <a:solidFill>
                <a:srgbClr val="C3CFE1"/>
              </a:solidFill>
              <a:ln>
                <a:noFill/>
              </a:ln>
            </c:spPr>
            <c:extLst>
              <c:ext xmlns:c16="http://schemas.microsoft.com/office/drawing/2014/chart" uri="{C3380CC4-5D6E-409C-BE32-E72D297353CC}">
                <c16:uniqueId val="{0000009C-8F05-C544-AC99-D382D85530F5}"/>
              </c:ext>
            </c:extLst>
          </c:dPt>
          <c:dPt>
            <c:idx val="43"/>
            <c:invertIfNegative val="0"/>
            <c:bubble3D val="0"/>
            <c:spPr>
              <a:solidFill>
                <a:srgbClr val="C3CFE1"/>
              </a:solidFill>
              <a:ln>
                <a:noFill/>
              </a:ln>
            </c:spPr>
            <c:extLst>
              <c:ext xmlns:c16="http://schemas.microsoft.com/office/drawing/2014/chart" uri="{C3380CC4-5D6E-409C-BE32-E72D297353CC}">
                <c16:uniqueId val="{0000009D-8F05-C544-AC99-D382D85530F5}"/>
              </c:ext>
            </c:extLst>
          </c:dPt>
          <c:dPt>
            <c:idx val="44"/>
            <c:invertIfNegative val="0"/>
            <c:bubble3D val="0"/>
            <c:spPr>
              <a:solidFill>
                <a:srgbClr val="C3CFE1"/>
              </a:solidFill>
              <a:ln>
                <a:noFill/>
              </a:ln>
            </c:spPr>
            <c:extLst>
              <c:ext xmlns:c16="http://schemas.microsoft.com/office/drawing/2014/chart" uri="{C3380CC4-5D6E-409C-BE32-E72D297353CC}">
                <c16:uniqueId val="{0000009E-8F05-C544-AC99-D382D85530F5}"/>
              </c:ext>
            </c:extLst>
          </c:dPt>
          <c:dPt>
            <c:idx val="45"/>
            <c:invertIfNegative val="0"/>
            <c:bubble3D val="0"/>
            <c:spPr>
              <a:solidFill>
                <a:srgbClr val="C3CFE1"/>
              </a:solidFill>
              <a:ln>
                <a:noFill/>
              </a:ln>
            </c:spPr>
            <c:extLst>
              <c:ext xmlns:c16="http://schemas.microsoft.com/office/drawing/2014/chart" uri="{C3380CC4-5D6E-409C-BE32-E72D297353CC}">
                <c16:uniqueId val="{0000009F-8F05-C544-AC99-D382D85530F5}"/>
              </c:ext>
            </c:extLst>
          </c:dPt>
          <c:dPt>
            <c:idx val="46"/>
            <c:invertIfNegative val="0"/>
            <c:bubble3D val="0"/>
            <c:spPr>
              <a:solidFill>
                <a:srgbClr val="C3CFE1"/>
              </a:solidFill>
              <a:ln>
                <a:noFill/>
              </a:ln>
            </c:spPr>
            <c:extLst>
              <c:ext xmlns:c16="http://schemas.microsoft.com/office/drawing/2014/chart" uri="{C3380CC4-5D6E-409C-BE32-E72D297353CC}">
                <c16:uniqueId val="{000000A0-8F05-C544-AC99-D382D85530F5}"/>
              </c:ext>
            </c:extLst>
          </c:dPt>
          <c:dPt>
            <c:idx val="47"/>
            <c:invertIfNegative val="0"/>
            <c:bubble3D val="0"/>
            <c:spPr>
              <a:solidFill>
                <a:srgbClr val="C3CFE1"/>
              </a:solidFill>
              <a:ln>
                <a:noFill/>
              </a:ln>
            </c:spPr>
            <c:extLst>
              <c:ext xmlns:c16="http://schemas.microsoft.com/office/drawing/2014/chart" uri="{C3380CC4-5D6E-409C-BE32-E72D297353CC}">
                <c16:uniqueId val="{000000A1-8F05-C544-AC99-D382D85530F5}"/>
              </c:ext>
            </c:extLst>
          </c:dPt>
          <c:dPt>
            <c:idx val="48"/>
            <c:invertIfNegative val="0"/>
            <c:bubble3D val="0"/>
            <c:spPr>
              <a:solidFill>
                <a:srgbClr val="C3CFE1"/>
              </a:solidFill>
              <a:ln>
                <a:noFill/>
              </a:ln>
            </c:spPr>
            <c:extLst>
              <c:ext xmlns:c16="http://schemas.microsoft.com/office/drawing/2014/chart" uri="{C3380CC4-5D6E-409C-BE32-E72D297353CC}">
                <c16:uniqueId val="{000000A2-8F05-C544-AC99-D382D85530F5}"/>
              </c:ext>
            </c:extLst>
          </c:dPt>
          <c:dPt>
            <c:idx val="49"/>
            <c:invertIfNegative val="0"/>
            <c:bubble3D val="0"/>
            <c:spPr>
              <a:solidFill>
                <a:srgbClr val="C3CFE1"/>
              </a:solidFill>
              <a:ln>
                <a:noFill/>
              </a:ln>
            </c:spPr>
            <c:extLst>
              <c:ext xmlns:c16="http://schemas.microsoft.com/office/drawing/2014/chart" uri="{C3380CC4-5D6E-409C-BE32-E72D297353CC}">
                <c16:uniqueId val="{000000A3-8F05-C544-AC99-D382D85530F5}"/>
              </c:ext>
            </c:extLst>
          </c:dPt>
          <c:dPt>
            <c:idx val="50"/>
            <c:invertIfNegative val="0"/>
            <c:bubble3D val="0"/>
            <c:spPr>
              <a:solidFill>
                <a:srgbClr val="C3CFE1"/>
              </a:solidFill>
              <a:ln>
                <a:noFill/>
              </a:ln>
            </c:spPr>
            <c:extLst>
              <c:ext xmlns:c16="http://schemas.microsoft.com/office/drawing/2014/chart" uri="{C3380CC4-5D6E-409C-BE32-E72D297353CC}">
                <c16:uniqueId val="{000000A4-8F05-C544-AC99-D382D85530F5}"/>
              </c:ext>
            </c:extLst>
          </c:dPt>
          <c:dPt>
            <c:idx val="51"/>
            <c:invertIfNegative val="0"/>
            <c:bubble3D val="0"/>
            <c:spPr>
              <a:solidFill>
                <a:srgbClr val="C3CFE1"/>
              </a:solidFill>
              <a:ln>
                <a:noFill/>
              </a:ln>
            </c:spPr>
            <c:extLst>
              <c:ext xmlns:c16="http://schemas.microsoft.com/office/drawing/2014/chart" uri="{C3380CC4-5D6E-409C-BE32-E72D297353CC}">
                <c16:uniqueId val="{000000A5-8F05-C544-AC99-D382D85530F5}"/>
              </c:ext>
            </c:extLst>
          </c:dPt>
          <c:dPt>
            <c:idx val="52"/>
            <c:invertIfNegative val="0"/>
            <c:bubble3D val="0"/>
            <c:spPr>
              <a:solidFill>
                <a:srgbClr val="C3CFE1"/>
              </a:solidFill>
              <a:ln>
                <a:noFill/>
              </a:ln>
            </c:spPr>
            <c:extLst>
              <c:ext xmlns:c16="http://schemas.microsoft.com/office/drawing/2014/chart" uri="{C3380CC4-5D6E-409C-BE32-E72D297353CC}">
                <c16:uniqueId val="{000000A6-8F05-C544-AC99-D382D85530F5}"/>
              </c:ext>
            </c:extLst>
          </c:dPt>
          <c:dPt>
            <c:idx val="53"/>
            <c:invertIfNegative val="0"/>
            <c:bubble3D val="0"/>
            <c:spPr>
              <a:solidFill>
                <a:srgbClr val="C3CFE1"/>
              </a:solidFill>
              <a:ln>
                <a:noFill/>
              </a:ln>
            </c:spPr>
            <c:extLst>
              <c:ext xmlns:c16="http://schemas.microsoft.com/office/drawing/2014/chart" uri="{C3380CC4-5D6E-409C-BE32-E72D297353CC}">
                <c16:uniqueId val="{000000A7-8F05-C544-AC99-D382D85530F5}"/>
              </c:ext>
            </c:extLst>
          </c:dPt>
          <c:dPt>
            <c:idx val="54"/>
            <c:invertIfNegative val="0"/>
            <c:bubble3D val="0"/>
            <c:spPr>
              <a:solidFill>
                <a:srgbClr val="C3CFE1"/>
              </a:solidFill>
              <a:ln>
                <a:noFill/>
              </a:ln>
            </c:spPr>
            <c:extLst>
              <c:ext xmlns:c16="http://schemas.microsoft.com/office/drawing/2014/chart" uri="{C3380CC4-5D6E-409C-BE32-E72D297353CC}">
                <c16:uniqueId val="{000000A8-8F05-C544-AC99-D382D85530F5}"/>
              </c:ext>
            </c:extLst>
          </c:dPt>
          <c:val>
            <c:numRef>
              <c:f>Sheet1!$A$6:$BC$6</c:f>
              <c:numCache>
                <c:formatCode>General</c:formatCode>
                <c:ptCount val="5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numCache>
            </c:numRef>
          </c:val>
          <c:extLst>
            <c:ext xmlns:c16="http://schemas.microsoft.com/office/drawing/2014/chart" uri="{C3380CC4-5D6E-409C-BE32-E72D297353CC}">
              <c16:uniqueId val="{000000A9-8F05-C544-AC99-D382D85530F5}"/>
            </c:ext>
          </c:extLst>
        </c:ser>
        <c:ser>
          <c:idx val="6"/>
          <c:order val="6"/>
          <c:spPr>
            <a:solidFill>
              <a:srgbClr val="DFE5EF"/>
            </a:solid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AA-8F05-C544-AC99-D382D85530F5}"/>
              </c:ext>
            </c:extLst>
          </c:dPt>
          <c:dPt>
            <c:idx val="1"/>
            <c:invertIfNegative val="0"/>
            <c:bubble3D val="0"/>
            <c:spPr>
              <a:solidFill>
                <a:schemeClr val="accent2"/>
              </a:solidFill>
              <a:ln>
                <a:noFill/>
              </a:ln>
            </c:spPr>
            <c:extLst>
              <c:ext xmlns:c16="http://schemas.microsoft.com/office/drawing/2014/chart" uri="{C3380CC4-5D6E-409C-BE32-E72D297353CC}">
                <c16:uniqueId val="{000000AB-8F05-C544-AC99-D382D85530F5}"/>
              </c:ext>
            </c:extLst>
          </c:dPt>
          <c:dPt>
            <c:idx val="2"/>
            <c:invertIfNegative val="0"/>
            <c:bubble3D val="0"/>
            <c:spPr>
              <a:solidFill>
                <a:schemeClr val="accent2"/>
              </a:solidFill>
              <a:ln>
                <a:noFill/>
              </a:ln>
            </c:spPr>
            <c:extLst>
              <c:ext xmlns:c16="http://schemas.microsoft.com/office/drawing/2014/chart" uri="{C3380CC4-5D6E-409C-BE32-E72D297353CC}">
                <c16:uniqueId val="{000000AC-8F05-C544-AC99-D382D85530F5}"/>
              </c:ext>
            </c:extLst>
          </c:dPt>
          <c:dPt>
            <c:idx val="3"/>
            <c:invertIfNegative val="0"/>
            <c:bubble3D val="0"/>
            <c:spPr>
              <a:solidFill>
                <a:schemeClr val="accent2"/>
              </a:solidFill>
              <a:ln>
                <a:noFill/>
              </a:ln>
            </c:spPr>
            <c:extLst>
              <c:ext xmlns:c16="http://schemas.microsoft.com/office/drawing/2014/chart" uri="{C3380CC4-5D6E-409C-BE32-E72D297353CC}">
                <c16:uniqueId val="{000000AD-8F05-C544-AC99-D382D85530F5}"/>
              </c:ext>
            </c:extLst>
          </c:dPt>
          <c:dPt>
            <c:idx val="4"/>
            <c:invertIfNegative val="0"/>
            <c:bubble3D val="0"/>
            <c:spPr>
              <a:solidFill>
                <a:schemeClr val="accent2"/>
              </a:solidFill>
              <a:ln>
                <a:noFill/>
              </a:ln>
            </c:spPr>
            <c:extLst>
              <c:ext xmlns:c16="http://schemas.microsoft.com/office/drawing/2014/chart" uri="{C3380CC4-5D6E-409C-BE32-E72D297353CC}">
                <c16:uniqueId val="{000000AE-8F05-C544-AC99-D382D85530F5}"/>
              </c:ext>
            </c:extLst>
          </c:dPt>
          <c:dPt>
            <c:idx val="5"/>
            <c:invertIfNegative val="0"/>
            <c:bubble3D val="0"/>
            <c:spPr>
              <a:solidFill>
                <a:schemeClr val="accent2"/>
              </a:solidFill>
              <a:ln>
                <a:noFill/>
              </a:ln>
            </c:spPr>
            <c:extLst>
              <c:ext xmlns:c16="http://schemas.microsoft.com/office/drawing/2014/chart" uri="{C3380CC4-5D6E-409C-BE32-E72D297353CC}">
                <c16:uniqueId val="{000000AF-8F05-C544-AC99-D382D85530F5}"/>
              </c:ext>
            </c:extLst>
          </c:dPt>
          <c:dPt>
            <c:idx val="6"/>
            <c:invertIfNegative val="0"/>
            <c:bubble3D val="0"/>
            <c:spPr>
              <a:solidFill>
                <a:schemeClr val="accent2"/>
              </a:solidFill>
              <a:ln>
                <a:noFill/>
              </a:ln>
            </c:spPr>
            <c:extLst>
              <c:ext xmlns:c16="http://schemas.microsoft.com/office/drawing/2014/chart" uri="{C3380CC4-5D6E-409C-BE32-E72D297353CC}">
                <c16:uniqueId val="{000000B0-8F05-C544-AC99-D382D85530F5}"/>
              </c:ext>
            </c:extLst>
          </c:dPt>
          <c:dPt>
            <c:idx val="7"/>
            <c:invertIfNegative val="0"/>
            <c:bubble3D val="0"/>
            <c:spPr>
              <a:solidFill>
                <a:schemeClr val="accent2"/>
              </a:solidFill>
              <a:ln>
                <a:noFill/>
              </a:ln>
            </c:spPr>
            <c:extLst>
              <c:ext xmlns:c16="http://schemas.microsoft.com/office/drawing/2014/chart" uri="{C3380CC4-5D6E-409C-BE32-E72D297353CC}">
                <c16:uniqueId val="{000000B1-8F05-C544-AC99-D382D85530F5}"/>
              </c:ext>
            </c:extLst>
          </c:dPt>
          <c:dPt>
            <c:idx val="8"/>
            <c:invertIfNegative val="0"/>
            <c:bubble3D val="0"/>
            <c:spPr>
              <a:solidFill>
                <a:schemeClr val="accent2"/>
              </a:solidFill>
              <a:ln>
                <a:noFill/>
              </a:ln>
            </c:spPr>
            <c:extLst>
              <c:ext xmlns:c16="http://schemas.microsoft.com/office/drawing/2014/chart" uri="{C3380CC4-5D6E-409C-BE32-E72D297353CC}">
                <c16:uniqueId val="{000000B2-8F05-C544-AC99-D382D85530F5}"/>
              </c:ext>
            </c:extLst>
          </c:dPt>
          <c:dPt>
            <c:idx val="9"/>
            <c:invertIfNegative val="0"/>
            <c:bubble3D val="0"/>
            <c:spPr>
              <a:solidFill>
                <a:schemeClr val="accent2"/>
              </a:solidFill>
              <a:ln>
                <a:noFill/>
              </a:ln>
            </c:spPr>
            <c:extLst>
              <c:ext xmlns:c16="http://schemas.microsoft.com/office/drawing/2014/chart" uri="{C3380CC4-5D6E-409C-BE32-E72D297353CC}">
                <c16:uniqueId val="{000000B3-8F05-C544-AC99-D382D85530F5}"/>
              </c:ext>
            </c:extLst>
          </c:dPt>
          <c:dPt>
            <c:idx val="10"/>
            <c:invertIfNegative val="0"/>
            <c:bubble3D val="0"/>
            <c:spPr>
              <a:solidFill>
                <a:schemeClr val="accent2"/>
              </a:solidFill>
              <a:ln>
                <a:noFill/>
              </a:ln>
            </c:spPr>
            <c:extLst>
              <c:ext xmlns:c16="http://schemas.microsoft.com/office/drawing/2014/chart" uri="{C3380CC4-5D6E-409C-BE32-E72D297353CC}">
                <c16:uniqueId val="{000000B4-8F05-C544-AC99-D382D85530F5}"/>
              </c:ext>
            </c:extLst>
          </c:dPt>
          <c:dPt>
            <c:idx val="11"/>
            <c:invertIfNegative val="0"/>
            <c:bubble3D val="0"/>
            <c:spPr>
              <a:solidFill>
                <a:schemeClr val="accent2"/>
              </a:solidFill>
              <a:ln>
                <a:noFill/>
              </a:ln>
            </c:spPr>
            <c:extLst>
              <c:ext xmlns:c16="http://schemas.microsoft.com/office/drawing/2014/chart" uri="{C3380CC4-5D6E-409C-BE32-E72D297353CC}">
                <c16:uniqueId val="{000000B5-8F05-C544-AC99-D382D85530F5}"/>
              </c:ext>
            </c:extLst>
          </c:dPt>
          <c:dPt>
            <c:idx val="12"/>
            <c:invertIfNegative val="0"/>
            <c:bubble3D val="0"/>
            <c:spPr>
              <a:solidFill>
                <a:schemeClr val="accent2"/>
              </a:solidFill>
              <a:ln>
                <a:noFill/>
              </a:ln>
            </c:spPr>
            <c:extLst>
              <c:ext xmlns:c16="http://schemas.microsoft.com/office/drawing/2014/chart" uri="{C3380CC4-5D6E-409C-BE32-E72D297353CC}">
                <c16:uniqueId val="{000000B6-8F05-C544-AC99-D382D85530F5}"/>
              </c:ext>
            </c:extLst>
          </c:dPt>
          <c:dPt>
            <c:idx val="13"/>
            <c:invertIfNegative val="0"/>
            <c:bubble3D val="0"/>
            <c:spPr>
              <a:solidFill>
                <a:schemeClr val="accent2"/>
              </a:solidFill>
              <a:ln>
                <a:noFill/>
              </a:ln>
            </c:spPr>
            <c:extLst>
              <c:ext xmlns:c16="http://schemas.microsoft.com/office/drawing/2014/chart" uri="{C3380CC4-5D6E-409C-BE32-E72D297353CC}">
                <c16:uniqueId val="{000000B7-8F05-C544-AC99-D382D85530F5}"/>
              </c:ext>
            </c:extLst>
          </c:dPt>
          <c:dPt>
            <c:idx val="14"/>
            <c:invertIfNegative val="0"/>
            <c:bubble3D val="0"/>
            <c:spPr>
              <a:solidFill>
                <a:schemeClr val="accent2"/>
              </a:solidFill>
              <a:ln>
                <a:noFill/>
              </a:ln>
            </c:spPr>
            <c:extLst>
              <c:ext xmlns:c16="http://schemas.microsoft.com/office/drawing/2014/chart" uri="{C3380CC4-5D6E-409C-BE32-E72D297353CC}">
                <c16:uniqueId val="{000000B8-8F05-C544-AC99-D382D85530F5}"/>
              </c:ext>
            </c:extLst>
          </c:dPt>
          <c:dPt>
            <c:idx val="15"/>
            <c:invertIfNegative val="0"/>
            <c:bubble3D val="0"/>
            <c:spPr>
              <a:solidFill>
                <a:schemeClr val="accent2"/>
              </a:solidFill>
              <a:ln>
                <a:noFill/>
              </a:ln>
            </c:spPr>
            <c:extLst>
              <c:ext xmlns:c16="http://schemas.microsoft.com/office/drawing/2014/chart" uri="{C3380CC4-5D6E-409C-BE32-E72D297353CC}">
                <c16:uniqueId val="{000000B9-8F05-C544-AC99-D382D85530F5}"/>
              </c:ext>
            </c:extLst>
          </c:dPt>
          <c:dPt>
            <c:idx val="16"/>
            <c:invertIfNegative val="0"/>
            <c:bubble3D val="0"/>
            <c:spPr>
              <a:solidFill>
                <a:schemeClr val="accent2"/>
              </a:solidFill>
              <a:ln>
                <a:noFill/>
              </a:ln>
            </c:spPr>
            <c:extLst>
              <c:ext xmlns:c16="http://schemas.microsoft.com/office/drawing/2014/chart" uri="{C3380CC4-5D6E-409C-BE32-E72D297353CC}">
                <c16:uniqueId val="{000000BA-8F05-C544-AC99-D382D85530F5}"/>
              </c:ext>
            </c:extLst>
          </c:dPt>
          <c:dPt>
            <c:idx val="17"/>
            <c:invertIfNegative val="0"/>
            <c:bubble3D val="0"/>
            <c:spPr>
              <a:solidFill>
                <a:schemeClr val="accent2"/>
              </a:solidFill>
              <a:ln>
                <a:noFill/>
              </a:ln>
            </c:spPr>
            <c:extLst>
              <c:ext xmlns:c16="http://schemas.microsoft.com/office/drawing/2014/chart" uri="{C3380CC4-5D6E-409C-BE32-E72D297353CC}">
                <c16:uniqueId val="{000000BB-8F05-C544-AC99-D382D85530F5}"/>
              </c:ext>
            </c:extLst>
          </c:dPt>
          <c:dPt>
            <c:idx val="18"/>
            <c:invertIfNegative val="0"/>
            <c:bubble3D val="0"/>
            <c:spPr>
              <a:solidFill>
                <a:schemeClr val="accent2"/>
              </a:solidFill>
              <a:ln>
                <a:noFill/>
              </a:ln>
            </c:spPr>
            <c:extLst>
              <c:ext xmlns:c16="http://schemas.microsoft.com/office/drawing/2014/chart" uri="{C3380CC4-5D6E-409C-BE32-E72D297353CC}">
                <c16:uniqueId val="{000000BC-8F05-C544-AC99-D382D85530F5}"/>
              </c:ext>
            </c:extLst>
          </c:dPt>
          <c:dPt>
            <c:idx val="19"/>
            <c:invertIfNegative val="0"/>
            <c:bubble3D val="0"/>
            <c:spPr>
              <a:solidFill>
                <a:schemeClr val="accent2"/>
              </a:solidFill>
              <a:ln>
                <a:noFill/>
              </a:ln>
            </c:spPr>
            <c:extLst>
              <c:ext xmlns:c16="http://schemas.microsoft.com/office/drawing/2014/chart" uri="{C3380CC4-5D6E-409C-BE32-E72D297353CC}">
                <c16:uniqueId val="{000000BD-8F05-C544-AC99-D382D85530F5}"/>
              </c:ext>
            </c:extLst>
          </c:dPt>
          <c:dPt>
            <c:idx val="20"/>
            <c:invertIfNegative val="0"/>
            <c:bubble3D val="0"/>
            <c:spPr>
              <a:solidFill>
                <a:schemeClr val="accent2"/>
              </a:solidFill>
              <a:ln>
                <a:noFill/>
              </a:ln>
            </c:spPr>
            <c:extLst>
              <c:ext xmlns:c16="http://schemas.microsoft.com/office/drawing/2014/chart" uri="{C3380CC4-5D6E-409C-BE32-E72D297353CC}">
                <c16:uniqueId val="{000000BE-8F05-C544-AC99-D382D85530F5}"/>
              </c:ext>
            </c:extLst>
          </c:dPt>
          <c:dPt>
            <c:idx val="21"/>
            <c:invertIfNegative val="0"/>
            <c:bubble3D val="0"/>
            <c:spPr>
              <a:solidFill>
                <a:schemeClr val="accent2"/>
              </a:solidFill>
              <a:ln>
                <a:noFill/>
              </a:ln>
            </c:spPr>
            <c:extLst>
              <c:ext xmlns:c16="http://schemas.microsoft.com/office/drawing/2014/chart" uri="{C3380CC4-5D6E-409C-BE32-E72D297353CC}">
                <c16:uniqueId val="{000000BF-8F05-C544-AC99-D382D85530F5}"/>
              </c:ext>
            </c:extLst>
          </c:dPt>
          <c:dPt>
            <c:idx val="22"/>
            <c:invertIfNegative val="0"/>
            <c:bubble3D val="0"/>
            <c:spPr>
              <a:solidFill>
                <a:schemeClr val="accent2"/>
              </a:solidFill>
              <a:ln>
                <a:noFill/>
              </a:ln>
            </c:spPr>
            <c:extLst>
              <c:ext xmlns:c16="http://schemas.microsoft.com/office/drawing/2014/chart" uri="{C3380CC4-5D6E-409C-BE32-E72D297353CC}">
                <c16:uniqueId val="{000000C0-8F05-C544-AC99-D382D85530F5}"/>
              </c:ext>
            </c:extLst>
          </c:dPt>
          <c:dPt>
            <c:idx val="23"/>
            <c:invertIfNegative val="0"/>
            <c:bubble3D val="0"/>
            <c:spPr>
              <a:solidFill>
                <a:schemeClr val="accent2"/>
              </a:solidFill>
              <a:ln>
                <a:noFill/>
              </a:ln>
            </c:spPr>
            <c:extLst>
              <c:ext xmlns:c16="http://schemas.microsoft.com/office/drawing/2014/chart" uri="{C3380CC4-5D6E-409C-BE32-E72D297353CC}">
                <c16:uniqueId val="{000000C1-8F05-C544-AC99-D382D85530F5}"/>
              </c:ext>
            </c:extLst>
          </c:dPt>
          <c:dPt>
            <c:idx val="24"/>
            <c:invertIfNegative val="0"/>
            <c:bubble3D val="0"/>
            <c:spPr>
              <a:solidFill>
                <a:schemeClr val="accent2"/>
              </a:solidFill>
              <a:ln>
                <a:noFill/>
              </a:ln>
            </c:spPr>
            <c:extLst>
              <c:ext xmlns:c16="http://schemas.microsoft.com/office/drawing/2014/chart" uri="{C3380CC4-5D6E-409C-BE32-E72D297353CC}">
                <c16:uniqueId val="{000000C2-8F05-C544-AC99-D382D85530F5}"/>
              </c:ext>
            </c:extLst>
          </c:dPt>
          <c:dPt>
            <c:idx val="25"/>
            <c:invertIfNegative val="0"/>
            <c:bubble3D val="0"/>
            <c:spPr>
              <a:solidFill>
                <a:schemeClr val="accent2"/>
              </a:solidFill>
              <a:ln>
                <a:noFill/>
              </a:ln>
            </c:spPr>
            <c:extLst>
              <c:ext xmlns:c16="http://schemas.microsoft.com/office/drawing/2014/chart" uri="{C3380CC4-5D6E-409C-BE32-E72D297353CC}">
                <c16:uniqueId val="{000000C3-8F05-C544-AC99-D382D85530F5}"/>
              </c:ext>
            </c:extLst>
          </c:dPt>
          <c:dPt>
            <c:idx val="26"/>
            <c:invertIfNegative val="0"/>
            <c:bubble3D val="0"/>
            <c:spPr>
              <a:solidFill>
                <a:schemeClr val="accent2"/>
              </a:solidFill>
              <a:ln>
                <a:noFill/>
              </a:ln>
            </c:spPr>
            <c:extLst>
              <c:ext xmlns:c16="http://schemas.microsoft.com/office/drawing/2014/chart" uri="{C3380CC4-5D6E-409C-BE32-E72D297353CC}">
                <c16:uniqueId val="{000000C4-8F05-C544-AC99-D382D85530F5}"/>
              </c:ext>
            </c:extLst>
          </c:dPt>
          <c:val>
            <c:numRef>
              <c:f>Sheet1!$A$7:$BC$7</c:f>
              <c:numCache>
                <c:formatCode>General</c:formatCode>
                <c:ptCount val="5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numCache>
            </c:numRef>
          </c:val>
          <c:extLst>
            <c:ext xmlns:c16="http://schemas.microsoft.com/office/drawing/2014/chart" uri="{C3380CC4-5D6E-409C-BE32-E72D297353CC}">
              <c16:uniqueId val="{000000C5-8F05-C544-AC99-D382D85530F5}"/>
            </c:ext>
          </c:extLst>
        </c:ser>
        <c:dLbls>
          <c:showLegendKey val="0"/>
          <c:showVal val="0"/>
          <c:showCatName val="0"/>
          <c:showSerName val="0"/>
          <c:showPercent val="0"/>
          <c:showBubbleSize val="0"/>
        </c:dLbls>
        <c:gapWidth val="10"/>
        <c:overlap val="100"/>
        <c:axId val="175552623"/>
        <c:axId val="1"/>
      </c:barChart>
      <c:catAx>
        <c:axId val="1755526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00"/>
          <c:min val="0"/>
        </c:scaling>
        <c:delete val="0"/>
        <c:axPos val="l"/>
        <c:majorGridlines>
          <c:spPr>
            <a:ln w="3175" cmpd="sng" algn="ctr">
              <a:solidFill>
                <a:schemeClr val="tx1"/>
              </a:solidFill>
              <a:prstDash val="solid"/>
            </a:ln>
          </c:spPr>
        </c:majorGridlines>
        <c:numFmt formatCode="General" sourceLinked="1"/>
        <c:majorTickMark val="none"/>
        <c:minorTickMark val="none"/>
        <c:tickLblPos val="none"/>
        <c:spPr>
          <a:ln>
            <a:noFill/>
          </a:ln>
        </c:spPr>
        <c:crossAx val="175552623"/>
        <c:crosses val="min"/>
        <c:crossBetween val="between"/>
        <c:majorUnit val="5000"/>
      </c:valAx>
    </c:plotArea>
    <c:plotVisOnly val="0"/>
    <c:dispBlanksAs val="gap"/>
    <c:showDLblsOverMax val="1"/>
  </c:chart>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443845462713386E-2"/>
          <c:y val="5.2592592592592594E-2"/>
          <c:w val="0.92587601078167114"/>
          <c:h val="0.89481481481481484"/>
        </c:manualLayout>
      </c:layout>
      <c:barChart>
        <c:barDir val="col"/>
        <c:grouping val="stacked"/>
        <c:varyColors val="0"/>
        <c:ser>
          <c:idx val="0"/>
          <c:order val="0"/>
          <c:spPr>
            <a:solidFill>
              <a:schemeClr val="accent1"/>
            </a:solidFill>
            <a:ln>
              <a:noFill/>
            </a:ln>
          </c:spPr>
          <c:invertIfNegative val="0"/>
          <c:dPt>
            <c:idx val="27"/>
            <c:invertIfNegative val="0"/>
            <c:bubble3D val="0"/>
            <c:spPr>
              <a:solidFill>
                <a:schemeClr val="accent5"/>
              </a:solidFill>
              <a:ln>
                <a:noFill/>
              </a:ln>
            </c:spPr>
            <c:extLst>
              <c:ext xmlns:c16="http://schemas.microsoft.com/office/drawing/2014/chart" uri="{C3380CC4-5D6E-409C-BE32-E72D297353CC}">
                <c16:uniqueId val="{00000000-F7C4-D843-B08E-D653B00D3195}"/>
              </c:ext>
            </c:extLst>
          </c:dPt>
          <c:dLbls>
            <c:dLbl>
              <c:idx val="22"/>
              <c:layout>
                <c:manualLayout>
                  <c:x val="0"/>
                  <c:y val="-0.4437037037037037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7C4-D843-B08E-D653B00D3195}"/>
                </c:ext>
              </c:extLst>
            </c:dLbl>
            <c:dLbl>
              <c:idx val="27"/>
              <c:layout>
                <c:manualLayout>
                  <c:x val="0"/>
                  <c:y val="-0.3196296296296296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7C4-D843-B08E-D653B00D319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E$1</c:f>
              <c:numCache>
                <c:formatCode>General</c:formatCode>
                <c:ptCount val="31"/>
                <c:pt idx="0">
                  <c:v>358.779</c:v>
                </c:pt>
                <c:pt idx="1">
                  <c:v>378.22500000000002</c:v>
                </c:pt>
                <c:pt idx="2">
                  <c:v>375.935</c:v>
                </c:pt>
                <c:pt idx="3">
                  <c:v>368.5</c:v>
                </c:pt>
                <c:pt idx="4">
                  <c:v>374.91399999999999</c:v>
                </c:pt>
                <c:pt idx="5">
                  <c:v>395.2</c:v>
                </c:pt>
                <c:pt idx="6">
                  <c:v>399.58499999999992</c:v>
                </c:pt>
                <c:pt idx="7">
                  <c:v>415.51499999999999</c:v>
                </c:pt>
                <c:pt idx="8">
                  <c:v>419.81400000000002</c:v>
                </c:pt>
                <c:pt idx="9">
                  <c:v>426.88300000000004</c:v>
                </c:pt>
                <c:pt idx="10">
                  <c:v>429.97800000000007</c:v>
                </c:pt>
                <c:pt idx="11">
                  <c:v>427.85500000000008</c:v>
                </c:pt>
                <c:pt idx="12">
                  <c:v>418.60899999999998</c:v>
                </c:pt>
                <c:pt idx="13">
                  <c:v>417.46799999999996</c:v>
                </c:pt>
                <c:pt idx="14">
                  <c:v>389.18800000000005</c:v>
                </c:pt>
                <c:pt idx="15">
                  <c:v>407.87499999999994</c:v>
                </c:pt>
                <c:pt idx="16">
                  <c:v>421.11799999999994</c:v>
                </c:pt>
                <c:pt idx="17">
                  <c:v>404.79199999999997</c:v>
                </c:pt>
                <c:pt idx="18">
                  <c:v>403.75700000000006</c:v>
                </c:pt>
                <c:pt idx="19">
                  <c:v>414.37310927300001</c:v>
                </c:pt>
                <c:pt idx="20">
                  <c:v>416.77183901599994</c:v>
                </c:pt>
                <c:pt idx="21">
                  <c:v>383.54071204499996</c:v>
                </c:pt>
                <c:pt idx="22">
                  <c:v>469.08946608834009</c:v>
                </c:pt>
                <c:pt idx="23">
                  <c:v>457.94519654004995</c:v>
                </c:pt>
                <c:pt idx="24">
                  <c:v>426.68023586206004</c:v>
                </c:pt>
                <c:pt idx="25">
                  <c:v>393.13956570048003</c:v>
                </c:pt>
                <c:pt idx="26">
                  <c:v>395.08610099273005</c:v>
                </c:pt>
                <c:pt idx="27">
                  <c:v>331.00753706425002</c:v>
                </c:pt>
                <c:pt idx="28">
                  <c:v>387.04003915276002</c:v>
                </c:pt>
                <c:pt idx="29">
                  <c:v>431.18484221241999</c:v>
                </c:pt>
                <c:pt idx="30">
                  <c:v>69.07773780894</c:v>
                </c:pt>
              </c:numCache>
            </c:numRef>
          </c:val>
          <c:extLst>
            <c:ext xmlns:c16="http://schemas.microsoft.com/office/drawing/2014/chart" uri="{C3380CC4-5D6E-409C-BE32-E72D297353CC}">
              <c16:uniqueId val="{00000002-F7C4-D843-B08E-D653B00D3195}"/>
            </c:ext>
          </c:extLst>
        </c:ser>
        <c:dLbls>
          <c:showLegendKey val="0"/>
          <c:showVal val="0"/>
          <c:showCatName val="0"/>
          <c:showSerName val="0"/>
          <c:showPercent val="0"/>
          <c:showBubbleSize val="0"/>
        </c:dLbls>
        <c:gapWidth val="80"/>
        <c:overlap val="100"/>
        <c:axId val="1820642560"/>
        <c:axId val="1"/>
      </c:barChart>
      <c:catAx>
        <c:axId val="18206425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820642560"/>
        <c:crosses val="min"/>
        <c:crossBetween val="between"/>
        <c:majorUnit val="50"/>
      </c:valAx>
    </c:plotArea>
    <c:plotVisOnly val="0"/>
    <c:dispBlanksAs val="gap"/>
    <c:showDLblsOverMax val="1"/>
  </c:chart>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80065069506064E-2"/>
          <c:y val="3.9215686274509803E-2"/>
          <c:w val="0.96923986986098787"/>
          <c:h val="0.92156862745098034"/>
        </c:manualLayout>
      </c:layout>
      <c:barChart>
        <c:barDir val="col"/>
        <c:grouping val="stacked"/>
        <c:varyColors val="0"/>
        <c:ser>
          <c:idx val="0"/>
          <c:order val="0"/>
          <c:spPr>
            <a:solidFill>
              <a:srgbClr val="DFE5EF"/>
            </a:solidFill>
            <a:ln>
              <a:noFill/>
            </a:ln>
          </c:spPr>
          <c:invertIfNegative val="0"/>
          <c:val>
            <c:numRef>
              <c:f>Sheet1!$A$1:$AE$1</c:f>
              <c:numCache>
                <c:formatCode>General</c:formatCode>
                <c:ptCount val="31"/>
                <c:pt idx="0">
                  <c:v>1994</c:v>
                </c:pt>
                <c:pt idx="1">
                  <c:v>1995</c:v>
                </c:pt>
                <c:pt idx="2">
                  <c:v>1996</c:v>
                </c:pt>
                <c:pt idx="3">
                  <c:v>1997</c:v>
                </c:pt>
                <c:pt idx="4">
                  <c:v>1998</c:v>
                </c:pt>
                <c:pt idx="5">
                  <c:v>1999</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pt idx="19">
                  <c:v>2013</c:v>
                </c:pt>
                <c:pt idx="20">
                  <c:v>2014</c:v>
                </c:pt>
                <c:pt idx="21">
                  <c:v>2015</c:v>
                </c:pt>
                <c:pt idx="22">
                  <c:v>2016</c:v>
                </c:pt>
                <c:pt idx="23">
                  <c:v>2017</c:v>
                </c:pt>
                <c:pt idx="24">
                  <c:v>2018</c:v>
                </c:pt>
                <c:pt idx="25">
                  <c:v>2019</c:v>
                </c:pt>
                <c:pt idx="26">
                  <c:v>2020</c:v>
                </c:pt>
                <c:pt idx="27">
                  <c:v>2021</c:v>
                </c:pt>
                <c:pt idx="28">
                  <c:v>2022</c:v>
                </c:pt>
                <c:pt idx="29">
                  <c:v>2023</c:v>
                </c:pt>
                <c:pt idx="30">
                  <c:v>2024</c:v>
                </c:pt>
              </c:numCache>
            </c:numRef>
          </c:val>
          <c:extLst>
            <c:ext xmlns:c16="http://schemas.microsoft.com/office/drawing/2014/chart" uri="{C3380CC4-5D6E-409C-BE32-E72D297353CC}">
              <c16:uniqueId val="{00000000-3E17-D940-B39A-F40CD00099C8}"/>
            </c:ext>
          </c:extLst>
        </c:ser>
        <c:ser>
          <c:idx val="1"/>
          <c:order val="1"/>
          <c:spPr>
            <a:solidFill>
              <a:srgbClr val="C3CFE1"/>
            </a:solidFill>
            <a:ln>
              <a:noFill/>
            </a:ln>
          </c:spPr>
          <c:invertIfNegative val="0"/>
          <c:val>
            <c:numRef>
              <c:f>Sheet1!$A$2:$AE$2</c:f>
              <c:numCache>
                <c:formatCode>General</c:formatCode>
                <c:ptCount val="31"/>
                <c:pt idx="0">
                  <c:v>2298</c:v>
                </c:pt>
                <c:pt idx="1">
                  <c:v>2298</c:v>
                </c:pt>
                <c:pt idx="2">
                  <c:v>2298</c:v>
                </c:pt>
                <c:pt idx="3">
                  <c:v>2298</c:v>
                </c:pt>
                <c:pt idx="4">
                  <c:v>2298</c:v>
                </c:pt>
                <c:pt idx="5">
                  <c:v>2298</c:v>
                </c:pt>
                <c:pt idx="6">
                  <c:v>2298</c:v>
                </c:pt>
                <c:pt idx="7">
                  <c:v>2298</c:v>
                </c:pt>
                <c:pt idx="8">
                  <c:v>2368</c:v>
                </c:pt>
                <c:pt idx="9">
                  <c:v>4086</c:v>
                </c:pt>
                <c:pt idx="10">
                  <c:v>4736</c:v>
                </c:pt>
                <c:pt idx="11">
                  <c:v>4736</c:v>
                </c:pt>
                <c:pt idx="12">
                  <c:v>4736</c:v>
                </c:pt>
                <c:pt idx="13">
                  <c:v>6856</c:v>
                </c:pt>
                <c:pt idx="14">
                  <c:v>6856</c:v>
                </c:pt>
                <c:pt idx="15">
                  <c:v>6856</c:v>
                </c:pt>
                <c:pt idx="16">
                  <c:v>6234</c:v>
                </c:pt>
                <c:pt idx="17">
                  <c:v>6287</c:v>
                </c:pt>
                <c:pt idx="18">
                  <c:v>5637</c:v>
                </c:pt>
                <c:pt idx="19">
                  <c:v>7855</c:v>
                </c:pt>
                <c:pt idx="20">
                  <c:v>13327</c:v>
                </c:pt>
                <c:pt idx="21">
                  <c:v>17329</c:v>
                </c:pt>
                <c:pt idx="22">
                  <c:v>24534</c:v>
                </c:pt>
                <c:pt idx="23">
                  <c:v>26709</c:v>
                </c:pt>
                <c:pt idx="24">
                  <c:v>33803</c:v>
                </c:pt>
                <c:pt idx="25">
                  <c:v>36118</c:v>
                </c:pt>
                <c:pt idx="26">
                  <c:v>37236</c:v>
                </c:pt>
                <c:pt idx="27">
                  <c:v>38405</c:v>
                </c:pt>
                <c:pt idx="28">
                  <c:v>35202</c:v>
                </c:pt>
                <c:pt idx="29">
                  <c:v>30471</c:v>
                </c:pt>
                <c:pt idx="30">
                  <c:v>24446</c:v>
                </c:pt>
              </c:numCache>
            </c:numRef>
          </c:val>
          <c:extLst>
            <c:ext xmlns:c16="http://schemas.microsoft.com/office/drawing/2014/chart" uri="{C3380CC4-5D6E-409C-BE32-E72D297353CC}">
              <c16:uniqueId val="{00000001-3E17-D940-B39A-F40CD00099C8}"/>
            </c:ext>
          </c:extLst>
        </c:ser>
        <c:ser>
          <c:idx val="2"/>
          <c:order val="2"/>
          <c:spPr>
            <a:solidFill>
              <a:srgbClr val="9DB1CF"/>
            </a:solidFill>
            <a:ln>
              <a:noFill/>
            </a:ln>
          </c:spPr>
          <c:invertIfNegative val="0"/>
          <c:val>
            <c:numRef>
              <c:f>Sheet1!$A$3:$AE$3</c:f>
              <c:numCache>
                <c:formatCode>General</c:formatCode>
                <c:ptCount val="31"/>
                <c:pt idx="0">
                  <c:v>0</c:v>
                </c:pt>
                <c:pt idx="1">
                  <c:v>0</c:v>
                </c:pt>
                <c:pt idx="2">
                  <c:v>0</c:v>
                </c:pt>
                <c:pt idx="3">
                  <c:v>0</c:v>
                </c:pt>
                <c:pt idx="4">
                  <c:v>0</c:v>
                </c:pt>
                <c:pt idx="5">
                  <c:v>0</c:v>
                </c:pt>
                <c:pt idx="6">
                  <c:v>0</c:v>
                </c:pt>
                <c:pt idx="7">
                  <c:v>0</c:v>
                </c:pt>
                <c:pt idx="8">
                  <c:v>2298</c:v>
                </c:pt>
                <c:pt idx="9">
                  <c:v>2298</c:v>
                </c:pt>
                <c:pt idx="10">
                  <c:v>2298</c:v>
                </c:pt>
                <c:pt idx="11">
                  <c:v>2298</c:v>
                </c:pt>
                <c:pt idx="12">
                  <c:v>2298</c:v>
                </c:pt>
                <c:pt idx="13">
                  <c:v>2298</c:v>
                </c:pt>
                <c:pt idx="14">
                  <c:v>2298</c:v>
                </c:pt>
                <c:pt idx="15">
                  <c:v>2298</c:v>
                </c:pt>
                <c:pt idx="16">
                  <c:v>2368</c:v>
                </c:pt>
                <c:pt idx="17">
                  <c:v>4086</c:v>
                </c:pt>
                <c:pt idx="18">
                  <c:v>4736</c:v>
                </c:pt>
                <c:pt idx="19">
                  <c:v>4736</c:v>
                </c:pt>
                <c:pt idx="20">
                  <c:v>4736</c:v>
                </c:pt>
                <c:pt idx="21">
                  <c:v>6856</c:v>
                </c:pt>
                <c:pt idx="22">
                  <c:v>6856</c:v>
                </c:pt>
                <c:pt idx="23">
                  <c:v>6856</c:v>
                </c:pt>
                <c:pt idx="24">
                  <c:v>6234</c:v>
                </c:pt>
                <c:pt idx="25">
                  <c:v>6287</c:v>
                </c:pt>
                <c:pt idx="26">
                  <c:v>5637</c:v>
                </c:pt>
                <c:pt idx="27">
                  <c:v>7855</c:v>
                </c:pt>
                <c:pt idx="28">
                  <c:v>13327</c:v>
                </c:pt>
                <c:pt idx="29">
                  <c:v>17329</c:v>
                </c:pt>
                <c:pt idx="30">
                  <c:v>24534</c:v>
                </c:pt>
              </c:numCache>
            </c:numRef>
          </c:val>
          <c:extLst>
            <c:ext xmlns:c16="http://schemas.microsoft.com/office/drawing/2014/chart" uri="{C3380CC4-5D6E-409C-BE32-E72D297353CC}">
              <c16:uniqueId val="{00000002-3E17-D940-B39A-F40CD00099C8}"/>
            </c:ext>
          </c:extLst>
        </c:ser>
        <c:ser>
          <c:idx val="3"/>
          <c:order val="3"/>
          <c:spPr>
            <a:solidFill>
              <a:srgbClr val="6F8DB9"/>
            </a:solidFill>
            <a:ln>
              <a:noFill/>
            </a:ln>
          </c:spPr>
          <c:invertIfNegative val="0"/>
          <c:val>
            <c:numRef>
              <c:f>Sheet1!$A$4:$AE$4</c:f>
              <c:numCache>
                <c:formatCode>General</c:formatCode>
                <c:ptCount val="3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2298</c:v>
                </c:pt>
                <c:pt idx="17">
                  <c:v>2298</c:v>
                </c:pt>
                <c:pt idx="18">
                  <c:v>2298</c:v>
                </c:pt>
                <c:pt idx="19">
                  <c:v>2298</c:v>
                </c:pt>
                <c:pt idx="20">
                  <c:v>2298</c:v>
                </c:pt>
                <c:pt idx="21">
                  <c:v>2298</c:v>
                </c:pt>
                <c:pt idx="22">
                  <c:v>2298</c:v>
                </c:pt>
                <c:pt idx="23">
                  <c:v>2298</c:v>
                </c:pt>
                <c:pt idx="24">
                  <c:v>2368</c:v>
                </c:pt>
                <c:pt idx="25">
                  <c:v>4086</c:v>
                </c:pt>
                <c:pt idx="26">
                  <c:v>4736</c:v>
                </c:pt>
                <c:pt idx="27">
                  <c:v>4736</c:v>
                </c:pt>
                <c:pt idx="28">
                  <c:v>4736</c:v>
                </c:pt>
                <c:pt idx="29">
                  <c:v>6856</c:v>
                </c:pt>
                <c:pt idx="30">
                  <c:v>6856</c:v>
                </c:pt>
              </c:numCache>
            </c:numRef>
          </c:val>
          <c:extLst>
            <c:ext xmlns:c16="http://schemas.microsoft.com/office/drawing/2014/chart" uri="{C3380CC4-5D6E-409C-BE32-E72D297353CC}">
              <c16:uniqueId val="{00000003-3E17-D940-B39A-F40CD00099C8}"/>
            </c:ext>
          </c:extLst>
        </c:ser>
        <c:ser>
          <c:idx val="4"/>
          <c:order val="4"/>
          <c:spPr>
            <a:solidFill>
              <a:srgbClr val="4C6C9C"/>
            </a:solidFill>
            <a:ln>
              <a:noFill/>
            </a:ln>
          </c:spPr>
          <c:invertIfNegative val="0"/>
          <c:val>
            <c:numRef>
              <c:f>Sheet1!$A$5:$AE$5</c:f>
              <c:numCache>
                <c:formatCode>General</c:formatCode>
                <c:ptCount val="3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2298</c:v>
                </c:pt>
                <c:pt idx="25">
                  <c:v>2298</c:v>
                </c:pt>
                <c:pt idx="26">
                  <c:v>2298</c:v>
                </c:pt>
                <c:pt idx="27">
                  <c:v>2298</c:v>
                </c:pt>
                <c:pt idx="28">
                  <c:v>2298</c:v>
                </c:pt>
                <c:pt idx="29">
                  <c:v>2298</c:v>
                </c:pt>
                <c:pt idx="30">
                  <c:v>2298</c:v>
                </c:pt>
              </c:numCache>
            </c:numRef>
          </c:val>
          <c:extLst>
            <c:ext xmlns:c16="http://schemas.microsoft.com/office/drawing/2014/chart" uri="{C3380CC4-5D6E-409C-BE32-E72D297353CC}">
              <c16:uniqueId val="{00000004-3E17-D940-B39A-F40CD00099C8}"/>
            </c:ext>
          </c:extLst>
        </c:ser>
        <c:ser>
          <c:idx val="5"/>
          <c:order val="5"/>
          <c:spPr>
            <a:solidFill>
              <a:srgbClr val="364D6E"/>
            </a:solidFill>
            <a:ln>
              <a:noFill/>
            </a:ln>
          </c:spPr>
          <c:invertIfNegative val="0"/>
          <c:val>
            <c:numRef>
              <c:f>Sheet1!$A$6:$AE$6</c:f>
              <c:numCache>
                <c:formatCode>General</c:formatCode>
                <c:ptCount val="3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5-3E17-D940-B39A-F40CD00099C8}"/>
            </c:ext>
          </c:extLst>
        </c:ser>
        <c:ser>
          <c:idx val="6"/>
          <c:order val="6"/>
          <c:spPr>
            <a:solidFill>
              <a:schemeClr val="accent2"/>
            </a:solidFill>
            <a:ln>
              <a:noFill/>
            </a:ln>
          </c:spPr>
          <c:invertIfNegative val="0"/>
          <c:val>
            <c:numRef>
              <c:f>Sheet1!$A$7:$AE$7</c:f>
              <c:numCache>
                <c:formatCode>General</c:formatCode>
                <c:ptCount val="3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6-3E17-D940-B39A-F40CD00099C8}"/>
            </c:ext>
          </c:extLst>
        </c:ser>
        <c:dLbls>
          <c:showLegendKey val="0"/>
          <c:showVal val="0"/>
          <c:showCatName val="0"/>
          <c:showSerName val="0"/>
          <c:showPercent val="0"/>
          <c:showBubbleSize val="0"/>
        </c:dLbls>
        <c:gapWidth val="10"/>
        <c:overlap val="100"/>
        <c:axId val="492542063"/>
        <c:axId val="1"/>
      </c:barChart>
      <c:catAx>
        <c:axId val="492542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00"/>
          <c:min val="0"/>
        </c:scaling>
        <c:delete val="0"/>
        <c:axPos val="l"/>
        <c:majorGridlines>
          <c:spPr>
            <a:ln w="3175" cmpd="sng" algn="ctr">
              <a:solidFill>
                <a:schemeClr val="tx1"/>
              </a:solidFill>
              <a:prstDash val="solid"/>
            </a:ln>
          </c:spPr>
        </c:majorGridlines>
        <c:numFmt formatCode="General" sourceLinked="1"/>
        <c:majorTickMark val="none"/>
        <c:minorTickMark val="none"/>
        <c:tickLblPos val="none"/>
        <c:spPr>
          <a:ln w="9525" cmpd="sng" algn="ctr">
            <a:solidFill>
              <a:schemeClr val="tx1"/>
            </a:solidFill>
            <a:prstDash val="solid"/>
          </a:ln>
        </c:spPr>
        <c:crossAx val="492542063"/>
        <c:crosses val="min"/>
        <c:crossBetween val="between"/>
        <c:majorUnit val="10000"/>
      </c:valAx>
    </c:plotArea>
    <c:plotVisOnly val="0"/>
    <c:dispBlanksAs val="gap"/>
    <c:showDLblsOverMax val="1"/>
  </c:chart>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870646766169153E-2"/>
          <c:y val="5.8035714285714288E-2"/>
          <c:w val="0.94825870646766164"/>
          <c:h val="0.8839285714285714"/>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928.82</c:v>
                </c:pt>
                <c:pt idx="1">
                  <c:v>700.27</c:v>
                </c:pt>
                <c:pt idx="2">
                  <c:v>360</c:v>
                </c:pt>
              </c:numCache>
            </c:numRef>
          </c:val>
          <c:extLst>
            <c:ext xmlns:c16="http://schemas.microsoft.com/office/drawing/2014/chart" uri="{C3380CC4-5D6E-409C-BE32-E72D297353CC}">
              <c16:uniqueId val="{00000000-3290-4643-916C-137B157D5855}"/>
            </c:ext>
          </c:extLst>
        </c:ser>
        <c:ser>
          <c:idx val="1"/>
          <c:order val="1"/>
          <c:spPr>
            <a:solidFill>
              <a:schemeClr val="accent2"/>
            </a:solidFill>
            <a:ln>
              <a:noFill/>
            </a:ln>
          </c:spPr>
          <c:invertIfNegative val="0"/>
          <c:val>
            <c:numRef>
              <c:f>Sheet1!$A$2:$C$2</c:f>
              <c:numCache>
                <c:formatCode>General</c:formatCode>
                <c:ptCount val="3"/>
                <c:pt idx="0">
                  <c:v>0</c:v>
                </c:pt>
                <c:pt idx="1">
                  <c:v>84.909999999999968</c:v>
                </c:pt>
                <c:pt idx="2">
                  <c:v>240</c:v>
                </c:pt>
              </c:numCache>
            </c:numRef>
          </c:val>
          <c:extLst>
            <c:ext xmlns:c16="http://schemas.microsoft.com/office/drawing/2014/chart" uri="{C3380CC4-5D6E-409C-BE32-E72D297353CC}">
              <c16:uniqueId val="{00000001-3290-4643-916C-137B157D5855}"/>
            </c:ext>
          </c:extLst>
        </c:ser>
        <c:ser>
          <c:idx val="2"/>
          <c:order val="2"/>
          <c:spPr>
            <a:solidFill>
              <a:schemeClr val="accent3"/>
            </a:solidFill>
            <a:ln>
              <a:noFill/>
            </a:ln>
          </c:spPr>
          <c:invertIfNegative val="0"/>
          <c:val>
            <c:numRef>
              <c:f>Sheet1!$A$3:$C$3</c:f>
              <c:numCache>
                <c:formatCode>General</c:formatCode>
                <c:ptCount val="3"/>
                <c:pt idx="0">
                  <c:v>133.89999999999998</c:v>
                </c:pt>
                <c:pt idx="1">
                  <c:v>237.12</c:v>
                </c:pt>
                <c:pt idx="2">
                  <c:v>600</c:v>
                </c:pt>
              </c:numCache>
            </c:numRef>
          </c:val>
          <c:extLst>
            <c:ext xmlns:c16="http://schemas.microsoft.com/office/drawing/2014/chart" uri="{C3380CC4-5D6E-409C-BE32-E72D297353CC}">
              <c16:uniqueId val="{00000002-3290-4643-916C-137B157D5855}"/>
            </c:ext>
          </c:extLst>
        </c:ser>
        <c:dLbls>
          <c:showLegendKey val="0"/>
          <c:showVal val="0"/>
          <c:showCatName val="0"/>
          <c:showSerName val="0"/>
          <c:showPercent val="0"/>
          <c:showBubbleSize val="0"/>
        </c:dLbls>
        <c:gapWidth val="80"/>
        <c:overlap val="100"/>
        <c:axId val="1644502032"/>
        <c:axId val="1"/>
      </c:barChart>
      <c:catAx>
        <c:axId val="16445020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0"/>
          <c:min val="0"/>
        </c:scaling>
        <c:delete val="1"/>
        <c:axPos val="l"/>
        <c:numFmt formatCode="General" sourceLinked="1"/>
        <c:majorTickMark val="out"/>
        <c:minorTickMark val="none"/>
        <c:tickLblPos val="nextTo"/>
        <c:crossAx val="1644502032"/>
        <c:crosses val="min"/>
        <c:crossBetween val="between"/>
      </c:valAx>
    </c:plotArea>
    <c:plotVisOnly val="0"/>
    <c:dispBlanksAs val="gap"/>
    <c:showDLblsOverMax val="1"/>
  </c:chart>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870646766169153E-2"/>
          <c:y val="5.8035714285714288E-2"/>
          <c:w val="0.94825870646766164"/>
          <c:h val="0.8839285714285714"/>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372.86219999999997</c:v>
                </c:pt>
                <c:pt idx="1">
                  <c:v>373.21799999999996</c:v>
                </c:pt>
                <c:pt idx="2">
                  <c:v>145.19745</c:v>
                </c:pt>
              </c:numCache>
            </c:numRef>
          </c:val>
          <c:extLst>
            <c:ext xmlns:c16="http://schemas.microsoft.com/office/drawing/2014/chart" uri="{C3380CC4-5D6E-409C-BE32-E72D297353CC}">
              <c16:uniqueId val="{00000000-134A-564E-B6AF-2CFC39FAE3E8}"/>
            </c:ext>
          </c:extLst>
        </c:ser>
        <c:ser>
          <c:idx val="1"/>
          <c:order val="1"/>
          <c:spPr>
            <a:solidFill>
              <a:schemeClr val="accent2"/>
            </a:solidFill>
            <a:ln>
              <a:noFill/>
            </a:ln>
          </c:spPr>
          <c:invertIfNegative val="0"/>
          <c:val>
            <c:numRef>
              <c:f>Sheet1!$A$2:$C$2</c:f>
              <c:numCache>
                <c:formatCode>General</c:formatCode>
                <c:ptCount val="3"/>
                <c:pt idx="0">
                  <c:v>156.71020000000004</c:v>
                </c:pt>
                <c:pt idx="1">
                  <c:v>186.60900000000004</c:v>
                </c:pt>
                <c:pt idx="2">
                  <c:v>248.26580000000001</c:v>
                </c:pt>
              </c:numCache>
            </c:numRef>
          </c:val>
          <c:extLst>
            <c:ext xmlns:c16="http://schemas.microsoft.com/office/drawing/2014/chart" uri="{C3380CC4-5D6E-409C-BE32-E72D297353CC}">
              <c16:uniqueId val="{00000001-134A-564E-B6AF-2CFC39FAE3E8}"/>
            </c:ext>
          </c:extLst>
        </c:ser>
        <c:ser>
          <c:idx val="2"/>
          <c:order val="2"/>
          <c:spPr>
            <a:solidFill>
              <a:schemeClr val="accent3"/>
            </a:solidFill>
            <a:ln>
              <a:noFill/>
            </a:ln>
          </c:spPr>
          <c:invertIfNegative val="0"/>
          <c:val>
            <c:numRef>
              <c:f>Sheet1!$A$3:$C$3</c:f>
              <c:numCache>
                <c:formatCode>General</c:formatCode>
                <c:ptCount val="3"/>
                <c:pt idx="0">
                  <c:v>10.807599999999979</c:v>
                </c:pt>
                <c:pt idx="1">
                  <c:v>62.202999999999975</c:v>
                </c:pt>
                <c:pt idx="2">
                  <c:v>311.03674999999998</c:v>
                </c:pt>
              </c:numCache>
            </c:numRef>
          </c:val>
          <c:extLst>
            <c:ext xmlns:c16="http://schemas.microsoft.com/office/drawing/2014/chart" uri="{C3380CC4-5D6E-409C-BE32-E72D297353CC}">
              <c16:uniqueId val="{00000002-134A-564E-B6AF-2CFC39FAE3E8}"/>
            </c:ext>
          </c:extLst>
        </c:ser>
        <c:dLbls>
          <c:showLegendKey val="0"/>
          <c:showVal val="0"/>
          <c:showCatName val="0"/>
          <c:showSerName val="0"/>
          <c:showPercent val="0"/>
          <c:showBubbleSize val="0"/>
        </c:dLbls>
        <c:gapWidth val="80"/>
        <c:overlap val="100"/>
        <c:axId val="1069380864"/>
        <c:axId val="1"/>
      </c:barChart>
      <c:catAx>
        <c:axId val="10693808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4.5"/>
          <c:min val="0"/>
        </c:scaling>
        <c:delete val="1"/>
        <c:axPos val="l"/>
        <c:numFmt formatCode="General" sourceLinked="1"/>
        <c:majorTickMark val="out"/>
        <c:minorTickMark val="none"/>
        <c:tickLblPos val="nextTo"/>
        <c:crossAx val="1069380864"/>
        <c:crosses val="min"/>
        <c:crossBetween val="between"/>
      </c:valAx>
    </c:plotArea>
    <c:plotVisOnly val="0"/>
    <c:dispBlanksAs val="gap"/>
    <c:showDLblsOverMax val="1"/>
  </c:chart>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870646766169153E-2"/>
          <c:y val="5.8035714285714288E-2"/>
          <c:w val="0.94825870646766164"/>
          <c:h val="0.8839285714285714"/>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1025.49</c:v>
                </c:pt>
                <c:pt idx="1">
                  <c:v>1595.42</c:v>
                </c:pt>
                <c:pt idx="2">
                  <c:v>1565.79</c:v>
                </c:pt>
              </c:numCache>
            </c:numRef>
          </c:val>
          <c:extLst>
            <c:ext xmlns:c16="http://schemas.microsoft.com/office/drawing/2014/chart" uri="{C3380CC4-5D6E-409C-BE32-E72D297353CC}">
              <c16:uniqueId val="{00000000-B468-DE41-BECD-0DB708614AE5}"/>
            </c:ext>
          </c:extLst>
        </c:ser>
        <c:ser>
          <c:idx val="1"/>
          <c:order val="1"/>
          <c:spPr>
            <a:solidFill>
              <a:schemeClr val="accent2"/>
            </a:solidFill>
            <a:ln>
              <a:noFill/>
            </a:ln>
          </c:spPr>
          <c:invertIfNegative val="0"/>
          <c:dPt>
            <c:idx val="2"/>
            <c:invertIfNegative val="0"/>
            <c:bubble3D val="0"/>
            <c:spPr>
              <a:solidFill>
                <a:srgbClr val="9DB1CF"/>
              </a:solidFill>
              <a:ln>
                <a:noFill/>
              </a:ln>
            </c:spPr>
            <c:extLst>
              <c:ext xmlns:c16="http://schemas.microsoft.com/office/drawing/2014/chart" uri="{C3380CC4-5D6E-409C-BE32-E72D297353CC}">
                <c16:uniqueId val="{00000001-B468-DE41-BECD-0DB708614AE5}"/>
              </c:ext>
            </c:extLst>
          </c:dPt>
          <c:val>
            <c:numRef>
              <c:f>Sheet1!$A$2:$C$2</c:f>
              <c:numCache>
                <c:formatCode>General</c:formatCode>
                <c:ptCount val="3"/>
                <c:pt idx="0">
                  <c:v>34.690000000000055</c:v>
                </c:pt>
                <c:pt idx="1">
                  <c:v>54.700000000000045</c:v>
                </c:pt>
                <c:pt idx="2">
                  <c:v>1181.21</c:v>
                </c:pt>
              </c:numCache>
            </c:numRef>
          </c:val>
          <c:extLst>
            <c:ext xmlns:c16="http://schemas.microsoft.com/office/drawing/2014/chart" uri="{C3380CC4-5D6E-409C-BE32-E72D297353CC}">
              <c16:uniqueId val="{00000002-B468-DE41-BECD-0DB708614AE5}"/>
            </c:ext>
          </c:extLst>
        </c:ser>
        <c:ser>
          <c:idx val="2"/>
          <c:order val="2"/>
          <c:spPr>
            <a:solidFill>
              <a:schemeClr val="accent3"/>
            </a:solidFill>
            <a:ln>
              <a:noFill/>
            </a:ln>
          </c:spPr>
          <c:invertIfNegative val="0"/>
          <c:val>
            <c:numRef>
              <c:f>Sheet1!$A$3:$C$3</c:f>
              <c:numCache>
                <c:formatCode>General</c:formatCode>
                <c:ptCount val="3"/>
                <c:pt idx="0">
                  <c:v>202.03999999999996</c:v>
                </c:pt>
                <c:pt idx="1">
                  <c:v>407.41999999999985</c:v>
                </c:pt>
              </c:numCache>
            </c:numRef>
          </c:val>
          <c:extLst>
            <c:ext xmlns:c16="http://schemas.microsoft.com/office/drawing/2014/chart" uri="{C3380CC4-5D6E-409C-BE32-E72D297353CC}">
              <c16:uniqueId val="{00000003-B468-DE41-BECD-0DB708614AE5}"/>
            </c:ext>
          </c:extLst>
        </c:ser>
        <c:dLbls>
          <c:showLegendKey val="0"/>
          <c:showVal val="0"/>
          <c:showCatName val="0"/>
          <c:showSerName val="0"/>
          <c:showPercent val="0"/>
          <c:showBubbleSize val="0"/>
        </c:dLbls>
        <c:gapWidth val="80"/>
        <c:overlap val="100"/>
        <c:axId val="1069513376"/>
        <c:axId val="1"/>
      </c:barChart>
      <c:catAx>
        <c:axId val="10695133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747"/>
          <c:min val="0"/>
        </c:scaling>
        <c:delete val="1"/>
        <c:axPos val="l"/>
        <c:numFmt formatCode="General" sourceLinked="1"/>
        <c:majorTickMark val="out"/>
        <c:minorTickMark val="none"/>
        <c:tickLblPos val="nextTo"/>
        <c:crossAx val="106951337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010358583628352"/>
          <c:y val="0.15418281978639314"/>
          <c:w val="0.48706802743743016"/>
          <c:h val="0.76546379430285671"/>
        </c:manualLayout>
      </c:layout>
      <c:radarChart>
        <c:radarStyle val="marker"/>
        <c:varyColors val="0"/>
        <c:ser>
          <c:idx val="0"/>
          <c:order val="0"/>
          <c:tx>
            <c:strRef>
              <c:f>Tabelle1!$B$1</c:f>
              <c:strCache>
                <c:ptCount val="1"/>
                <c:pt idx="0">
                  <c:v>Nuclear</c:v>
                </c:pt>
              </c:strCache>
            </c:strRef>
          </c:tx>
          <c:spPr>
            <a:ln w="28575" cap="rnd">
              <a:solidFill>
                <a:schemeClr val="accent1"/>
              </a:solidFill>
              <a:round/>
            </a:ln>
            <a:effectLst/>
          </c:spPr>
          <c:marker>
            <c:symbol val="circle"/>
            <c:size val="5"/>
            <c:spPr>
              <a:noFill/>
              <a:ln w="9525">
                <a:solidFill>
                  <a:schemeClr val="tx1"/>
                </a:solidFill>
              </a:ln>
              <a:effectLst/>
            </c:spPr>
          </c:marker>
          <c:cat>
            <c:strRef>
              <c:f>Tabelle1!$A$2:$A$7</c:f>
              <c:strCache>
                <c:ptCount val="6"/>
                <c:pt idx="0">
                  <c:v>Capacity Factor</c:v>
                </c:pt>
                <c:pt idx="1">
                  <c:v>Siting Flexibility</c:v>
                </c:pt>
                <c:pt idx="2">
                  <c:v>Cost</c:v>
                </c:pt>
                <c:pt idx="3">
                  <c:v>Lifespan</c:v>
                </c:pt>
                <c:pt idx="4">
                  <c:v>Ramp Rate</c:v>
                </c:pt>
                <c:pt idx="5">
                  <c:v>Land Use</c:v>
                </c:pt>
              </c:strCache>
            </c:strRef>
          </c:cat>
          <c:val>
            <c:numRef>
              <c:f>Tabelle1!$B$2:$B$7</c:f>
              <c:numCache>
                <c:formatCode>General</c:formatCode>
                <c:ptCount val="6"/>
                <c:pt idx="0">
                  <c:v>5</c:v>
                </c:pt>
                <c:pt idx="1">
                  <c:v>3</c:v>
                </c:pt>
                <c:pt idx="2">
                  <c:v>3</c:v>
                </c:pt>
                <c:pt idx="3">
                  <c:v>5</c:v>
                </c:pt>
                <c:pt idx="4">
                  <c:v>3</c:v>
                </c:pt>
                <c:pt idx="5">
                  <c:v>4</c:v>
                </c:pt>
              </c:numCache>
            </c:numRef>
          </c:val>
          <c:extLst>
            <c:ext xmlns:c16="http://schemas.microsoft.com/office/drawing/2014/chart" uri="{C3380CC4-5D6E-409C-BE32-E72D297353CC}">
              <c16:uniqueId val="{00000000-3AEA-614A-BC10-BE637AD0399B}"/>
            </c:ext>
          </c:extLst>
        </c:ser>
        <c:ser>
          <c:idx val="1"/>
          <c:order val="1"/>
          <c:tx>
            <c:strRef>
              <c:f>Tabelle1!$C$1</c:f>
              <c:strCache>
                <c:ptCount val="1"/>
                <c:pt idx="0">
                  <c:v>SMR</c:v>
                </c:pt>
              </c:strCache>
            </c:strRef>
          </c:tx>
          <c:spPr>
            <a:ln w="31750" cap="rnd">
              <a:solidFill>
                <a:schemeClr val="accent1">
                  <a:lumMod val="40000"/>
                  <a:lumOff val="60000"/>
                </a:schemeClr>
              </a:solidFill>
              <a:prstDash val="dash"/>
              <a:round/>
            </a:ln>
            <a:effectLst/>
          </c:spPr>
          <c:marker>
            <c:symbol val="circle"/>
            <c:size val="5"/>
            <c:spPr>
              <a:noFill/>
              <a:ln w="9525">
                <a:solidFill>
                  <a:schemeClr val="tx1"/>
                </a:solidFill>
              </a:ln>
              <a:effectLst/>
            </c:spPr>
          </c:marker>
          <c:cat>
            <c:strRef>
              <c:f>Tabelle1!$A$2:$A$7</c:f>
              <c:strCache>
                <c:ptCount val="6"/>
                <c:pt idx="0">
                  <c:v>Capacity Factor</c:v>
                </c:pt>
                <c:pt idx="1">
                  <c:v>Siting Flexibility</c:v>
                </c:pt>
                <c:pt idx="2">
                  <c:v>Cost</c:v>
                </c:pt>
                <c:pt idx="3">
                  <c:v>Lifespan</c:v>
                </c:pt>
                <c:pt idx="4">
                  <c:v>Ramp Rate</c:v>
                </c:pt>
                <c:pt idx="5">
                  <c:v>Land Use</c:v>
                </c:pt>
              </c:strCache>
            </c:strRef>
          </c:cat>
          <c:val>
            <c:numRef>
              <c:f>Tabelle1!$C$2:$C$7</c:f>
              <c:numCache>
                <c:formatCode>General</c:formatCode>
                <c:ptCount val="6"/>
                <c:pt idx="0">
                  <c:v>5</c:v>
                </c:pt>
                <c:pt idx="1">
                  <c:v>5</c:v>
                </c:pt>
                <c:pt idx="2">
                  <c:v>4</c:v>
                </c:pt>
                <c:pt idx="3">
                  <c:v>5</c:v>
                </c:pt>
                <c:pt idx="4">
                  <c:v>2</c:v>
                </c:pt>
                <c:pt idx="5">
                  <c:v>5</c:v>
                </c:pt>
              </c:numCache>
            </c:numRef>
          </c:val>
          <c:extLst>
            <c:ext xmlns:c16="http://schemas.microsoft.com/office/drawing/2014/chart" uri="{C3380CC4-5D6E-409C-BE32-E72D297353CC}">
              <c16:uniqueId val="{00000001-3AEA-614A-BC10-BE637AD0399B}"/>
            </c:ext>
          </c:extLst>
        </c:ser>
        <c:ser>
          <c:idx val="2"/>
          <c:order val="2"/>
          <c:tx>
            <c:strRef>
              <c:f>Tabelle1!$D$1</c:f>
              <c:strCache>
                <c:ptCount val="1"/>
                <c:pt idx="0">
                  <c:v>Geothermal</c:v>
                </c:pt>
              </c:strCache>
            </c:strRef>
          </c:tx>
          <c:spPr>
            <a:ln w="28575" cap="rnd">
              <a:solidFill>
                <a:schemeClr val="accent3"/>
              </a:solidFill>
              <a:round/>
            </a:ln>
            <a:effectLst/>
          </c:spPr>
          <c:marker>
            <c:symbol val="none"/>
          </c:marker>
          <c:cat>
            <c:strRef>
              <c:f>Tabelle1!$A$2:$A$7</c:f>
              <c:strCache>
                <c:ptCount val="6"/>
                <c:pt idx="0">
                  <c:v>Capacity Factor</c:v>
                </c:pt>
                <c:pt idx="1">
                  <c:v>Siting Flexibility</c:v>
                </c:pt>
                <c:pt idx="2">
                  <c:v>Cost</c:v>
                </c:pt>
                <c:pt idx="3">
                  <c:v>Lifespan</c:v>
                </c:pt>
                <c:pt idx="4">
                  <c:v>Ramp Rate</c:v>
                </c:pt>
                <c:pt idx="5">
                  <c:v>Land Use</c:v>
                </c:pt>
              </c:strCache>
            </c:strRef>
          </c:cat>
          <c:val>
            <c:numRef>
              <c:f>Tabelle1!$D$2:$D$7</c:f>
              <c:numCache>
                <c:formatCode>General</c:formatCode>
                <c:ptCount val="6"/>
                <c:pt idx="0">
                  <c:v>4</c:v>
                </c:pt>
                <c:pt idx="1">
                  <c:v>2</c:v>
                </c:pt>
                <c:pt idx="2">
                  <c:v>4</c:v>
                </c:pt>
                <c:pt idx="3">
                  <c:v>4</c:v>
                </c:pt>
                <c:pt idx="4">
                  <c:v>4</c:v>
                </c:pt>
                <c:pt idx="5">
                  <c:v>2</c:v>
                </c:pt>
              </c:numCache>
            </c:numRef>
          </c:val>
          <c:extLst>
            <c:ext xmlns:c16="http://schemas.microsoft.com/office/drawing/2014/chart" uri="{C3380CC4-5D6E-409C-BE32-E72D297353CC}">
              <c16:uniqueId val="{00000000-4154-7549-B9D5-8EBF0074ABC2}"/>
            </c:ext>
          </c:extLst>
        </c:ser>
        <c:ser>
          <c:idx val="3"/>
          <c:order val="3"/>
          <c:tx>
            <c:strRef>
              <c:f>Tabelle1!$E$1</c:f>
              <c:strCache>
                <c:ptCount val="1"/>
                <c:pt idx="0">
                  <c:v>EGS</c:v>
                </c:pt>
              </c:strCache>
            </c:strRef>
          </c:tx>
          <c:spPr>
            <a:ln w="28575" cap="rnd">
              <a:solidFill>
                <a:schemeClr val="accent3">
                  <a:lumMod val="60000"/>
                  <a:lumOff val="40000"/>
                </a:schemeClr>
              </a:solidFill>
              <a:prstDash val="dash"/>
              <a:round/>
            </a:ln>
            <a:effectLst/>
          </c:spPr>
          <c:marker>
            <c:symbol val="none"/>
          </c:marker>
          <c:cat>
            <c:strRef>
              <c:f>Tabelle1!$A$2:$A$7</c:f>
              <c:strCache>
                <c:ptCount val="6"/>
                <c:pt idx="0">
                  <c:v>Capacity Factor</c:v>
                </c:pt>
                <c:pt idx="1">
                  <c:v>Siting Flexibility</c:v>
                </c:pt>
                <c:pt idx="2">
                  <c:v>Cost</c:v>
                </c:pt>
                <c:pt idx="3">
                  <c:v>Lifespan</c:v>
                </c:pt>
                <c:pt idx="4">
                  <c:v>Ramp Rate</c:v>
                </c:pt>
                <c:pt idx="5">
                  <c:v>Land Use</c:v>
                </c:pt>
              </c:strCache>
            </c:strRef>
          </c:cat>
          <c:val>
            <c:numRef>
              <c:f>Tabelle1!$E$2:$E$7</c:f>
              <c:numCache>
                <c:formatCode>General</c:formatCode>
                <c:ptCount val="6"/>
                <c:pt idx="0">
                  <c:v>3</c:v>
                </c:pt>
                <c:pt idx="1">
                  <c:v>4</c:v>
                </c:pt>
                <c:pt idx="2">
                  <c:v>3</c:v>
                </c:pt>
                <c:pt idx="3">
                  <c:v>0</c:v>
                </c:pt>
                <c:pt idx="4">
                  <c:v>0</c:v>
                </c:pt>
                <c:pt idx="5">
                  <c:v>2</c:v>
                </c:pt>
              </c:numCache>
            </c:numRef>
          </c:val>
          <c:extLst>
            <c:ext xmlns:c16="http://schemas.microsoft.com/office/drawing/2014/chart" uri="{C3380CC4-5D6E-409C-BE32-E72D297353CC}">
              <c16:uniqueId val="{00000001-4154-7549-B9D5-8EBF0074ABC2}"/>
            </c:ext>
          </c:extLst>
        </c:ser>
        <c:dLbls>
          <c:showLegendKey val="0"/>
          <c:showVal val="0"/>
          <c:showCatName val="0"/>
          <c:showSerName val="0"/>
          <c:showPercent val="0"/>
          <c:showBubbleSize val="0"/>
        </c:dLbls>
        <c:axId val="207378679"/>
        <c:axId val="207379007"/>
      </c:radarChart>
      <c:catAx>
        <c:axId val="2073786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ln>
                  <a:noFill/>
                </a:ln>
                <a:solidFill>
                  <a:schemeClr val="tx1"/>
                </a:solidFill>
                <a:latin typeface="+mn-lt"/>
                <a:ea typeface="+mn-ea"/>
                <a:cs typeface="+mn-cs"/>
              </a:defRPr>
            </a:pPr>
            <a:endParaRPr lang="en-US"/>
          </a:p>
        </c:txPr>
        <c:crossAx val="207379007"/>
        <c:crosses val="autoZero"/>
        <c:auto val="1"/>
        <c:lblAlgn val="ctr"/>
        <c:lblOffset val="100"/>
        <c:noMultiLvlLbl val="0"/>
      </c:catAx>
      <c:valAx>
        <c:axId val="207379007"/>
        <c:scaling>
          <c:orientation val="minMax"/>
        </c:scaling>
        <c:delete val="1"/>
        <c:axPos val="l"/>
        <c:majorGridlines>
          <c:spPr>
            <a:ln w="9525" cap="rnd" cmpd="sng" algn="ctr">
              <a:solidFill>
                <a:schemeClr val="tx1">
                  <a:lumMod val="15000"/>
                  <a:lumOff val="85000"/>
                </a:schemeClr>
              </a:solidFill>
              <a:bevel/>
            </a:ln>
            <a:effectLst/>
          </c:spPr>
        </c:majorGridlines>
        <c:numFmt formatCode="General" sourceLinked="1"/>
        <c:majorTickMark val="none"/>
        <c:minorTickMark val="none"/>
        <c:tickLblPos val="nextTo"/>
        <c:crossAx val="207378679"/>
        <c:crosses val="autoZero"/>
        <c:crossBetween val="between"/>
      </c:valAx>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61383478844864E-2"/>
          <c:y val="8.0016583747927028E-2"/>
          <c:w val="0.9650772330423103"/>
          <c:h val="0.83996683250414594"/>
        </c:manualLayout>
      </c:layout>
      <c:barChart>
        <c:barDir val="col"/>
        <c:grouping val="stacked"/>
        <c:varyColors val="0"/>
        <c:ser>
          <c:idx val="0"/>
          <c:order val="0"/>
          <c:spPr>
            <a:solidFill>
              <a:schemeClr val="accent1"/>
            </a:solidFill>
            <a:ln>
              <a:noFill/>
            </a:ln>
          </c:spPr>
          <c:invertIfNegative val="0"/>
          <c:dLbls>
            <c:dLbl>
              <c:idx val="0"/>
              <c:layout>
                <c:manualLayout>
                  <c:x val="0"/>
                  <c:y val="-9.6600331674958545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60-498C-BEA0-3186712D762A}"/>
                </c:ext>
              </c:extLst>
            </c:dLbl>
            <c:dLbl>
              <c:idx val="1"/>
              <c:layout>
                <c:manualLayout>
                  <c:x val="0"/>
                  <c:y val="-0.1285240464344941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60-498C-BEA0-3186712D76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c:v>
                </c:pt>
                <c:pt idx="1">
                  <c:v>12</c:v>
                </c:pt>
                <c:pt idx="2">
                  <c:v>29.49240780621767</c:v>
                </c:pt>
                <c:pt idx="3">
                  <c:v>52.737527102231979</c:v>
                </c:pt>
              </c:numCache>
            </c:numRef>
          </c:val>
          <c:extLst>
            <c:ext xmlns:c16="http://schemas.microsoft.com/office/drawing/2014/chart" uri="{C3380CC4-5D6E-409C-BE32-E72D297353CC}">
              <c16:uniqueId val="{00000002-7360-498C-BEA0-3186712D762A}"/>
            </c:ext>
          </c:extLst>
        </c:ser>
        <c:dLbls>
          <c:showLegendKey val="0"/>
          <c:showVal val="0"/>
          <c:showCatName val="0"/>
          <c:showSerName val="0"/>
          <c:showPercent val="0"/>
          <c:showBubbleSize val="0"/>
        </c:dLbls>
        <c:gapWidth val="80"/>
        <c:overlap val="100"/>
        <c:axId val="709213311"/>
        <c:axId val="1"/>
      </c:barChart>
      <c:catAx>
        <c:axId val="7092133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2.737527102231979"/>
          <c:min val="0"/>
        </c:scaling>
        <c:delete val="1"/>
        <c:axPos val="l"/>
        <c:numFmt formatCode="General" sourceLinked="1"/>
        <c:majorTickMark val="out"/>
        <c:minorTickMark val="none"/>
        <c:tickLblPos val="nextTo"/>
        <c:crossAx val="709213311"/>
        <c:crosses val="min"/>
        <c:crossBetween val="between"/>
      </c:valAx>
    </c:plotArea>
    <c:plotVisOnly val="0"/>
    <c:dispBlanksAs val="gap"/>
    <c:showDLblsOverMax val="1"/>
  </c:chart>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049180327868854E-2"/>
          <c:y val="0.41624365482233505"/>
          <c:w val="0.96590163934426232"/>
          <c:h val="0.34348561759729274"/>
        </c:manualLayout>
      </c:layout>
      <c:barChart>
        <c:barDir val="col"/>
        <c:grouping val="stacked"/>
        <c:varyColors val="0"/>
        <c:ser>
          <c:idx val="0"/>
          <c:order val="0"/>
          <c:spPr>
            <a:solidFill>
              <a:schemeClr val="accent1"/>
            </a:solidFill>
            <a:ln>
              <a:noFill/>
            </a:ln>
          </c:spPr>
          <c:invertIfNegative val="0"/>
          <c:dPt>
            <c:idx val="4"/>
            <c:invertIfNegative val="0"/>
            <c:bubble3D val="0"/>
            <c:spPr>
              <a:solidFill>
                <a:srgbClr val="C0C0C0"/>
              </a:solidFill>
              <a:ln>
                <a:noFill/>
              </a:ln>
            </c:spPr>
            <c:extLst>
              <c:ext xmlns:c16="http://schemas.microsoft.com/office/drawing/2014/chart" uri="{C3380CC4-5D6E-409C-BE32-E72D297353CC}">
                <c16:uniqueId val="{00000000-EA4A-4CE4-A29A-6B41AA98DD79}"/>
              </c:ext>
            </c:extLst>
          </c:dPt>
          <c:dLbls>
            <c:dLbl>
              <c:idx val="6"/>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A4A-4CE4-A29A-6B41AA98DD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0</c:v>
                </c:pt>
                <c:pt idx="1">
                  <c:v>0</c:v>
                </c:pt>
                <c:pt idx="2">
                  <c:v>0</c:v>
                </c:pt>
                <c:pt idx="3">
                  <c:v>39.6</c:v>
                </c:pt>
                <c:pt idx="4">
                  <c:v>150</c:v>
                </c:pt>
                <c:pt idx="6">
                  <c:v>121.4</c:v>
                </c:pt>
              </c:numCache>
            </c:numRef>
          </c:val>
          <c:extLst>
            <c:ext xmlns:c16="http://schemas.microsoft.com/office/drawing/2014/chart" uri="{C3380CC4-5D6E-409C-BE32-E72D297353CC}">
              <c16:uniqueId val="{00000002-EA4A-4CE4-A29A-6B41AA98DD79}"/>
            </c:ext>
          </c:extLst>
        </c:ser>
        <c:ser>
          <c:idx val="1"/>
          <c:order val="1"/>
          <c:spPr>
            <a:solidFill>
              <a:srgbClr val="969696"/>
            </a:solidFill>
            <a:ln>
              <a:noFill/>
            </a:ln>
          </c:spPr>
          <c:invertIfNegative val="0"/>
          <c:val>
            <c:numRef>
              <c:f>Sheet1!$A$2:$G$2</c:f>
              <c:numCache>
                <c:formatCode>General</c:formatCode>
                <c:ptCount val="7"/>
                <c:pt idx="4">
                  <c:v>2.6999999999999886</c:v>
                </c:pt>
              </c:numCache>
            </c:numRef>
          </c:val>
          <c:extLst>
            <c:ext xmlns:c16="http://schemas.microsoft.com/office/drawing/2014/chart" uri="{C3380CC4-5D6E-409C-BE32-E72D297353CC}">
              <c16:uniqueId val="{00000003-EA4A-4CE4-A29A-6B41AA98DD79}"/>
            </c:ext>
          </c:extLst>
        </c:ser>
        <c:dLbls>
          <c:showLegendKey val="0"/>
          <c:showVal val="0"/>
          <c:showCatName val="0"/>
          <c:showSerName val="0"/>
          <c:showPercent val="0"/>
          <c:showBubbleSize val="0"/>
        </c:dLbls>
        <c:gapWidth val="80"/>
        <c:overlap val="100"/>
        <c:axId val="989917904"/>
        <c:axId val="1"/>
      </c:barChart>
      <c:lineChart>
        <c:grouping val="standard"/>
        <c:varyColors val="0"/>
        <c:ser>
          <c:idx val="2"/>
          <c:order val="2"/>
          <c:spPr>
            <a:ln w="28575" cmpd="sng" algn="ctr">
              <a:solidFill>
                <a:schemeClr val="tx1"/>
              </a:solidFill>
              <a:prstDash val="solid"/>
            </a:ln>
          </c:spPr>
          <c:marker>
            <c:symbol val="none"/>
          </c:marker>
          <c:dPt>
            <c:idx val="0"/>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4-EA4A-4CE4-A29A-6B41AA98DD79}"/>
              </c:ext>
            </c:extLst>
          </c:dPt>
          <c:dPt>
            <c:idx val="1"/>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5-EA4A-4CE4-A29A-6B41AA98DD79}"/>
              </c:ext>
            </c:extLst>
          </c:dPt>
          <c:dPt>
            <c:idx val="2"/>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6-EA4A-4CE4-A29A-6B41AA98DD79}"/>
              </c:ext>
            </c:extLst>
          </c:dPt>
          <c:dPt>
            <c:idx val="3"/>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7-EA4A-4CE4-A29A-6B41AA98DD79}"/>
              </c:ext>
            </c:extLst>
          </c:dPt>
          <c:dPt>
            <c:idx val="4"/>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8-EA4A-4CE4-A29A-6B41AA98DD79}"/>
              </c:ext>
            </c:extLst>
          </c:dPt>
          <c:dPt>
            <c:idx val="5"/>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9-EA4A-4CE4-A29A-6B41AA98DD79}"/>
              </c:ext>
            </c:extLst>
          </c:dPt>
          <c:dPt>
            <c:idx val="6"/>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A-EA4A-4CE4-A29A-6B41AA98DD79}"/>
              </c:ext>
            </c:extLst>
          </c:dPt>
          <c:dLbls>
            <c:dLbl>
              <c:idx val="0"/>
              <c:layout>
                <c:manualLayout>
                  <c:x val="0"/>
                  <c:y val="-0.1759729272419627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A4A-4CE4-A29A-6B41AA98DD79}"/>
                </c:ext>
              </c:extLst>
            </c:dLbl>
            <c:dLbl>
              <c:idx val="1"/>
              <c:layout>
                <c:manualLayout>
                  <c:x val="0"/>
                  <c:y val="-0.1759729272419627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A4A-4CE4-A29A-6B41AA98DD79}"/>
                </c:ext>
              </c:extLst>
            </c:dLbl>
            <c:dLbl>
              <c:idx val="2"/>
              <c:layout>
                <c:manualLayout>
                  <c:x val="0"/>
                  <c:y val="-0.1759729272419627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A4A-4CE4-A29A-6B41AA98DD79}"/>
                </c:ext>
              </c:extLst>
            </c:dLbl>
            <c:dLbl>
              <c:idx val="3"/>
              <c:layout>
                <c:manualLayout>
                  <c:x val="0"/>
                  <c:y val="-0.1759729272419627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A4A-4CE4-A29A-6B41AA98DD79}"/>
                </c:ext>
              </c:extLst>
            </c:dLbl>
            <c:dLbl>
              <c:idx val="4"/>
              <c:layout>
                <c:manualLayout>
                  <c:x val="0"/>
                  <c:y val="-0.1759729272419627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A4A-4CE4-A29A-6B41AA98DD79}"/>
                </c:ext>
              </c:extLst>
            </c:dLbl>
            <c:dLbl>
              <c:idx val="5"/>
              <c:layout>
                <c:manualLayout>
                  <c:x val="0"/>
                  <c:y val="-0.1759729272419627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A4A-4CE4-A29A-6B41AA98DD79}"/>
                </c:ext>
              </c:extLst>
            </c:dLbl>
            <c:dLbl>
              <c:idx val="6"/>
              <c:layout>
                <c:manualLayout>
                  <c:x val="0"/>
                  <c:y val="-0.1759729272419627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A4A-4CE4-A29A-6B41AA98DD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5</c:v>
                </c:pt>
                <c:pt idx="1">
                  <c:v>10</c:v>
                </c:pt>
                <c:pt idx="2">
                  <c:v>30</c:v>
                </c:pt>
                <c:pt idx="3">
                  <c:v>60</c:v>
                </c:pt>
                <c:pt idx="4">
                  <c:v>70</c:v>
                </c:pt>
                <c:pt idx="5">
                  <c:v>67</c:v>
                </c:pt>
                <c:pt idx="6">
                  <c:v>75</c:v>
                </c:pt>
              </c:numCache>
            </c:numRef>
          </c:val>
          <c:smooth val="0"/>
          <c:extLst>
            <c:ext xmlns:c16="http://schemas.microsoft.com/office/drawing/2014/chart" uri="{C3380CC4-5D6E-409C-BE32-E72D297353CC}">
              <c16:uniqueId val="{0000000B-EA4A-4CE4-A29A-6B41AA98DD79}"/>
            </c:ext>
          </c:extLst>
        </c:ser>
        <c:dLbls>
          <c:showLegendKey val="0"/>
          <c:showVal val="0"/>
          <c:showCatName val="0"/>
          <c:showSerName val="0"/>
          <c:showPercent val="0"/>
          <c:showBubbleSize val="0"/>
        </c:dLbls>
        <c:marker val="1"/>
        <c:smooth val="0"/>
        <c:axId val="2"/>
        <c:axId val="3"/>
      </c:lineChart>
      <c:catAx>
        <c:axId val="9899179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General" sourceLinked="1"/>
        <c:majorTickMark val="out"/>
        <c:minorTickMark val="none"/>
        <c:tickLblPos val="none"/>
        <c:spPr>
          <a:ln w="9525" cmpd="sng" algn="ctr">
            <a:solidFill>
              <a:srgbClr val="D2F1EE"/>
            </a:solidFill>
            <a:prstDash val="solid"/>
          </a:ln>
        </c:spPr>
        <c:txPr>
          <a:bodyPr wrap="none"/>
          <a:lstStyle/>
          <a:p>
            <a:pPr>
              <a:defRPr sz="1000" kern="1200">
                <a:latin typeface="+mn-lt"/>
                <a:ea typeface="+mn-ea"/>
                <a:cs typeface="+mn-cs"/>
              </a:defRPr>
            </a:pPr>
            <a:endParaRPr lang="en-US"/>
          </a:p>
        </c:txPr>
        <c:crossAx val="989917904"/>
        <c:crosses val="min"/>
        <c:crossBetween val="between"/>
        <c:majorUnit val="2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75"/>
          <c:min val="0"/>
        </c:scaling>
        <c:delete val="0"/>
        <c:axPos val="r"/>
        <c:majorGridlines>
          <c:spPr>
            <a:ln>
              <a:noFill/>
            </a:ln>
          </c:spPr>
        </c:majorGridlines>
        <c:numFmt formatCode="General" sourceLinked="1"/>
        <c:majorTickMark val="out"/>
        <c:minorTickMark val="none"/>
        <c:tickLblPos val="none"/>
        <c:spPr>
          <a:ln w="9525" cmpd="sng" algn="ctr">
            <a:solidFill>
              <a:srgbClr val="D2F1EE"/>
            </a:solidFill>
            <a:prstDash val="solid"/>
          </a:ln>
        </c:spPr>
        <c:txPr>
          <a:bodyPr wrap="none"/>
          <a:lstStyle/>
          <a:p>
            <a:pPr>
              <a:defRPr sz="1000" kern="1200">
                <a:latin typeface="+mn-lt"/>
                <a:ea typeface="+mn-ea"/>
                <a:cs typeface="+mn-cs"/>
              </a:defRPr>
            </a:pPr>
            <a:endParaRPr lang="en-US"/>
          </a:p>
        </c:txPr>
        <c:crossAx val="2"/>
        <c:crosses val="max"/>
        <c:crossBetween val="between"/>
        <c:majorUnit val="50"/>
      </c:valAx>
    </c:plotArea>
    <c:plotVisOnly val="0"/>
    <c:dispBlanksAs val="gap"/>
    <c:showDLblsOverMax val="1"/>
  </c:chart>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049180327868854E-2"/>
          <c:y val="0.24773413897280966"/>
          <c:w val="0.96590163934426232"/>
          <c:h val="0.60926485397784491"/>
        </c:manualLayout>
      </c:layout>
      <c:barChart>
        <c:barDir val="col"/>
        <c:grouping val="stacked"/>
        <c:varyColors val="0"/>
        <c:ser>
          <c:idx val="0"/>
          <c:order val="0"/>
          <c:spPr>
            <a:solidFill>
              <a:srgbClr val="969696"/>
            </a:solidFill>
            <a:ln>
              <a:noFill/>
            </a:ln>
          </c:spPr>
          <c:invertIfNegative val="0"/>
          <c:dPt>
            <c:idx val="3"/>
            <c:invertIfNegative val="0"/>
            <c:bubble3D val="0"/>
            <c:spPr>
              <a:solidFill>
                <a:schemeClr val="accent1"/>
              </a:solidFill>
              <a:ln>
                <a:noFill/>
              </a:ln>
            </c:spPr>
            <c:extLst>
              <c:ext xmlns:c16="http://schemas.microsoft.com/office/drawing/2014/chart" uri="{C3380CC4-5D6E-409C-BE32-E72D297353CC}">
                <c16:uniqueId val="{00000000-A3F7-4272-B066-E738AC1A1CF0}"/>
              </c:ext>
            </c:extLst>
          </c:dPt>
          <c:dLbls>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3F7-4272-B066-E738AC1A1C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1">
                  <c:v>5.0999999999999996</c:v>
                </c:pt>
                <c:pt idx="3">
                  <c:v>1800</c:v>
                </c:pt>
              </c:numCache>
            </c:numRef>
          </c:val>
          <c:extLst>
            <c:ext xmlns:c16="http://schemas.microsoft.com/office/drawing/2014/chart" uri="{C3380CC4-5D6E-409C-BE32-E72D297353CC}">
              <c16:uniqueId val="{00000001-A3F7-4272-B066-E738AC1A1CF0}"/>
            </c:ext>
          </c:extLst>
        </c:ser>
        <c:ser>
          <c:idx val="1"/>
          <c:order val="1"/>
          <c:spPr>
            <a:solidFill>
              <a:schemeClr val="accent1"/>
            </a:solidFill>
            <a:ln>
              <a:noFill/>
            </a:ln>
          </c:spPr>
          <c:invertIfNegative val="0"/>
          <c:val>
            <c:numRef>
              <c:f>Sheet1!$A$2:$G$2</c:f>
              <c:numCache>
                <c:formatCode>General</c:formatCode>
                <c:ptCount val="7"/>
                <c:pt idx="1">
                  <c:v>84</c:v>
                </c:pt>
              </c:numCache>
            </c:numRef>
          </c:val>
          <c:extLst>
            <c:ext xmlns:c16="http://schemas.microsoft.com/office/drawing/2014/chart" uri="{C3380CC4-5D6E-409C-BE32-E72D297353CC}">
              <c16:uniqueId val="{00000002-A3F7-4272-B066-E738AC1A1CF0}"/>
            </c:ext>
          </c:extLst>
        </c:ser>
        <c:dLbls>
          <c:showLegendKey val="0"/>
          <c:showVal val="0"/>
          <c:showCatName val="0"/>
          <c:showSerName val="0"/>
          <c:showPercent val="0"/>
          <c:showBubbleSize val="0"/>
        </c:dLbls>
        <c:gapWidth val="80"/>
        <c:overlap val="100"/>
        <c:axId val="928747072"/>
        <c:axId val="1"/>
      </c:barChart>
      <c:lineChart>
        <c:grouping val="standard"/>
        <c:varyColors val="0"/>
        <c:ser>
          <c:idx val="2"/>
          <c:order val="2"/>
          <c:spPr>
            <a:ln w="28575" cmpd="sng" algn="ctr">
              <a:solidFill>
                <a:schemeClr val="tx1"/>
              </a:solidFill>
              <a:prstDash val="solid"/>
            </a:ln>
          </c:spPr>
          <c:marker>
            <c:symbol val="none"/>
          </c:marker>
          <c:dPt>
            <c:idx val="0"/>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3-A3F7-4272-B066-E738AC1A1CF0}"/>
              </c:ext>
            </c:extLst>
          </c:dPt>
          <c:dPt>
            <c:idx val="1"/>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4-A3F7-4272-B066-E738AC1A1CF0}"/>
              </c:ext>
            </c:extLst>
          </c:dPt>
          <c:dPt>
            <c:idx val="2"/>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5-A3F7-4272-B066-E738AC1A1CF0}"/>
              </c:ext>
            </c:extLst>
          </c:dPt>
          <c:dPt>
            <c:idx val="3"/>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6-A3F7-4272-B066-E738AC1A1CF0}"/>
              </c:ext>
            </c:extLst>
          </c:dPt>
          <c:dPt>
            <c:idx val="4"/>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7-A3F7-4272-B066-E738AC1A1CF0}"/>
              </c:ext>
            </c:extLst>
          </c:dPt>
          <c:dPt>
            <c:idx val="5"/>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8-A3F7-4272-B066-E738AC1A1CF0}"/>
              </c:ext>
            </c:extLst>
          </c:dPt>
          <c:dPt>
            <c:idx val="6"/>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9-A3F7-4272-B066-E738AC1A1CF0}"/>
              </c:ext>
            </c:extLst>
          </c:dPt>
          <c:dLbls>
            <c:dLbl>
              <c:idx val="0"/>
              <c:layout>
                <c:manualLayout>
                  <c:x val="0"/>
                  <c:y val="-0.1047331319234642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3F7-4272-B066-E738AC1A1CF0}"/>
                </c:ext>
              </c:extLst>
            </c:dLbl>
            <c:dLbl>
              <c:idx val="1"/>
              <c:layout>
                <c:manualLayout>
                  <c:x val="0"/>
                  <c:y val="-0.1047331319234642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3F7-4272-B066-E738AC1A1CF0}"/>
                </c:ext>
              </c:extLst>
            </c:dLbl>
            <c:dLbl>
              <c:idx val="2"/>
              <c:layout>
                <c:manualLayout>
                  <c:x val="0"/>
                  <c:y val="-0.1047331319234642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3F7-4272-B066-E738AC1A1CF0}"/>
                </c:ext>
              </c:extLst>
            </c:dLbl>
            <c:dLbl>
              <c:idx val="4"/>
              <c:layout>
                <c:manualLayout>
                  <c:x val="0"/>
                  <c:y val="-0.1047331319234642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3F7-4272-B066-E738AC1A1CF0}"/>
                </c:ext>
              </c:extLst>
            </c:dLbl>
            <c:dLbl>
              <c:idx val="5"/>
              <c:layout>
                <c:manualLayout>
                  <c:x val="0"/>
                  <c:y val="-0.1047331319234642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3F7-4272-B066-E738AC1A1CF0}"/>
                </c:ext>
              </c:extLst>
            </c:dLbl>
            <c:dLbl>
              <c:idx val="6"/>
              <c:layout>
                <c:manualLayout>
                  <c:x val="0"/>
                  <c:y val="-0.1047331319234642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3F7-4272-B066-E738AC1A1C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25</c:v>
                </c:pt>
                <c:pt idx="1">
                  <c:v>115</c:v>
                </c:pt>
                <c:pt idx="2">
                  <c:v>150</c:v>
                </c:pt>
                <c:pt idx="3">
                  <c:v>275</c:v>
                </c:pt>
                <c:pt idx="4">
                  <c:v>500</c:v>
                </c:pt>
                <c:pt idx="5">
                  <c:v>1000</c:v>
                </c:pt>
                <c:pt idx="6">
                  <c:v>1000</c:v>
                </c:pt>
              </c:numCache>
            </c:numRef>
          </c:val>
          <c:smooth val="0"/>
          <c:extLst>
            <c:ext xmlns:c16="http://schemas.microsoft.com/office/drawing/2014/chart" uri="{C3380CC4-5D6E-409C-BE32-E72D297353CC}">
              <c16:uniqueId val="{0000000A-A3F7-4272-B066-E738AC1A1CF0}"/>
            </c:ext>
          </c:extLst>
        </c:ser>
        <c:dLbls>
          <c:showLegendKey val="0"/>
          <c:showVal val="0"/>
          <c:showCatName val="0"/>
          <c:showSerName val="0"/>
          <c:showPercent val="0"/>
          <c:showBubbleSize val="0"/>
        </c:dLbls>
        <c:marker val="1"/>
        <c:smooth val="0"/>
        <c:axId val="2"/>
        <c:axId val="3"/>
      </c:lineChart>
      <c:catAx>
        <c:axId val="9287470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General" sourceLinked="1"/>
        <c:majorTickMark val="out"/>
        <c:minorTickMark val="none"/>
        <c:tickLblPos val="none"/>
        <c:spPr>
          <a:ln w="9525" cmpd="sng" algn="ctr">
            <a:solidFill>
              <a:srgbClr val="D2F1EE"/>
            </a:solidFill>
            <a:prstDash val="solid"/>
          </a:ln>
        </c:spPr>
        <c:txPr>
          <a:bodyPr wrap="none"/>
          <a:lstStyle/>
          <a:p>
            <a:pPr>
              <a:defRPr sz="1000" kern="1200">
                <a:latin typeface="+mn-lt"/>
                <a:ea typeface="+mn-ea"/>
                <a:cs typeface="+mn-cs"/>
              </a:defRPr>
            </a:pPr>
            <a:endParaRPr lang="en-US"/>
          </a:p>
        </c:txPr>
        <c:crossAx val="928747072"/>
        <c:crosses val="min"/>
        <c:crossBetween val="between"/>
        <c:majorUnit val="5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000"/>
          <c:min val="0"/>
        </c:scaling>
        <c:delete val="0"/>
        <c:axPos val="r"/>
        <c:majorGridlines>
          <c:spPr>
            <a:ln>
              <a:noFill/>
            </a:ln>
          </c:spPr>
        </c:majorGridlines>
        <c:numFmt formatCode="General" sourceLinked="1"/>
        <c:majorTickMark val="out"/>
        <c:minorTickMark val="none"/>
        <c:tickLblPos val="none"/>
        <c:spPr>
          <a:ln w="9525" cmpd="sng" algn="ctr">
            <a:solidFill>
              <a:srgbClr val="D2F1EE"/>
            </a:solidFill>
            <a:prstDash val="solid"/>
          </a:ln>
        </c:spPr>
        <c:txPr>
          <a:bodyPr wrap="none"/>
          <a:lstStyle/>
          <a:p>
            <a:pPr>
              <a:defRPr sz="1000" kern="1200">
                <a:latin typeface="+mn-lt"/>
                <a:ea typeface="+mn-ea"/>
                <a:cs typeface="+mn-cs"/>
              </a:defRPr>
            </a:pPr>
            <a:endParaRPr lang="en-US"/>
          </a:p>
        </c:txPr>
        <c:crossAx val="2"/>
        <c:crosses val="max"/>
        <c:crossBetween val="between"/>
        <c:majorUnit val="200"/>
      </c:valAx>
    </c:plotArea>
    <c:plotVisOnly val="0"/>
    <c:dispBlanksAs val="gap"/>
    <c:showDLblsOverMax val="1"/>
  </c:chart>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169014084507043E-2"/>
          <c:y val="0.11102423768569195"/>
          <c:w val="0.94366197183098588"/>
          <c:h val="0.77795152462861605"/>
        </c:manualLayout>
      </c:layout>
      <c:barChart>
        <c:barDir val="col"/>
        <c:grouping val="stacked"/>
        <c:varyColors val="0"/>
        <c:ser>
          <c:idx val="0"/>
          <c:order val="0"/>
          <c:spPr>
            <a:solidFill>
              <a:srgbClr val="C30C3E"/>
            </a:solidFill>
            <a:ln>
              <a:noFill/>
            </a:ln>
          </c:spPr>
          <c:invertIfNegative val="0"/>
          <c:dPt>
            <c:idx val="0"/>
            <c:invertIfNegative val="0"/>
            <c:bubble3D val="0"/>
            <c:spPr>
              <a:solidFill>
                <a:srgbClr val="4C6C9C"/>
              </a:solidFill>
              <a:ln>
                <a:noFill/>
              </a:ln>
            </c:spPr>
            <c:extLst>
              <c:ext xmlns:c16="http://schemas.microsoft.com/office/drawing/2014/chart" uri="{C3380CC4-5D6E-409C-BE32-E72D297353CC}">
                <c16:uniqueId val="{00000000-7AC6-4A86-8124-B8ECB994EC4C}"/>
              </c:ext>
            </c:extLst>
          </c:dPt>
          <c:dPt>
            <c:idx val="1"/>
            <c:invertIfNegative val="0"/>
            <c:bubble3D val="0"/>
            <c:spPr>
              <a:solidFill>
                <a:srgbClr val="4C6C9C"/>
              </a:solidFill>
              <a:ln>
                <a:noFill/>
              </a:ln>
            </c:spPr>
            <c:extLst>
              <c:ext xmlns:c16="http://schemas.microsoft.com/office/drawing/2014/chart" uri="{C3380CC4-5D6E-409C-BE32-E72D297353CC}">
                <c16:uniqueId val="{00000001-7AC6-4A86-8124-B8ECB994EC4C}"/>
              </c:ext>
            </c:extLst>
          </c:dPt>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AC6-4A86-8124-B8ECB994EC4C}"/>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AC6-4A86-8124-B8ECB994EC4C}"/>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AC6-4A86-8124-B8ECB994EC4C}"/>
                </c:ext>
              </c:extLst>
            </c:dLbl>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AC6-4A86-8124-B8ECB994EC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63</c:v>
                </c:pt>
                <c:pt idx="1">
                  <c:v>763</c:v>
                </c:pt>
                <c:pt idx="2">
                  <c:v>1300</c:v>
                </c:pt>
                <c:pt idx="3">
                  <c:v>1300</c:v>
                </c:pt>
              </c:numCache>
            </c:numRef>
          </c:val>
          <c:extLst>
            <c:ext xmlns:c16="http://schemas.microsoft.com/office/drawing/2014/chart" uri="{C3380CC4-5D6E-409C-BE32-E72D297353CC}">
              <c16:uniqueId val="{00000004-7AC6-4A86-8124-B8ECB994EC4C}"/>
            </c:ext>
          </c:extLst>
        </c:ser>
        <c:ser>
          <c:idx val="1"/>
          <c:order val="1"/>
          <c:spPr>
            <a:solidFill>
              <a:srgbClr val="DFE5EF"/>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5-7AC6-4A86-8124-B8ECB994EC4C}"/>
              </c:ext>
            </c:extLst>
          </c:dPt>
          <c:dPt>
            <c:idx val="1"/>
            <c:invertIfNegative val="0"/>
            <c:bubble3D val="0"/>
            <c:spPr>
              <a:solidFill>
                <a:schemeClr val="accent1"/>
              </a:solidFill>
              <a:ln>
                <a:noFill/>
              </a:ln>
            </c:spPr>
            <c:extLst>
              <c:ext xmlns:c16="http://schemas.microsoft.com/office/drawing/2014/chart" uri="{C3380CC4-5D6E-409C-BE32-E72D297353CC}">
                <c16:uniqueId val="{00000006-7AC6-4A86-8124-B8ECB994EC4C}"/>
              </c:ext>
            </c:extLst>
          </c:dPt>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AC6-4A86-8124-B8ECB994EC4C}"/>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AC6-4A86-8124-B8ECB994EC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871.42857142857156</c:v>
                </c:pt>
                <c:pt idx="1">
                  <c:v>871.42857142857156</c:v>
                </c:pt>
                <c:pt idx="2">
                  <c:v>0</c:v>
                </c:pt>
                <c:pt idx="3">
                  <c:v>225</c:v>
                </c:pt>
              </c:numCache>
            </c:numRef>
          </c:val>
          <c:extLst>
            <c:ext xmlns:c16="http://schemas.microsoft.com/office/drawing/2014/chart" uri="{C3380CC4-5D6E-409C-BE32-E72D297353CC}">
              <c16:uniqueId val="{00000007-7AC6-4A86-8124-B8ECB994EC4C}"/>
            </c:ext>
          </c:extLst>
        </c:ser>
        <c:ser>
          <c:idx val="2"/>
          <c:order val="2"/>
          <c:spPr>
            <a:solidFill>
              <a:srgbClr val="4C6C9C"/>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8-7AC6-4A86-8124-B8ECB994EC4C}"/>
              </c:ext>
            </c:extLst>
          </c:dPt>
          <c:dPt>
            <c:idx val="1"/>
            <c:invertIfNegative val="0"/>
            <c:bubble3D val="0"/>
            <c:spPr>
              <a:solidFill>
                <a:srgbClr val="DFE5EF"/>
              </a:solidFill>
              <a:ln>
                <a:noFill/>
              </a:ln>
            </c:spPr>
            <c:extLst>
              <c:ext xmlns:c16="http://schemas.microsoft.com/office/drawing/2014/chart" uri="{C3380CC4-5D6E-409C-BE32-E72D297353CC}">
                <c16:uniqueId val="{00000009-7AC6-4A86-8124-B8ECB994EC4C}"/>
              </c:ext>
            </c:extLst>
          </c:dPt>
          <c:dLbls>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AC6-4A86-8124-B8ECB994EC4C}"/>
                </c:ext>
              </c:extLst>
            </c:dLbl>
            <c:dLbl>
              <c:idx val="3"/>
              <c:layout>
                <c:manualLayout>
                  <c:x val="0"/>
                  <c:y val="-7.8186082877247849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AC6-4A86-8124-B8ECB994EC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0</c:v>
                </c:pt>
                <c:pt idx="2">
                  <c:v>1143</c:v>
                </c:pt>
                <c:pt idx="3">
                  <c:v>1480</c:v>
                </c:pt>
              </c:numCache>
            </c:numRef>
          </c:val>
          <c:extLst>
            <c:ext xmlns:c16="http://schemas.microsoft.com/office/drawing/2014/chart" uri="{C3380CC4-5D6E-409C-BE32-E72D297353CC}">
              <c16:uniqueId val="{0000000C-7AC6-4A86-8124-B8ECB994EC4C}"/>
            </c:ext>
          </c:extLst>
        </c:ser>
        <c:ser>
          <c:idx val="3"/>
          <c:order val="3"/>
          <c:spPr>
            <a:solidFill>
              <a:srgbClr val="C30C3E"/>
            </a:solidFill>
            <a:ln>
              <a:noFill/>
            </a:ln>
          </c:spPr>
          <c:invertIfNegative val="0"/>
          <c:dPt>
            <c:idx val="2"/>
            <c:invertIfNegative val="0"/>
            <c:bubble3D val="0"/>
            <c:spPr>
              <a:solidFill>
                <a:schemeClr val="accent1"/>
              </a:solidFill>
              <a:ln>
                <a:noFill/>
              </a:ln>
            </c:spPr>
            <c:extLst>
              <c:ext xmlns:c16="http://schemas.microsoft.com/office/drawing/2014/chart" uri="{C3380CC4-5D6E-409C-BE32-E72D297353CC}">
                <c16:uniqueId val="{0000000D-7AC6-4A86-8124-B8ECB994EC4C}"/>
              </c:ext>
            </c:extLst>
          </c:dPt>
          <c:dPt>
            <c:idx val="3"/>
            <c:invertIfNegative val="0"/>
            <c:bubble3D val="0"/>
            <c:spPr>
              <a:solidFill>
                <a:schemeClr val="accent1"/>
              </a:solidFill>
              <a:ln>
                <a:noFill/>
              </a:ln>
            </c:spPr>
            <c:extLst>
              <c:ext xmlns:c16="http://schemas.microsoft.com/office/drawing/2014/chart" uri="{C3380CC4-5D6E-409C-BE32-E72D297353CC}">
                <c16:uniqueId val="{0000000E-7AC6-4A86-8124-B8ECB994EC4C}"/>
              </c:ext>
            </c:extLst>
          </c:dPt>
          <c:dLbls>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AC6-4A86-8124-B8ECB994EC4C}"/>
                </c:ext>
              </c:extLst>
            </c:dLbl>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AC6-4A86-8124-B8ECB994EC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0</c:v>
                </c:pt>
                <c:pt idx="1">
                  <c:v>0</c:v>
                </c:pt>
                <c:pt idx="2">
                  <c:v>945.42857142857156</c:v>
                </c:pt>
                <c:pt idx="3">
                  <c:v>945.42857142857156</c:v>
                </c:pt>
              </c:numCache>
            </c:numRef>
          </c:val>
          <c:extLst>
            <c:ext xmlns:c16="http://schemas.microsoft.com/office/drawing/2014/chart" uri="{C3380CC4-5D6E-409C-BE32-E72D297353CC}">
              <c16:uniqueId val="{0000000F-7AC6-4A86-8124-B8ECB994EC4C}"/>
            </c:ext>
          </c:extLst>
        </c:ser>
        <c:dLbls>
          <c:showLegendKey val="0"/>
          <c:showVal val="0"/>
          <c:showCatName val="0"/>
          <c:showSerName val="0"/>
          <c:showPercent val="0"/>
          <c:showBubbleSize val="0"/>
        </c:dLbls>
        <c:gapWidth val="80"/>
        <c:overlap val="100"/>
        <c:axId val="1418158895"/>
        <c:axId val="1"/>
      </c:barChart>
      <c:catAx>
        <c:axId val="14181588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50.4285714285716"/>
          <c:min val="0"/>
        </c:scaling>
        <c:delete val="1"/>
        <c:axPos val="l"/>
        <c:numFmt formatCode="General" sourceLinked="1"/>
        <c:majorTickMark val="out"/>
        <c:minorTickMark val="none"/>
        <c:tickLblPos val="nextTo"/>
        <c:crossAx val="1418158895"/>
        <c:crosses val="min"/>
        <c:crossBetween val="between"/>
      </c:valAx>
    </c:plotArea>
    <c:plotVisOnly val="0"/>
    <c:dispBlanksAs val="gap"/>
    <c:showDLblsOverMax val="1"/>
  </c:chart>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169014084507043E-2"/>
          <c:y val="0.11102423768569195"/>
          <c:w val="0.94366197183098588"/>
          <c:h val="0.77795152462861605"/>
        </c:manualLayout>
      </c:layout>
      <c:barChart>
        <c:barDir val="col"/>
        <c:grouping val="stacked"/>
        <c:varyColors val="0"/>
        <c:ser>
          <c:idx val="0"/>
          <c:order val="0"/>
          <c:spPr>
            <a:solidFill>
              <a:srgbClr val="C30C3E"/>
            </a:solidFill>
            <a:ln>
              <a:noFill/>
            </a:ln>
          </c:spPr>
          <c:invertIfNegative val="0"/>
          <c:dPt>
            <c:idx val="0"/>
            <c:invertIfNegative val="0"/>
            <c:bubble3D val="0"/>
            <c:spPr>
              <a:solidFill>
                <a:srgbClr val="4C6C9C"/>
              </a:solidFill>
              <a:ln>
                <a:noFill/>
              </a:ln>
            </c:spPr>
            <c:extLst>
              <c:ext xmlns:c16="http://schemas.microsoft.com/office/drawing/2014/chart" uri="{C3380CC4-5D6E-409C-BE32-E72D297353CC}">
                <c16:uniqueId val="{00000000-DF50-4783-B9C2-80C910541D85}"/>
              </c:ext>
            </c:extLst>
          </c:dPt>
          <c:dLbls>
            <c:dLbl>
              <c:idx val="0"/>
              <c:layout>
                <c:manualLayout>
                  <c:x val="0"/>
                  <c:y val="-0.315871774824081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F50-4783-B9C2-80C910541D85}"/>
                </c:ext>
              </c:extLst>
            </c:dLbl>
            <c:dLbl>
              <c:idx val="2"/>
              <c:layout>
                <c:manualLayout>
                  <c:x val="0"/>
                  <c:y val="-7.8186082877247849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F50-4783-B9C2-80C910541D85}"/>
                </c:ext>
              </c:extLst>
            </c:dLbl>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F50-4783-B9C2-80C910541D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700</c:v>
                </c:pt>
                <c:pt idx="1">
                  <c:v>300</c:v>
                </c:pt>
                <c:pt idx="2">
                  <c:v>900</c:v>
                </c:pt>
                <c:pt idx="3">
                  <c:v>1200</c:v>
                </c:pt>
              </c:numCache>
            </c:numRef>
          </c:val>
          <c:extLst>
            <c:ext xmlns:c16="http://schemas.microsoft.com/office/drawing/2014/chart" uri="{C3380CC4-5D6E-409C-BE32-E72D297353CC}">
              <c16:uniqueId val="{00000003-DF50-4783-B9C2-80C910541D85}"/>
            </c:ext>
          </c:extLst>
        </c:ser>
        <c:ser>
          <c:idx val="1"/>
          <c:order val="1"/>
          <c:spPr>
            <a:solidFill>
              <a:srgbClr val="4C6C9C"/>
            </a:solidFill>
            <a:ln>
              <a:noFill/>
            </a:ln>
          </c:spPr>
          <c:invertIfNegative val="0"/>
          <c:dPt>
            <c:idx val="1"/>
            <c:invertIfNegative val="0"/>
            <c:bubble3D val="0"/>
            <c:spPr>
              <a:solidFill>
                <a:srgbClr val="DFE5EF"/>
              </a:solidFill>
              <a:ln>
                <a:noFill/>
              </a:ln>
            </c:spPr>
            <c:extLst>
              <c:ext xmlns:c16="http://schemas.microsoft.com/office/drawing/2014/chart" uri="{C3380CC4-5D6E-409C-BE32-E72D297353CC}">
                <c16:uniqueId val="{00000004-DF50-4783-B9C2-80C910541D85}"/>
              </c:ext>
            </c:extLst>
          </c:dPt>
          <c:dLbls>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F50-4783-B9C2-80C910541D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50</c:v>
                </c:pt>
                <c:pt idx="2">
                  <c:v>200</c:v>
                </c:pt>
                <c:pt idx="3">
                  <c:v>1300</c:v>
                </c:pt>
              </c:numCache>
            </c:numRef>
          </c:val>
          <c:extLst>
            <c:ext xmlns:c16="http://schemas.microsoft.com/office/drawing/2014/chart" uri="{C3380CC4-5D6E-409C-BE32-E72D297353CC}">
              <c16:uniqueId val="{00000006-DF50-4783-B9C2-80C910541D85}"/>
            </c:ext>
          </c:extLst>
        </c:ser>
        <c:ser>
          <c:idx val="2"/>
          <c:order val="2"/>
          <c:spPr>
            <a:solidFill>
              <a:srgbClr val="4C6C9C"/>
            </a:solidFill>
            <a:ln>
              <a:noFill/>
            </a:ln>
          </c:spPr>
          <c:invertIfNegative val="0"/>
          <c:dPt>
            <c:idx val="3"/>
            <c:invertIfNegative val="0"/>
            <c:bubble3D val="0"/>
            <c:spPr>
              <a:solidFill>
                <a:schemeClr val="accent1"/>
              </a:solidFill>
              <a:ln>
                <a:noFill/>
              </a:ln>
            </c:spPr>
            <c:extLst>
              <c:ext xmlns:c16="http://schemas.microsoft.com/office/drawing/2014/chart" uri="{C3380CC4-5D6E-409C-BE32-E72D297353CC}">
                <c16:uniqueId val="{00000007-DF50-4783-B9C2-80C910541D85}"/>
              </c:ext>
            </c:extLst>
          </c:dPt>
          <c:val>
            <c:numRef>
              <c:f>Sheet1!$A$3:$D$3</c:f>
              <c:numCache>
                <c:formatCode>General</c:formatCode>
                <c:ptCount val="4"/>
                <c:pt idx="1">
                  <c:v>400</c:v>
                </c:pt>
                <c:pt idx="3">
                  <c:v>50</c:v>
                </c:pt>
              </c:numCache>
            </c:numRef>
          </c:val>
          <c:extLst>
            <c:ext xmlns:c16="http://schemas.microsoft.com/office/drawing/2014/chart" uri="{C3380CC4-5D6E-409C-BE32-E72D297353CC}">
              <c16:uniqueId val="{00000008-DF50-4783-B9C2-80C910541D85}"/>
            </c:ext>
          </c:extLst>
        </c:ser>
        <c:ser>
          <c:idx val="3"/>
          <c:order val="3"/>
          <c:spPr>
            <a:solidFill>
              <a:schemeClr val="accent1"/>
            </a:solidFill>
            <a:ln>
              <a:noFill/>
            </a:ln>
          </c:spPr>
          <c:invertIfNegative val="0"/>
          <c:val>
            <c:numRef>
              <c:f>Sheet1!$A$4:$D$4</c:f>
              <c:numCache>
                <c:formatCode>General</c:formatCode>
                <c:ptCount val="4"/>
                <c:pt idx="1">
                  <c:v>100</c:v>
                </c:pt>
              </c:numCache>
            </c:numRef>
          </c:val>
          <c:extLst>
            <c:ext xmlns:c16="http://schemas.microsoft.com/office/drawing/2014/chart" uri="{C3380CC4-5D6E-409C-BE32-E72D297353CC}">
              <c16:uniqueId val="{00000009-DF50-4783-B9C2-80C910541D85}"/>
            </c:ext>
          </c:extLst>
        </c:ser>
        <c:dLbls>
          <c:showLegendKey val="0"/>
          <c:showVal val="0"/>
          <c:showCatName val="0"/>
          <c:showSerName val="0"/>
          <c:showPercent val="0"/>
          <c:showBubbleSize val="0"/>
        </c:dLbls>
        <c:gapWidth val="80"/>
        <c:overlap val="100"/>
        <c:axId val="1361853040"/>
        <c:axId val="1"/>
      </c:barChart>
      <c:catAx>
        <c:axId val="13618530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50.4285714285716"/>
          <c:min val="0"/>
        </c:scaling>
        <c:delete val="1"/>
        <c:axPos val="l"/>
        <c:numFmt formatCode="General" sourceLinked="1"/>
        <c:majorTickMark val="out"/>
        <c:minorTickMark val="none"/>
        <c:tickLblPos val="nextTo"/>
        <c:crossAx val="1361853040"/>
        <c:crosses val="min"/>
        <c:crossBetween val="between"/>
      </c:valAx>
    </c:plotArea>
    <c:plotVisOnly val="0"/>
    <c:dispBlanksAs val="gap"/>
    <c:showDLblsOverMax val="1"/>
  </c:chart>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169014084507043E-2"/>
          <c:y val="0.11102423768569195"/>
          <c:w val="0.94366197183098588"/>
          <c:h val="0.77795152462861605"/>
        </c:manualLayout>
      </c:layout>
      <c:barChart>
        <c:barDir val="col"/>
        <c:grouping val="stacked"/>
        <c:varyColors val="0"/>
        <c:ser>
          <c:idx val="0"/>
          <c:order val="0"/>
          <c:spPr>
            <a:solidFill>
              <a:srgbClr val="DFE5EF"/>
            </a:solidFill>
            <a:ln>
              <a:noFill/>
            </a:ln>
          </c:spPr>
          <c:invertIfNegative val="0"/>
          <c:dPt>
            <c:idx val="0"/>
            <c:invertIfNegative val="0"/>
            <c:bubble3D val="0"/>
            <c:spPr>
              <a:solidFill>
                <a:srgbClr val="4C6C9C"/>
              </a:solidFill>
              <a:ln>
                <a:noFill/>
              </a:ln>
            </c:spPr>
            <c:extLst>
              <c:ext xmlns:c16="http://schemas.microsoft.com/office/drawing/2014/chart" uri="{C3380CC4-5D6E-409C-BE32-E72D297353CC}">
                <c16:uniqueId val="{00000000-856A-4A79-AD6D-86009613320C}"/>
              </c:ext>
            </c:extLst>
          </c:dPt>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56A-4A79-AD6D-8600961332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00</c:v>
                </c:pt>
                <c:pt idx="1">
                  <c:v>154</c:v>
                </c:pt>
                <c:pt idx="2">
                  <c:v>154</c:v>
                </c:pt>
                <c:pt idx="3">
                  <c:v>154</c:v>
                </c:pt>
              </c:numCache>
            </c:numRef>
          </c:val>
          <c:extLst>
            <c:ext xmlns:c16="http://schemas.microsoft.com/office/drawing/2014/chart" uri="{C3380CC4-5D6E-409C-BE32-E72D297353CC}">
              <c16:uniqueId val="{00000001-856A-4A79-AD6D-86009613320C}"/>
            </c:ext>
          </c:extLst>
        </c:ser>
        <c:ser>
          <c:idx val="1"/>
          <c:order val="1"/>
          <c:spPr>
            <a:solidFill>
              <a:srgbClr val="4C6C9C"/>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2-856A-4A79-AD6D-86009613320C}"/>
              </c:ext>
            </c:extLst>
          </c:dPt>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56A-4A79-AD6D-86009613320C}"/>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56A-4A79-AD6D-86009613320C}"/>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56A-4A79-AD6D-86009613320C}"/>
                </c:ext>
              </c:extLst>
            </c:dLbl>
            <c:dLbl>
              <c:idx val="3"/>
              <c:layout>
                <c:manualLayout>
                  <c:x val="0"/>
                  <c:y val="-7.8186082877247849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56A-4A79-AD6D-8600961332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03.59999999999991</c:v>
                </c:pt>
                <c:pt idx="1">
                  <c:v>1500</c:v>
                </c:pt>
                <c:pt idx="2">
                  <c:v>1500</c:v>
                </c:pt>
                <c:pt idx="3">
                  <c:v>1680</c:v>
                </c:pt>
              </c:numCache>
            </c:numRef>
          </c:val>
          <c:extLst>
            <c:ext xmlns:c16="http://schemas.microsoft.com/office/drawing/2014/chart" uri="{C3380CC4-5D6E-409C-BE32-E72D297353CC}">
              <c16:uniqueId val="{00000006-856A-4A79-AD6D-86009613320C}"/>
            </c:ext>
          </c:extLst>
        </c:ser>
        <c:ser>
          <c:idx val="2"/>
          <c:order val="2"/>
          <c:spPr>
            <a:solidFill>
              <a:schemeClr val="accent1"/>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7-856A-4A79-AD6D-86009613320C}"/>
              </c:ext>
            </c:extLst>
          </c:dPt>
          <c:dLbls>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56A-4A79-AD6D-86009613320C}"/>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56A-4A79-AD6D-86009613320C}"/>
                </c:ext>
              </c:extLst>
            </c:dLbl>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56A-4A79-AD6D-8600961332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303.59999999999991</c:v>
                </c:pt>
                <c:pt idx="2">
                  <c:v>303.59999999999991</c:v>
                </c:pt>
                <c:pt idx="3">
                  <c:v>303.59999999999991</c:v>
                </c:pt>
              </c:numCache>
            </c:numRef>
          </c:val>
          <c:extLst>
            <c:ext xmlns:c16="http://schemas.microsoft.com/office/drawing/2014/chart" uri="{C3380CC4-5D6E-409C-BE32-E72D297353CC}">
              <c16:uniqueId val="{0000000B-856A-4A79-AD6D-86009613320C}"/>
            </c:ext>
          </c:extLst>
        </c:ser>
        <c:dLbls>
          <c:showLegendKey val="0"/>
          <c:showVal val="0"/>
          <c:showCatName val="0"/>
          <c:showSerName val="0"/>
          <c:showPercent val="0"/>
          <c:showBubbleSize val="0"/>
        </c:dLbls>
        <c:gapWidth val="80"/>
        <c:overlap val="100"/>
        <c:axId val="1439065568"/>
        <c:axId val="1"/>
      </c:barChart>
      <c:catAx>
        <c:axId val="14390655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50.4285714285716"/>
          <c:min val="0"/>
        </c:scaling>
        <c:delete val="1"/>
        <c:axPos val="l"/>
        <c:numFmt formatCode="General" sourceLinked="1"/>
        <c:majorTickMark val="out"/>
        <c:minorTickMark val="none"/>
        <c:tickLblPos val="nextTo"/>
        <c:crossAx val="1439065568"/>
        <c:crosses val="min"/>
        <c:crossBetween val="between"/>
      </c:valAx>
    </c:plotArea>
    <c:plotVisOnly val="0"/>
    <c:dispBlanksAs val="gap"/>
    <c:showDLblsOverMax val="1"/>
  </c:chart>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169014084507043E-2"/>
          <c:y val="4.7315741583257506E-2"/>
          <c:w val="0.94366197183098588"/>
          <c:h val="0.90536851683348496"/>
        </c:manualLayout>
      </c:layout>
      <c:barChart>
        <c:barDir val="col"/>
        <c:grouping val="stacked"/>
        <c:varyColors val="0"/>
        <c:ser>
          <c:idx val="0"/>
          <c:order val="0"/>
          <c:spPr>
            <a:solidFill>
              <a:srgbClr val="C30C3E"/>
            </a:solidFill>
            <a:ln>
              <a:noFill/>
            </a:ln>
          </c:spPr>
          <c:invertIfNegative val="0"/>
          <c:val>
            <c:numRef>
              <c:f>Sheet1!$A$1:$D$1</c:f>
              <c:numCache>
                <c:formatCode>General</c:formatCode>
                <c:ptCount val="4"/>
                <c:pt idx="0">
                  <c:v>200</c:v>
                </c:pt>
                <c:pt idx="1">
                  <c:v>257</c:v>
                </c:pt>
                <c:pt idx="2">
                  <c:v>53.4</c:v>
                </c:pt>
                <c:pt idx="3">
                  <c:v>139</c:v>
                </c:pt>
              </c:numCache>
            </c:numRef>
          </c:val>
          <c:extLst>
            <c:ext xmlns:c16="http://schemas.microsoft.com/office/drawing/2014/chart" uri="{C3380CC4-5D6E-409C-BE32-E72D297353CC}">
              <c16:uniqueId val="{00000000-AC59-4E21-AD04-854DBDF64EA0}"/>
            </c:ext>
          </c:extLst>
        </c:ser>
        <c:ser>
          <c:idx val="1"/>
          <c:order val="1"/>
          <c:spPr>
            <a:solidFill>
              <a:srgbClr val="4C6C9C"/>
            </a:solidFill>
            <a:ln>
              <a:noFill/>
            </a:ln>
          </c:spPr>
          <c:invertIfNegative val="0"/>
          <c:val>
            <c:numRef>
              <c:f>Sheet1!$A$2:$D$2</c:f>
              <c:numCache>
                <c:formatCode>General</c:formatCode>
                <c:ptCount val="4"/>
                <c:pt idx="0">
                  <c:v>280</c:v>
                </c:pt>
                <c:pt idx="1">
                  <c:v>0</c:v>
                </c:pt>
                <c:pt idx="2">
                  <c:v>2</c:v>
                </c:pt>
                <c:pt idx="3">
                  <c:v>106</c:v>
                </c:pt>
              </c:numCache>
            </c:numRef>
          </c:val>
          <c:extLst>
            <c:ext xmlns:c16="http://schemas.microsoft.com/office/drawing/2014/chart" uri="{C3380CC4-5D6E-409C-BE32-E72D297353CC}">
              <c16:uniqueId val="{00000001-AC59-4E21-AD04-854DBDF64EA0}"/>
            </c:ext>
          </c:extLst>
        </c:ser>
        <c:ser>
          <c:idx val="2"/>
          <c:order val="2"/>
          <c:spPr>
            <a:solidFill>
              <a:schemeClr val="accent1"/>
            </a:solidFill>
            <a:ln>
              <a:noFill/>
            </a:ln>
          </c:spPr>
          <c:invertIfNegative val="0"/>
          <c:val>
            <c:numRef>
              <c:f>Sheet1!$A$3:$D$3</c:f>
              <c:numCache>
                <c:formatCode>General</c:formatCode>
                <c:ptCount val="4"/>
                <c:pt idx="0">
                  <c:v>63</c:v>
                </c:pt>
                <c:pt idx="1">
                  <c:v>14</c:v>
                </c:pt>
                <c:pt idx="2">
                  <c:v>22.000000000000007</c:v>
                </c:pt>
                <c:pt idx="3">
                  <c:v>15.350000000000023</c:v>
                </c:pt>
              </c:numCache>
            </c:numRef>
          </c:val>
          <c:extLst>
            <c:ext xmlns:c16="http://schemas.microsoft.com/office/drawing/2014/chart" uri="{C3380CC4-5D6E-409C-BE32-E72D297353CC}">
              <c16:uniqueId val="{00000002-AC59-4E21-AD04-854DBDF64EA0}"/>
            </c:ext>
          </c:extLst>
        </c:ser>
        <c:dLbls>
          <c:showLegendKey val="0"/>
          <c:showVal val="0"/>
          <c:showCatName val="0"/>
          <c:showSerName val="0"/>
          <c:showPercent val="0"/>
          <c:showBubbleSize val="0"/>
        </c:dLbls>
        <c:gapWidth val="80"/>
        <c:overlap val="100"/>
        <c:axId val="1439049248"/>
        <c:axId val="1"/>
      </c:barChart>
      <c:catAx>
        <c:axId val="14390492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50.4285714285716"/>
          <c:min val="0"/>
        </c:scaling>
        <c:delete val="1"/>
        <c:axPos val="l"/>
        <c:numFmt formatCode="General" sourceLinked="1"/>
        <c:majorTickMark val="out"/>
        <c:minorTickMark val="none"/>
        <c:tickLblPos val="nextTo"/>
        <c:crossAx val="1439049248"/>
        <c:crosses val="min"/>
        <c:crossBetween val="between"/>
      </c:valAx>
    </c:plotArea>
    <c:plotVisOnly val="0"/>
    <c:dispBlanksAs val="gap"/>
    <c:showDLblsOverMax val="1"/>
  </c:chart>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8990513257114E-2"/>
          <c:y val="0.10990712074303406"/>
          <c:w val="0.92556555582583311"/>
          <c:h val="0.7801857585139319"/>
        </c:manualLayout>
      </c:layout>
      <c:barChart>
        <c:barDir val="bar"/>
        <c:grouping val="stacked"/>
        <c:varyColors val="0"/>
        <c:ser>
          <c:idx val="0"/>
          <c:order val="0"/>
          <c:spPr>
            <a:solidFill>
              <a:srgbClr val="359BDB"/>
            </a:solidFill>
            <a:ln>
              <a:noFill/>
            </a:ln>
          </c:spPr>
          <c:invertIfNegative val="0"/>
          <c:dPt>
            <c:idx val="3"/>
            <c:invertIfNegative val="0"/>
            <c:bubble3D val="0"/>
            <c:spPr>
              <a:solidFill>
                <a:srgbClr val="D1227D"/>
              </a:solidFill>
              <a:ln>
                <a:noFill/>
              </a:ln>
            </c:spPr>
            <c:extLst>
              <c:ext xmlns:c16="http://schemas.microsoft.com/office/drawing/2014/chart" uri="{C3380CC4-5D6E-409C-BE32-E72D297353CC}">
                <c16:uniqueId val="{00000000-56FE-4D42-BD1B-8487FD20A463}"/>
              </c:ext>
            </c:extLst>
          </c:dPt>
          <c:dPt>
            <c:idx val="7"/>
            <c:invertIfNegative val="0"/>
            <c:bubble3D val="0"/>
            <c:spPr>
              <a:solidFill>
                <a:srgbClr val="D1227D"/>
              </a:solidFill>
              <a:ln>
                <a:noFill/>
              </a:ln>
            </c:spPr>
            <c:extLst>
              <c:ext xmlns:c16="http://schemas.microsoft.com/office/drawing/2014/chart" uri="{C3380CC4-5D6E-409C-BE32-E72D297353CC}">
                <c16:uniqueId val="{00000001-56FE-4D42-BD1B-8487FD20A463}"/>
              </c:ext>
            </c:extLst>
          </c:dPt>
          <c:dLbls>
            <c:dLbl>
              <c:idx val="0"/>
              <c:layout>
                <c:manualLayout>
                  <c:x val="0.49331063001702746"/>
                  <c:y val="2.3219814241486067E-3"/>
                </c:manualLayout>
              </c:layout>
              <c:numFmt formatCode="#,##0.00;&quot;-&quot;#,##0.0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6FE-4D42-BD1B-8487FD20A463}"/>
                </c:ext>
              </c:extLst>
            </c:dLbl>
            <c:dLbl>
              <c:idx val="1"/>
              <c:layout>
                <c:manualLayout>
                  <c:x val="0.37873996594502551"/>
                  <c:y val="2.3219814241486067E-3"/>
                </c:manualLayout>
              </c:layout>
              <c:numFmt formatCode="#,##0.00;&quot;-&quot;#,##0.0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6FE-4D42-BD1B-8487FD20A463}"/>
                </c:ext>
              </c:extLst>
            </c:dLbl>
            <c:dLbl>
              <c:idx val="2"/>
              <c:layout>
                <c:manualLayout>
                  <c:x val="0.29117003162247629"/>
                  <c:y val="2.3219814241486067E-3"/>
                </c:manualLayout>
              </c:layout>
              <c:numFmt formatCode="#,##0.00;&quot;-&quot;#,##0.0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6FE-4D42-BD1B-8487FD20A463}"/>
                </c:ext>
              </c:extLst>
            </c:dLbl>
            <c:dLbl>
              <c:idx val="3"/>
              <c:layout>
                <c:manualLayout>
                  <c:x val="0.11213816589637558"/>
                  <c:y val="2.3219814241486067E-3"/>
                </c:manualLayout>
              </c:layout>
              <c:numFmt formatCode="#,##0.00;&quot;-&quot;#,##0.0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6FE-4D42-BD1B-8487FD20A463}"/>
                </c:ext>
              </c:extLst>
            </c:dLbl>
            <c:dLbl>
              <c:idx val="4"/>
              <c:layout>
                <c:manualLayout>
                  <c:x val="9.0732181950863536E-2"/>
                  <c:y val="2.3219814241486067E-3"/>
                </c:manualLayout>
              </c:layout>
              <c:numFmt formatCode="#,##0.00;&quot;-&quot;#,##0.0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6FE-4D42-BD1B-8487FD20A463}"/>
                </c:ext>
              </c:extLst>
            </c:dLbl>
            <c:dLbl>
              <c:idx val="5"/>
              <c:layout>
                <c:manualLayout>
                  <c:x val="6.5190951106786674E-2"/>
                  <c:y val="2.3219814241486067E-3"/>
                </c:manualLayout>
              </c:layout>
              <c:numFmt formatCode="#,##0.00;&quot;-&quot;#,##0.0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6FE-4D42-BD1B-8487FD20A463}"/>
                </c:ext>
              </c:extLst>
            </c:dLbl>
            <c:dLbl>
              <c:idx val="6"/>
              <c:layout>
                <c:manualLayout>
                  <c:x val="4.354171734371199E-2"/>
                  <c:y val="2.3219814241486067E-3"/>
                </c:manualLayout>
              </c:layout>
              <c:numFmt formatCode="#,##0.00;&quot;-&quot;#,##0.0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6FE-4D42-BD1B-8487FD20A463}"/>
                </c:ext>
              </c:extLst>
            </c:dLbl>
            <c:dLbl>
              <c:idx val="7"/>
              <c:layout>
                <c:manualLayout>
                  <c:x val="2.8460228654828508E-2"/>
                  <c:y val="2.3219814241486067E-3"/>
                </c:manualLayout>
              </c:layout>
              <c:numFmt formatCode="#,##0.00;&quot;-&quot;#,##0.0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6FE-4D42-BD1B-8487FD20A463}"/>
                </c:ext>
              </c:extLst>
            </c:dLbl>
            <c:dLbl>
              <c:idx val="8"/>
              <c:layout>
                <c:manualLayout>
                  <c:x val="1.3378739965945026E-2"/>
                  <c:y val="2.3219814241486067E-3"/>
                </c:manualLayout>
              </c:layout>
              <c:numFmt formatCode="#,##0.00;&quot;-&quot;#,##0.0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6FE-4D42-BD1B-8487FD20A463}"/>
                </c:ext>
              </c:extLst>
            </c:dLbl>
            <c:dLbl>
              <c:idx val="9"/>
              <c:layout>
                <c:manualLayout>
                  <c:x val="1.2892240330819751E-2"/>
                  <c:y val="2.3219814241486067E-3"/>
                </c:manualLayout>
              </c:layout>
              <c:numFmt formatCode="#,##0.00;&quot;-&quot;#,##0.0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6FE-4D42-BD1B-8487FD20A463}"/>
                </c:ext>
              </c:extLst>
            </c:dLbl>
            <c:dLbl>
              <c:idx val="10"/>
              <c:layout>
                <c:manualLayout>
                  <c:x val="1.2648990513257114E-2"/>
                  <c:y val="2.3219814241486067E-3"/>
                </c:manualLayout>
              </c:layout>
              <c:numFmt formatCode="#,##0.00;&quot;-&quot;#,##0.0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6FE-4D42-BD1B-8487FD20A46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32.72</c:v>
                </c:pt>
                <c:pt idx="1">
                  <c:v>24.62</c:v>
                </c:pt>
                <c:pt idx="2">
                  <c:v>18.43</c:v>
                </c:pt>
                <c:pt idx="3">
                  <c:v>6.15</c:v>
                </c:pt>
                <c:pt idx="4">
                  <c:v>4.63</c:v>
                </c:pt>
                <c:pt idx="5">
                  <c:v>2.82</c:v>
                </c:pt>
                <c:pt idx="6">
                  <c:v>1.3</c:v>
                </c:pt>
                <c:pt idx="7">
                  <c:v>0.57999999999999996</c:v>
                </c:pt>
                <c:pt idx="8">
                  <c:v>0.04</c:v>
                </c:pt>
                <c:pt idx="9">
                  <c:v>0.03</c:v>
                </c:pt>
                <c:pt idx="10">
                  <c:v>0.02</c:v>
                </c:pt>
              </c:numCache>
            </c:numRef>
          </c:val>
          <c:extLst>
            <c:ext xmlns:c16="http://schemas.microsoft.com/office/drawing/2014/chart" uri="{C3380CC4-5D6E-409C-BE32-E72D297353CC}">
              <c16:uniqueId val="{0000000B-56FE-4D42-BD1B-8487FD20A463}"/>
            </c:ext>
          </c:extLst>
        </c:ser>
        <c:dLbls>
          <c:showLegendKey val="0"/>
          <c:showVal val="0"/>
          <c:showCatName val="0"/>
          <c:showSerName val="0"/>
          <c:showPercent val="0"/>
          <c:showBubbleSize val="0"/>
        </c:dLbls>
        <c:gapWidth val="80"/>
        <c:overlap val="100"/>
        <c:axId val="1455608848"/>
        <c:axId val="1"/>
      </c:barChart>
      <c:catAx>
        <c:axId val="145560884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2.72"/>
          <c:min val="0"/>
        </c:scaling>
        <c:delete val="1"/>
        <c:axPos val="t"/>
        <c:numFmt formatCode="General" sourceLinked="1"/>
        <c:majorTickMark val="out"/>
        <c:minorTickMark val="none"/>
        <c:tickLblPos val="nextTo"/>
        <c:crossAx val="1455608848"/>
        <c:crosses val="min"/>
        <c:crossBetween val="between"/>
      </c:valAx>
    </c:plotArea>
    <c:plotVisOnly val="0"/>
    <c:dispBlanksAs val="gap"/>
    <c:showDLblsOverMax val="1"/>
  </c:chart>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539379474940336E-2"/>
          <c:y val="9.4289508632138114E-2"/>
          <c:w val="0.91587112171837703"/>
          <c:h val="0.74900398406374502"/>
        </c:manualLayout>
      </c:layout>
      <c:scatterChart>
        <c:scatterStyle val="lineMarker"/>
        <c:varyColors val="0"/>
        <c:ser>
          <c:idx val="0"/>
          <c:order val="0"/>
          <c:spPr>
            <a:ln w="38100" cmpd="sng" algn="ctr">
              <a:solidFill>
                <a:srgbClr val="359BDB"/>
              </a:solidFill>
              <a:prstDash val="solid"/>
            </a:ln>
          </c:spPr>
          <c:marker>
            <c:symbol val="none"/>
          </c:marker>
          <c:dLbls>
            <c:dLbl>
              <c:idx val="0"/>
              <c:layout>
                <c:manualLayout>
                  <c:x val="1.4916467780429593E-2"/>
                  <c:y val="-5.2456839309428953E-2"/>
                </c:manualLayout>
              </c:layout>
              <c:numFmt formatCode="#,##0;&quot;-&quot;#,##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B6-0342-B9D4-A4DDA3A6525C}"/>
                </c:ext>
              </c:extLst>
            </c:dLbl>
            <c:dLbl>
              <c:idx val="23"/>
              <c:layout>
                <c:manualLayout>
                  <c:x val="0"/>
                  <c:y val="-5.2456839309428953E-2"/>
                </c:manualLayout>
              </c:layout>
              <c:numFmt formatCode="#,##0;&quot;-&quot;#,##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B6-0342-B9D4-A4DDA3A6525C}"/>
                </c:ext>
              </c:extLst>
            </c:dLbl>
            <c:dLbl>
              <c:idx val="24"/>
              <c:layout>
                <c:manualLayout>
                  <c:x val="0"/>
                  <c:y val="-5.2456839309428953E-2"/>
                </c:manualLayout>
              </c:layout>
              <c:numFmt formatCode="#,##0;&quot;-&quot;#,##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6B6-0342-B9D4-A4DDA3A6525C}"/>
                </c:ext>
              </c:extLst>
            </c:dLbl>
            <c:dLbl>
              <c:idx val="25"/>
              <c:layout>
                <c:manualLayout>
                  <c:x val="0"/>
                  <c:y val="-5.2456839309428953E-2"/>
                </c:manualLayout>
              </c:layout>
              <c:numFmt formatCode="#,##0;&quot;-&quot;#,##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6B6-0342-B9D4-A4DDA3A6525C}"/>
                </c:ext>
              </c:extLst>
            </c:dLbl>
            <c:dLbl>
              <c:idx val="26"/>
              <c:layout>
                <c:manualLayout>
                  <c:x val="0"/>
                  <c:y val="-5.2456839309428953E-2"/>
                </c:manualLayout>
              </c:layout>
              <c:numFmt formatCode="#,##0;&quot;-&quot;#,##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6B6-0342-B9D4-A4DDA3A6525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A$1</c:f>
              <c:numCache>
                <c:formatCode>General</c:formatCode>
                <c:ptCount val="27"/>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c:v>
                </c:pt>
                <c:pt idx="18">
                  <c:v>2016</c:v>
                </c:pt>
                <c:pt idx="19">
                  <c:v>2017</c:v>
                </c:pt>
                <c:pt idx="20">
                  <c:v>2018</c:v>
                </c:pt>
                <c:pt idx="21">
                  <c:v>2019</c:v>
                </c:pt>
                <c:pt idx="22">
                  <c:v>2020</c:v>
                </c:pt>
                <c:pt idx="23">
                  <c:v>2021</c:v>
                </c:pt>
                <c:pt idx="24">
                  <c:v>2022</c:v>
                </c:pt>
                <c:pt idx="25">
                  <c:v>2023</c:v>
                </c:pt>
                <c:pt idx="26">
                  <c:v>2024</c:v>
                </c:pt>
              </c:numCache>
            </c:numRef>
          </c:xVal>
          <c:yVal>
            <c:numRef>
              <c:f>Sheet1!$A$2:$AA$2</c:f>
              <c:numCache>
                <c:formatCode>General</c:formatCode>
                <c:ptCount val="27"/>
                <c:pt idx="0">
                  <c:v>47</c:v>
                </c:pt>
                <c:pt idx="1">
                  <c:v>41</c:v>
                </c:pt>
                <c:pt idx="2">
                  <c:v>47</c:v>
                </c:pt>
                <c:pt idx="3">
                  <c:v>59</c:v>
                </c:pt>
                <c:pt idx="4">
                  <c:v>52</c:v>
                </c:pt>
                <c:pt idx="5">
                  <c:v>51</c:v>
                </c:pt>
                <c:pt idx="6">
                  <c:v>56</c:v>
                </c:pt>
                <c:pt idx="7">
                  <c:v>57</c:v>
                </c:pt>
                <c:pt idx="8">
                  <c:v>61</c:v>
                </c:pt>
                <c:pt idx="9">
                  <c:v>59</c:v>
                </c:pt>
                <c:pt idx="10">
                  <c:v>63</c:v>
                </c:pt>
                <c:pt idx="11">
                  <c:v>60</c:v>
                </c:pt>
                <c:pt idx="12">
                  <c:v>69</c:v>
                </c:pt>
                <c:pt idx="13">
                  <c:v>63</c:v>
                </c:pt>
                <c:pt idx="14">
                  <c:v>59</c:v>
                </c:pt>
                <c:pt idx="15">
                  <c:v>59</c:v>
                </c:pt>
                <c:pt idx="16">
                  <c:v>57</c:v>
                </c:pt>
                <c:pt idx="17">
                  <c:v>58</c:v>
                </c:pt>
                <c:pt idx="18">
                  <c:v>56</c:v>
                </c:pt>
                <c:pt idx="19">
                  <c:v>54</c:v>
                </c:pt>
                <c:pt idx="20">
                  <c:v>53</c:v>
                </c:pt>
                <c:pt idx="21">
                  <c:v>54</c:v>
                </c:pt>
                <c:pt idx="22">
                  <c:v>53</c:v>
                </c:pt>
                <c:pt idx="23">
                  <c:v>69</c:v>
                </c:pt>
                <c:pt idx="24">
                  <c:v>72</c:v>
                </c:pt>
                <c:pt idx="25">
                  <c:v>71</c:v>
                </c:pt>
                <c:pt idx="26">
                  <c:v>71</c:v>
                </c:pt>
              </c:numCache>
            </c:numRef>
          </c:yVal>
          <c:smooth val="0"/>
          <c:extLst>
            <c:ext xmlns:c16="http://schemas.microsoft.com/office/drawing/2014/chart" uri="{C3380CC4-5D6E-409C-BE32-E72D297353CC}">
              <c16:uniqueId val="{00000005-C6B6-0342-B9D4-A4DDA3A6525C}"/>
            </c:ext>
          </c:extLst>
        </c:ser>
        <c:ser>
          <c:idx val="1"/>
          <c:order val="1"/>
          <c:spPr>
            <a:ln w="38100" cmpd="sng" algn="ctr">
              <a:solidFill>
                <a:srgbClr val="D1227D"/>
              </a:solidFill>
              <a:prstDash val="solid"/>
            </a:ln>
          </c:spPr>
          <c:marker>
            <c:symbol val="none"/>
          </c:marker>
          <c:dLbls>
            <c:dLbl>
              <c:idx val="0"/>
              <c:layout>
                <c:manualLayout>
                  <c:x val="1.4916467780429593E-2"/>
                  <c:y val="-5.2456839309428953E-2"/>
                </c:manualLayout>
              </c:layout>
              <c:numFmt formatCode="#,##0;&quot;-&quot;#,##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6B6-0342-B9D4-A4DDA3A6525C}"/>
                </c:ext>
              </c:extLst>
            </c:dLbl>
            <c:dLbl>
              <c:idx val="23"/>
              <c:layout>
                <c:manualLayout>
                  <c:x val="0"/>
                  <c:y val="-5.2456839309428953E-2"/>
                </c:manualLayout>
              </c:layout>
              <c:numFmt formatCode="#,##0;&quot;-&quot;#,##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6B6-0342-B9D4-A4DDA3A6525C}"/>
                </c:ext>
              </c:extLst>
            </c:dLbl>
            <c:dLbl>
              <c:idx val="24"/>
              <c:layout>
                <c:manualLayout>
                  <c:x val="0"/>
                  <c:y val="-5.2456839309428953E-2"/>
                </c:manualLayout>
              </c:layout>
              <c:numFmt formatCode="#,##0;&quot;-&quot;#,##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6B6-0342-B9D4-A4DDA3A6525C}"/>
                </c:ext>
              </c:extLst>
            </c:dLbl>
            <c:dLbl>
              <c:idx val="25"/>
              <c:layout>
                <c:manualLayout>
                  <c:x val="0"/>
                  <c:y val="-5.2456839309428953E-2"/>
                </c:manualLayout>
              </c:layout>
              <c:numFmt formatCode="#,##0;&quot;-&quot;#,##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6B6-0342-B9D4-A4DDA3A6525C}"/>
                </c:ext>
              </c:extLst>
            </c:dLbl>
            <c:dLbl>
              <c:idx val="26"/>
              <c:layout>
                <c:manualLayout>
                  <c:x val="0"/>
                  <c:y val="-5.2456839309428953E-2"/>
                </c:manualLayout>
              </c:layout>
              <c:numFmt formatCode="#,##0;&quot;-&quot;#,##0"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6B6-0342-B9D4-A4DDA3A6525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A$1</c:f>
              <c:numCache>
                <c:formatCode>General</c:formatCode>
                <c:ptCount val="27"/>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c:v>
                </c:pt>
                <c:pt idx="18">
                  <c:v>2016</c:v>
                </c:pt>
                <c:pt idx="19">
                  <c:v>2017</c:v>
                </c:pt>
                <c:pt idx="20">
                  <c:v>2018</c:v>
                </c:pt>
                <c:pt idx="21">
                  <c:v>2019</c:v>
                </c:pt>
                <c:pt idx="22">
                  <c:v>2020</c:v>
                </c:pt>
                <c:pt idx="23">
                  <c:v>2021</c:v>
                </c:pt>
                <c:pt idx="24">
                  <c:v>2022</c:v>
                </c:pt>
                <c:pt idx="25">
                  <c:v>2023</c:v>
                </c:pt>
                <c:pt idx="26">
                  <c:v>2024</c:v>
                </c:pt>
              </c:numCache>
            </c:numRef>
          </c:xVal>
          <c:yVal>
            <c:numRef>
              <c:f>Sheet1!$A$3:$AA$3</c:f>
              <c:numCache>
                <c:formatCode>General</c:formatCode>
                <c:ptCount val="27"/>
                <c:pt idx="0">
                  <c:v>30</c:v>
                </c:pt>
                <c:pt idx="1">
                  <c:v>27</c:v>
                </c:pt>
                <c:pt idx="2">
                  <c:v>47</c:v>
                </c:pt>
                <c:pt idx="3">
                  <c:v>34</c:v>
                </c:pt>
                <c:pt idx="4">
                  <c:v>41</c:v>
                </c:pt>
                <c:pt idx="5">
                  <c:v>43</c:v>
                </c:pt>
                <c:pt idx="6">
                  <c:v>37</c:v>
                </c:pt>
                <c:pt idx="7">
                  <c:v>35</c:v>
                </c:pt>
                <c:pt idx="8">
                  <c:v>33</c:v>
                </c:pt>
                <c:pt idx="9">
                  <c:v>35</c:v>
                </c:pt>
                <c:pt idx="10">
                  <c:v>34</c:v>
                </c:pt>
                <c:pt idx="11">
                  <c:v>36</c:v>
                </c:pt>
                <c:pt idx="12">
                  <c:v>28</c:v>
                </c:pt>
                <c:pt idx="13">
                  <c:v>34</c:v>
                </c:pt>
                <c:pt idx="14">
                  <c:v>37</c:v>
                </c:pt>
                <c:pt idx="15">
                  <c:v>40</c:v>
                </c:pt>
                <c:pt idx="16">
                  <c:v>37</c:v>
                </c:pt>
                <c:pt idx="17">
                  <c:v>36</c:v>
                </c:pt>
                <c:pt idx="18">
                  <c:v>36</c:v>
                </c:pt>
                <c:pt idx="19">
                  <c:v>28</c:v>
                </c:pt>
                <c:pt idx="20">
                  <c:v>31</c:v>
                </c:pt>
                <c:pt idx="21">
                  <c:v>30</c:v>
                </c:pt>
                <c:pt idx="22">
                  <c:v>28</c:v>
                </c:pt>
                <c:pt idx="23">
                  <c:v>31</c:v>
                </c:pt>
                <c:pt idx="24">
                  <c:v>28</c:v>
                </c:pt>
                <c:pt idx="25">
                  <c:v>29</c:v>
                </c:pt>
                <c:pt idx="26">
                  <c:v>29</c:v>
                </c:pt>
              </c:numCache>
            </c:numRef>
          </c:yVal>
          <c:smooth val="0"/>
          <c:extLst>
            <c:ext xmlns:c16="http://schemas.microsoft.com/office/drawing/2014/chart" uri="{C3380CC4-5D6E-409C-BE32-E72D297353CC}">
              <c16:uniqueId val="{0000000B-C6B6-0342-B9D4-A4DDA3A6525C}"/>
            </c:ext>
          </c:extLst>
        </c:ser>
        <c:dLbls>
          <c:showLegendKey val="0"/>
          <c:showVal val="0"/>
          <c:showCatName val="0"/>
          <c:showSerName val="0"/>
          <c:showPercent val="0"/>
          <c:showBubbleSize val="0"/>
        </c:dLbls>
        <c:axId val="4"/>
        <c:axId val="5"/>
      </c:scatterChart>
      <c:valAx>
        <c:axId val="4"/>
        <c:scaling>
          <c:orientation val="minMax"/>
          <c:max val="2024"/>
          <c:min val="1998"/>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Arial"/>
                <a:ea typeface="Arial"/>
                <a:cs typeface="Arial"/>
                <a:sym typeface="Arial"/>
              </a:defRPr>
            </a:pPr>
            <a:endParaRPr lang="en-US"/>
          </a:p>
        </c:txPr>
        <c:crossAx val="5"/>
        <c:crosses val="min"/>
        <c:crossBetween val="midCat"/>
        <c:majorUnit val="2"/>
      </c:valAx>
      <c:valAx>
        <c:axId val="5"/>
        <c:scaling>
          <c:orientation val="minMax"/>
          <c:max val="8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Arial"/>
                <a:ea typeface="Arial"/>
                <a:cs typeface="Arial"/>
                <a:sym typeface="Arial"/>
              </a:defRPr>
            </a:pPr>
            <a:endParaRPr lang="en-US"/>
          </a:p>
        </c:txPr>
        <c:crossAx val="4"/>
        <c:crosses val="min"/>
        <c:crossBetween val="midCat"/>
        <c:majorUnit val="10"/>
      </c:valAx>
    </c:plotArea>
    <c:plotVisOnly val="0"/>
    <c:dispBlanksAs val="gap"/>
    <c:showDLblsOverMax val="1"/>
  </c:chart>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932078935291418E-2"/>
          <c:y val="4.5654082528533799E-2"/>
          <c:w val="0.97613584212941717"/>
          <c:h val="0.90869183494293237"/>
        </c:manualLayout>
      </c:layout>
      <c:barChart>
        <c:barDir val="bar"/>
        <c:grouping val="stacked"/>
        <c:varyColors val="0"/>
        <c:ser>
          <c:idx val="0"/>
          <c:order val="0"/>
          <c:spPr>
            <a:solidFill>
              <a:srgbClr val="359BDB"/>
            </a:solidFill>
            <a:ln>
              <a:noFill/>
            </a:ln>
          </c:spPr>
          <c:invertIfNegative val="0"/>
          <c:val>
            <c:numRef>
              <c:f>Sheet1!$A$1:$N$1</c:f>
              <c:numCache>
                <c:formatCode>General</c:formatCode>
                <c:ptCount val="14"/>
                <c:pt idx="0">
                  <c:v>32</c:v>
                </c:pt>
                <c:pt idx="1">
                  <c:v>46</c:v>
                </c:pt>
                <c:pt idx="2">
                  <c:v>20</c:v>
                </c:pt>
                <c:pt idx="3">
                  <c:v>26</c:v>
                </c:pt>
                <c:pt idx="4">
                  <c:v>35</c:v>
                </c:pt>
                <c:pt idx="5">
                  <c:v>24</c:v>
                </c:pt>
                <c:pt idx="6">
                  <c:v>36</c:v>
                </c:pt>
                <c:pt idx="7">
                  <c:v>35</c:v>
                </c:pt>
                <c:pt idx="8">
                  <c:v>35</c:v>
                </c:pt>
                <c:pt idx="9">
                  <c:v>29</c:v>
                </c:pt>
                <c:pt idx="10">
                  <c:v>36</c:v>
                </c:pt>
                <c:pt idx="11">
                  <c:v>25</c:v>
                </c:pt>
                <c:pt idx="12">
                  <c:v>33</c:v>
                </c:pt>
                <c:pt idx="13">
                  <c:v>32</c:v>
                </c:pt>
              </c:numCache>
            </c:numRef>
          </c:val>
          <c:extLst>
            <c:ext xmlns:c16="http://schemas.microsoft.com/office/drawing/2014/chart" uri="{C3380CC4-5D6E-409C-BE32-E72D297353CC}">
              <c16:uniqueId val="{00000000-CE8F-584E-A018-2E8487A18A28}"/>
            </c:ext>
          </c:extLst>
        </c:ser>
        <c:ser>
          <c:idx val="1"/>
          <c:order val="1"/>
          <c:spPr>
            <a:solidFill>
              <a:srgbClr val="007770"/>
            </a:solidFill>
            <a:ln>
              <a:noFill/>
            </a:ln>
          </c:spPr>
          <c:invertIfNegative val="0"/>
          <c:val>
            <c:numRef>
              <c:f>Sheet1!$A$2:$N$2</c:f>
              <c:numCache>
                <c:formatCode>General</c:formatCode>
                <c:ptCount val="14"/>
                <c:pt idx="0">
                  <c:v>45</c:v>
                </c:pt>
                <c:pt idx="1">
                  <c:v>40</c:v>
                </c:pt>
                <c:pt idx="2">
                  <c:v>50</c:v>
                </c:pt>
                <c:pt idx="3">
                  <c:v>53</c:v>
                </c:pt>
                <c:pt idx="4">
                  <c:v>40</c:v>
                </c:pt>
                <c:pt idx="5">
                  <c:v>51</c:v>
                </c:pt>
                <c:pt idx="6">
                  <c:v>43</c:v>
                </c:pt>
                <c:pt idx="7">
                  <c:v>50</c:v>
                </c:pt>
                <c:pt idx="8">
                  <c:v>43</c:v>
                </c:pt>
                <c:pt idx="9">
                  <c:v>42</c:v>
                </c:pt>
                <c:pt idx="10">
                  <c:v>43</c:v>
                </c:pt>
                <c:pt idx="11">
                  <c:v>49</c:v>
                </c:pt>
                <c:pt idx="12">
                  <c:v>45</c:v>
                </c:pt>
                <c:pt idx="13">
                  <c:v>43</c:v>
                </c:pt>
              </c:numCache>
            </c:numRef>
          </c:val>
          <c:extLst>
            <c:ext xmlns:c16="http://schemas.microsoft.com/office/drawing/2014/chart" uri="{C3380CC4-5D6E-409C-BE32-E72D297353CC}">
              <c16:uniqueId val="{00000001-CE8F-584E-A018-2E8487A18A28}"/>
            </c:ext>
          </c:extLst>
        </c:ser>
        <c:ser>
          <c:idx val="2"/>
          <c:order val="2"/>
          <c:spPr>
            <a:solidFill>
              <a:srgbClr val="FF9300"/>
            </a:solidFill>
            <a:ln>
              <a:noFill/>
            </a:ln>
          </c:spPr>
          <c:invertIfNegative val="0"/>
          <c:val>
            <c:numRef>
              <c:f>Sheet1!$A$3:$N$3</c:f>
              <c:numCache>
                <c:formatCode>General</c:formatCode>
                <c:ptCount val="14"/>
                <c:pt idx="0">
                  <c:v>17</c:v>
                </c:pt>
                <c:pt idx="1">
                  <c:v>11</c:v>
                </c:pt>
                <c:pt idx="2">
                  <c:v>22</c:v>
                </c:pt>
                <c:pt idx="3">
                  <c:v>15</c:v>
                </c:pt>
                <c:pt idx="4">
                  <c:v>20</c:v>
                </c:pt>
                <c:pt idx="5">
                  <c:v>18</c:v>
                </c:pt>
                <c:pt idx="6">
                  <c:v>14</c:v>
                </c:pt>
                <c:pt idx="7">
                  <c:v>12</c:v>
                </c:pt>
                <c:pt idx="8">
                  <c:v>17</c:v>
                </c:pt>
                <c:pt idx="9">
                  <c:v>20</c:v>
                </c:pt>
                <c:pt idx="10">
                  <c:v>17</c:v>
                </c:pt>
                <c:pt idx="11">
                  <c:v>20</c:v>
                </c:pt>
                <c:pt idx="12">
                  <c:v>15</c:v>
                </c:pt>
                <c:pt idx="13">
                  <c:v>18</c:v>
                </c:pt>
              </c:numCache>
            </c:numRef>
          </c:val>
          <c:extLst>
            <c:ext xmlns:c16="http://schemas.microsoft.com/office/drawing/2014/chart" uri="{C3380CC4-5D6E-409C-BE32-E72D297353CC}">
              <c16:uniqueId val="{00000002-CE8F-584E-A018-2E8487A18A28}"/>
            </c:ext>
          </c:extLst>
        </c:ser>
        <c:ser>
          <c:idx val="3"/>
          <c:order val="3"/>
          <c:spPr>
            <a:solidFill>
              <a:srgbClr val="D1227D"/>
            </a:solidFill>
            <a:ln>
              <a:noFill/>
            </a:ln>
          </c:spPr>
          <c:invertIfNegative val="0"/>
          <c:val>
            <c:numRef>
              <c:f>Sheet1!$A$4:$N$4</c:f>
              <c:numCache>
                <c:formatCode>General</c:formatCode>
                <c:ptCount val="14"/>
                <c:pt idx="0">
                  <c:v>6</c:v>
                </c:pt>
                <c:pt idx="1">
                  <c:v>4</c:v>
                </c:pt>
                <c:pt idx="2">
                  <c:v>8</c:v>
                </c:pt>
                <c:pt idx="3">
                  <c:v>6</c:v>
                </c:pt>
                <c:pt idx="4">
                  <c:v>5</c:v>
                </c:pt>
                <c:pt idx="5">
                  <c:v>7</c:v>
                </c:pt>
                <c:pt idx="6">
                  <c:v>7</c:v>
                </c:pt>
                <c:pt idx="7">
                  <c:v>4</c:v>
                </c:pt>
                <c:pt idx="8">
                  <c:v>5</c:v>
                </c:pt>
                <c:pt idx="9">
                  <c:v>9</c:v>
                </c:pt>
                <c:pt idx="10">
                  <c:v>5</c:v>
                </c:pt>
                <c:pt idx="11">
                  <c:v>6</c:v>
                </c:pt>
                <c:pt idx="12">
                  <c:v>7</c:v>
                </c:pt>
                <c:pt idx="13">
                  <c:v>7</c:v>
                </c:pt>
              </c:numCache>
            </c:numRef>
          </c:val>
          <c:extLst>
            <c:ext xmlns:c16="http://schemas.microsoft.com/office/drawing/2014/chart" uri="{C3380CC4-5D6E-409C-BE32-E72D297353CC}">
              <c16:uniqueId val="{00000003-CE8F-584E-A018-2E8487A18A28}"/>
            </c:ext>
          </c:extLst>
        </c:ser>
        <c:dLbls>
          <c:showLegendKey val="0"/>
          <c:showVal val="0"/>
          <c:showCatName val="0"/>
          <c:showSerName val="0"/>
          <c:showPercent val="0"/>
          <c:showBubbleSize val="0"/>
        </c:dLbls>
        <c:gapWidth val="80"/>
        <c:overlap val="100"/>
        <c:axId val="440745392"/>
        <c:axId val="1"/>
      </c:barChart>
      <c:catAx>
        <c:axId val="44074539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1"/>
          <c:min val="0"/>
        </c:scaling>
        <c:delete val="1"/>
        <c:axPos val="t"/>
        <c:numFmt formatCode="General" sourceLinked="1"/>
        <c:majorTickMark val="out"/>
        <c:minorTickMark val="none"/>
        <c:tickLblPos val="nextTo"/>
        <c:crossAx val="440745392"/>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498417721518986E-2"/>
          <c:y val="5.6185312962050274E-2"/>
          <c:w val="0.90921677215189878"/>
          <c:h val="0.88713652045342528"/>
        </c:manualLayout>
      </c:layout>
      <c:areaChart>
        <c:grouping val="stacked"/>
        <c:varyColors val="0"/>
        <c:ser>
          <c:idx val="0"/>
          <c:order val="0"/>
          <c:spPr>
            <a:solidFill>
              <a:srgbClr val="4C6C9C"/>
            </a:solidFill>
            <a:ln>
              <a:noFill/>
            </a:ln>
          </c:spPr>
          <c:val>
            <c:numRef>
              <c:f>Sheet1!$A$1:$BC$1</c:f>
              <c:numCache>
                <c:formatCode>General</c:formatCode>
                <c:ptCount val="55"/>
                <c:pt idx="0">
                  <c:v>22</c:v>
                </c:pt>
                <c:pt idx="1">
                  <c:v>34</c:v>
                </c:pt>
                <c:pt idx="2">
                  <c:v>40</c:v>
                </c:pt>
                <c:pt idx="3">
                  <c:v>47</c:v>
                </c:pt>
                <c:pt idx="4">
                  <c:v>79</c:v>
                </c:pt>
                <c:pt idx="5">
                  <c:v>92</c:v>
                </c:pt>
                <c:pt idx="6">
                  <c:v>113</c:v>
                </c:pt>
                <c:pt idx="7">
                  <c:v>136</c:v>
                </c:pt>
                <c:pt idx="8">
                  <c:v>152</c:v>
                </c:pt>
                <c:pt idx="9">
                  <c:v>185</c:v>
                </c:pt>
                <c:pt idx="10">
                  <c:v>266</c:v>
                </c:pt>
                <c:pt idx="11">
                  <c:v>291</c:v>
                </c:pt>
                <c:pt idx="12">
                  <c:v>346</c:v>
                </c:pt>
                <c:pt idx="13">
                  <c:v>452</c:v>
                </c:pt>
                <c:pt idx="14">
                  <c:v>545</c:v>
                </c:pt>
                <c:pt idx="15">
                  <c:v>601</c:v>
                </c:pt>
                <c:pt idx="16">
                  <c:v>627</c:v>
                </c:pt>
                <c:pt idx="17">
                  <c:v>671</c:v>
                </c:pt>
                <c:pt idx="18">
                  <c:v>705</c:v>
                </c:pt>
                <c:pt idx="19">
                  <c:v>729</c:v>
                </c:pt>
                <c:pt idx="20">
                  <c:v>749</c:v>
                </c:pt>
                <c:pt idx="21">
                  <c:v>751</c:v>
                </c:pt>
                <c:pt idx="22">
                  <c:v>773</c:v>
                </c:pt>
                <c:pt idx="23">
                  <c:v>770</c:v>
                </c:pt>
                <c:pt idx="24">
                  <c:v>792</c:v>
                </c:pt>
                <c:pt idx="25">
                  <c:v>831</c:v>
                </c:pt>
                <c:pt idx="26">
                  <c:v>839</c:v>
                </c:pt>
                <c:pt idx="27">
                  <c:v>833</c:v>
                </c:pt>
                <c:pt idx="28">
                  <c:v>848</c:v>
                </c:pt>
                <c:pt idx="29">
                  <c:v>860</c:v>
                </c:pt>
                <c:pt idx="30">
                  <c:v>889</c:v>
                </c:pt>
                <c:pt idx="31">
                  <c:v>902</c:v>
                </c:pt>
                <c:pt idx="32">
                  <c:v>907</c:v>
                </c:pt>
                <c:pt idx="33">
                  <c:v>928</c:v>
                </c:pt>
                <c:pt idx="34">
                  <c:v>916</c:v>
                </c:pt>
                <c:pt idx="35">
                  <c:v>914</c:v>
                </c:pt>
                <c:pt idx="36">
                  <c:v>872</c:v>
                </c:pt>
                <c:pt idx="37">
                  <c:v>885</c:v>
                </c:pt>
                <c:pt idx="38">
                  <c:v>825</c:v>
                </c:pt>
                <c:pt idx="39">
                  <c:v>854</c:v>
                </c:pt>
                <c:pt idx="40">
                  <c:v>838</c:v>
                </c:pt>
                <c:pt idx="41">
                  <c:v>812</c:v>
                </c:pt>
                <c:pt idx="42">
                  <c:v>806</c:v>
                </c:pt>
                <c:pt idx="43">
                  <c:v>813</c:v>
                </c:pt>
                <c:pt idx="44">
                  <c:v>787</c:v>
                </c:pt>
                <c:pt idx="45">
                  <c:v>768</c:v>
                </c:pt>
                <c:pt idx="46">
                  <c:v>759</c:v>
                </c:pt>
                <c:pt idx="47">
                  <c:v>762</c:v>
                </c:pt>
                <c:pt idx="48">
                  <c:v>765</c:v>
                </c:pt>
                <c:pt idx="49">
                  <c:v>684</c:v>
                </c:pt>
                <c:pt idx="50">
                  <c:v>732</c:v>
                </c:pt>
                <c:pt idx="51">
                  <c:v>609</c:v>
                </c:pt>
                <c:pt idx="52">
                  <c:v>618</c:v>
                </c:pt>
                <c:pt idx="53">
                  <c:v>626</c:v>
                </c:pt>
                <c:pt idx="54">
                  <c:v>645</c:v>
                </c:pt>
              </c:numCache>
            </c:numRef>
          </c:val>
          <c:extLst>
            <c:ext xmlns:c16="http://schemas.microsoft.com/office/drawing/2014/chart" uri="{C3380CC4-5D6E-409C-BE32-E72D297353CC}">
              <c16:uniqueId val="{00000000-0228-4AF4-B045-315BA15E5D71}"/>
            </c:ext>
          </c:extLst>
        </c:ser>
        <c:ser>
          <c:idx val="1"/>
          <c:order val="1"/>
          <c:spPr>
            <a:solidFill>
              <a:schemeClr val="accent1"/>
            </a:solidFill>
            <a:ln>
              <a:noFill/>
            </a:ln>
          </c:spPr>
          <c:val>
            <c:numRef>
              <c:f>Sheet1!$A$2:$BC$2</c:f>
              <c:numCache>
                <c:formatCode>General</c:formatCode>
                <c:ptCount val="55"/>
                <c:pt idx="0">
                  <c:v>41</c:v>
                </c:pt>
                <c:pt idx="1">
                  <c:v>58</c:v>
                </c:pt>
                <c:pt idx="2">
                  <c:v>89</c:v>
                </c:pt>
                <c:pt idx="3">
                  <c:v>121</c:v>
                </c:pt>
                <c:pt idx="4">
                  <c:v>184</c:v>
                </c:pt>
                <c:pt idx="5">
                  <c:v>203</c:v>
                </c:pt>
                <c:pt idx="6">
                  <c:v>266</c:v>
                </c:pt>
                <c:pt idx="7">
                  <c:v>293</c:v>
                </c:pt>
                <c:pt idx="8">
                  <c:v>270</c:v>
                </c:pt>
                <c:pt idx="9">
                  <c:v>266</c:v>
                </c:pt>
                <c:pt idx="10">
                  <c:v>289</c:v>
                </c:pt>
                <c:pt idx="11">
                  <c:v>300</c:v>
                </c:pt>
                <c:pt idx="12">
                  <c:v>311</c:v>
                </c:pt>
                <c:pt idx="13">
                  <c:v>347</c:v>
                </c:pt>
                <c:pt idx="14">
                  <c:v>407</c:v>
                </c:pt>
                <c:pt idx="15">
                  <c:v>439</c:v>
                </c:pt>
                <c:pt idx="16">
                  <c:v>483</c:v>
                </c:pt>
                <c:pt idx="17">
                  <c:v>559</c:v>
                </c:pt>
                <c:pt idx="18">
                  <c:v>561</c:v>
                </c:pt>
                <c:pt idx="19">
                  <c:v>612</c:v>
                </c:pt>
                <c:pt idx="20">
                  <c:v>649</c:v>
                </c:pt>
                <c:pt idx="21">
                  <c:v>656</c:v>
                </c:pt>
                <c:pt idx="22">
                  <c:v>647</c:v>
                </c:pt>
                <c:pt idx="23">
                  <c:v>679</c:v>
                </c:pt>
                <c:pt idx="24">
                  <c:v>714</c:v>
                </c:pt>
                <c:pt idx="25">
                  <c:v>715</c:v>
                </c:pt>
                <c:pt idx="26">
                  <c:v>666</c:v>
                </c:pt>
                <c:pt idx="27">
                  <c:v>714</c:v>
                </c:pt>
                <c:pt idx="28">
                  <c:v>772</c:v>
                </c:pt>
                <c:pt idx="29">
                  <c:v>798</c:v>
                </c:pt>
                <c:pt idx="30">
                  <c:v>793</c:v>
                </c:pt>
                <c:pt idx="31">
                  <c:v>805</c:v>
                </c:pt>
                <c:pt idx="32">
                  <c:v>788</c:v>
                </c:pt>
                <c:pt idx="33">
                  <c:v>813</c:v>
                </c:pt>
                <c:pt idx="34">
                  <c:v>811</c:v>
                </c:pt>
                <c:pt idx="35">
                  <c:v>816</c:v>
                </c:pt>
                <c:pt idx="36">
                  <c:v>837</c:v>
                </c:pt>
                <c:pt idx="37">
                  <c:v>838</c:v>
                </c:pt>
                <c:pt idx="38">
                  <c:v>830</c:v>
                </c:pt>
                <c:pt idx="39">
                  <c:v>839</c:v>
                </c:pt>
                <c:pt idx="40">
                  <c:v>821</c:v>
                </c:pt>
                <c:pt idx="41">
                  <c:v>801</c:v>
                </c:pt>
                <c:pt idx="42">
                  <c:v>822</c:v>
                </c:pt>
                <c:pt idx="43">
                  <c:v>831</c:v>
                </c:pt>
                <c:pt idx="44">
                  <c:v>830</c:v>
                </c:pt>
                <c:pt idx="45">
                  <c:v>840</c:v>
                </c:pt>
                <c:pt idx="46">
                  <c:v>839</c:v>
                </c:pt>
                <c:pt idx="47">
                  <c:v>841</c:v>
                </c:pt>
                <c:pt idx="48">
                  <c:v>843</c:v>
                </c:pt>
                <c:pt idx="49">
                  <c:v>823</c:v>
                </c:pt>
                <c:pt idx="50">
                  <c:v>812</c:v>
                </c:pt>
                <c:pt idx="51">
                  <c:v>804</c:v>
                </c:pt>
                <c:pt idx="52">
                  <c:v>808</c:v>
                </c:pt>
                <c:pt idx="53">
                  <c:v>825</c:v>
                </c:pt>
                <c:pt idx="54">
                  <c:v>830</c:v>
                </c:pt>
              </c:numCache>
            </c:numRef>
          </c:val>
          <c:extLst>
            <c:ext xmlns:c16="http://schemas.microsoft.com/office/drawing/2014/chart" uri="{C3380CC4-5D6E-409C-BE32-E72D297353CC}">
              <c16:uniqueId val="{00000001-0228-4AF4-B045-315BA15E5D71}"/>
            </c:ext>
          </c:extLst>
        </c:ser>
        <c:ser>
          <c:idx val="2"/>
          <c:order val="2"/>
          <c:spPr>
            <a:solidFill>
              <a:schemeClr val="accent4"/>
            </a:solidFill>
            <a:ln>
              <a:noFill/>
            </a:ln>
          </c:spPr>
          <c:val>
            <c:numRef>
              <c:f>Sheet1!$A$3:$BC$3</c:f>
              <c:numCache>
                <c:formatCode>General</c:formatCode>
                <c:ptCount val="55"/>
                <c:pt idx="0">
                  <c:v>39</c:v>
                </c:pt>
                <c:pt idx="1">
                  <c:v>50</c:v>
                </c:pt>
                <c:pt idx="2">
                  <c:v>62</c:v>
                </c:pt>
                <c:pt idx="3">
                  <c:v>82</c:v>
                </c:pt>
                <c:pt idx="4">
                  <c:v>93</c:v>
                </c:pt>
                <c:pt idx="5">
                  <c:v>108</c:v>
                </c:pt>
                <c:pt idx="6">
                  <c:v>123</c:v>
                </c:pt>
                <c:pt idx="7">
                  <c:v>130</c:v>
                </c:pt>
                <c:pt idx="8">
                  <c:v>143</c:v>
                </c:pt>
                <c:pt idx="9">
                  <c:v>165</c:v>
                </c:pt>
                <c:pt idx="10">
                  <c:v>182</c:v>
                </c:pt>
                <c:pt idx="11">
                  <c:v>195</c:v>
                </c:pt>
                <c:pt idx="12">
                  <c:v>228</c:v>
                </c:pt>
                <c:pt idx="13">
                  <c:v>277</c:v>
                </c:pt>
                <c:pt idx="14">
                  <c:v>326</c:v>
                </c:pt>
                <c:pt idx="15">
                  <c:v>329</c:v>
                </c:pt>
                <c:pt idx="16">
                  <c:v>358</c:v>
                </c:pt>
                <c:pt idx="17">
                  <c:v>402</c:v>
                </c:pt>
                <c:pt idx="18">
                  <c:v>405</c:v>
                </c:pt>
                <c:pt idx="19">
                  <c:v>378</c:v>
                </c:pt>
                <c:pt idx="20">
                  <c:v>396</c:v>
                </c:pt>
                <c:pt idx="21">
                  <c:v>396</c:v>
                </c:pt>
                <c:pt idx="22">
                  <c:v>421</c:v>
                </c:pt>
                <c:pt idx="23">
                  <c:v>409</c:v>
                </c:pt>
                <c:pt idx="24">
                  <c:v>411</c:v>
                </c:pt>
                <c:pt idx="25">
                  <c:v>433</c:v>
                </c:pt>
                <c:pt idx="26">
                  <c:v>430</c:v>
                </c:pt>
                <c:pt idx="27">
                  <c:v>413</c:v>
                </c:pt>
                <c:pt idx="28">
                  <c:v>424</c:v>
                </c:pt>
                <c:pt idx="29">
                  <c:v>428</c:v>
                </c:pt>
                <c:pt idx="30">
                  <c:v>449</c:v>
                </c:pt>
                <c:pt idx="31">
                  <c:v>454</c:v>
                </c:pt>
                <c:pt idx="32">
                  <c:v>469</c:v>
                </c:pt>
                <c:pt idx="33">
                  <c:v>473</c:v>
                </c:pt>
                <c:pt idx="34">
                  <c:v>477</c:v>
                </c:pt>
                <c:pt idx="35">
                  <c:v>493</c:v>
                </c:pt>
                <c:pt idx="36">
                  <c:v>481</c:v>
                </c:pt>
                <c:pt idx="37">
                  <c:v>476</c:v>
                </c:pt>
                <c:pt idx="38">
                  <c:v>480</c:v>
                </c:pt>
                <c:pt idx="39">
                  <c:v>481</c:v>
                </c:pt>
                <c:pt idx="40">
                  <c:v>501</c:v>
                </c:pt>
                <c:pt idx="41">
                  <c:v>506</c:v>
                </c:pt>
                <c:pt idx="42">
                  <c:v>510</c:v>
                </c:pt>
                <c:pt idx="43">
                  <c:v>519</c:v>
                </c:pt>
                <c:pt idx="44">
                  <c:v>530</c:v>
                </c:pt>
                <c:pt idx="45">
                  <c:v>531</c:v>
                </c:pt>
                <c:pt idx="46">
                  <c:v>538</c:v>
                </c:pt>
                <c:pt idx="47">
                  <c:v>538</c:v>
                </c:pt>
                <c:pt idx="48">
                  <c:v>534</c:v>
                </c:pt>
                <c:pt idx="49">
                  <c:v>521</c:v>
                </c:pt>
                <c:pt idx="50">
                  <c:v>538</c:v>
                </c:pt>
                <c:pt idx="51">
                  <c:v>508</c:v>
                </c:pt>
                <c:pt idx="52">
                  <c:v>523</c:v>
                </c:pt>
                <c:pt idx="53">
                  <c:v>550</c:v>
                </c:pt>
                <c:pt idx="54">
                  <c:v>567</c:v>
                </c:pt>
              </c:numCache>
            </c:numRef>
          </c:val>
          <c:extLst>
            <c:ext xmlns:c16="http://schemas.microsoft.com/office/drawing/2014/chart" uri="{C3380CC4-5D6E-409C-BE32-E72D297353CC}">
              <c16:uniqueId val="{00000002-0228-4AF4-B045-315BA15E5D71}"/>
            </c:ext>
          </c:extLst>
        </c:ser>
        <c:ser>
          <c:idx val="3"/>
          <c:order val="3"/>
          <c:spPr>
            <a:solidFill>
              <a:schemeClr val="accent6"/>
            </a:solidFill>
            <a:ln>
              <a:noFill/>
            </a:ln>
          </c:spPr>
          <c:val>
            <c:numRef>
              <c:f>Sheet1!$A$4:$BC$4</c:f>
              <c:numCache>
                <c:formatCode>General</c:formatCode>
                <c:ptCount val="55"/>
                <c:pt idx="0">
                  <c:v>1</c:v>
                </c:pt>
                <c:pt idx="1">
                  <c:v>1</c:v>
                </c:pt>
                <c:pt idx="2">
                  <c:v>2</c:v>
                </c:pt>
                <c:pt idx="3">
                  <c:v>2</c:v>
                </c:pt>
                <c:pt idx="4">
                  <c:v>3</c:v>
                </c:pt>
                <c:pt idx="5">
                  <c:v>3</c:v>
                </c:pt>
                <c:pt idx="6">
                  <c:v>2</c:v>
                </c:pt>
                <c:pt idx="7">
                  <c:v>3</c:v>
                </c:pt>
                <c:pt idx="8">
                  <c:v>3</c:v>
                </c:pt>
                <c:pt idx="9">
                  <c:v>3</c:v>
                </c:pt>
                <c:pt idx="10">
                  <c:v>3</c:v>
                </c:pt>
                <c:pt idx="11">
                  <c:v>2</c:v>
                </c:pt>
                <c:pt idx="12">
                  <c:v>4</c:v>
                </c:pt>
                <c:pt idx="13">
                  <c:v>4</c:v>
                </c:pt>
                <c:pt idx="14">
                  <c:v>5</c:v>
                </c:pt>
                <c:pt idx="15">
                  <c:v>5</c:v>
                </c:pt>
                <c:pt idx="16">
                  <c:v>5</c:v>
                </c:pt>
                <c:pt idx="17">
                  <c:v>6</c:v>
                </c:pt>
                <c:pt idx="18">
                  <c:v>5</c:v>
                </c:pt>
                <c:pt idx="19">
                  <c:v>6</c:v>
                </c:pt>
                <c:pt idx="20">
                  <c:v>6</c:v>
                </c:pt>
                <c:pt idx="21">
                  <c:v>7</c:v>
                </c:pt>
                <c:pt idx="22">
                  <c:v>5</c:v>
                </c:pt>
                <c:pt idx="23">
                  <c:v>6</c:v>
                </c:pt>
                <c:pt idx="24">
                  <c:v>8</c:v>
                </c:pt>
                <c:pt idx="25">
                  <c:v>9</c:v>
                </c:pt>
                <c:pt idx="26">
                  <c:v>10</c:v>
                </c:pt>
                <c:pt idx="27">
                  <c:v>12</c:v>
                </c:pt>
                <c:pt idx="28">
                  <c:v>13</c:v>
                </c:pt>
                <c:pt idx="29">
                  <c:v>17</c:v>
                </c:pt>
                <c:pt idx="30">
                  <c:v>19</c:v>
                </c:pt>
                <c:pt idx="31">
                  <c:v>19</c:v>
                </c:pt>
                <c:pt idx="32">
                  <c:v>18</c:v>
                </c:pt>
                <c:pt idx="33">
                  <c:v>17</c:v>
                </c:pt>
                <c:pt idx="34">
                  <c:v>17</c:v>
                </c:pt>
                <c:pt idx="35">
                  <c:v>19</c:v>
                </c:pt>
                <c:pt idx="36">
                  <c:v>17</c:v>
                </c:pt>
                <c:pt idx="37">
                  <c:v>15</c:v>
                </c:pt>
                <c:pt idx="38">
                  <c:v>19</c:v>
                </c:pt>
                <c:pt idx="39">
                  <c:v>26</c:v>
                </c:pt>
                <c:pt idx="40">
                  <c:v>32</c:v>
                </c:pt>
                <c:pt idx="41">
                  <c:v>33</c:v>
                </c:pt>
                <c:pt idx="42">
                  <c:v>34</c:v>
                </c:pt>
                <c:pt idx="43">
                  <c:v>36</c:v>
                </c:pt>
                <c:pt idx="44">
                  <c:v>37</c:v>
                </c:pt>
                <c:pt idx="45">
                  <c:v>38</c:v>
                </c:pt>
                <c:pt idx="46">
                  <c:v>38</c:v>
                </c:pt>
                <c:pt idx="47">
                  <c:v>38</c:v>
                </c:pt>
                <c:pt idx="48">
                  <c:v>45</c:v>
                </c:pt>
                <c:pt idx="49">
                  <c:v>45</c:v>
                </c:pt>
                <c:pt idx="50">
                  <c:v>44</c:v>
                </c:pt>
                <c:pt idx="51">
                  <c:v>46</c:v>
                </c:pt>
                <c:pt idx="52">
                  <c:v>48</c:v>
                </c:pt>
                <c:pt idx="53">
                  <c:v>62</c:v>
                </c:pt>
                <c:pt idx="54">
                  <c:v>76</c:v>
                </c:pt>
              </c:numCache>
            </c:numRef>
          </c:val>
          <c:extLst>
            <c:ext xmlns:c16="http://schemas.microsoft.com/office/drawing/2014/chart" uri="{C3380CC4-5D6E-409C-BE32-E72D297353CC}">
              <c16:uniqueId val="{00000003-0228-4AF4-B045-315BA15E5D71}"/>
            </c:ext>
          </c:extLst>
        </c:ser>
        <c:ser>
          <c:idx val="4"/>
          <c:order val="4"/>
          <c:spPr>
            <a:solidFill>
              <a:schemeClr val="accent2"/>
            </a:solidFill>
            <a:ln>
              <a:noFill/>
            </a:ln>
          </c:spPr>
          <c:val>
            <c:numRef>
              <c:f>Sheet1!$A$5:$BC$5</c:f>
              <c:numCache>
                <c:formatCode>General</c:formatCode>
                <c:ptCount val="55"/>
                <c:pt idx="0">
                  <c:v>8</c:v>
                </c:pt>
                <c:pt idx="1">
                  <c:v>10</c:v>
                </c:pt>
                <c:pt idx="2">
                  <c:v>10</c:v>
                </c:pt>
                <c:pt idx="3">
                  <c:v>20</c:v>
                </c:pt>
                <c:pt idx="4">
                  <c:v>26</c:v>
                </c:pt>
                <c:pt idx="5">
                  <c:v>35</c:v>
                </c:pt>
                <c:pt idx="6">
                  <c:v>32</c:v>
                </c:pt>
                <c:pt idx="7">
                  <c:v>65</c:v>
                </c:pt>
                <c:pt idx="8">
                  <c:v>80</c:v>
                </c:pt>
                <c:pt idx="9">
                  <c:v>94</c:v>
                </c:pt>
                <c:pt idx="10">
                  <c:v>102</c:v>
                </c:pt>
                <c:pt idx="11">
                  <c:v>119</c:v>
                </c:pt>
                <c:pt idx="12">
                  <c:v>142</c:v>
                </c:pt>
                <c:pt idx="13">
                  <c:v>171</c:v>
                </c:pt>
                <c:pt idx="14">
                  <c:v>205</c:v>
                </c:pt>
                <c:pt idx="15">
                  <c:v>224</c:v>
                </c:pt>
                <c:pt idx="16">
                  <c:v>261</c:v>
                </c:pt>
                <c:pt idx="17">
                  <c:v>250</c:v>
                </c:pt>
                <c:pt idx="18">
                  <c:v>259</c:v>
                </c:pt>
                <c:pt idx="19">
                  <c:v>288</c:v>
                </c:pt>
                <c:pt idx="20">
                  <c:v>305</c:v>
                </c:pt>
                <c:pt idx="21">
                  <c:v>314</c:v>
                </c:pt>
                <c:pt idx="22">
                  <c:v>342</c:v>
                </c:pt>
                <c:pt idx="23">
                  <c:v>363</c:v>
                </c:pt>
                <c:pt idx="24">
                  <c:v>394</c:v>
                </c:pt>
                <c:pt idx="25">
                  <c:v>414</c:v>
                </c:pt>
                <c:pt idx="26">
                  <c:v>433</c:v>
                </c:pt>
                <c:pt idx="27">
                  <c:v>459</c:v>
                </c:pt>
                <c:pt idx="28">
                  <c:v>458</c:v>
                </c:pt>
                <c:pt idx="29">
                  <c:v>472</c:v>
                </c:pt>
                <c:pt idx="30">
                  <c:v>470</c:v>
                </c:pt>
                <c:pt idx="31">
                  <c:v>455</c:v>
                </c:pt>
                <c:pt idx="32">
                  <c:v>410</c:v>
                </c:pt>
                <c:pt idx="33">
                  <c:v>455</c:v>
                </c:pt>
                <c:pt idx="34">
                  <c:v>494</c:v>
                </c:pt>
                <c:pt idx="35">
                  <c:v>494</c:v>
                </c:pt>
                <c:pt idx="36">
                  <c:v>450</c:v>
                </c:pt>
                <c:pt idx="37">
                  <c:v>452</c:v>
                </c:pt>
                <c:pt idx="38">
                  <c:v>472</c:v>
                </c:pt>
                <c:pt idx="39">
                  <c:v>482</c:v>
                </c:pt>
                <c:pt idx="40">
                  <c:v>304</c:v>
                </c:pt>
                <c:pt idx="41">
                  <c:v>211</c:v>
                </c:pt>
                <c:pt idx="42">
                  <c:v>195</c:v>
                </c:pt>
                <c:pt idx="43">
                  <c:v>205</c:v>
                </c:pt>
                <c:pt idx="44">
                  <c:v>215</c:v>
                </c:pt>
                <c:pt idx="45">
                  <c:v>219</c:v>
                </c:pt>
                <c:pt idx="46">
                  <c:v>214</c:v>
                </c:pt>
                <c:pt idx="47">
                  <c:v>236</c:v>
                </c:pt>
                <c:pt idx="48">
                  <c:v>253</c:v>
                </c:pt>
                <c:pt idx="49">
                  <c:v>240</c:v>
                </c:pt>
                <c:pt idx="50">
                  <c:v>276</c:v>
                </c:pt>
                <c:pt idx="51">
                  <c:v>282</c:v>
                </c:pt>
                <c:pt idx="52">
                  <c:v>311</c:v>
                </c:pt>
                <c:pt idx="53">
                  <c:v>322</c:v>
                </c:pt>
                <c:pt idx="54">
                  <c:v>330</c:v>
                </c:pt>
              </c:numCache>
            </c:numRef>
          </c:val>
          <c:extLst>
            <c:ext xmlns:c16="http://schemas.microsoft.com/office/drawing/2014/chart" uri="{C3380CC4-5D6E-409C-BE32-E72D297353CC}">
              <c16:uniqueId val="{00000004-0228-4AF4-B045-315BA15E5D71}"/>
            </c:ext>
          </c:extLst>
        </c:ser>
        <c:ser>
          <c:idx val="5"/>
          <c:order val="5"/>
          <c:spPr>
            <a:solidFill>
              <a:srgbClr val="C30C3E"/>
            </a:solidFill>
            <a:ln>
              <a:noFill/>
            </a:ln>
          </c:spPr>
          <c:val>
            <c:numRef>
              <c:f>Sheet1!$A$6:$BC$6</c:f>
              <c:numCache>
                <c:formatCode>General</c:formatCode>
                <c:ptCount val="55"/>
                <c:pt idx="22">
                  <c:v>2</c:v>
                </c:pt>
                <c:pt idx="23">
                  <c:v>15</c:v>
                </c:pt>
                <c:pt idx="24">
                  <c:v>13</c:v>
                </c:pt>
                <c:pt idx="25">
                  <c:v>14</c:v>
                </c:pt>
                <c:pt idx="26">
                  <c:v>14</c:v>
                </c:pt>
                <c:pt idx="27">
                  <c:v>14</c:v>
                </c:pt>
                <c:pt idx="28">
                  <c:v>15</c:v>
                </c:pt>
                <c:pt idx="29">
                  <c:v>17</c:v>
                </c:pt>
                <c:pt idx="30">
                  <c:v>17</c:v>
                </c:pt>
                <c:pt idx="31">
                  <c:v>25</c:v>
                </c:pt>
                <c:pt idx="32">
                  <c:v>43</c:v>
                </c:pt>
                <c:pt idx="33">
                  <c:v>50</c:v>
                </c:pt>
                <c:pt idx="34">
                  <c:v>53</c:v>
                </c:pt>
                <c:pt idx="35">
                  <c:v>55</c:v>
                </c:pt>
                <c:pt idx="36">
                  <c:v>62</c:v>
                </c:pt>
                <c:pt idx="37">
                  <c:v>68</c:v>
                </c:pt>
                <c:pt idx="38">
                  <c:v>70</c:v>
                </c:pt>
                <c:pt idx="39">
                  <c:v>74</c:v>
                </c:pt>
                <c:pt idx="40">
                  <c:v>86</c:v>
                </c:pt>
                <c:pt idx="41">
                  <c:v>97</c:v>
                </c:pt>
                <c:pt idx="42">
                  <c:v>112</c:v>
                </c:pt>
                <c:pt idx="43">
                  <c:v>133</c:v>
                </c:pt>
                <c:pt idx="44">
                  <c:v>171</c:v>
                </c:pt>
                <c:pt idx="45">
                  <c:v>213</c:v>
                </c:pt>
                <c:pt idx="46">
                  <c:v>248</c:v>
                </c:pt>
                <c:pt idx="47">
                  <c:v>294</c:v>
                </c:pt>
                <c:pt idx="48">
                  <c:v>348</c:v>
                </c:pt>
                <c:pt idx="49">
                  <c:v>366</c:v>
                </c:pt>
                <c:pt idx="50">
                  <c:v>408</c:v>
                </c:pt>
                <c:pt idx="51">
                  <c:v>418</c:v>
                </c:pt>
                <c:pt idx="52">
                  <c:v>433</c:v>
                </c:pt>
                <c:pt idx="53">
                  <c:v>435</c:v>
                </c:pt>
                <c:pt idx="54">
                  <c:v>467</c:v>
                </c:pt>
              </c:numCache>
            </c:numRef>
          </c:val>
          <c:extLst>
            <c:ext xmlns:c16="http://schemas.microsoft.com/office/drawing/2014/chart" uri="{C3380CC4-5D6E-409C-BE32-E72D297353CC}">
              <c16:uniqueId val="{00000005-0228-4AF4-B045-315BA15E5D71}"/>
            </c:ext>
          </c:extLst>
        </c:ser>
        <c:dLbls>
          <c:showLegendKey val="0"/>
          <c:showVal val="0"/>
          <c:showCatName val="0"/>
          <c:showSerName val="0"/>
          <c:showPercent val="0"/>
          <c:showBubbleSize val="0"/>
        </c:dLbls>
        <c:axId val="2023143824"/>
        <c:axId val="1"/>
      </c:areaChart>
      <c:catAx>
        <c:axId val="20231438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0"/>
          <c:min val="0"/>
        </c:scaling>
        <c:delete val="0"/>
        <c:axPos val="l"/>
        <c:majorGridlines>
          <c:spPr>
            <a:ln w="3175" cmpd="sng" algn="ctr">
              <a:solidFill>
                <a:srgbClr val="D6D7D9"/>
              </a:solidFill>
              <a:prstDash val="solid"/>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2023143824"/>
        <c:crosses val="min"/>
        <c:crossBetween val="midCat"/>
        <c:majorUnit val="500"/>
      </c:valAx>
    </c:plotArea>
    <c:plotVisOnly val="0"/>
    <c:dispBlanksAs val="zero"/>
    <c:showDLblsOverMax val="1"/>
  </c:chart>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946902654867256"/>
          <c:y val="7.8651685393258425E-2"/>
          <c:w val="0.56194690265486724"/>
          <c:h val="0.84269662921348309"/>
        </c:manualLayout>
      </c:layout>
      <c:barChart>
        <c:barDir val="col"/>
        <c:grouping val="stacked"/>
        <c:varyColors val="0"/>
        <c:ser>
          <c:idx val="0"/>
          <c:order val="0"/>
          <c:spPr>
            <a:solidFill>
              <a:schemeClr val="accent1"/>
            </a:solidFill>
            <a:ln>
              <a:noFill/>
            </a:ln>
          </c:spPr>
          <c:invertIfNegative val="0"/>
          <c:val>
            <c:numRef>
              <c:f>Sheet1!$A$1</c:f>
              <c:numCache>
                <c:formatCode>General</c:formatCode>
                <c:ptCount val="1"/>
                <c:pt idx="0">
                  <c:v>4.433333333333394</c:v>
                </c:pt>
              </c:numCache>
            </c:numRef>
          </c:val>
          <c:extLst>
            <c:ext xmlns:c16="http://schemas.microsoft.com/office/drawing/2014/chart" uri="{C3380CC4-5D6E-409C-BE32-E72D297353CC}">
              <c16:uniqueId val="{00000000-E3E8-477C-B7E8-15BBD2C1B102}"/>
            </c:ext>
          </c:extLst>
        </c:ser>
        <c:ser>
          <c:idx val="1"/>
          <c:order val="1"/>
          <c:spPr>
            <a:solidFill>
              <a:schemeClr val="accent2"/>
            </a:solidFill>
            <a:ln>
              <a:noFill/>
            </a:ln>
          </c:spPr>
          <c:invertIfNegative val="0"/>
          <c:val>
            <c:numRef>
              <c:f>Sheet1!$A$2</c:f>
              <c:numCache>
                <c:formatCode>General</c:formatCode>
                <c:ptCount val="1"/>
                <c:pt idx="0">
                  <c:v>5.2266666666666879</c:v>
                </c:pt>
              </c:numCache>
            </c:numRef>
          </c:val>
          <c:extLst>
            <c:ext xmlns:c16="http://schemas.microsoft.com/office/drawing/2014/chart" uri="{C3380CC4-5D6E-409C-BE32-E72D297353CC}">
              <c16:uniqueId val="{00000001-E3E8-477C-B7E8-15BBD2C1B102}"/>
            </c:ext>
          </c:extLst>
        </c:ser>
        <c:ser>
          <c:idx val="2"/>
          <c:order val="2"/>
          <c:spPr>
            <a:solidFill>
              <a:schemeClr val="accent3"/>
            </a:solidFill>
            <a:ln>
              <a:noFill/>
            </a:ln>
          </c:spPr>
          <c:invertIfNegative val="0"/>
          <c:dLbls>
            <c:dLbl>
              <c:idx val="0"/>
              <c:layout>
                <c:manualLayout>
                  <c:x val="0"/>
                  <c:y val="0"/>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3E8-477C-B7E8-15BBD2C1B1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5.1000000000000227</c:v>
                </c:pt>
              </c:numCache>
            </c:numRef>
          </c:val>
          <c:extLst>
            <c:ext xmlns:c16="http://schemas.microsoft.com/office/drawing/2014/chart" uri="{C3380CC4-5D6E-409C-BE32-E72D297353CC}">
              <c16:uniqueId val="{00000003-E3E8-477C-B7E8-15BBD2C1B102}"/>
            </c:ext>
          </c:extLst>
        </c:ser>
        <c:ser>
          <c:idx val="3"/>
          <c:order val="3"/>
          <c:spPr>
            <a:solidFill>
              <a:schemeClr val="accent4"/>
            </a:solidFill>
            <a:ln>
              <a:noFill/>
            </a:ln>
          </c:spPr>
          <c:invertIfNegative val="0"/>
          <c:dLbls>
            <c:dLbl>
              <c:idx val="0"/>
              <c:layout>
                <c:manualLayout>
                  <c:x val="0"/>
                  <c:y val="0"/>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3E8-477C-B7E8-15BBD2C1B1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8000000000000114</c:v>
                </c:pt>
              </c:numCache>
            </c:numRef>
          </c:val>
          <c:extLst>
            <c:ext xmlns:c16="http://schemas.microsoft.com/office/drawing/2014/chart" uri="{C3380CC4-5D6E-409C-BE32-E72D297353CC}">
              <c16:uniqueId val="{00000005-E3E8-477C-B7E8-15BBD2C1B102}"/>
            </c:ext>
          </c:extLst>
        </c:ser>
        <c:ser>
          <c:idx val="4"/>
          <c:order val="4"/>
          <c:spPr>
            <a:solidFill>
              <a:schemeClr val="accent5"/>
            </a:solidFill>
            <a:ln>
              <a:noFill/>
            </a:ln>
          </c:spPr>
          <c:invertIfNegative val="0"/>
          <c:dLbls>
            <c:dLbl>
              <c:idx val="0"/>
              <c:layout>
                <c:manualLayout>
                  <c:x val="0"/>
                  <c:y val="0"/>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3E8-477C-B7E8-15BBD2C1B1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3500000000000227</c:v>
                </c:pt>
              </c:numCache>
            </c:numRef>
          </c:val>
          <c:extLst>
            <c:ext xmlns:c16="http://schemas.microsoft.com/office/drawing/2014/chart" uri="{C3380CC4-5D6E-409C-BE32-E72D297353CC}">
              <c16:uniqueId val="{00000007-E3E8-477C-B7E8-15BBD2C1B102}"/>
            </c:ext>
          </c:extLst>
        </c:ser>
        <c:ser>
          <c:idx val="5"/>
          <c:order val="5"/>
          <c:spPr>
            <a:solidFill>
              <a:schemeClr val="accent6"/>
            </a:solidFill>
            <a:ln>
              <a:noFill/>
            </a:ln>
          </c:spPr>
          <c:invertIfNegative val="0"/>
          <c:dLbls>
            <c:dLbl>
              <c:idx val="0"/>
              <c:layout>
                <c:manualLayout>
                  <c:x val="-7.7876106194690264E-2"/>
                  <c:y val="0"/>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3E8-477C-B7E8-15BBD2C1B1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f>
              <c:numCache>
                <c:formatCode>General</c:formatCode>
                <c:ptCount val="1"/>
                <c:pt idx="0">
                  <c:v>1.2599999999999909</c:v>
                </c:pt>
              </c:numCache>
            </c:numRef>
          </c:val>
          <c:extLst>
            <c:ext xmlns:c16="http://schemas.microsoft.com/office/drawing/2014/chart" uri="{C3380CC4-5D6E-409C-BE32-E72D297353CC}">
              <c16:uniqueId val="{00000009-E3E8-477C-B7E8-15BBD2C1B102}"/>
            </c:ext>
          </c:extLst>
        </c:ser>
        <c:ser>
          <c:idx val="6"/>
          <c:order val="6"/>
          <c:spPr>
            <a:solidFill>
              <a:schemeClr val="accent1"/>
            </a:solidFill>
            <a:ln>
              <a:noFill/>
            </a:ln>
          </c:spPr>
          <c:invertIfNegative val="0"/>
          <c:val>
            <c:numRef>
              <c:f>Sheet1!$A$7</c:f>
              <c:numCache>
                <c:formatCode>General</c:formatCode>
                <c:ptCount val="1"/>
                <c:pt idx="0">
                  <c:v>1.0299999999999727</c:v>
                </c:pt>
              </c:numCache>
            </c:numRef>
          </c:val>
          <c:extLst>
            <c:ext xmlns:c16="http://schemas.microsoft.com/office/drawing/2014/chart" uri="{C3380CC4-5D6E-409C-BE32-E72D297353CC}">
              <c16:uniqueId val="{0000000A-E3E8-477C-B7E8-15BBD2C1B102}"/>
            </c:ext>
          </c:extLst>
        </c:ser>
        <c:ser>
          <c:idx val="7"/>
          <c:order val="7"/>
          <c:spPr>
            <a:solidFill>
              <a:schemeClr val="accent2"/>
            </a:solidFill>
            <a:ln>
              <a:noFill/>
            </a:ln>
          </c:spPr>
          <c:invertIfNegative val="0"/>
          <c:val>
            <c:numRef>
              <c:f>Sheet1!$A$8</c:f>
              <c:numCache>
                <c:formatCode>General</c:formatCode>
                <c:ptCount val="1"/>
                <c:pt idx="0">
                  <c:v>0.80000000000001137</c:v>
                </c:pt>
              </c:numCache>
            </c:numRef>
          </c:val>
          <c:extLst>
            <c:ext xmlns:c16="http://schemas.microsoft.com/office/drawing/2014/chart" uri="{C3380CC4-5D6E-409C-BE32-E72D297353CC}">
              <c16:uniqueId val="{0000000B-E3E8-477C-B7E8-15BBD2C1B102}"/>
            </c:ext>
          </c:extLst>
        </c:ser>
        <c:dLbls>
          <c:showLegendKey val="0"/>
          <c:showVal val="0"/>
          <c:showCatName val="0"/>
          <c:showSerName val="0"/>
          <c:showPercent val="0"/>
          <c:showBubbleSize val="0"/>
        </c:dLbls>
        <c:gapWidth val="80"/>
        <c:overlap val="100"/>
        <c:axId val="1277664208"/>
        <c:axId val="1"/>
      </c:barChart>
      <c:catAx>
        <c:axId val="12776642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1.000000000000114"/>
          <c:min val="0"/>
        </c:scaling>
        <c:delete val="1"/>
        <c:axPos val="l"/>
        <c:numFmt formatCode="General" sourceLinked="1"/>
        <c:majorTickMark val="out"/>
        <c:minorTickMark val="none"/>
        <c:tickLblPos val="nextTo"/>
        <c:crossAx val="1277664208"/>
        <c:crosses val="min"/>
        <c:crossBetween val="between"/>
      </c:valAx>
    </c:plotArea>
    <c:plotVisOnly val="0"/>
    <c:dispBlanksAs val="gap"/>
    <c:showDLblsOverMax val="1"/>
  </c:chart>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365358592692828E-2"/>
          <c:y val="2.7310924369747899E-2"/>
          <c:w val="0.85926928281461434"/>
          <c:h val="0.94537815126050417"/>
        </c:manualLayout>
      </c:layout>
      <c:barChart>
        <c:barDir val="col"/>
        <c:grouping val="stacked"/>
        <c:varyColors val="0"/>
        <c:ser>
          <c:idx val="0"/>
          <c:order val="0"/>
          <c:spPr>
            <a:solidFill>
              <a:schemeClr val="accent1"/>
            </a:solidFill>
            <a:ln>
              <a:noFill/>
            </a:ln>
          </c:spPr>
          <c:invertIfNegative val="0"/>
          <c:val>
            <c:numRef>
              <c:f>Sheet1!$A$1</c:f>
              <c:numCache>
                <c:formatCode>General</c:formatCode>
                <c:ptCount val="1"/>
                <c:pt idx="0">
                  <c:v>0.51</c:v>
                </c:pt>
              </c:numCache>
            </c:numRef>
          </c:val>
          <c:extLst>
            <c:ext xmlns:c16="http://schemas.microsoft.com/office/drawing/2014/chart" uri="{C3380CC4-5D6E-409C-BE32-E72D297353CC}">
              <c16:uniqueId val="{00000000-293C-463F-90AD-CD78417E2F06}"/>
            </c:ext>
          </c:extLst>
        </c:ser>
        <c:ser>
          <c:idx val="1"/>
          <c:order val="1"/>
          <c:spPr>
            <a:solidFill>
              <a:schemeClr val="accent2"/>
            </a:solidFill>
            <a:ln>
              <a:noFill/>
            </a:ln>
          </c:spPr>
          <c:invertIfNegative val="0"/>
          <c:val>
            <c:numRef>
              <c:f>Sheet1!$A$2</c:f>
              <c:numCache>
                <c:formatCode>General</c:formatCode>
                <c:ptCount val="1"/>
                <c:pt idx="0">
                  <c:v>0.35</c:v>
                </c:pt>
              </c:numCache>
            </c:numRef>
          </c:val>
          <c:extLst>
            <c:ext xmlns:c16="http://schemas.microsoft.com/office/drawing/2014/chart" uri="{C3380CC4-5D6E-409C-BE32-E72D297353CC}">
              <c16:uniqueId val="{00000001-293C-463F-90AD-CD78417E2F06}"/>
            </c:ext>
          </c:extLst>
        </c:ser>
        <c:ser>
          <c:idx val="2"/>
          <c:order val="2"/>
          <c:spPr>
            <a:solidFill>
              <a:schemeClr val="accent3"/>
            </a:solidFill>
            <a:ln>
              <a:noFill/>
            </a:ln>
          </c:spPr>
          <c:invertIfNegative val="0"/>
          <c:val>
            <c:numRef>
              <c:f>Sheet1!$A$3</c:f>
              <c:numCache>
                <c:formatCode>General</c:formatCode>
                <c:ptCount val="1"/>
                <c:pt idx="0">
                  <c:v>0.29999999999999993</c:v>
                </c:pt>
              </c:numCache>
            </c:numRef>
          </c:val>
          <c:extLst>
            <c:ext xmlns:c16="http://schemas.microsoft.com/office/drawing/2014/chart" uri="{C3380CC4-5D6E-409C-BE32-E72D297353CC}">
              <c16:uniqueId val="{00000002-293C-463F-90AD-CD78417E2F06}"/>
            </c:ext>
          </c:extLst>
        </c:ser>
        <c:ser>
          <c:idx val="3"/>
          <c:order val="3"/>
          <c:spPr>
            <a:solidFill>
              <a:schemeClr val="accent4"/>
            </a:solidFill>
            <a:ln>
              <a:noFill/>
            </a:ln>
          </c:spPr>
          <c:invertIfNegative val="0"/>
          <c:val>
            <c:numRef>
              <c:f>Sheet1!$A$4</c:f>
              <c:numCache>
                <c:formatCode>General</c:formatCode>
                <c:ptCount val="1"/>
                <c:pt idx="0">
                  <c:v>0.1100000000000001</c:v>
                </c:pt>
              </c:numCache>
            </c:numRef>
          </c:val>
          <c:extLst>
            <c:ext xmlns:c16="http://schemas.microsoft.com/office/drawing/2014/chart" uri="{C3380CC4-5D6E-409C-BE32-E72D297353CC}">
              <c16:uniqueId val="{00000003-293C-463F-90AD-CD78417E2F06}"/>
            </c:ext>
          </c:extLst>
        </c:ser>
        <c:ser>
          <c:idx val="4"/>
          <c:order val="4"/>
          <c:spPr>
            <a:solidFill>
              <a:schemeClr val="accent5"/>
            </a:solidFill>
            <a:ln>
              <a:noFill/>
            </a:ln>
          </c:spPr>
          <c:invertIfNegative val="0"/>
          <c:val>
            <c:numRef>
              <c:f>Sheet1!$A$5</c:f>
              <c:numCache>
                <c:formatCode>General</c:formatCode>
                <c:ptCount val="1"/>
                <c:pt idx="0">
                  <c:v>0.10000000000000009</c:v>
                </c:pt>
              </c:numCache>
            </c:numRef>
          </c:val>
          <c:extLst>
            <c:ext xmlns:c16="http://schemas.microsoft.com/office/drawing/2014/chart" uri="{C3380CC4-5D6E-409C-BE32-E72D297353CC}">
              <c16:uniqueId val="{00000004-293C-463F-90AD-CD78417E2F06}"/>
            </c:ext>
          </c:extLst>
        </c:ser>
        <c:ser>
          <c:idx val="5"/>
          <c:order val="5"/>
          <c:spPr>
            <a:solidFill>
              <a:schemeClr val="accent6"/>
            </a:solidFill>
            <a:ln>
              <a:noFill/>
            </a:ln>
          </c:spPr>
          <c:invertIfNegative val="0"/>
          <c:val>
            <c:numRef>
              <c:f>Sheet1!$A$6</c:f>
              <c:numCache>
                <c:formatCode>General</c:formatCode>
                <c:ptCount val="1"/>
                <c:pt idx="0">
                  <c:v>4.0000000000000036E-2</c:v>
                </c:pt>
              </c:numCache>
            </c:numRef>
          </c:val>
          <c:extLst>
            <c:ext xmlns:c16="http://schemas.microsoft.com/office/drawing/2014/chart" uri="{C3380CC4-5D6E-409C-BE32-E72D297353CC}">
              <c16:uniqueId val="{00000005-293C-463F-90AD-CD78417E2F06}"/>
            </c:ext>
          </c:extLst>
        </c:ser>
        <c:dLbls>
          <c:showLegendKey val="0"/>
          <c:showVal val="0"/>
          <c:showCatName val="0"/>
          <c:showSerName val="0"/>
          <c:showPercent val="0"/>
          <c:showBubbleSize val="0"/>
        </c:dLbls>
        <c:gapWidth val="80"/>
        <c:overlap val="100"/>
        <c:axId val="2036114735"/>
        <c:axId val="1"/>
      </c:barChart>
      <c:catAx>
        <c:axId val="20361147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100000000000001"/>
          <c:min val="0"/>
        </c:scaling>
        <c:delete val="1"/>
        <c:axPos val="l"/>
        <c:numFmt formatCode="General" sourceLinked="1"/>
        <c:majorTickMark val="out"/>
        <c:minorTickMark val="none"/>
        <c:tickLblPos val="nextTo"/>
        <c:crossAx val="2036114735"/>
        <c:crosses val="min"/>
        <c:crossBetween val="between"/>
      </c:valAx>
    </c:plotArea>
    <c:plotVisOnly val="0"/>
    <c:dispBlanksAs val="gap"/>
    <c:showDLblsOverMax val="1"/>
  </c:chart>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365358592692828E-2"/>
          <c:y val="2.7310924369747899E-2"/>
          <c:w val="0.85926928281461434"/>
          <c:h val="0.94537815126050417"/>
        </c:manualLayout>
      </c:layout>
      <c:barChart>
        <c:barDir val="col"/>
        <c:grouping val="stacked"/>
        <c:varyColors val="0"/>
        <c:ser>
          <c:idx val="0"/>
          <c:order val="0"/>
          <c:spPr>
            <a:solidFill>
              <a:schemeClr val="accent1"/>
            </a:solidFill>
            <a:ln>
              <a:noFill/>
            </a:ln>
          </c:spPr>
          <c:invertIfNegative val="0"/>
          <c:val>
            <c:numRef>
              <c:f>Sheet1!$A$1</c:f>
              <c:numCache>
                <c:formatCode>General</c:formatCode>
                <c:ptCount val="1"/>
                <c:pt idx="0">
                  <c:v>7.506024096385544E-2</c:v>
                </c:pt>
              </c:numCache>
            </c:numRef>
          </c:val>
          <c:extLst>
            <c:ext xmlns:c16="http://schemas.microsoft.com/office/drawing/2014/chart" uri="{C3380CC4-5D6E-409C-BE32-E72D297353CC}">
              <c16:uniqueId val="{00000000-65BE-46C7-9E67-9354DA0F46A7}"/>
            </c:ext>
          </c:extLst>
        </c:ser>
        <c:ser>
          <c:idx val="1"/>
          <c:order val="1"/>
          <c:spPr>
            <a:solidFill>
              <a:schemeClr val="accent2"/>
            </a:solidFill>
            <a:ln>
              <a:noFill/>
            </a:ln>
          </c:spPr>
          <c:invertIfNegative val="0"/>
          <c:val>
            <c:numRef>
              <c:f>Sheet1!$A$2</c:f>
              <c:numCache>
                <c:formatCode>General</c:formatCode>
                <c:ptCount val="1"/>
                <c:pt idx="0">
                  <c:v>4.469879518072295E-2</c:v>
                </c:pt>
              </c:numCache>
            </c:numRef>
          </c:val>
          <c:extLst>
            <c:ext xmlns:c16="http://schemas.microsoft.com/office/drawing/2014/chart" uri="{C3380CC4-5D6E-409C-BE32-E72D297353CC}">
              <c16:uniqueId val="{00000001-65BE-46C7-9E67-9354DA0F46A7}"/>
            </c:ext>
          </c:extLst>
        </c:ser>
        <c:ser>
          <c:idx val="2"/>
          <c:order val="2"/>
          <c:spPr>
            <a:solidFill>
              <a:schemeClr val="accent3"/>
            </a:solidFill>
            <a:ln>
              <a:noFill/>
            </a:ln>
          </c:spPr>
          <c:invertIfNegative val="0"/>
          <c:val>
            <c:numRef>
              <c:f>Sheet1!$A$3</c:f>
              <c:numCache>
                <c:formatCode>General</c:formatCode>
                <c:ptCount val="1"/>
                <c:pt idx="0">
                  <c:v>3.0000000000000027E-2</c:v>
                </c:pt>
              </c:numCache>
            </c:numRef>
          </c:val>
          <c:extLst>
            <c:ext xmlns:c16="http://schemas.microsoft.com/office/drawing/2014/chart" uri="{C3380CC4-5D6E-409C-BE32-E72D297353CC}">
              <c16:uniqueId val="{00000002-65BE-46C7-9E67-9354DA0F46A7}"/>
            </c:ext>
          </c:extLst>
        </c:ser>
        <c:ser>
          <c:idx val="3"/>
          <c:order val="3"/>
          <c:spPr>
            <a:solidFill>
              <a:schemeClr val="accent4"/>
            </a:solidFill>
            <a:ln>
              <a:noFill/>
            </a:ln>
          </c:spPr>
          <c:invertIfNegative val="0"/>
          <c:val>
            <c:numRef>
              <c:f>Sheet1!$A$4</c:f>
              <c:numCache>
                <c:formatCode>General</c:formatCode>
                <c:ptCount val="1"/>
                <c:pt idx="0">
                  <c:v>1.0000000000000009E-2</c:v>
                </c:pt>
              </c:numCache>
            </c:numRef>
          </c:val>
          <c:extLst>
            <c:ext xmlns:c16="http://schemas.microsoft.com/office/drawing/2014/chart" uri="{C3380CC4-5D6E-409C-BE32-E72D297353CC}">
              <c16:uniqueId val="{00000003-65BE-46C7-9E67-9354DA0F46A7}"/>
            </c:ext>
          </c:extLst>
        </c:ser>
        <c:ser>
          <c:idx val="4"/>
          <c:order val="4"/>
          <c:spPr>
            <a:solidFill>
              <a:schemeClr val="accent5"/>
            </a:solidFill>
            <a:ln>
              <a:noFill/>
            </a:ln>
          </c:spPr>
          <c:invertIfNegative val="0"/>
          <c:val>
            <c:numRef>
              <c:f>Sheet1!$A$5</c:f>
              <c:numCache>
                <c:formatCode>General</c:formatCode>
                <c:ptCount val="1"/>
                <c:pt idx="0">
                  <c:v>1.0000000000000009E-2</c:v>
                </c:pt>
              </c:numCache>
            </c:numRef>
          </c:val>
          <c:extLst>
            <c:ext xmlns:c16="http://schemas.microsoft.com/office/drawing/2014/chart" uri="{C3380CC4-5D6E-409C-BE32-E72D297353CC}">
              <c16:uniqueId val="{00000004-65BE-46C7-9E67-9354DA0F46A7}"/>
            </c:ext>
          </c:extLst>
        </c:ser>
        <c:ser>
          <c:idx val="5"/>
          <c:order val="5"/>
          <c:spPr>
            <a:solidFill>
              <a:schemeClr val="accent6"/>
            </a:solidFill>
            <a:ln>
              <a:noFill/>
            </a:ln>
          </c:spPr>
          <c:invertIfNegative val="0"/>
          <c:val>
            <c:numRef>
              <c:f>Sheet1!$A$6</c:f>
              <c:numCache>
                <c:formatCode>General</c:formatCode>
                <c:ptCount val="1"/>
                <c:pt idx="0">
                  <c:v>1.0000000000000009E-2</c:v>
                </c:pt>
              </c:numCache>
            </c:numRef>
          </c:val>
          <c:extLst>
            <c:ext xmlns:c16="http://schemas.microsoft.com/office/drawing/2014/chart" uri="{C3380CC4-5D6E-409C-BE32-E72D297353CC}">
              <c16:uniqueId val="{00000005-65BE-46C7-9E67-9354DA0F46A7}"/>
            </c:ext>
          </c:extLst>
        </c:ser>
        <c:ser>
          <c:idx val="6"/>
          <c:order val="6"/>
          <c:spPr>
            <a:solidFill>
              <a:schemeClr val="accent1"/>
            </a:solidFill>
            <a:ln>
              <a:noFill/>
            </a:ln>
          </c:spPr>
          <c:invertIfNegative val="0"/>
          <c:val>
            <c:numRef>
              <c:f>Sheet1!$A$7</c:f>
              <c:numCache>
                <c:formatCode>General</c:formatCode>
                <c:ptCount val="1"/>
                <c:pt idx="0">
                  <c:v>1.0000000000000009E-2</c:v>
                </c:pt>
              </c:numCache>
            </c:numRef>
          </c:val>
          <c:extLst>
            <c:ext xmlns:c16="http://schemas.microsoft.com/office/drawing/2014/chart" uri="{C3380CC4-5D6E-409C-BE32-E72D297353CC}">
              <c16:uniqueId val="{00000006-65BE-46C7-9E67-9354DA0F46A7}"/>
            </c:ext>
          </c:extLst>
        </c:ser>
        <c:dLbls>
          <c:showLegendKey val="0"/>
          <c:showVal val="0"/>
          <c:showCatName val="0"/>
          <c:showSerName val="0"/>
          <c:showPercent val="0"/>
          <c:showBubbleSize val="0"/>
        </c:dLbls>
        <c:gapWidth val="80"/>
        <c:overlap val="100"/>
        <c:axId val="306534623"/>
        <c:axId val="1"/>
      </c:barChart>
      <c:catAx>
        <c:axId val="3065346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18975903614457845"/>
          <c:min val="0"/>
        </c:scaling>
        <c:delete val="1"/>
        <c:axPos val="l"/>
        <c:numFmt formatCode="General" sourceLinked="1"/>
        <c:majorTickMark val="out"/>
        <c:minorTickMark val="none"/>
        <c:tickLblPos val="nextTo"/>
        <c:crossAx val="306534623"/>
        <c:crosses val="min"/>
        <c:crossBetween val="between"/>
      </c:valAx>
    </c:plotArea>
    <c:plotVisOnly val="0"/>
    <c:dispBlanksAs val="gap"/>
    <c:showDLblsOverMax val="1"/>
  </c:chart>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620603015075377"/>
          <c:y val="0.1387491013659238"/>
          <c:w val="0.85113065326633164"/>
          <c:h val="0.72250179726815245"/>
        </c:manualLayout>
      </c:layout>
      <c:barChart>
        <c:barDir val="bar"/>
        <c:grouping val="clustered"/>
        <c:varyColors val="0"/>
        <c:ser>
          <c:idx val="0"/>
          <c:order val="0"/>
          <c:spPr>
            <a:solidFill>
              <a:schemeClr val="accent1"/>
            </a:solidFill>
            <a:ln>
              <a:noFill/>
            </a:ln>
          </c:spPr>
          <c:invertIfNegative val="0"/>
          <c:dLbls>
            <c:dLbl>
              <c:idx val="0"/>
              <c:layout>
                <c:manualLayout>
                  <c:x val="0.48492462311557788"/>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34F-EB4C-BDA4-BC14EB1D162B}"/>
                </c:ext>
              </c:extLst>
            </c:dLbl>
            <c:dLbl>
              <c:idx val="1"/>
              <c:layout>
                <c:manualLayout>
                  <c:x val="0.30213567839195982"/>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34F-EB4C-BDA4-BC14EB1D16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56</c:v>
                </c:pt>
                <c:pt idx="1">
                  <c:v>32</c:v>
                </c:pt>
              </c:numCache>
            </c:numRef>
          </c:val>
          <c:extLst>
            <c:ext xmlns:c16="http://schemas.microsoft.com/office/drawing/2014/chart" uri="{C3380CC4-5D6E-409C-BE32-E72D297353CC}">
              <c16:uniqueId val="{00000002-834F-EB4C-BDA4-BC14EB1D162B}"/>
            </c:ext>
          </c:extLst>
        </c:ser>
        <c:ser>
          <c:idx val="1"/>
          <c:order val="1"/>
          <c:spPr>
            <a:solidFill>
              <a:schemeClr val="accent2"/>
            </a:solidFill>
            <a:ln>
              <a:noFill/>
            </a:ln>
          </c:spPr>
          <c:invertIfNegative val="0"/>
          <c:dLbls>
            <c:dLbl>
              <c:idx val="0"/>
              <c:layout>
                <c:manualLayout>
                  <c:x val="0.44660804020100503"/>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34F-EB4C-BDA4-BC14EB1D162B}"/>
                </c:ext>
              </c:extLst>
            </c:dLbl>
            <c:dLbl>
              <c:idx val="1"/>
              <c:layout>
                <c:manualLayout>
                  <c:x val="0.20351758793969849"/>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34F-EB4C-BDA4-BC14EB1D16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51</c:v>
                </c:pt>
                <c:pt idx="1">
                  <c:v>19</c:v>
                </c:pt>
              </c:numCache>
            </c:numRef>
          </c:val>
          <c:extLst>
            <c:ext xmlns:c16="http://schemas.microsoft.com/office/drawing/2014/chart" uri="{C3380CC4-5D6E-409C-BE32-E72D297353CC}">
              <c16:uniqueId val="{00000005-834F-EB4C-BDA4-BC14EB1D162B}"/>
            </c:ext>
          </c:extLst>
        </c:ser>
        <c:dLbls>
          <c:showLegendKey val="0"/>
          <c:showVal val="0"/>
          <c:showCatName val="0"/>
          <c:showSerName val="0"/>
          <c:showPercent val="0"/>
          <c:showBubbleSize val="0"/>
        </c:dLbls>
        <c:gapWidth val="80"/>
        <c:axId val="597211984"/>
        <c:axId val="1"/>
      </c:barChart>
      <c:catAx>
        <c:axId val="597211984"/>
        <c:scaling>
          <c:orientation val="maxMin"/>
        </c:scaling>
        <c:delete val="0"/>
        <c:axPos val="r"/>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axMin"/>
          <c:max val="56"/>
          <c:min val="0"/>
        </c:scaling>
        <c:delete val="1"/>
        <c:axPos val="t"/>
        <c:numFmt formatCode="General" sourceLinked="1"/>
        <c:majorTickMark val="out"/>
        <c:minorTickMark val="none"/>
        <c:tickLblPos val="nextTo"/>
        <c:crossAx val="597211984"/>
        <c:crosses val="min"/>
        <c:crossBetween val="between"/>
      </c:valAx>
    </c:plotArea>
    <c:plotVisOnly val="0"/>
    <c:dispBlanksAs val="gap"/>
    <c:showDLblsOverMax val="1"/>
  </c:chart>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527736867943053E-2"/>
          <c:y val="0.1387491013659238"/>
          <c:w val="0.88365243004418259"/>
          <c:h val="0.72250179726815245"/>
        </c:manualLayout>
      </c:layout>
      <c:barChart>
        <c:barDir val="bar"/>
        <c:grouping val="clustered"/>
        <c:varyColors val="0"/>
        <c:ser>
          <c:idx val="0"/>
          <c:order val="0"/>
          <c:spPr>
            <a:solidFill>
              <a:schemeClr val="accent1"/>
            </a:solidFill>
            <a:ln>
              <a:noFill/>
            </a:ln>
          </c:spPr>
          <c:invertIfNegative val="0"/>
          <c:dLbls>
            <c:dLbl>
              <c:idx val="0"/>
              <c:layout>
                <c:manualLayout>
                  <c:x val="0.26460481099656358"/>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A2A-D547-A770-F53A7F1AFB92}"/>
                </c:ext>
              </c:extLst>
            </c:dLbl>
            <c:dLbl>
              <c:idx val="1"/>
              <c:layout>
                <c:manualLayout>
                  <c:x val="0.35149729995090817"/>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A2A-D547-A770-F53A7F1AFB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0</c:v>
                </c:pt>
                <c:pt idx="1">
                  <c:v>56</c:v>
                </c:pt>
              </c:numCache>
            </c:numRef>
          </c:val>
          <c:extLst>
            <c:ext xmlns:c16="http://schemas.microsoft.com/office/drawing/2014/chart" uri="{C3380CC4-5D6E-409C-BE32-E72D297353CC}">
              <c16:uniqueId val="{00000002-5A2A-D547-A770-F53A7F1AFB92}"/>
            </c:ext>
          </c:extLst>
        </c:ser>
        <c:ser>
          <c:idx val="1"/>
          <c:order val="1"/>
          <c:spPr>
            <a:solidFill>
              <a:schemeClr val="accent2"/>
            </a:solidFill>
            <a:ln>
              <a:noFill/>
            </a:ln>
          </c:spPr>
          <c:invertIfNegative val="0"/>
          <c:dLbls>
            <c:dLbl>
              <c:idx val="0"/>
              <c:layout>
                <c:manualLayout>
                  <c:x val="0.28620520373097691"/>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A2A-D547-A770-F53A7F1AFB92}"/>
                </c:ext>
              </c:extLst>
            </c:dLbl>
            <c:dLbl>
              <c:idx val="1"/>
              <c:layout>
                <c:manualLayout>
                  <c:x val="0.48797250859106528"/>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A2A-D547-A770-F53A7F1AFB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44</c:v>
                </c:pt>
                <c:pt idx="1">
                  <c:v>81</c:v>
                </c:pt>
              </c:numCache>
            </c:numRef>
          </c:val>
          <c:extLst>
            <c:ext xmlns:c16="http://schemas.microsoft.com/office/drawing/2014/chart" uri="{C3380CC4-5D6E-409C-BE32-E72D297353CC}">
              <c16:uniqueId val="{00000005-5A2A-D547-A770-F53A7F1AFB92}"/>
            </c:ext>
          </c:extLst>
        </c:ser>
        <c:dLbls>
          <c:showLegendKey val="0"/>
          <c:showVal val="0"/>
          <c:showCatName val="0"/>
          <c:showSerName val="0"/>
          <c:showPercent val="0"/>
          <c:showBubbleSize val="0"/>
        </c:dLbls>
        <c:gapWidth val="80"/>
        <c:axId val="431695135"/>
        <c:axId val="1"/>
      </c:barChart>
      <c:catAx>
        <c:axId val="43169513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1"/>
          <c:min val="0"/>
        </c:scaling>
        <c:delete val="1"/>
        <c:axPos val="t"/>
        <c:numFmt formatCode="General" sourceLinked="1"/>
        <c:majorTickMark val="out"/>
        <c:minorTickMark val="none"/>
        <c:tickLblPos val="nextTo"/>
        <c:crossAx val="431695135"/>
        <c:crosses val="min"/>
        <c:crossBetween val="between"/>
      </c:valAx>
    </c:plotArea>
    <c:plotVisOnly val="0"/>
    <c:dispBlanksAs val="gap"/>
    <c:showDLblsOverMax val="1"/>
  </c:chart>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57541899441341E-2"/>
          <c:y val="8.3262531860662709E-2"/>
          <c:w val="0.90465549348230911"/>
          <c:h val="0.83347493627867464"/>
        </c:manualLayout>
      </c:layout>
      <c:barChart>
        <c:barDir val="col"/>
        <c:grouping val="stacked"/>
        <c:varyColors val="0"/>
        <c:ser>
          <c:idx val="0"/>
          <c:order val="0"/>
          <c:spPr>
            <a:solidFill>
              <a:srgbClr val="9DB1CF"/>
            </a:solidFill>
            <a:ln>
              <a:noFill/>
            </a:ln>
          </c:spPr>
          <c:invertIfNegative val="0"/>
          <c:val>
            <c:numRef>
              <c:f>Sheet1!$A$1:$Y$1</c:f>
              <c:numCache>
                <c:formatCode>General</c:formatCode>
                <c:ptCount val="25"/>
                <c:pt idx="0">
                  <c:v>57</c:v>
                </c:pt>
                <c:pt idx="1">
                  <c:v>57</c:v>
                </c:pt>
                <c:pt idx="2">
                  <c:v>59</c:v>
                </c:pt>
                <c:pt idx="3">
                  <c:v>59</c:v>
                </c:pt>
                <c:pt idx="4">
                  <c:v>59</c:v>
                </c:pt>
                <c:pt idx="5">
                  <c:v>59</c:v>
                </c:pt>
                <c:pt idx="6">
                  <c:v>59</c:v>
                </c:pt>
                <c:pt idx="7">
                  <c:v>59</c:v>
                </c:pt>
                <c:pt idx="8">
                  <c:v>59</c:v>
                </c:pt>
                <c:pt idx="9">
                  <c:v>59</c:v>
                </c:pt>
                <c:pt idx="10">
                  <c:v>59</c:v>
                </c:pt>
                <c:pt idx="11">
                  <c:v>58</c:v>
                </c:pt>
                <c:pt idx="12">
                  <c:v>58</c:v>
                </c:pt>
                <c:pt idx="13">
                  <c:v>58</c:v>
                </c:pt>
                <c:pt idx="14">
                  <c:v>58</c:v>
                </c:pt>
                <c:pt idx="15">
                  <c:v>58</c:v>
                </c:pt>
                <c:pt idx="16">
                  <c:v>58</c:v>
                </c:pt>
                <c:pt idx="17">
                  <c:v>58</c:v>
                </c:pt>
                <c:pt idx="18">
                  <c:v>58</c:v>
                </c:pt>
                <c:pt idx="19">
                  <c:v>58</c:v>
                </c:pt>
                <c:pt idx="20">
                  <c:v>58</c:v>
                </c:pt>
                <c:pt idx="21">
                  <c:v>56</c:v>
                </c:pt>
                <c:pt idx="22">
                  <c:v>56</c:v>
                </c:pt>
                <c:pt idx="23">
                  <c:v>56</c:v>
                </c:pt>
                <c:pt idx="24">
                  <c:v>56</c:v>
                </c:pt>
              </c:numCache>
            </c:numRef>
          </c:val>
          <c:extLst>
            <c:ext xmlns:c16="http://schemas.microsoft.com/office/drawing/2014/chart" uri="{C3380CC4-5D6E-409C-BE32-E72D297353CC}">
              <c16:uniqueId val="{00000000-7FBB-4B54-B1AB-CF8BFF8487C5}"/>
            </c:ext>
          </c:extLst>
        </c:ser>
        <c:ser>
          <c:idx val="1"/>
          <c:order val="1"/>
          <c:spPr>
            <a:solidFill>
              <a:schemeClr val="accent1"/>
            </a:solidFill>
            <a:ln>
              <a:noFill/>
            </a:ln>
          </c:spPr>
          <c:invertIfNegative val="0"/>
          <c:val>
            <c:numRef>
              <c:f>Sheet1!$A$2:$Y$2</c:f>
              <c:numCache>
                <c:formatCode>General</c:formatCode>
                <c:ptCount val="25"/>
                <c:pt idx="0">
                  <c:v>19</c:v>
                </c:pt>
                <c:pt idx="1">
                  <c:v>19</c:v>
                </c:pt>
                <c:pt idx="2">
                  <c:v>19</c:v>
                </c:pt>
                <c:pt idx="3">
                  <c:v>19</c:v>
                </c:pt>
                <c:pt idx="4">
                  <c:v>18</c:v>
                </c:pt>
                <c:pt idx="5">
                  <c:v>18</c:v>
                </c:pt>
                <c:pt idx="6">
                  <c:v>17</c:v>
                </c:pt>
                <c:pt idx="7">
                  <c:v>17</c:v>
                </c:pt>
                <c:pt idx="8">
                  <c:v>17</c:v>
                </c:pt>
                <c:pt idx="9">
                  <c:v>17</c:v>
                </c:pt>
                <c:pt idx="10">
                  <c:v>17</c:v>
                </c:pt>
                <c:pt idx="11">
                  <c:v>17</c:v>
                </c:pt>
                <c:pt idx="12">
                  <c:v>9</c:v>
                </c:pt>
                <c:pt idx="13">
                  <c:v>9</c:v>
                </c:pt>
                <c:pt idx="14">
                  <c:v>9</c:v>
                </c:pt>
                <c:pt idx="15">
                  <c:v>9</c:v>
                </c:pt>
                <c:pt idx="16">
                  <c:v>8</c:v>
                </c:pt>
                <c:pt idx="17">
                  <c:v>8</c:v>
                </c:pt>
                <c:pt idx="18">
                  <c:v>7</c:v>
                </c:pt>
                <c:pt idx="19">
                  <c:v>7</c:v>
                </c:pt>
                <c:pt idx="20">
                  <c:v>6</c:v>
                </c:pt>
                <c:pt idx="21">
                  <c:v>6</c:v>
                </c:pt>
                <c:pt idx="22">
                  <c:v>3</c:v>
                </c:pt>
                <c:pt idx="23">
                  <c:v>3</c:v>
                </c:pt>
                <c:pt idx="24">
                  <c:v>0</c:v>
                </c:pt>
              </c:numCache>
            </c:numRef>
          </c:val>
          <c:extLst>
            <c:ext xmlns:c16="http://schemas.microsoft.com/office/drawing/2014/chart" uri="{C3380CC4-5D6E-409C-BE32-E72D297353CC}">
              <c16:uniqueId val="{00000001-7FBB-4B54-B1AB-CF8BFF8487C5}"/>
            </c:ext>
          </c:extLst>
        </c:ser>
        <c:dLbls>
          <c:showLegendKey val="0"/>
          <c:showVal val="0"/>
          <c:showCatName val="0"/>
          <c:showSerName val="0"/>
          <c:showPercent val="0"/>
          <c:showBubbleSize val="0"/>
        </c:dLbls>
        <c:gapWidth val="80"/>
        <c:overlap val="100"/>
        <c:axId val="1753299472"/>
        <c:axId val="1"/>
      </c:barChart>
      <c:lineChart>
        <c:grouping val="standard"/>
        <c:varyColors val="0"/>
        <c:ser>
          <c:idx val="2"/>
          <c:order val="2"/>
          <c:spPr>
            <a:ln w="28575" cmpd="sng" algn="ctr">
              <a:solidFill>
                <a:schemeClr val="accent1"/>
              </a:solidFill>
              <a:prstDash val="solid"/>
            </a:ln>
          </c:spPr>
          <c:marker>
            <c:symbol val="none"/>
          </c:marker>
          <c:val>
            <c:numRef>
              <c:f>Sheet1!$A$3:$Y$3</c:f>
              <c:numCache>
                <c:formatCode>General</c:formatCode>
                <c:ptCount val="25"/>
                <c:pt idx="0">
                  <c:v>169.61</c:v>
                </c:pt>
                <c:pt idx="1">
                  <c:v>171.3</c:v>
                </c:pt>
                <c:pt idx="2">
                  <c:v>164.84</c:v>
                </c:pt>
                <c:pt idx="3">
                  <c:v>165.06</c:v>
                </c:pt>
                <c:pt idx="4">
                  <c:v>167.07</c:v>
                </c:pt>
                <c:pt idx="5">
                  <c:v>163.05000000000001</c:v>
                </c:pt>
                <c:pt idx="6">
                  <c:v>167.27</c:v>
                </c:pt>
                <c:pt idx="7">
                  <c:v>140.53</c:v>
                </c:pt>
                <c:pt idx="8">
                  <c:v>148.49</c:v>
                </c:pt>
                <c:pt idx="9">
                  <c:v>134.93</c:v>
                </c:pt>
                <c:pt idx="10">
                  <c:v>140.56</c:v>
                </c:pt>
                <c:pt idx="11">
                  <c:v>107.97</c:v>
                </c:pt>
                <c:pt idx="12">
                  <c:v>99.46</c:v>
                </c:pt>
                <c:pt idx="13">
                  <c:v>97.29</c:v>
                </c:pt>
                <c:pt idx="14">
                  <c:v>97.13</c:v>
                </c:pt>
                <c:pt idx="15">
                  <c:v>91.79</c:v>
                </c:pt>
                <c:pt idx="16">
                  <c:v>84.63</c:v>
                </c:pt>
                <c:pt idx="17">
                  <c:v>76.319999999999993</c:v>
                </c:pt>
                <c:pt idx="18">
                  <c:v>76</c:v>
                </c:pt>
                <c:pt idx="19">
                  <c:v>75.069999999999993</c:v>
                </c:pt>
                <c:pt idx="20">
                  <c:v>64.38</c:v>
                </c:pt>
                <c:pt idx="21">
                  <c:v>69.13</c:v>
                </c:pt>
                <c:pt idx="22">
                  <c:v>34.71</c:v>
                </c:pt>
                <c:pt idx="23">
                  <c:v>7.22</c:v>
                </c:pt>
                <c:pt idx="24">
                  <c:v>0</c:v>
                </c:pt>
              </c:numCache>
            </c:numRef>
          </c:val>
          <c:smooth val="0"/>
          <c:extLst>
            <c:ext xmlns:c16="http://schemas.microsoft.com/office/drawing/2014/chart" uri="{C3380CC4-5D6E-409C-BE32-E72D297353CC}">
              <c16:uniqueId val="{00000002-7FBB-4B54-B1AB-CF8BFF8487C5}"/>
            </c:ext>
          </c:extLst>
        </c:ser>
        <c:ser>
          <c:idx val="3"/>
          <c:order val="3"/>
          <c:spPr>
            <a:ln w="28575" cmpd="sng" algn="ctr">
              <a:solidFill>
                <a:srgbClr val="C3CFE1"/>
              </a:solidFill>
              <a:prstDash val="solid"/>
            </a:ln>
          </c:spPr>
          <c:marker>
            <c:symbol val="none"/>
          </c:marker>
          <c:val>
            <c:numRef>
              <c:f>Sheet1!$A$4:$Y$4</c:f>
              <c:numCache>
                <c:formatCode>General</c:formatCode>
                <c:ptCount val="25"/>
                <c:pt idx="0">
                  <c:v>415.16</c:v>
                </c:pt>
                <c:pt idx="1">
                  <c:v>421.08</c:v>
                </c:pt>
                <c:pt idx="2">
                  <c:v>436.76</c:v>
                </c:pt>
                <c:pt idx="3">
                  <c:v>441.07</c:v>
                </c:pt>
                <c:pt idx="4">
                  <c:v>448.24</c:v>
                </c:pt>
                <c:pt idx="5">
                  <c:v>451.53</c:v>
                </c:pt>
                <c:pt idx="6">
                  <c:v>450.19</c:v>
                </c:pt>
                <c:pt idx="7">
                  <c:v>439.73</c:v>
                </c:pt>
                <c:pt idx="8">
                  <c:v>439.45</c:v>
                </c:pt>
                <c:pt idx="9">
                  <c:v>409.74</c:v>
                </c:pt>
                <c:pt idx="10">
                  <c:v>428.52</c:v>
                </c:pt>
                <c:pt idx="11">
                  <c:v>442.39</c:v>
                </c:pt>
                <c:pt idx="12">
                  <c:v>425.41</c:v>
                </c:pt>
                <c:pt idx="13">
                  <c:v>423.68</c:v>
                </c:pt>
                <c:pt idx="14">
                  <c:v>436.48</c:v>
                </c:pt>
                <c:pt idx="15">
                  <c:v>437.43</c:v>
                </c:pt>
                <c:pt idx="16">
                  <c:v>403.2</c:v>
                </c:pt>
                <c:pt idx="17">
                  <c:v>398.36</c:v>
                </c:pt>
                <c:pt idx="18">
                  <c:v>412.94</c:v>
                </c:pt>
                <c:pt idx="19">
                  <c:v>399.01</c:v>
                </c:pt>
                <c:pt idx="20">
                  <c:v>353.83</c:v>
                </c:pt>
                <c:pt idx="21">
                  <c:v>379.36</c:v>
                </c:pt>
                <c:pt idx="22">
                  <c:v>294.73</c:v>
                </c:pt>
                <c:pt idx="23">
                  <c:v>338.2</c:v>
                </c:pt>
                <c:pt idx="24">
                  <c:v>379.27</c:v>
                </c:pt>
              </c:numCache>
            </c:numRef>
          </c:val>
          <c:smooth val="0"/>
          <c:extLst>
            <c:ext xmlns:c16="http://schemas.microsoft.com/office/drawing/2014/chart" uri="{C3380CC4-5D6E-409C-BE32-E72D297353CC}">
              <c16:uniqueId val="{00000003-7FBB-4B54-B1AB-CF8BFF8487C5}"/>
            </c:ext>
          </c:extLst>
        </c:ser>
        <c:dLbls>
          <c:showLegendKey val="0"/>
          <c:showVal val="0"/>
          <c:showCatName val="0"/>
          <c:showSerName val="0"/>
          <c:showPercent val="0"/>
          <c:showBubbleSize val="0"/>
        </c:dLbls>
        <c:marker val="1"/>
        <c:smooth val="0"/>
        <c:axId val="2"/>
        <c:axId val="3"/>
      </c:lineChart>
      <c:catAx>
        <c:axId val="17532994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753299472"/>
        <c:crosses val="min"/>
        <c:crossBetween val="between"/>
        <c:majorUnit val="1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500"/>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
        <c:crosses val="max"/>
        <c:crossBetween val="between"/>
        <c:majorUnit val="1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92081536652292E-2"/>
          <c:y val="0.1333907056798623"/>
          <c:w val="0.9796158369266954"/>
          <c:h val="0.73321858864027534"/>
        </c:manualLayout>
      </c:layout>
      <c:barChart>
        <c:barDir val="col"/>
        <c:grouping val="stacked"/>
        <c:varyColors val="0"/>
        <c:ser>
          <c:idx val="0"/>
          <c:order val="0"/>
          <c:spPr>
            <a:solidFill>
              <a:srgbClr val="4C6C9C"/>
            </a:solidFill>
            <a:ln>
              <a:noFill/>
            </a:ln>
          </c:spPr>
          <c:invertIfNegative val="0"/>
          <c:dLbls>
            <c:dLbl>
              <c:idx val="5"/>
              <c:layout>
                <c:manualLayout>
                  <c:x val="0"/>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79C-4153-90F8-ACA6DB7FFAC3}"/>
                </c:ext>
              </c:extLst>
            </c:dLbl>
            <c:dLbl>
              <c:idx val="6"/>
              <c:layout>
                <c:manualLayout>
                  <c:x val="0"/>
                  <c:y val="-8.6058519793459555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79C-4153-90F8-ACA6DB7FFA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645</c:v>
                </c:pt>
                <c:pt idx="1">
                  <c:v>663</c:v>
                </c:pt>
                <c:pt idx="2">
                  <c:v>738.75</c:v>
                </c:pt>
                <c:pt idx="3">
                  <c:v>665.75</c:v>
                </c:pt>
                <c:pt idx="4">
                  <c:v>687</c:v>
                </c:pt>
                <c:pt idx="5">
                  <c:v>992</c:v>
                </c:pt>
                <c:pt idx="6">
                  <c:v>1267.75</c:v>
                </c:pt>
              </c:numCache>
            </c:numRef>
          </c:val>
          <c:extLst>
            <c:ext xmlns:c16="http://schemas.microsoft.com/office/drawing/2014/chart" uri="{C3380CC4-5D6E-409C-BE32-E72D297353CC}">
              <c16:uniqueId val="{00000002-679C-4153-90F8-ACA6DB7FFAC3}"/>
            </c:ext>
          </c:extLst>
        </c:ser>
        <c:ser>
          <c:idx val="1"/>
          <c:order val="1"/>
          <c:spPr>
            <a:solidFill>
              <a:schemeClr val="accent1"/>
            </a:solidFill>
            <a:ln>
              <a:noFill/>
            </a:ln>
          </c:spPr>
          <c:invertIfNegative val="0"/>
          <c:dLbls>
            <c:dLbl>
              <c:idx val="0"/>
              <c:layout>
                <c:manualLayout>
                  <c:x val="3.0576244609956879E-2"/>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79C-4153-90F8-ACA6DB7FFAC3}"/>
                </c:ext>
              </c:extLst>
            </c:dLbl>
            <c:dLbl>
              <c:idx val="1"/>
              <c:layout>
                <c:manualLayout>
                  <c:x val="3.0576244609956879E-2"/>
                  <c:y val="-8.6058519793459555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79C-4153-90F8-ACA6DB7FFAC3}"/>
                </c:ext>
              </c:extLst>
            </c:dLbl>
            <c:dLbl>
              <c:idx val="2"/>
              <c:layout>
                <c:manualLayout>
                  <c:x val="3.0576244609956879E-2"/>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79C-4153-90F8-ACA6DB7FFAC3}"/>
                </c:ext>
              </c:extLst>
            </c:dLbl>
            <c:dLbl>
              <c:idx val="4"/>
              <c:layout>
                <c:manualLayout>
                  <c:x val="3.0576244609956879E-2"/>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79C-4153-90F8-ACA6DB7FFAC3}"/>
                </c:ext>
              </c:extLst>
            </c:dLbl>
            <c:dLbl>
              <c:idx val="5"/>
              <c:layout>
                <c:manualLayout>
                  <c:x val="0"/>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79C-4153-90F8-ACA6DB7FFAC3}"/>
                </c:ext>
              </c:extLst>
            </c:dLbl>
            <c:dLbl>
              <c:idx val="6"/>
              <c:layout>
                <c:manualLayout>
                  <c:x val="0"/>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79C-4153-90F8-ACA6DB7FFA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830</c:v>
                </c:pt>
                <c:pt idx="1">
                  <c:v>767.7</c:v>
                </c:pt>
                <c:pt idx="2">
                  <c:v>754.2</c:v>
                </c:pt>
                <c:pt idx="3">
                  <c:v>658.80000000000018</c:v>
                </c:pt>
                <c:pt idx="4">
                  <c:v>779.40000000000009</c:v>
                </c:pt>
                <c:pt idx="5">
                  <c:v>1088.1000000000004</c:v>
                </c:pt>
                <c:pt idx="6">
                  <c:v>1690.1999999999998</c:v>
                </c:pt>
              </c:numCache>
            </c:numRef>
          </c:val>
          <c:extLst>
            <c:ext xmlns:c16="http://schemas.microsoft.com/office/drawing/2014/chart" uri="{C3380CC4-5D6E-409C-BE32-E72D297353CC}">
              <c16:uniqueId val="{00000009-679C-4153-90F8-ACA6DB7FFAC3}"/>
            </c:ext>
          </c:extLst>
        </c:ser>
        <c:ser>
          <c:idx val="2"/>
          <c:order val="2"/>
          <c:spPr>
            <a:solidFill>
              <a:schemeClr val="accent4"/>
            </a:solidFill>
            <a:ln>
              <a:noFill/>
            </a:ln>
          </c:spPr>
          <c:invertIfNegative val="0"/>
          <c:dLbls>
            <c:dLbl>
              <c:idx val="2"/>
              <c:layout>
                <c:manualLayout>
                  <c:x val="-1.9208153665229322E-2"/>
                  <c:y val="-0.25559380378657487"/>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79C-4153-90F8-ACA6DB7FFAC3}"/>
                </c:ext>
              </c:extLst>
            </c:dLbl>
            <c:dLbl>
              <c:idx val="5"/>
              <c:layout>
                <c:manualLayout>
                  <c:x val="-3.0380243041944335E-2"/>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79C-4153-90F8-ACA6DB7FFAC3}"/>
                </c:ext>
              </c:extLst>
            </c:dLbl>
            <c:dLbl>
              <c:idx val="6"/>
              <c:layout>
                <c:manualLayout>
                  <c:x val="-3.0380243041944335E-2"/>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79C-4153-90F8-ACA6DB7FFA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567</c:v>
                </c:pt>
                <c:pt idx="1">
                  <c:v>460.29999999999995</c:v>
                </c:pt>
                <c:pt idx="2">
                  <c:v>536.04999999999995</c:v>
                </c:pt>
                <c:pt idx="3">
                  <c:v>614.45000000000005</c:v>
                </c:pt>
                <c:pt idx="4">
                  <c:v>500.59999999999991</c:v>
                </c:pt>
                <c:pt idx="5">
                  <c:v>853.90000000000009</c:v>
                </c:pt>
                <c:pt idx="6">
                  <c:v>1222.0500000000002</c:v>
                </c:pt>
              </c:numCache>
            </c:numRef>
          </c:val>
          <c:extLst>
            <c:ext xmlns:c16="http://schemas.microsoft.com/office/drawing/2014/chart" uri="{C3380CC4-5D6E-409C-BE32-E72D297353CC}">
              <c16:uniqueId val="{0000000D-679C-4153-90F8-ACA6DB7FFAC3}"/>
            </c:ext>
          </c:extLst>
        </c:ser>
        <c:ser>
          <c:idx val="3"/>
          <c:order val="3"/>
          <c:spPr>
            <a:solidFill>
              <a:schemeClr val="accent6"/>
            </a:solidFill>
            <a:ln>
              <a:noFill/>
            </a:ln>
          </c:spPr>
          <c:invertIfNegative val="0"/>
          <c:dLbls>
            <c:dLbl>
              <c:idx val="2"/>
              <c:layout>
                <c:manualLayout>
                  <c:x val="-1.9208153665229322E-2"/>
                  <c:y val="-0.31325301204819278"/>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79C-4153-90F8-ACA6DB7FFA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G$4</c:f>
              <c:numCache>
                <c:formatCode>General</c:formatCode>
                <c:ptCount val="7"/>
                <c:pt idx="0">
                  <c:v>76</c:v>
                </c:pt>
                <c:pt idx="1">
                  <c:v>83.333333333333258</c:v>
                </c:pt>
                <c:pt idx="2">
                  <c:v>176</c:v>
                </c:pt>
                <c:pt idx="3">
                  <c:v>237.99999999999977</c:v>
                </c:pt>
                <c:pt idx="4">
                  <c:v>105.33333333333348</c:v>
                </c:pt>
                <c:pt idx="5">
                  <c:v>286.66666666666652</c:v>
                </c:pt>
                <c:pt idx="6">
                  <c:v>465.33333333333303</c:v>
                </c:pt>
              </c:numCache>
            </c:numRef>
          </c:val>
          <c:extLst>
            <c:ext xmlns:c16="http://schemas.microsoft.com/office/drawing/2014/chart" uri="{C3380CC4-5D6E-409C-BE32-E72D297353CC}">
              <c16:uniqueId val="{0000000F-679C-4153-90F8-ACA6DB7FFAC3}"/>
            </c:ext>
          </c:extLst>
        </c:ser>
        <c:ser>
          <c:idx val="4"/>
          <c:order val="4"/>
          <c:spPr>
            <a:solidFill>
              <a:schemeClr val="accent2"/>
            </a:solidFill>
            <a:ln>
              <a:noFill/>
            </a:ln>
          </c:spPr>
          <c:invertIfNegative val="0"/>
          <c:dLbls>
            <c:dLbl>
              <c:idx val="0"/>
              <c:layout>
                <c:manualLayout>
                  <c:x val="-2.0384163073304585E-2"/>
                  <c:y val="-0.11962134251290878"/>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79C-4153-90F8-ACA6DB7FFAC3}"/>
                </c:ext>
              </c:extLst>
            </c:dLbl>
            <c:dLbl>
              <c:idx val="2"/>
              <c:layout>
                <c:manualLayout>
                  <c:x val="-1.9208153665229322E-2"/>
                  <c:y val="-0.3631669535283993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79C-4153-90F8-ACA6DB7FFAC3}"/>
                </c:ext>
              </c:extLst>
            </c:dLbl>
            <c:dLbl>
              <c:idx val="3"/>
              <c:layout>
                <c:manualLayout>
                  <c:x val="-3.0380243041944335E-2"/>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79C-4153-90F8-ACA6DB7FFAC3}"/>
                </c:ext>
              </c:extLst>
            </c:dLbl>
            <c:dLbl>
              <c:idx val="5"/>
              <c:layout>
                <c:manualLayout>
                  <c:x val="-3.0380243041944335E-2"/>
                  <c:y val="-8.6058519793459555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79C-4153-90F8-ACA6DB7FFAC3}"/>
                </c:ext>
              </c:extLst>
            </c:dLbl>
            <c:dLbl>
              <c:idx val="6"/>
              <c:layout>
                <c:manualLayout>
                  <c:x val="0"/>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79C-4153-90F8-ACA6DB7FFA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G$5</c:f>
              <c:numCache>
                <c:formatCode>General</c:formatCode>
                <c:ptCount val="7"/>
                <c:pt idx="0">
                  <c:v>330</c:v>
                </c:pt>
                <c:pt idx="1">
                  <c:v>443.66666666666674</c:v>
                </c:pt>
                <c:pt idx="2">
                  <c:v>675</c:v>
                </c:pt>
                <c:pt idx="3">
                  <c:v>843.33333333333303</c:v>
                </c:pt>
                <c:pt idx="4">
                  <c:v>546</c:v>
                </c:pt>
                <c:pt idx="5">
                  <c:v>942.66666666666697</c:v>
                </c:pt>
                <c:pt idx="6">
                  <c:v>1390</c:v>
                </c:pt>
              </c:numCache>
            </c:numRef>
          </c:val>
          <c:extLst>
            <c:ext xmlns:c16="http://schemas.microsoft.com/office/drawing/2014/chart" uri="{C3380CC4-5D6E-409C-BE32-E72D297353CC}">
              <c16:uniqueId val="{00000015-679C-4153-90F8-ACA6DB7FFAC3}"/>
            </c:ext>
          </c:extLst>
        </c:ser>
        <c:ser>
          <c:idx val="5"/>
          <c:order val="5"/>
          <c:spPr>
            <a:solidFill>
              <a:srgbClr val="C30C3E"/>
            </a:solidFill>
            <a:ln>
              <a:noFill/>
            </a:ln>
          </c:spPr>
          <c:invertIfNegative val="0"/>
          <c:dLbls>
            <c:dLbl>
              <c:idx val="0"/>
              <c:layout>
                <c:manualLayout>
                  <c:x val="-2.0384163073304585E-2"/>
                  <c:y val="-0.17297762478485371"/>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79C-4153-90F8-ACA6DB7FFAC3}"/>
                </c:ext>
              </c:extLst>
            </c:dLbl>
            <c:dLbl>
              <c:idx val="2"/>
              <c:layout>
                <c:manualLayout>
                  <c:x val="0"/>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79C-4153-90F8-ACA6DB7FFAC3}"/>
                </c:ext>
              </c:extLst>
            </c:dLbl>
            <c:dLbl>
              <c:idx val="3"/>
              <c:layout>
                <c:manualLayout>
                  <c:x val="0"/>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79C-4153-90F8-ACA6DB7FFAC3}"/>
                </c:ext>
              </c:extLst>
            </c:dLbl>
            <c:dLbl>
              <c:idx val="4"/>
              <c:layout>
                <c:manualLayout>
                  <c:x val="3.0576244609956879E-2"/>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79C-4153-90F8-ACA6DB7FFAC3}"/>
                </c:ext>
              </c:extLst>
            </c:dLbl>
            <c:dLbl>
              <c:idx val="5"/>
              <c:layout>
                <c:manualLayout>
                  <c:x val="0"/>
                  <c:y val="0"/>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79C-4153-90F8-ACA6DB7FFAC3}"/>
                </c:ext>
              </c:extLst>
            </c:dLbl>
            <c:dLbl>
              <c:idx val="6"/>
              <c:layout>
                <c:manualLayout>
                  <c:x val="0"/>
                  <c:y val="-8.6058519793459555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79C-4153-90F8-ACA6DB7FFA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G$6</c:f>
              <c:numCache>
                <c:formatCode>General</c:formatCode>
                <c:ptCount val="7"/>
                <c:pt idx="0">
                  <c:v>467</c:v>
                </c:pt>
                <c:pt idx="1">
                  <c:v>666</c:v>
                </c:pt>
                <c:pt idx="2">
                  <c:v>932</c:v>
                </c:pt>
                <c:pt idx="3">
                  <c:v>1136.666666666667</c:v>
                </c:pt>
                <c:pt idx="4">
                  <c:v>824.66666666666652</c:v>
                </c:pt>
                <c:pt idx="5">
                  <c:v>1226.666666666667</c:v>
                </c:pt>
                <c:pt idx="6">
                  <c:v>1630.666666666667</c:v>
                </c:pt>
              </c:numCache>
            </c:numRef>
          </c:val>
          <c:extLst>
            <c:ext xmlns:c16="http://schemas.microsoft.com/office/drawing/2014/chart" uri="{C3380CC4-5D6E-409C-BE32-E72D297353CC}">
              <c16:uniqueId val="{0000001C-679C-4153-90F8-ACA6DB7FFAC3}"/>
            </c:ext>
          </c:extLst>
        </c:ser>
        <c:dLbls>
          <c:showLegendKey val="0"/>
          <c:showVal val="0"/>
          <c:showCatName val="0"/>
          <c:showSerName val="0"/>
          <c:showPercent val="0"/>
          <c:showBubbleSize val="0"/>
        </c:dLbls>
        <c:gapWidth val="15"/>
        <c:overlap val="100"/>
        <c:axId val="1840548144"/>
        <c:axId val="1"/>
      </c:barChart>
      <c:catAx>
        <c:axId val="18405481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666"/>
          <c:min val="0"/>
        </c:scaling>
        <c:delete val="1"/>
        <c:axPos val="l"/>
        <c:numFmt formatCode="General" sourceLinked="1"/>
        <c:majorTickMark val="out"/>
        <c:minorTickMark val="none"/>
        <c:tickLblPos val="nextTo"/>
        <c:crossAx val="1840548144"/>
        <c:crosses val="min"/>
        <c:crossBetween val="between"/>
      </c:valAx>
    </c:plotArea>
    <c:plotVisOnly val="0"/>
    <c:dispBlanksAs val="gap"/>
    <c:showDLblsOverMax val="1"/>
  </c:chart>
  <c:externalData r:id="rId1">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41</cx:f>
        <cx:lvl ptCount="40">
          <cx:pt idx="0">Albania</cx:pt>
          <cx:pt idx="1">Andorra</cx:pt>
          <cx:pt idx="2">Austria</cx:pt>
          <cx:pt idx="3">Belgium</cx:pt>
          <cx:pt idx="4">Bosnia and Herzegovina</cx:pt>
          <cx:pt idx="5">Bulgaria</cx:pt>
          <cx:pt idx="6">Croatia</cx:pt>
          <cx:pt idx="7">Cyprus</cx:pt>
          <cx:pt idx="8">Czechia</cx:pt>
          <cx:pt idx="9">Denmark</cx:pt>
          <cx:pt idx="10">Estonia</cx:pt>
          <cx:pt idx="11">Finland</cx:pt>
          <cx:pt idx="12">France</cx:pt>
          <cx:pt idx="13">Germany</cx:pt>
          <cx:pt idx="14">Greece</cx:pt>
          <cx:pt idx="15">Hungary</cx:pt>
          <cx:pt idx="16">Iceland</cx:pt>
          <cx:pt idx="17">Ireland</cx:pt>
          <cx:pt idx="18">Italy</cx:pt>
          <cx:pt idx="19">Kosovo</cx:pt>
          <cx:pt idx="20">Latvia</cx:pt>
          <cx:pt idx="21">Lithuania</cx:pt>
          <cx:pt idx="22">Luxembourg</cx:pt>
          <cx:pt idx="23">Malta</cx:pt>
          <cx:pt idx="24">Moldova</cx:pt>
          <cx:pt idx="25">Montenegro</cx:pt>
          <cx:pt idx="26">Netherlands</cx:pt>
          <cx:pt idx="27">North Macedonia</cx:pt>
          <cx:pt idx="28">Norway</cx:pt>
          <cx:pt idx="29">Poland</cx:pt>
          <cx:pt idx="30">Portugal</cx:pt>
          <cx:pt idx="31">Romania</cx:pt>
          <cx:pt idx="32">Serbia</cx:pt>
          <cx:pt idx="33">Slovakia</cx:pt>
          <cx:pt idx="34">Slovenia</cx:pt>
          <cx:pt idx="35">Spain</cx:pt>
          <cx:pt idx="36">Sweden</cx:pt>
          <cx:pt idx="37">Switzerland</cx:pt>
          <cx:pt idx="38">Ukraine</cx:pt>
          <cx:pt idx="39">United Kingdom</cx:pt>
        </cx:lvl>
      </cx:strDim>
      <cx:numDim type="colorVal">
        <cx:f>Sheet1!$B$2:$B$41</cx:f>
        <cx:nf>Sheet1!$B$1</cx:nf>
        <cx:lvl ptCount="40" formatCode="General" name="Series1">
          <cx:pt idx="0">1</cx:pt>
          <cx:pt idx="1">1</cx:pt>
          <cx:pt idx="2">3</cx:pt>
          <cx:pt idx="3">4</cx:pt>
          <cx:pt idx="4">1</cx:pt>
          <cx:pt idx="5">4</cx:pt>
          <cx:pt idx="6">3</cx:pt>
          <cx:pt idx="7">3</cx:pt>
          <cx:pt idx="8">4</cx:pt>
          <cx:pt idx="9">3</cx:pt>
          <cx:pt idx="10">3</cx:pt>
          <cx:pt idx="11">4</cx:pt>
          <cx:pt idx="12">4</cx:pt>
          <cx:pt idx="13">3</cx:pt>
          <cx:pt idx="14">3</cx:pt>
          <cx:pt idx="15">4</cx:pt>
          <cx:pt idx="16">1</cx:pt>
          <cx:pt idx="17">3</cx:pt>
          <cx:pt idx="18">3</cx:pt>
          <cx:pt idx="19">1</cx:pt>
          <cx:pt idx="20">3</cx:pt>
          <cx:pt idx="21">3</cx:pt>
          <cx:pt idx="22">3</cx:pt>
          <cx:pt idx="23">3</cx:pt>
          <cx:pt idx="24">1</cx:pt>
          <cx:pt idx="25">1</cx:pt>
          <cx:pt idx="26">4</cx:pt>
          <cx:pt idx="27">1</cx:pt>
          <cx:pt idx="28">1</cx:pt>
          <cx:pt idx="29">3</cx:pt>
          <cx:pt idx="30">3</cx:pt>
          <cx:pt idx="31">4</cx:pt>
          <cx:pt idx="32">1</cx:pt>
          <cx:pt idx="33">4</cx:pt>
          <cx:pt idx="34">4</cx:pt>
          <cx:pt idx="35">4</cx:pt>
          <cx:pt idx="36">4</cx:pt>
          <cx:pt idx="37">2</cx:pt>
          <cx:pt idx="38">2</cx:pt>
          <cx:pt idx="39">2</cx:pt>
        </cx:lvl>
      </cx:numDim>
    </cx:data>
  </cx:chartData>
  <cx:chart>
    <cx:plotArea>
      <cx:plotAreaRegion>
        <cx:series layoutId="regionMap" uniqueId="{3405B083-A144-9342-A223-A563DC4C70E9}">
          <cx:tx>
            <cx:txData>
              <cx:f>Sheet1!$B$1</cx:f>
              <cx:v>Series1</cx:v>
            </cx:txData>
          </cx:tx>
          <cx:dataPt idx="11"/>
          <cx:dataPt idx="16"/>
          <cx:dataId val="0"/>
          <cx:layoutPr>
            <cx:regionLabelLayout val="none"/>
            <cx:geography projectionType="miller" viewedRegionType="dataOnly" cultureLanguage="en-US" cultureRegion="JP" attribution="Powered by Bing">
              <cx:geoCache provider="{E9337A44-BEBE-4D9F-B70C-5C5E7DAFC167}">
                <cx:binary>zHxpc9w2s/VfcfnzSwUbCeCpJ7cqIDmLNsuW7SxfWLKkgPsCcP/1t2VpFIkeR8qN3rLmQxZQGICn
G92nD4D57+X4n8v8+sK8GYu8tP+5HH9+G7dt/Z+ffrKX8XVxYQ+K5NJUtvqzPbisip+qP/9MLq9/
ujIXQ1LqnwjC7KfL+MK01+Pb//kvfJu+ro6ry4s2qcr33bWZPlzbLm/t3zzb++jNZdWV7U13Dd/0
89tPZdJeX705gkGvquLtm+uyTdrp41Rf//z20Z++ffPT8gu/GfxNDvNruyvo69IDyaighMrbj3j7
Jq9KfffYIQeui1yPIRfdfshu7NOLAvo/f15fZ3VxdWWurX1z9+9v+z96l28fJ7byb4Hxq5vpr9XX
9/3pMfD/899FAyCwaHlgmyVcTz1amuZ8SNr52uQX5dUOm39vF+YdCITBKgjf4k4f2UUcEIqkxzz3
zmx8N/StWZ45p/02edR5YZBHz5bW8DevwRrXV9flDo1/bwhXHnicSU5csm+BYHbgEiRcwXeW2A29
M8RT0/meDW77fQP/bfMS+fPwFSBfXyQvCDxDB1+938P7IxOFyMSo5+G7BYLwAvmnpvMd4G+7LXG/
bV3CHp7/eNg/ZQZwv969/L/3eCYPmOBYcsFvkYfY8iAlUHxAOBYUu+h+Qdxmo7uM8PR89iN//yIL
7O/bl+h/+uXHo3+eV/11mVy8IPzeAQaXZ65L90V+CDgCuxQ+3t262A19F3CeMaH9+P/1KgsD/PVg
aYHz7euwwEX2ohYQB5xhAJkD2Xng+RgWhkuEB8jfWmYZcQD6p2byfehve+6B/vbBN9AfvQLor82X
FwWeHQDqAL34y7cf4E8QhHzMqCTfwf/J6XwH/bt+S+zvmpfIf3gFQf+selm66ZIDgl1JGb/j+d94
PqaMESCdez3/6ensR37Xb4H8rnmJ/Nnxj/f5kyq/gmW+C7ovkG75AYFM66FdifUYeiIOXI8jyaAw
e5hmnzGP/Zjfd1yAft++RP0keAWoX+TtC2JO3QMhBMQZzr6TYxlDBAsJVdcj0J+axncgv+22BPy2
9Ru4P/54uE+v2/i2orU7AP69o9/EGOZ6lODHhNI98AhkVMHv6KaUuzFvGc0zJ7Mf+kedFwZ49Gxp
htNXEGt+yb9cvCy3xAc3/k68XX4FqB8kWCA4N5zSw4LtpfbPmM9+K9x3XFjgvn2J/i+vAP3jbrwu
vlSd0Tt//PdrAGorzj1BmPwL4QcG8A6QBM0H70SfZU37vCntt8HDvgszPHy0tMTxpx8fjnxTgWD5
gvGfuQfUcwVj/E7UWawDCEkudwkm7s70t6HoGRPZD/59xwXy9+1L2DcffjzsoW2rFw0/LhRWLqHc
c4HtfA1Ej8IPAatQLBGHdHD7eYz+M+azH/37jgv079uX6IevQE47Ttq4e9nw7wLAN3FHMH6LP9Cb
B9GHUDDPY8ifNYn9oD/ouoD9wZMl8MevgPwcX7T9SwYbF6R8hjwmvLuY/zjYEAao36wJvJATnp7H
d4C/m/8S9bvmbyD//OMjzaYr9YWZdr73AnmWH2CBuSv2a5hAdFzkIUnljnPuhr6N88+Yz37s7zsu
wL9vX6K/eQXp9bQyw8ULgg9bJhKDQImQuA0z4NgPwgxGB5wK6clFRfv0NPZjvuu3gHzXvET89N2P
9/eVuSgvr3c+9wLu7kENxQSQx8elFQHBUkBs2a2CZWn19Dz2Q77rt4B817yEfPUKyAy4Qxu/Obm4
vL56WVLD8IGHOSbkO+EdH3DsCSogB3z9LKL8P5jXflt88wULo3zzfGmdk1egJP/S2da8ZNJl/AD2
ZBFH7PGKgO0TzJAUgt4JnQtzPGMi+81w33EB/337EvZfXgHV2V5ev6yO7LEDYJegHywCkYPFAUYu
nGaAjcV93P4ZM9mP+33HBe737Uvct69Avv9QFS/L7KGglQIKVpDob9F97PXAMT3hSohR+9F/xnz2
o3/fcYH+ffsS/Q+vIfsm5Qt7PQVl0wNhx70jPAsJH4xDkMS7qnep6qyens9+9O87LtC/b1+iv9r+
eO4TXJfFhclejvxAVStB0YRdcXKbYR+jL0DT/LqhuNDynzGP/ajfd1ygft++RD14BQn2CI4w9tXL
gc7gYCDs0oJL7wUdtmolbKAQsjs2uEizT09nP/a7fgvod81w9HFxzu+bhv+vRwH9+foyflEaA3ox
bHgj2BO/9e3Hig2+UcwERh6+E9QWMD9jPvtxvu+4APq+fenj/h8/PrKoLgcV4UXhJwce4lSKm8Lp
QQkLSiUTrgc1l7dbUrfCwXOmsB/xv3ouIP/rwRJztf7xmK+vDVCZlxQPYItKYik4yDNfP4+ZDIgH
VICuwMVf2sLDHdpnzGc//vcdF/Dfty/RD16BRrw1L8zfYY9WgBIpvd1Jj8e51OEHoJgxV4J1bj+L
gPOMCe2H/77jAv779iX821cA/xloCp2+yHcx4N8LORROGwsCZy/dx25/Azw8AB1nd04fnj/0++dM
ZT/yf/VcQP/XgyX2Z6+hdG0v8hcMOwyOExMX7jo8kGkeBHxMDm5T7F3UWVL47VOz2Y/9XbcF8Het
S9S3rwD1tbm+fknhkt6wc5d6IAc/TrAY6lkOqhpUrV8/C6346XnsB3zXb4H4rnkJ+foVCJfqOtdJ
95JXftAB3OcB6r5ThR+HGpAKvBvcdwkWLeqmZ8xnP/b3HRfg37cv0VevIMSfVGV7XV5r87K1kxSe
EC56jPzNrhQGER/EycfB/XmT2I/6w74L4B8+WmJ/8gqwV5WF4wdv4F7Vm821ma911SflxQ6af59s
GTugCM4b31RYuyDzMOaDhAxnoeBILNuNeUfy//G89pvme++3MNP3/mxpMvXLjy8H/Kk2nd3B9e9N
RG/0ZOCi1LuTGR7Xv5SCmu9iir5X/z45nf2W2b3GwhK75iXy/u8/HvlfyqvKmJdcHaDwwHWHm/R8
T/Ufro4DOCEFMj9aVMDPmMd+zO87LkC/b1+i/kvwEqgv9KIHlz/vr80GF+1F+PW+7bOffn1FuAq8
6HpH2feui1s2v736+S1oPV/f7PZS681XPKL69zsbix7XF7b9+a2D6QGT7o1cRDAsG4hwb98M118f
wTaASwliEnM4ZcXxzZny8mZf9Oe3HhyYcBHcp2MIesH9Lnhkq+7rI1C3oSCEkxJwMovA2S1yf9MZ
DupPuirvkbr7/zdlV5xVSdnan99Ciqtv/+rm1VyGPdijICCHEyHhVLsLBWZ9efEB7jXDH+P/N5nJ
RVFX9SGv4nemqnQ4pc24bsRoAznNuZ+j2qoH+OwZE1xyMSZswLrEAyUHlAXYg3o8Zue5cRTFtQ0N
t8lFP4zlCg/4fSlEf9YPyH1iOAD4m+HgTrXLKcjSBMzweLgWtVGV0caGJdTSa8vqWhky5wFKa+/W
p28tv+fN9g4Fu2pA2GA0zsFxHqIZdXmNOpzZUGMHjYrL2FWsmyKpUMWy2xz/3cFA8/r2vSR1Gexl
c4yXMNrCVLjAlQ0rarLTmJpunWQ5/aNJs+K8dQYvMDmpB0W8zpyAiMCeGH+fGV18Iz14HpzcoQvX
6RGKvDF3TKg9URzVnZ2VyIw5bucuDYbGoU/Yce94cBAUMQKCByyax+DKaKgJKagJ5yhqPoi5aU68
kfZHaBDiSObO/2k4CdvTcL8SbvjBCnxoy6bo5OBqZsKaOzyQTt4EbV0R34KrbQYp8s0/XxUeVLwU
SA5QIO/m9R+sRDvVSZkMkwknMXqrVnv4DA25PCmIbt4NhNZPvN/SVxnsxgOhutkxYBJKvoX5cld0
M8tGE5bpzM4yG6crS/I4yOsyuU2w3/XUm6Nzj1x1ORbQhofvJsngpSVtTNiVpd1mXlf6OrfGR1lS
Kkfr7lRrciax179nlURHshrYJuOWkv/DS99oZSBaEgoXShaxYEinPi9ymMgkizKYuDNUSsbJUd81
w5e/t+eNfzyMrPDOhGEEV4kIdSHMLt5ZuLjW7hw3oRvLSSWJNMqd8XjeTlUufdsOlxo6FmGsm2j1
D4eGAAQ5B4ZwqQsLGwjzQ7ipcYzRjYxDzuo2JEnivqsxS2PFuUPDQmq+FVlMQzKgZHgC4WVUuill
Id0JJijQeLhI8njsGmeymRpdhMXnJHROGfG735x1NwXz+T9+SRfuwElK4EIW/BzAIhz0iUcTpzI6
ZHmfHNHYQ5vZ7cZjEevMbzS+GmLWbvVc8ifi3jdvCPeB4eIM5Gc4UQeJ+GZhPVioXc5K3Ng4D/u8
NBsYxECgF+nh1EwoSIQt/b5y+nXTl15AddQ8ESe+XUyYACuQ8GsUBOIucIfH4zcykziNbBza2Z1X
RNNZ0ahhPq1bD4ck97Av6ORWymtbsYlsaY/TSWOF40o/ke++8XEoxzyKMSQhDmuKL2xg8zJBcdvU
4WjrxrcivUpYRf3Gi8s1Nn0VNLKUqwEj8489/GZgUP/gZrBAsPH5GINo6Gwa4bqG17X9xh0KEWZO
Xq5nRMtTnXbs0zj1H7x5GP2/97pvoia8MQxI+Q0vg0tSi1WNpgjjZBJVyFNhA2ec6hUShfXbxKDb
SzTfjZp7wBUYzih7HHYA4NDgMlZ5Ttr2ZqrCshn18RBLd2U90m/rQnJ/tAR/GIQV56V0kyc8/NuR
gXvC+WjIswR0EXfhYXQY+GjRUIS0cKcgypzqd42yz/XE6IZWjj5kLXh5HJXy/d+ju0zxDM4jCQzm
hCKHe2S5pgfSODl8vw7dxnA/HQQO0ezSIzHR91hLZ/v3w+E947GbC3A32eDmx1sW/ptUDpFNap2A
pni+6JMEB5zEba14MqCNGCNzHDlcJ6ru0/hYzzI54Y5Dv7SdMGGT5Jnq2cS29VDbjw4z/SYhcnjC
GBC6b2Lmo1QCx4gEaFQ33AfY3s3u58OIw0XUtDrHXhDxsSx85PZm/gPTiuZ/sqwtmlMuq3I8LsbE
QUe6TVIaplE6e+vejWm+rueBpOtxGMf83CbVbFw1a4ZYgLqIJH90UYfQKVxGZvg8irtC+szYevRp
U7n0MBvL2G4i1pTuHz2ZqnKDdDZnwWQn47QqrZBGYcHzaD4UMS3yTUcxGvyJ1LZdOWmeF6d0oOLC
NnPh/Rq1NtYnNetNHUQVnRI/00mfq9Rp2y9o9CZy6MS6/zxPliC/dkxdqRLcLvERaeYPmo5d5scj
BZMUJMtYONKcERXZKjpraJxrv6iApK1KiSf0sRMDu87qatyUbjn9NumxNL6YTOn6XS/1JwzsKPF5
0Yqg6utB+CaSTnk2x3Totk7cSBTUeeH1EGlr57iBBalXTlvYC8l6Wq9i1wzrQkJ63zY65bEq5952
65nH029dwdB70/AmUWZ2oz+mYWj6Q22csVD9aPjpKEZHBwPUJIWaROTW60xGtYGQEvNaxYw6VcCi
EkuV6aopwjEh2dqQKaG+TYi9KE1hcMi4034WnbHEN2kxUd9pjR63qU3Hi1GU/WlXcW9YDU4b9e/6
fmwyP+nquFslSYEdf8J1Nyjg7842bxP3GM9Nq2L4vsYnIuWn5RxXf8LRzbZcEyOku508p+18eO+k
9uchnvUmEgnZ8sjM5THHKJ6CLkZ1cxhr5ISoyKSzNq7b6hWenSlVJUkK5rvt5LHARNo75bmEBs+0
TRLU8OMyaShFb/ogHggv/SaOBVkN3sizw4SlGvuxM9kVJGAahSmQK72mRTEOAZ7iKguRnYajkeku
Dp0m1e3Ws0XZ+x1uWKLyEVfdVuLKS1ZkqqNrKZ3h1LMItX4qMzOEgjpa+hmf+4+0NlOkkroGQlwM
JG5U1jpREUReX/2aZ4wkITMtLoMYAku5YpZmHyn8jBeYwbSR9icbtSs6J231gXSpkwe4JTp9jwZq
Q+JmY3GEpjkp1gVJW/GurWbRbynUcqfDEFF91GCXnY8edRwVV7LiIZpQJM7rtjTH9Tw2NJQxr2AE
M0wiaNO+wz4uJl2qMk6oWZsJD2tUdmm17lwWnbHc2GIDOTytVF6nPSynxjZASIsa9aqEFFTAqkpb
CPY5Sj9hK6PPkFtSreYYiUhRGcmzboxKA6TC80pV5DmlvleTDqlUT9UXT1vIF0BJHab4IKdkVaK0
6c9iHKXoPYnzoglBbMjfM6I9Z00rVK9AYyyLME9M1QIcqJNnU+018gwKENn4tU1ofTJwPp5XNcHZ
oSxQd5wYHJuQTFl5OWZJNvjt2PVR4Ioq2pbJiGd/BPaU+jLBHJozQrTqc4RTlblN5/hRRMcqKGXR
TWFR5e6ggPn3jip7T1+lLUFzqGdBTpwcCpEgmWW86SdQTlQ7C/SuNakfpTY5i2PTUD+J3DiAaAJF
TFww3vooL13pd0WKza/aSbxYtbUt+1Wf1W2sRMPb+F1X4yQJsYnr+DArhrrdVtVQEjA0l3w1lX1l
fU3yYVi5U41RkBfSPe3gUN30Kesz1gMd0GDXtIUDkB+Y27h9wHLUpv40ueK6QH3UqcSDUjVMvCai
yjMjUmNq+8JvaT2ft5kjMuWVeFzNmXVKNQ68I6vGDEioDH6JqFS2lHOkah7XaEvSNH1XTnWZB3ku
NX3XIdZ95shwtNGoG95LqeOPkZi834qygEqnL61FCiqEaJPhnHTK6yMnVvGY1VJZoGZJMHDKmtDj
45CpaSxnL+gLB49+1Cf1DHlnGArfm5LyU6YjdwqTqEzPPJOWUlVNPHVKFC2HurwRxflYiQkC6OTh
c16W+tLKvq59oGigX3kGfq8vm4DRbSvPVtM2g3WuV6WWU7aeu7a3WyYzsRqqmA+BZ5MO0pFI9HWh
s8b4lUCJXjct5p/kmMRtQAacUQiMUxQpXkT97Bfu3HWqzqf1aNvy0OuiclaoitrzeqzSRNnYGY5m
y0itpjTKLYSBUc/rKSJ54ZcVd34zdp7/LAs6piFO4bzwppsj4VvbEddPyrjWqpjM6CgQcopkBS4F
YUmTOT2ZpRmsIkPkXOPYbd8XdTHV26mP6hCutzFIqbhGhWJpiisVO4gcspmyPkgyG+UBpZFoVhFw
6FQNlrqjf7MrU6iurKbeH0bM40AMxu1V7NEyUqzonU7pBEgHrI+JfBni3B6j2MovbuxmzSoeSylU
1OfNCjYBxjQYq4LVKpPJ/EXj3qn9qkbZGGhvmKsgc7j3riHNNCtZeb0bcpSJGB5Odeu30TBHfhHb
w7iqrjQDWhFSXvFTSrn92I5FdtHpPD60blyiYB4qpn1gJ+UXt8/rwnd6pk8gC9o+yPqJf6lYY4mS
Da6FP3Yk0X4rczarKSvaUY2zyBDckGxcG6aTsScMJ/NHzcfm93xqUafi2QpzPvEhkutaCK/xucb6
yum08NZOJ3D8qTBz9q6aq3zwJSOzVY6bE6CGTp5dThWbtsbTnRdGXkSLdV9p+XECt2ZBniLXVa29
EUHmLDOB8frsMorSplA17mKtrPCy4bDqxxvKSYH6cOY1mRqAwh1NvOvybcFGm6+GWWaHqMXj70M9
kU0tMoFVykYgCzkYvAjqqSydsMdCf9Ij71fwyxBTHQ5xhK+jFg2TXzltPQQgcsmzEfSCeDPzHoMY
lCMxKuvEiPt1yac8AMYkDqvSaZE/G6Tf1ywHa1mBDfgQng0+gdOR1q7yrhbwWoZKHRIgE53Pclzq
NfacmAcjo7Q+cjDsOEKQ7clF5WZ54xfjCNEr90zJNg0cry9DCQsaKTL3U7wina6nw0bn8vNQ1UpG
4guwSUZP4MfRkgpSlSSKtg6Fb0Sx7471rz0ek88lS2atYEtZZ6DgcZuqvmXjJwd1Vcj6RHws57Qx
gWyiaTiMgX9fDUBEQZjxYvKxdHr9cRpKW22cMS9+netqqK/gmgteS9bOdCXtOBYnZeSluerloBN/
zsmYAbvVTXts5zg97lrr1u961zSHaST6elXzsoYo5tR02M5iSLmSxVRsZqfwclVloJ+ovKdjqya3
98pDM1dV7Hu8hiLfGRqr/WxMcrOKo9YpTk2P+nglHBvP/uDZvtvUQzPWqrF5Fm8mnQ5UjQ1jxTav
xVz4uhhy7IMQNvyeazfiaoxLI46A8rbJJjVy7hUczBGzPxPRXsip4LD8o74sVGLy/IhA6WbXmTYF
MBsR6Q3sWlAezLae/HgYY7pxBlpBWh9s1qkMY/vFoR2+rFvdAy/SkefPiWtoMHTlLP0+ZoX2QeHB
H1GaJJPyZsdx/LyNYYnOKMHah/Wcj/7Iu2LF3WY4dRpJsBqNAIflshmkctkM04tJLOEL0Wwh+mTA
cn3SZqIPxykSHciadfo+bVqIiaTB5YZYSIybeozrXkEVCGOWExFXbcL4BO45jZdOzDoLXLeByMfZ
0CZBXE/pqIp0qIBxxkmTbFpdFYVqegcxxXI+tMFQEBQpw1P6By2T9KLPQJdZ28kmrco7WZ4keSRN
ONY8oarqaf5rChpHGbSZgRWaiI5noBoNZGtq2gLtZEB1gU5i1igQCTqmWlPwUTHRNHLlWDGUPkmz
uAAWNzYlEOHSpFsxY75GVqZSUZa57btJzCL1QQ1M6g1j1gEWMgzAst3E0wFsL9RTOE0OcoOmrbJf
e8hdYxAbzFXHRq/yHVznWo0yTTplM+CZh2OOehYSoHqDqoG9qp5mzVlcdPyjHpE95O1onFU2RFDo
eWgcVhVzHRR2sLQN7EgkHQJy5rQscNyxDKk0+aZ0LOlV53Td5wz0CQ5qZd0RP60dr19XsPEMBgVY
wTH5VIGWOc61F9aa9FfpAErgIXNKi47SpLH0Soh22rBeVl2Y5kn5RTR5w1ZdNBaXKXgprBTWdZAr
Sk7rIBtgC04xBzJd0FS4zJRlPGcqo+285rJtSegBTs66jDUu/LEc01VJutwJ6qGtts7k5fOm54Vz
CZj2s3J5mRplaqh9VZn38nCqxukDVLEdJPA5BXLEPFhl2CFj+s6ZZb81pJClwo2ejxpXTAmQUuoM
G6fn8xDm6Vh9yPq6hdp1cGWs3A7soYrEDibgBZvfVSZjFqIvGj71KfAE6D7JFKbUd2cYiMdnx8td
4/ewZYNUhUn0vmMo4n7ZQMYMk7mhc1DqGahvPEbFcQfiAfUZ7HF9ygqUgJtoBuEPtNZOQR2TEEXy
HKqzEZat2cictlbNQwuULq5LWsASLIGxYNGTEei5J1a2hZRjoKTrAp6TPPGNm8TnbtEAZRBJgj7l
otBB3+hKhN1k+3nNIsvgPxvHHtoEzqRtRQIBshIFanztjsm4auvYrDo91o5CY0vcENNRpMpNKMi/
sCM2pIrTgTc+i7N5kxaebWBdsVwEsSzxF68b42HVxISfC9uXxwlrp+I9KmIR+XGcjsDwqkmOCn6V
qiUB5QlkPQqyiH4H+0LeR9bN0+A7RtMTZjvOILCRViogBQUPPQeEiyOnyKdKsbiLkEpyJx7CampN
D1JSW5/GknfTtq7JoFc3ok8TJtYrweVLIvQRaWLerSHoz71flmPF1kXqxVLlWnohIBpF58JNs5sC
tXITv0sLZlduPdfmXec5NrnOk1S7GTgKxOqgg7eC/RZCodjqiqkBR8tsJrdNyvWkTJOm08ad4T6o
36YMNWEOP003r0F0EAVIYLX46Jmqmz82fYQTIMXd9FmgbCArF0fDNqrKOFbOCITOH4dk/GMmtbMZ
cQwRydMp5CSU1N01y+x8rJ1uhjDC3GQ4TmYvxr6NSVmqPKssDhKgHeNxRXDR+SDad22IsIUN6EpA
GA6sriJnWwuSdiHN+uZ9hEbb+RVkD/uudCCDK5d2NDltHR7LlYBE5qg6JVxvyk7D1mSTObJZ5cCN
+8CrJE+C2TET8iObFUDNmKarvpvcJnDoWPzJcoef1JLMZEX1jUmQYRoyft94gQclVqywBo3Ypxr0
QgVuYH/nIIeJUGQYEiEszR4HVLYDOZyiuflDzBwY2shix/s0zkXnQulN8OHYzVr4KewVv+cT1fH5
GDMz+W4nEx5ghttclaIC9Vd6I4HfQzcsUhCKU+ODWFB0asS5pj70MeNx6yYp9scKkrmSgyPJCrJV
AdVvG6VQUbS1/oSAgTk+K3sTB3BaoIblkokWNsPmQcRr+N3x2KqkEG2pdOMMxp8L5JhgnqKYh1kO
NSSUFobozZBlQocYqOc2o9A1SNOhOwEtgc8gI0RDEpTwe6pjgOvStJCqSEF81CUzVHvcSS5GYrvT
GEgtLNSKeiWw5p5qBepGkkIhbfJZ4WnWn3GRQK0e4XE8NrnOPL9GMT+emdNmfurV0Z8JRN4vReuJ
T8axI/OLJkrgDVgPmx+zqM05DOlOh7Nsqs+0is2oqBdHV/FkqnlTy8khmxgqScgo1o1yv6wb/g4Y
4jxtvD4pxjNrZj0q2COs6yBlhZj8DCQQiD2zMBzicmtPU6vjwS+6ynzhOOGJXwAzu3amnH9BbVO9
Y7PtQLUYhQA2X3ptAZQaVJejCoSbOKSx6x6nGvZ6N61H5mTbNDX6bCDl/Mr6YojV1A7ZJ8sTdNVw
PJLTuilBIuvjpKUBYtBxO+eDXld1o71VnDfphrmawPYxaGWtojO7hD3CdQ3phvi9pp7207RJ1p2l
UMNWBoi9Gh08n3lDyrZTOmVXtImxhMzg4C8QPrrmA3Do2NvYaOJCeRwIRAA6Qwb+DuVYHMItY2Aj
IA1NoCzCVtCVtk40+lA1Z6UPChkKXUtBsbF8BkOz2XP+sFAaQsEsBfyTT4ZVR8mcN0gx1Hc0kAOQ
qBoEExtAIp8plKfWYZsJxSisu6ROA0TzEeREaqaVmxSgNYD22NuwLgiH0jWb+9bnCW9/K2jm9L5D
IRuvetyjLx38qmOqQMKEjSkXToScpx7LxFFkxkEowtraKJzmA3ishELyyIPrpSvddCVsCrQ6gsJe
87YPDL1Zs5Nj+kNITEW2Al8Qm/8l79u649S1Zv/Q0RhIIC4v5wHobt8d24md5IWRKxcBQgiQxK8/
hbP2WumOt33W9/o9JnEsENLUnDWrSlIOrU2L3he3rb9a5DFyGiWwMc2KA4tJ7++rJpkJqrIQVdQC
uPgzQp3ot/VQ3giRlD8iUlYUSa9uhh1w6AafTEWzOQzo/XhpV2I7ZHOwuiojyhGJPnqHDbMgw5h3
6GzLncBnzORMOnVGlY96yh+6ot2pZUpoKsaZtiixlVoA30Vj5tQiP5G6CdZ9WCzmvo+6xYEks4Zj
qsuY9llUWXtOp24E5qDCrjsTGjgeRtCIQ6IXw2PpoQ91niwI+g8AbMZk161BiLQHMGawX9aZ62ws
pwpIdSKF3AtaufoAJASVOyIFHZGfShmlDZvKKQuLWaFw6YfSR0dgWdoDFt106wH/TilvE5SGNVX7
JFrXGDXJsOjcrZUGchuvMslqUnZTCoC3u6mGuQIUVfH1EVgOGlmxJ1vU8gVwDS9qzEcdKCANLKye
5mReeMabcKmyCXWISkufNH3qWu3wtYEaF2m8uAWIZDn43xsELIBKUeAOxdr4MoXrjToYMaoPmB06
ZD5pq8sBXaMkjZZ1uowkUqBUs54fEBBQySxmtXM2dG0s81iupE1R8Q3Vrh0SbEcyhGOBfguL5Bky
Cw+pxapmurd0APLeI31GRRM3sc2qckV3na4djTL0IJf5ahK1uyV1USR711Ku9wj0i7zyJIL6IV5h
83VmF69DVlNOscgtr8dpz+igPgHPFaiA1pCzvFx6deYiLJfMoE21HIhi7fupcVV3xnkZnVWg4dA0
Qvn3SQDNDbKCePou9EcuL5vWK68x95PNm7ggtwWX/pQmOBSKbBCVh/ylbHrgz7oIrmpXlCwNeY3q
iwWqFjugXNWaTpGPz4BbMsIkVawrgn3rSb/K6rIU90nZVahC2th8qWrZ8bTui4ikrfGXR1vHZM3X
Va84ZdENyocpHj+SUqLcdsAdil2JFmSf4/qAXueV5qiwaChqgLxSi8+jGynKoUX3/fXUrFiFMlnZ
N7YMlURHq4+/hUKx98GahCLdsN45LZhNBmxzJvalq/wfkR7bJXP9rJ7C0Y8PoYoBJSYFIehvRJ1r
cECGRb2vKxj27NBN9i0YReYjeAbLV2sMcJKiLmROtFHtoVOrQ3dkKBCdC0AgflphWZbZnLRtuJO9
rMRuIuhwHSTp6gsRRoJnSbmq+KzTjt8nqIwaxNE51O8qVMoUcJAu7wBwr/c80U21G4JK1gcXgMVy
jewPFUsLQK64DHy5FPc1+hM6b/vKMz8VEUk74lNGOvqAdkvC89ahFXmQCvv1kjjbVHesizr/ZrZ2
cbdx0wzJvWSjiK4CEdbTZy4SXwATaIAuo0up31EuOj9F43EI36I3/dHahUwXrISQ+tFmLHhKbAy6
wYUoGm3uF7U5t5Mf3nqWJTsEOX/PVizK13vJL4wHuwcPVB+KkUHrPO7RisbqsUI/ISfoJORBYuRZ
GLTNma4ilbc4P44sNt/9av/+YnJ+k4Mb67L669qav//4f6//cxfOs8z6n7/fLr7550+3w4/+YYJS
aLr+Mpz+5Ma3/ftH/xFjbyzXv7XaJ6zZ++crdP4LpfbVf/z/49tudIO/L835g277H9L3P2zb7ed/
kW19EGrBVwApBswpfAmOj/SLa+vD7DYELOTBlgC0Bqg9/qbawnw4TEDRhcmnj1tDoo14p39Rbbff
F6JdhP+F2xco+LH/hmr7TDT9p40PjpKHcQPwZAIo8SGnPSF0SKS5VBc12gbLOo5pmxhFU68Rcs6W
uJ0fALcvd0SM9CoZggIQezdWqQzo+NU2YUHSCG3eMxT8w4eGWqOyiQCgkzwcPuoiQjWAYyKadqpB
IpNFS131QCnEGux/m+6/1t3vjOFjcsj2FpEH1hV4ux6PGVg4xwt9HCIjvZHQjFPXZWM9hinRDc/A
IlS5jMqd7poMFJxP/35YMN9BGgZ7DxfAnExeYgfe+y0imEPRaoIix6ulzOtuV7teDMtybcbwLaLy
Mdnn16v+PiY7flVrDQF4t43pIQ8qBp7iGGtSpdgv+f1/pfqw7TcdLw2QMeFDCyScY4mGJ9HDG1E6
EJSrGTosfAGJgXVo1SwCjeemX8j7ySXBZVe5yKVyVs2cEm9C72IGXdTWZXhJiORnUDgZAHGCcRBW
Kj+RqalncU5RU3/xeEd4av2tX1W0iXw3+GB7os2wiPYNUtjzNjt9GxqCMevjJh7KwfQ+njc69wHr
ZbOi2PBQwVcDbHAyU3hznviU2h2gvJ4iWZ4ji3jsj3WOlHX9mKwARQ/G8PZyRf18XaCbZvYjncGZ
mEq1/KgChx0jXNiYHYlIMeTtHEiAUu1ADDLE7RXZ9raBYOJ8EkOBOnBuMR0xSCBLWmyzZLb5Skr0
UHYFJjHofYCa7fPU6m2W622+FUBOgPDPn8EAc98F6GfSHK6SpZf6gw9awIKW7w/XSGGzFaFDXnA/
lksm7WxVHs+S5HRd7c/ADqXJKgxCd5UJDFDtKfF/iqFeSWo6OsXpxAhBnc5AsskGfyksMjMTNFca
FSt+eWf7Kev0aNG2U03oAHf7usSMrIzuoCoAx9w6fypywWjZPLhkRo+ksbuG9my5MH1TZDRcLd/1
HkMjslOdfep5JNHsRCI37ZNyvm/Heb1vhoC/rxpZueuKRkq/88rE0Hwq2u6+a4F0VjjWlz1ftVm/
l6bVYBsSSb6VbeDonRWdKlNuSK12SKHcvURyW2ZV6BIsaw1WxCFshc/TNmhGkbkp6KI0nnhEsnke
6ZLHpW7PZ971AWoddK1S4bF1r2vr2F73AGF5FRowafUiXQYyIheZIdy8Z4UbL5hXdx347xoLpC3A
70cJ2q0mdSvXD2FISqRZSDZ/VoUFYr0BDj9kDSJrrhrmq3QSy/wF5n3mcaDgHmdzje/clqpD5g6K
U51aXMvWAAf3k9wuixovO3w0cKQ6oHw7iBlMcRAKZCIej2gRylmqj3oLz0utrMrCLWiHW/g2z5G8
34K61AzxPd5CfbEFfb2F/8jn08P/6QBEiUmNLFsTkgDkBtJtS3RD0jCpUCQEniUxOtYe0GA/FMn7
ukHd9UZGQ/8If7joIMLRF4IKCKGIf8KOMwBuTBWVeAgW3QLY/R6ja5QDH0Iffq6v7DziTGLs5zAX
eZFMOl/H8CrgY5IV5XLvAKOotn+DDbdR3Y4CJZ5pY+shp4thMhSfBMp/JqYGohCgk7C9fCwAyPHn
OQE+jvlpJ4JKWm3T5rYJfD6K/pIe/XUE/q9MvZAf/XYq/5l7HRt/P4ujtv/xK/va7uOBgzeSKUgY
wBzdEqlf2demgQJ/EVRWpGWgtAY4vP8SOuFiPR4gbOJA5xzZ+nbHz1/ZFzyNkCyB30whjYamBv/0
n6Tz6BtB1/XXn39PWzbO+28L55nuj/wL+UoEQwf0Lo7PJNCg1Dz3dZX1zCJKhwRVYD96byRH/sme
eR4mBDcYUxCGESibx8O0hvmLLMBIiGo634dMe48q9AhaAIEa7+dIDV7qqXqI037qF5suXkLGFOW8
I1m9Rt5TpV0JnLRfYvSJ3BiCxs1acsn7sHtfCdd2l4KHVqcJlGY3iVkqgLh9S2psSdvInc+W2KSB
T8mnDlTlB4NWwOMihJ0PDt2QJq+6KXmoJbZZGpTcA+Grby6VoCj/Ay3i23j2k/kN0vR23p/MPdir
SL/BW0ckYSd6BFeInreSNtlarNnYJzfRGj8E/YeSf/ltOb7wkU+iwzb7RwOdzP5aCUGNxkCqnJ/c
IG9UC9DS7wCI+zsQb9PY2otpbN94v23t/PZ+eC+oLWCgmyB3YzyKT/LEsq7nxe/R9tWu29j/4ACX
TSt3cxEVewC5Q8r4FL0VnreM93RUFkD+FTH0J1HCHC81BY/rIjHoVK3+nGQyWWqA9GjLGdexd0p0
GkSuKBR7I9iaV2jsHqwLkDJBF/PLIe2/pq/+ybyjIeT7DNt+u6MFWsb45FEmJ+I2bNH003yuVL7M
Fb+G9JHZtPbBVkxr6S1A1HSQ3MRlaWweAEi8VnXD67NyAQV0702zd0U5nUA2LEb3VEtT3AdKzHdk
lom7GEZKTbaACws2AnHEHYJmBvlejeGESigG+T+dDaCXapT80RJ/MWnnNyHwQBXxr1uU8fZeR+mS
+iMg2N0oG3c/lAtgTkg9wOCPuLN7KbnecLvWs7uE6+Zz5XlCvZEgn8SI59nadJtbjrLlyCelDLqm
5SodsOBuiOchBafo0RXEfR0sc2+szGdR3NEiwZeJQNeIkWInm+Hn8SLpwD9EG64m6RzSNhuSKQ6z
WM/TlU+G+l0DcSSYFSHJdMS8GyLIsNvkUXe8QYcEAo6+BeOEzFfcr+SF88YGYsNmo1cEU/PGej4J
Es+zAm47KmQsIVD/t3//TVYTR8IKJwFuuZ6YA5ScBBA1MTqfgNffdQvT7e71aPHS5ASMQ7EUM3i2
4RLF4yHnahzU5EBLUdhf97yN4h8FA2P4Myhs4NJ2DbEqVV7VnoFaDQgeXBVHM7/X9OPU+hzUFFK4
c7XWoktNLwRPDe+WDzWgUcgj6kWzw+tPfHKIbXMUwFgUt1OhvELIOcl+VrdMTRHga2Jj3CtfA4b0
gWT2b3yKP+LZBp6wTaSLSjR4dsL//VO4RQpQGsD7XYPA3U6znXaJYw+KrNO7lqH2GAa73Q/1N4rz
QujeRNXH4QyDhgy6sQi3QMVsw25+HxTAsk/Y3KGd7zkapmvh1ubAE8Vl1sh5+BQMbl3RDYoAy0aB
BS6tnTfhPAn95v3rz/LCNG9SC2j3KNy3ANscP0rglhWqI0kQWTFYOPnrHp4wxVvL78VhWAC5Cw4u
IBsnUbPjLSoODgIDelbeeRsKdHCEmStUi0Uk0roMgs9QR7fn6MgmnxfQDBEAu+rbIIf6RraxaFIw
sGxaRhW7+R/MABK2CAU8tOvxyUHq5Cz8Cly6VLUgvvLZI+fIbMp/P0pIcf0RnHKRFuIcO57noRyJ
VAmqiLKh07tIGnCzBuY/vf4up4AVNg02N0A/XOkGHebpLkcHKaTrxhOhftXtSajFoV6HdzGOVogz
RADiXWFK1NlRcf76yC8ci5tSbGsUAhJGqD9+P1bbhTcT1lHQ6DjGKViJGnVKSO6awCU5may8hria
fIwgD6lTM5TN3etP8EcNt718AIkkmvewgcZzHD+CLpU3B/F21hiQQWsCGvfYBFVai7C5Jzgxz4Zx
Kg969pdz0MDGS9HQ+UzQ0OZrG00XtDXumpeuwBmrQVp6/fFeiPnYYHjGzTIEUMXJMpuprJGTx2VG
opHeijCc70ot+ZC1oCFexWin/TvhIFJ/zAeOwS2uIWv745QBd6v2ex+sQoRZEPc6vV4GhsivIIW3
GaB9ndd+5F87HbuPr7/rC0E1hFYSZxvuk4Lm+mQxAGXxOjTDygxNdWRho48FOYCDl0BjXqdCh8Vu
0Kp4I5S9MCoWIDR1MJhAUI1OjjjLynFp7YwjzgMvzDOq/GSWTtHdCMKnTTndSO92WbvD62/7rDE+
STyAc9MQuxvVHQq/44U32rEzc6jKrHZrEGPRSX2m0UmkONp7dVH2suBwDvAGgo7gQi+GufGXC7+b
yU83OQhfDJht5ZkCZ+1nzYqmPOsEmtJZKTrWZTMvmyGv4VDxte78lZ0ls9JFyssFDHBw9xTUubIA
ekjbOH4fl+Cvp9oi8TmjwczduWadC1LbrdAxDvj19raM6salemmWS79ExpmDiBd+YLH154wRFt00
ZkbPl426laDJN+GMNuXcO7Ai2wqCQSsg8HZ25hYkK6OvX5/OE6Xi87pFEQyZPjYzxMebP9vvp6MP
/4GZe4AMu4RNl0VpDPA9kISRzcrqMJf9nDWdgP54ac0V4SBVJM5C1Zc04E4IJc9jNw/nDVDhG3Bg
2e0C3o73xm5+4TxDDI8ihFtsLnYazh3jJcQuFTgmZei/o+sAXr8hcfvGMC9EVVwUifMCjYAQ4NRJ
Shsko3X4/Mi+KvByli6uOkgzQuC18eTVeVxId0XhYhTm8YQ2eS3A03r9a7z4ori3CR7icBKH1v34
Y4CTM9eQnJA0bAj9SJnTUJCx8g3970vpKWop9FsiNBY5AuXxMKjgOg+FM7CEgYf7oIVXAfVAHUuK
oNs7Pi/gB3VDci5hYXHgbKz3sbL1O6bX5HyoAYFv2pH+sZKI2wDivSyhVVBCiQL+9+sT8ucRi60e
APEASIMg451MCARSogbcjtXZRzgper/a9YPXPIEsX96sLqHn4KE/2ckL3zhh6ZYiHIeZALnqlr1j
ZBbTk/jWe2OSyEpDwNUoftaykt/2oP2ee67kZ8kKXD2ql/An4B4fqHKpLxqvMTcgNIIC1Ffglbw+
EX+uDDxOsLWngi1Hf37c34oYRyHt8TpFUp/wMe+k0VnnoIF6fRT6wnxj6UMlHWPSAc1us/LbMOES
2L6ghqQ2nLsc8nCQpUZnwUpUCzt0tF/fGVT8n9CYKAYoQ0GGLaEPynUNHxqQKfx+B+uKBO27RVVe
Vsv2jkVrdOhVHcAnoKRfX3/gLdiffiWwS3DwMrA2sHGPn9eIupPTBHzAGPk1wFEwpK1HpqzmVrzV
iP/zxAsA8cHVBLaJoQ9jo+Oxyi6QhDrMzQre4+28juAbN63/QTkv/ADCCJIL7sI3XvDFdRhvwSCI
EVtwQfDxqLoD7gahHdZhUn2IgkLtvYIjPDPh9VnrxApJagfGK0FdJTJ0ZfvU1zEoR5ByJGmNJu7F
v59ylNFAOoExYHecnL+9j0YUdHZYIlJvNDYLFIoMBpw0sHTfMhx5aUEGAH+2K6nBygHIevz6cN8A
OADWacp64t/PxoLD7jdWIedIvCoRZ5IRX+QJanFzVkI32Wdd1zfoDbYgoELczdHdQn+0PkThWtmP
SVsOOmvDampuE9UnNTiXXVdnDhxVevb6TL2wmYJtpaDcwVXmeI3jZ+9ISSMx49mjhZq7BXpHEM0d
ehztMh7kGLTXrJjR0uYseKvB/OdRhlgBrOMZL8fEnQwN04ER0ASYynPsay8DMr0+Tk0HMadHlprc
TQlUdiO43PyH55v1vV1oM+avvz59IWYBkveBywK9THDWHL+/46Kww0LxEEFfvzeq4bkcyigdLf8Q
61GfLWuMgsHzp928kuXj0CqwbAWEBR+U0TZreILsrBgq742k54UPA+eLADgZ4gY0XCeLqnHx4rGy
RMbcRvTTbKYm3Gu0d6/rhej10E5eIvZF4vz63CRQAH14fWJemBd80g21RqsJ92Ce7CBHCp2AeovK
EI3ZFGujz60r3ypIXgiNIXs2DKN8u/3uZPb72LkplggcJkrKIeWqqTLJmqhLiQzfci954ZXgqoGs
BUkFHGc3u/zfz41GLsKbWyQuow9UI60nWqM2ree3YvCL42x3h4I9gcN5u7f793FEJGpOy21L9YU6
r/p52Qmvrd+AnekL2yeE8w+cjtAOBNHrZJiorRcXzFuMS0KU8vC5eKzmRfvndS3157BjFawJBEty
sCHbfC1pM6QlKb8zg44ziPHtl3imQNPgHfezq0vVph6USRl+Gejoi2SQO7jIax/+9bpCZrA5fOGJ
qc9OjgpgipD4+NCctxb+JvUEzbTzhuCNqPZnaR0AIwRaiO+NS74309TfPwF4ukA9SoxC+jnMNELp
oWaafgAPPrpCAqv3r7/VM8Ht5IyHW2GEz4DGV4AL248HVJUADShhBKxbYKeDVeSJwTgh91d4YpSj
LSEtKOwV7oEUMP8SCxRvdm3S2vgsH0S9ns+G95sgoTsLdVzuVTxCtovq+FwS/ypIps3HaNLjG1n2
S0sVYgRYdWGtJiixjh+brdLSIQK7SqJMQkE61mfEeW73+uy8OAr8wLDT0RqFuc3xKNU0kpm3qGol
pAYQdHLo1+g4vTHKS7EE9qvA02Igt3+cZGsp6sAUWxtGFgmoy+Hgp0PiN3kLo8A6e/2VXhoMxABQ
2bbrfECTO34lu3IPUg0HlU3VVVe1qcdzqQElBRA4n78+1Euzhy2OayoRUHAinHwjmGso0yssrZXH
U9rTUcOupAvuXh/lhcQRhALwHUD4e27NHL+QAAVohCgFCxjqgQw5/riX64SGsb63us/hmqHe+F5/
vhc6M9guG+MLjMDtkoHf9yjX9Tj4uEUlK1HJQupph1s+EfvGCv/zQ8HBCaaE8BV6rlZP4g2lPRWQ
n6Jenr1275EIZIkOAtEdRP7l4fU5fOmNYI6GPi/IlDhfToLADOOLioDLmoGj5OUqJmDTK72+Edte
QEMA4MEp2g+3xY6LAo4nTjioCGTRl3CM0OTb2IYQxLJguFYrV6kzQf/ZE2VzAzK5uuSNm88a+OTs
RROqnI7zN2H65MHWsr+GXL951F4Ph87XJ+KFSQ9h1gtY34dQEkXB8RO2i/TrLsFi0lMFFJ1IdFOi
ySRovxbs0+tj/blwAQ7ACjYAkQI18GnkDXgBCIQCENEerIP8Ht09R0IYTPgjdOAlVIoPdWymt3xV
X0gcj8c9ecdkKmYrJZYvKQFe8tH/0sAwZ49HWfMo7vh7eMSEB+hLyHnkpvA2WcQXOAKtElx8aEGW
qQPRQRj55fXpwAxjco+PIjzY1k5CQQKqwx8kIZhkjC5Z6yz0KjXcaQdN+QdvWNv2Yiw73jxAMMTa
DLkl/Rlr7ELQWCHgz6NxaoY7Pix9Ah8f4t304dDyfVPNCuWAX8YPaO2FwRk+fBsdoEZgjw0fXQ8k
0I7oTi+wtkEinPBdMjQgqUlvpQzWjxLE/RgkfpLF8F1ExqyTUVwsybryHC0sptIohi0N/CFX2uST
FT5qARN6P9pVh/fAwlHCrsbMd8CkGpb25dh/WySt9eU08wHsRj4EIi2sbzkUibHjmTJY3ldtBIQT
J+zWrJ0k600KBoh78uFVUO2SkUKuBl2THDFPbLgEVqhcBicyUGPg8GW+WdixAVQDsQQOhyrhV1Eh
Sp53MAiuUwJz20cotGu4nMwKTLuwSOijGk0fX3IzJHqH1Ay9rNqz3rIzvYT6b5gp/ToR2n9NgEbC
f7OtvGAvMCdr7tmKgMBASPA+EZjITC/wdqSxiXjWJRYYikZ+XEH0wPxPkeqD71oPLQNVcgkuygK2
GmkLAt2hH3qSW+oNUQo0EETDUkcigkPYtH5T/jw8wcAoDVbMsCl6DkFFreTdwpCipiPcmRL4KPlR
t+d9AwUra8YJbEQwBpKU0iK+NxV6PaiMQPg71HEVQF9WV5V/qMa6ve9MY0HFTsxHCy2xr+bmfKxD
uHTFRTf+gAsJ/QblqnyCydj6bm1BHc1cM/HvMZzZ4Nw1QKfyLvD6jb0d+BC6+R1shlLl+ohmKnDO
5pr4YAfrspze02WO4CgQafoIoMNfLxpexf6ujRooT7sqEgMALijsYha2MACrnKlytkwcVNJlYO8i
7N07bwwdqgAak6cJpobfmmGE60IfQ4gKsTBa3XDRQdPRK0wA8eU6mM+aAgWHkJFAs62a7ppPYVtl
HbOW7cRI/e5iDiBZw3ouJ4ovNpZhuvCweHCmZQyuFiW9MmEILVZjvelmcXX7VTSduWmDaPoq4HbY
nEeGNueqRfa39jbE4oSHxINsmo3RN0IknAJ7dSXU+ZZeOimhxOThvHGZfTlU+5BaiIwgmGuaXQjq
h8z6oiA2BS226tNggmFlbtRQfAnsCqZg1wXglUDiGlaZt8ABp+qG6mCJFSH8Flb+wBcCZVqThLDi
meNZQ9th47E92Li033soxT4rpanIVzg/wzOI9oA8AGoNj23X9DJvlV4U2Noe/wpnB1LCRaUeof6C
rc2a6Q6uhAeL3g8MX0zSg8wdQud+WXsKvncqgbYLHgCw18EmdP6TGLWE7x11/iWel4HZxNrlp4Cg
6T2dwXhLYRpk5iyatLmAN2sEVw5WQUS6WQL8kAk1bRp5pPgY9qW86l3cgAgLW5vPnuyXj4GMW3y3
FeB2CiTLwBBBks0uDhUez7xk7m5J20k4kFRseu/5/vpx3iCJeQypBjOihwDPTZuBcDWt06OnjN9v
Ajx9u1LuwL1eOfsULVXxrkbInrMKdkv3m13OXeJKkHd68EJA7lWr7w7gJIBKXPguWC5UHNQDPvkI
RVhF++QWViztt0nTaslNA3sEPjRBmJc1MXfrWPOv8DTQt56R4NbCZ9D7atTcRjlJjIBVmafgDQZ9
5ZDFYy1+ziP3nlzjQcMNB4XyDtStGizfmuswwz7mmOIh9tZUyhWGdXAJaeG56QNCpHaxTdaAhHph
h3Ua80AF83U7T0WYc6jEzWVB5s7CY7xu35e+UfEBiFbwnrJpKlN4+DT3Xqyqr6jSAJgXRRB/YYDs
n2o3Tw8BW+x6hovwwNY2EXZ3CvrU9ORVffEcgODEYhp1M8IOpE7Lyls3rRwpfkrL3dMEfoR4CP21
/YjIncRXXoDqGK5vg/w2hQUsYaKZKBAPjWtdiu37IW5hzbhXHg4rCB3r5WH00IbboUZFC0W5uSSX
0JsWEdCfCnZRsfEh4tfLDMOfkErn4H9ll6u6mMwVWOjVNVGF90VTbWEYZVr33Qlb9rDxAMJ8nvCm
7jNY5oVrGsA58bPwQBtPx9aMlxUO7faCozuZiaSB2yXrfXYztSPOrYn7mp4xFxaIHH4hbtGwLuDZ
A+PLAt5OMoBtIWBJmKD1iKV5w5yRuVzR0U4FcQwmzx3TaJfUUfIFA8AWbQpheb2v4onCy3X0qw8m
Xkd2KMDZGeGum7aQ41+UBhsOUl+0MUXRdBoRoB4YuuWE0FxiCbqzMl7JjQYtu8o0D8pva+A6MKED
w25oMdJN+DpCyVlwtP5J1ZtvwRr4BvCZ38ms6pOtjemNNt4VJQlMVoM/3qcRSOELFK5z/DWUfffY
hkMyXiWlXHcCAnM0clVXfVzXJRiyOQyszcfNb5J1KyDntTR+dZgmmKpgmAga8YBH7HPtJyvkpSEO
jhR9iuidpRTNV+sV+H2khxVGKovIuxphXQZnE4/I2xK6wDqrLZ+8A3OjKc9muiQfVRlvpPBa64vZ
hTC5g32SvUZo9sYU7KS1uGl72uUdm7ok754JQ5r3wa010nE0MAdw80rw32TGBm8NUyHWOYbOn8dd
WiYT7LBVAF1yCvnxQnelhjbqqsCX+87HyHwCgAl3M7iaRA9JvDZL2o4NzFp8pbovyAlbBqoDTJnS
ZYGgPKXc+F8cnJvADETOR2B/ZEHnDyPL4ZBFYkTeYk4YTGqShsENck5uYbs73Q9FVd2EqypvK2gh
3EWvsXuZ8/sW6QC199DhJnDEWZpAZPECDiMclbT7jOQvHtIBvoNNXnhmLFOP1gKmH8rCawK5ir4r
Xcs+QSsgELRWJ4JczGF002p4dCTBbNDJrrx8HlTys9Eh+TIztDM9iL5xkwBRMEKlOEOL1OvLfs9q
4y1733f0jDejmXYVI2C3jLBo2UfoS6t7SATgxcYntpT32B/VkFlIEWUmsQ+hOy5J/Mk4UbUXQ9P0
7WUbBMsCS5bZNZdRV40gqrReO+Zwu27E+ebKcz33naTZEKmZQw4B0CxloBeM13xWBYSOqoOdhoJW
28/VrPrpwIib40PE+nq4gG5ZIE/wmhE+qgUEFYdkGQOQnmYHjTCZ7Yd2JM2DhIuu3Y1oJbRpC/E/
T6OyHz9AAiw8WAjwhSJnER2EWFNSip2FFQpsR5dEPIEStbnBJtJ75F1UvufSduyCRba6kBbuZJD9
D91+EolDmo2l8m6MBFIsmOE1Zwn1TXMRL7O57gGUoUNlQSNIQdmY+9ysC/ybFhu1806HOtooaArG
PVjtMJeFa2KX+4nFunacRFfCerTbRa3uoqtW4j7TFHnVjPSlIkmZGaOTe9pFJt7DbK/4vixTGe1X
25ZtNracwZtq5uAw9zKufi4RzHjOEiQr123vvBteQLuKwUFigEdqzL7h9LSP2Eyw8PNBD7+TvuFA
R4bu3QATluJ8YMX4yRuS/ha8bFHsOs+ogzQwWIB2o9vS6oEuNivJFO7+H3tnshy3km3Zf6lxIQ19
M40AomMEe4qkJjBKlNADDnf0X/8W9CqrriiZVDmrQZnl4GbmlSICjfvxc/ZeW/Z4TEJGAeps2303
bB2hz9VZLr2WRIuOXT8S3SQOnttgC7ZHioKNPju4dPDKe2on3aowwwZRmsMb1hcQp4rE6EPItGBb
RFxPW0kfznU2RV/W7caGIPsJjXx77aBatw7pMmti0wUgWe6KMS1E5OtlPISJMbTtJjbaqtogYbDh
1Vgzf/5/JossrKRHzgM/jlkvRSJ8oG7Q4NdSlph/6XH+7lDPdNvD+IJT1F2tD//s12AJ01fsbsIE
0Uz3QivUN6+oY0CNdpL+pYHwa/+WMyxZwui2kCLhq/j5sxwrpp61OjaetgHgOAQqHFWuvteaiclN
r8y/nJp/oxRzXJwLLrPTH6LYD80oq0UwIGxaN7bLTFbvhrrbLNCpuo1fTu9xWo2PrlOz6BgVqAPN
FzdApoA0OUC7WlAIEGTjQGCa06ZpXywek+Q/n+t/1+ZwUY3TQkX7QSjqz1cEUaQOxlOsEDm+5TSk
cGKCKQdEPPjabScQOKz4yr/c87U79qGXwJke6ZQe8LEMsX/+VN0ejQlCNqIWCXAtDwJYtZ4EK93l
Ad7ytj4Uw1i5dBB8jvGjG/ylzfrrEIw+2qoOxSCKsflj79NMgrjwQRht5ZLPp6YY/YMaKvUKUOKN
WjS+nSqO50rT/mZq+M1Im0/G9wzuHh+L/RHuX4B7nQcAVdtihk5t5917n9o0NeYUWaBvxLz0vsN8
ZdS/KNnLU6oP6lSKKf7mulP6lybmrzcfnC3yDmxCzLQZC/58GyCbB1YzOlgstLE/cQSqTpYet9FC
6xPw9ly+MAvP/3Lvf30H0b8iwGEyizqVyIWfP1STRlAuC/pNK8khodfrYWGhFgK6lZ75P8r9n5/w
37yDXG8ikZhGI5Sg6/LhA/UM86hAD6m0ptk1XV4CrIBMBDCE2UEcuHhQvclmt/TtAptiHLQcc9Bz
pveB3tY7AjD0E88rEz47C9LtaNpUxn/+kr+5KGyFPBhoT+j9fxT2jfngi9ScEgoR4W7Ggja53pzT
3NrprfH+58/69eVDgm2vr95qmtc/zhhGDSDFVHsooIamOQPCltohtzUoaFYK8gGSq5089wsk9b2V
Mg3e6L5f+9Gfv8SHwI1Ve8cdoUWPORntPU6bn+8K2jrHTVZFCU7Trjo15uKCik8z+6Ey5Hivta3x
eQIHXALVGjQ7nC2T4gp/hf+uaTiD/3IDftN39dfoL1P3sXasCsufv09mQQ79YVsYcmlGbYkPclmL
DLEU/l2VNjS5q1T8ILhRmi8zLmmr3bV9PBxkng+vA/3AqBcqDv98oX59MtbvxeAJDRSulo9Ca2lO
gQX4haWSjJ1wWlA0eNmMFyrxtUO5gHj68+f9ujSuWRFo5DEdrWKrD/cFX4je8iAyL69H/3lmSMVE
G5wuFcR6LEhmKuy86FHaYL3/W87N+pf/vC/wC1mImK2wTDJu+/kmuH2eWyKe0beS2bSXrQBFPpR/
y5r5zSXlyeMlwBhju/4vwjrXzRdjVRqCQ7UfC3TUt3ibDfzQizriuQKp/+dr+muJwx63+moZhNHY
+ThLAOfWaprDJtu3MrlxKt0P67z2tnaHE+c//iiPSRvuztXDpv8wlf1DxDZUpjQ6G/dNWvZAezqV
RxNimc3SxtPfFtZfFxI+gYeFGpfJND/s57uVkMOQD6lO2TClkL36Wjxj5ikFE8Xav6RDMo3QAUZ1
rgJNP4yL+d0csiZEU0kKRUcXufcaCKMSTSUU+SWiaxPv3N4GoVcU3ngq0b3+5Tv/5k4A2ljpNWz7
OCQ+FJtDMCH9THibRO+OdMPizr9qWYt2mb4sxz/fil+XFGbS3GyCzlnrPIrbn6/PgEmuKP063TKj
hqkh+0KRK9C003ueylrhURvK19pFfXTKCVhgrGRm6fDWmmnRRXKRbbX1K1RgocUMw7wTaZAEhz9/
xx+6iJ/eONQSPqvwOthBnPjRZGh1MKNKfUm3C1PB+TnJJvIgRtilAbhggO9hog1zuXeNOh33Hayf
+UnopUIiXBAFMHkYxLdoISQqD9b4XSvaBqufaGlX+2WDepxRkHadlJ0pd0PRduOmteMVdoorSWwo
AuvxVDmWvPSgV+EulckUqURPp6MG45NJhFZM87ViVGH+5U35sc99+Ok4hNbRN1cAmNGHxSaOK86s
DbkS0uqX/ai12hRC5i4+04CwmnDxiRyIaCLCDi5muySaJLPNXV4GZRGR62B0V2pp4A331iKdc1Y4
sRYB0JoeLETvXz0vp4WYB/bSbN2Oe7+h/uo/51BIaDSQcFNGOQB8xXwRbOuf7+ovyyhdTI45ZJTh
iFijf39+8NokLgvqX5B2Ose9QDpwxiUc7j9/yq+FFdoBzmxr6qRPHel+eL65VH5mxB1K0D4W5xyG
67RX9awgnFe2xA8EN+xplnFNwzurq4P0c+iiWS+acBDMOOnUOYEWJlOHF5t+R2xGgz/ly18UTb9e
DaxvKGSZXBLg5nwU7bg0vI2JwR4s33zaJz3cUp1D518Kmt99SsBCCCqJqgZ91s/XnM6Ik/O20kqC
7kBnHOHAdlhyyI5/vuq/LLqo9E0PbzRrmLceon7+HI3/3VSVm4GRE2kIahrmC/2SaK66mgCLZHKv
hnVmtIXdqU7S4bnc/fkb/FIh8A24npiyEUHBLfrwdI16PVjtwjewzUbbKVsH14fh7My8NoGCaHWw
aDQj2JuMC2///NG/7Nx8NAmtBuc2JLFM5X/+8RPD917PNCasYwtuGu/JhUljfM+qY9xNcVH95Zz4
m5u6nozXGFl+LDbanz8vxsWHnpaWSycK/TiV9vuMy/4vd9T79VNW2/bKwqL2WWvyD5/C6bwr5yHf
Zm7lPBc0q4tdGtj09CV1QxrlqoCyr7QUv02m9/UQLRhIZ4EijAwiFzVGYw03Tab6r5ptlOB3ZubF
3krxOQx1XT6jKpm+kBfSsw40ii67MkdynwbNvC49r/N25ph5gG+XxlIgc3zv8ySMQIv6ohjscOGd
cnl5NGiDra4qem6AbvqbZhZQFkpkkUz9a017yNACxt/80moH2NCFm+yqcbKCiPFsjJcXmXBJSAUy
gRBMTbdEtJ8rOyQ9JLF3bPVTt0GC5T6bMe7qUMJxvuNUMjaPDefi+WqCTYXMfBq6NkJ3PXFQUVNp
bGrRVfWG6bZ6WZBlGYC1BZjcPE0BB2Vu35j7rlgCaorFam40Lfa6cJgV4yvFy3KXILjCxTCV8WMO
fvRNCVcgIMDQoF4FY+ij4wF4Bzmdwjb68TT/f+TJ/zB5hP+3T/kX4snmW4mzt/p3gvpKPFn/wH8D
T9yVT7KWy2t2MkLUf+NO1qRuTBkENGN1gFmwgnP+F+7EMf5Fk5yWnhP4Fmkha1vv37gT8CmBRcYP
Z39Mwf8hbI6P+OfxZJUyUimx9q7PIX6ID8uPbucTvfi10+rMehSjXa6a/pnsyqt4WKGfi/pLubpe
hl8/EZOpSXOOrfzj3pU1STPmmGqBz5tPtlG8ZRBYcy1/VHH/YAb9nS+AHcSj9Rz0zlfdkvfsOF/m
qlUbqVk72TvfUmjIRQeQoVUvjUXZoWApRrby/+I75vZ8+LII3VdZFocPNlmgjevl+8fZo19zKPQ4
NkF3jyQOVbB7FVPZ65SuCRRgx6h3rp3mhw76+6O0i+WOsKm9TAl8yxcqhaZmpMpQYjOAl9wSZ6c2
1oSOn46Jui6t9JVMKLCgVjxD92ytz34f3EnbCi0X9ZPVp+Zp8W+SzAfXV1g7NU72RkI9jYY+GZ7q
erRCB1ho2MTZAX9APjAdnL9MZnc9Dba30SoCTTzNkKG1Ar1Nib1HadO9KQXoKmm1+wW4JynXa26k
yL1Qp+zdSq/5XFEqhnQqwGCoFE10jdSWFIjcuGtpXdwlRLLtAmY1u6AWFllEUKvbBbx92esgibtr
j9PcLq5ahu91PlvfyIYsvqnGzkHxU5N25oKntCf5DeXf1veyB8Jzyl1a1c9pZwdHul8viy0eHCU3
DYRqdv6yOBV2lu/zXi/2Xrss59WocczH+JOxbtL6BIW/nbhAepAwZ/dN0mRlRuxmQ6Q3G8MpGNqn
ZK70+4UMP/jDQx0Z2qBdCiQnXxip5ft4tvbcv+BAK72/SfSWc85QOxey6I5Vmr8TH1HdlkGcnZ1a
742wpqe4zzLC0rDbF/tcZPthHvGvdK3uHB2CZ5iY4sIjl7L0gPsv6UNr1mbUxGQat2kedTkxaNhK
IQoP/oY30H6CEbGHrx0cIcq+1YGsQqMhrWwmtgO+Fmh+o7RunSUjI7lb6rCmpbrJgJlcOxrKk6Fo
2ggM+cI/OV3IiVlc2Ic50Pjxd7IBkvdkct7U3JWo0FCesJuk3UG4VXO3xFUeVgnxWprLE5r7BrGs
TLy3CZHAoUStvUOk+hXuc/YGqPoTyU7WjaWy4sy4X+0hO1tXqZG8efQ7X1oGig8FiVTblNqn2BAg
o0JBrsJFosMnDyRA5uUQsbGtPUFyTSyuAyxon9sp9g45gtNVXVSFDMaKo5YhAdNmo4gwQI9bKdyb
NDesxy7zci6OUx0rSeeBgim/5vQrdgUb+BcPWDjpfmjcdHRpO3tKbxun7CKIviw3FYhj1r7kqdWn
e+R34LGtpNxJ0kDKJj5kKWkxAJbHkNaDCgknocGapAcpqynyW5AzpEkW104vnL1Z28017bvldTYZ
O5PLZd+VMyOwUaZofGakLHszE9XGC+7I2O2vEFPJDYGp4wUliw1mMfXD0vTiPWgbE6Ou1n8pJ+fG
NSSe41JGepc28IPnSzZ6T/ZsvYP1s89BPXp7RcxC5BT6QsIX0+i7oYotwNJiZ0nf3usuvHIyWpmJ
UfqqSGVkqhV0jt+HSQu2CXyb1zhWn6qZRJ85JWIpydbsNaSCLuVo3Hyy6/5tMStxbRS+ffCk+5xb
JnaexFV3yurjawIZkgtLEA6IAcwfzus6UnQpbuouaLaymc1bf5n8zzOY8n3Gs3onWiHORJiXt8TR
DFuvYRIXu6S3mVlRbIesNrZmLN7QIql9kzfd9zhtmePOHl0mGyiWTVlHv7prXlqRfp7XoUbVd/fd
rBt7QM3QL50BhZNGCF8yPmqm/QyS75NT9MxexlgkF/Kj0kNBi8YlEGcw7pWlTydmvMbR4TAXMkie
vhk0k6+wx8QHYcSrTE0Y0qMsW9NXBpD5x8preRKHPrsiqi+eQ0T65cHyBO+1qgZ4Eaq1Dtgn532L
9ddk8IXTBetAK25E6+jQ+OjfhxCR+1evk0a2K2OI7Qx+U8K7aqK2HhvCYLiysv5uix70RGdaBF3E
Xn4mV2zf0anw46x8N7vZDLPWb65sAUp4CuwCipUXe18w1jQ7C8p3OAQBog0KyyyqOkueEkca27p0
uzV8yrn4FmLWWJbFjV2WCFUmWzsmsaVbm6Q3vy4ZZMKIEPj4UXmgvrM+RThIoTxexy3z8g5r/B0Y
VyPisT7Sn8yxLSoMBTqK152mNwtJn5O5w+o9NFHleAhD8dtGXeoEt42MoV6rqjz1+RjWKGI3Veq4
G5ik/m5IzfxCGGD8Hd3OcCtjdwx2sCo3sK77nU57beCpH0eQ/HORkIfV4683lzI493H6fdRU8Ink
giAitcl+6wavuTJ7e4Qbry39lZkyNr6mZSb2Y5lXodcY9KKXaqhuBOicL8SH6ijLxuUw2cOD2dbx
Cd1/f5VA3olEli+RCPpvaZWUdHKqhkbfSLe1HE/So+eTW0V3q0w72CmnepayKXDgQm9mN2jI2spq
HWtLKcIapcOl1PUkBOTmskyQILZBFKHfkTjcRQX6QgSMhBSFlliFN/z3V+eHglVftn0Z7IKqvUnV
kl0X49gdhyI+++xAFyqDHGsNjEyklGySNKELUBLl+ABbXJBNm40F/PJFXcdBcY9FYiLL14zPGsjR
Z4u6AxVnXd9ArIcK0DuHaihkus27cU7hiOvpoRk9/9yCCDsSPBV/74lo3NApbq6IF5OwE4TEyZl/
z5SPycpxG5JKSWPLFA8pS7Y2ITJVxPbIk56LYbpHEVQ6W5ip3cm3bP/AdIBJZkxQ77aslb1biEcj
OsydLvYqNTbd72aJQoAszCXYMfq5nR3FnL80lBd2gOVlii7DL3F0KXcYdloFssEuoJvkwrHZklzn
mtBCZCi9Jl4WfK6Hluy0g8IVc0XcgDwnyPbWZE64osJHZ8b2d4Xpo6OtG/QT/nmZnwgvEl/sMouv
xsJV37SJ9hs0iqSJTAzdl5G5wt5yUnlvu+NdB68nJHjyAexcfeRAiph0teMHFsGznCVXIiqUPasw
u4PP8hP1SdeGXt7kV42hWTf+uAK5Oss+0/5XpzqYu/3ieLdZTApHOcE+sv3im2MjinK0Qj94KQNn
38p2fa8h/utKsjpQzUaoQpsQQea8HQdm0kOeGdfGVD4Xg5OdUzu+X2rpPY4VeQwsL/XJHsz3uhmb
k2JA6DqV9UmgQ7lLhuVQpnwsiOd3ghvQ0Em6NgOiUJR6lO9pfudpJH9lYujvVj0sG9vi+9fspHAG
ezZPBT6D1bFtrzovR3E5JmdUbu632FLioiZpfsqyJHj2OxJI8GYEW/Rq/hSKvHZviQMab0drRitH
Sz4NF6BJILBHxNlkw4grnKZq02T5iydjikdzBInrE7FsWqW8NuaEglArkS51zW1sVI+20tTWNGry
T3G17q3eOSFHyh4K4V7aUpVboAlR52nlGQ3VS65SF1lgUB5B4Ay7BvbiNkBf5QjvgZWOaBcvCyLC
vQzIE/l3ATI35JT3jn7rrYq7x7kRd7SmvUtZ+F+Fi+xsdNPHJkjJ7EnMC8a2R0GRfaqy9KW0p87d
8s1gmCAe1kc/26IupZqsePhGpZJd0Q7jMc/iFtA2elViQvoDIktnV81zFTa5SRokOX83S7U8yKb2
dwDkc/RSk7vVE3oNmX3LnUQuOcuLKHVxL7DjbeeKHdTusRvZTfyuucj3hSIPbaDcnH10WXhriPnR
ExiKbGCbvCOtJLHwx6VI4B4JTEnPBTDyvUPnJzFckCvtcNSVqi6lU1bHhK7NZkH5tbEUwc7D4Ju3
eoY+jyG1vRsZkW3NpTtguR53uUACVWLIuB8n8W4BkNwwYFUcm7xtpzPCm5ygI9PQOg14fa9pIo+b
ulqsyEu8z57Q1GGS2XRjk3yQj2W3S3J/uaqFjSqp1mR6nksnrEebA5eSzrYgry2ZPeOubFgjG/S8
nq3ZZyGt6jbNCD4wiGhGQVR2JzV5vb/TirJ57pSmb+tsQdM1+e9B1zwvZf1Fx/AAjJkDzgazwETD
SB++rLHotJus8sHskp6gZcKqXtAZygOSfr8/zj3qaewLPb6HbkB7SyDcpnaS/oC9BNmfdphr0SDu
om/WrymDgkePI+YSd9+TQifhLDBZjmF34gbpHPbEQZtDqfTXVn0fk2k6wkKBtiIyYkDHIbiZUjP4
qhXLEhJFM24bKqRNoEq4okYy7aaiAZjs2Pe0aLG7CetOFsEXkKgPhC8mJ7vhbcjIUtx0s/eQpXl3
oCNovEy1m+1bjuRT5T51gQ9PwMk+Aw2cr/V1pfOIptikOSM8FOh9hL7er1YzXYXL1SgY4lcGLBqB
XpKA7zAwm3fVL9VDQYIGvgJH39sJETq8fCE7C8pr6RTHseqJVMz4Zm0fnPhOr+78qQQEv6uN5obD
unkvvWk/uiXxuxVZe06DhYMAc/XamOSqWn7i7nu0z3u9mw0cz+tRE9kgg2IjIT6I8xLfb9ihGucy
+bywQsg8NLNupUXwAyKZ5CeBtHHHAxS5aV7ssaTc+vp0Hs0y3ynO4VsvvidYuLiMeJ7pNYKpZ3T/
1HjlwU46bnrsLsSecXJd9FVUxbq4oBZ4wJCrfaLm7s8DY60jIcrxV++H78Eve0QuDtaCQj3Loj95
BRFWAj73Ft2zhdCOBi8EbHHKXeTVW9sS+pPKBkHAjq5dFvobx24w1M6DiUnKWpV+Q10vvi6WzHcS
s89/z47/oybhY1Pxn48pE/8Mmfi/TK3Yf2uu36pv6uNf9f9gYAXDyD/1EA99nbzJ+Z89xB9/4r+b
iKb5L+QLQK2hh/iIOv5BTXb/ZRg0CYFDYOWl0fh/2oi2T9AFxneMhT+6iKsc6t9tROdfHiopRFIQ
eUxGLMZ/Qk1GVfexVcbg0YEBzrx17Vf6H8HJDVLPvg4IZFe+9pnX2mjLhzRmDceH4Rwss6zxfVT6
zlfYHcz4enBSypRqaUMyrqwdBThrL1rWMC+qJ4677s4bF3SDXg7iYBypxuvG2jFLGyOEnNZFWJRK
AI/eLD/Lb73cEyd3EQTGNA2tlNJ9nUfnffD2rAlvkgwD2iI+9Tu0r1s0VS0KXs7KpqzTK5NcIWp6
BeQg8afgxLA9uZ2SBqVs55j7JY+PHQGwG9Nwbh0t+JzPNZ4RwVs6TmfyyIsNxbq2T8lzjOLe0HaD
plmXydU4sWmtxI9Sk2Ud+7G3K8u42qe6Ku4nN2HO3Ae5/5ggxeGUz7mhRUfxaRqIRLec3DZC2ito
hSWcATNcs1AfhWYS4NE12qOguCNjVLakpZnJ8Fwohu0Uo4yjM0bjB78n3y/xvaSkqOn15Si8QHvs
+TfWyym6ET00gdm93jl6VE9LDMd0LX8ziOhhi4As3Ro6UwJ8AZxO5myswoTjNTF3ad28BCkOOq/R
opST4OcF58ZOW+uqDTFhmtq4g1c82MlA/JfWLL2Keh999aznCccxfmjOZpVpZ8sO1JoFXrFQcc6M
4o5bZ2cuDhxPMvHd9gaWxo3wSVOde898HgCnASebq2NbtPNhEuVXi+5iUy6XjqTIqCRF+zt6RNrZ
qdbD1yfF7jIuy5Uh7oyExhK5elMBoL9pVwQwPWRU/X1OkzTt55fZSNXVxHT8Tet1jv/VZoFfuk0y
Ze2XFn+fP9sPc9LURzU4X9tW7Ikgfp2wq9C9+dIUyU0hl3096YfKqO5l4PEDyo67ykngtjcD4xuV
Iw1cauV1ikl2fZLaIbSribOKEZoJk223Ha7M3C/3vVEFt8yUQh+LE8UBGVAH0h77M+Fi1d43tDas
HfkF/NNhqS39ja6yzdg6lQlqVxMQTka86pHBa4A9AbMLocLm/AnGFH+dpRfa2r4tzziiaTAV7Z1q
S7xOIymec6uqu2kGBlEPGJuMYdQOnV0M14EENsJQ0UJr6GF3d9P5inA3bzOReOlJ84hvI4lyM9OJ
PCynJ9wwxSZ3uuzcCwRPstXjo6vK5GjGpf8yaI11GYcGb13ei2Grd8TV1PLV69n0JsG8jJjRJN70
g+uFtQ56mKQDTjn5C9lflGqyJVk7t/ywstc0Rad5GpCXXON3SI69icWgWHXyDSIN0kw423jt8HUu
QdRuZsn3iokp2/azzlKh9MEnIHTN6uS97jJpb4KSYPCsMfTQJObqQlpkcl852nh2KPMOEPbqc5EG
7itDjgd8bt5WNTm1T30iqpuFyhzqE2nd6T2R0lQ6xFseR8u/aepgzyaOh6ybN3Fhohi61FUwRNbk
uVd+P7aXasVfBA+NrIIIuxqheDE2MLv47iw5ChON+UwxmDqd2KS5iVv93Ouju0cQOR2txfPuM8vA
nMUKfRIs+zx+dkJ/sPIubafKTeayxCYazeQiGkexRaJ5cBvzEhiUan69L8Fe4fwZjn5tXeKOV02N
X+liEPIbOLsZMxm9toQY9wWxfe2lZ0fcpRotzEDJaOmDIkqyyttOfuGeY+mEGE6+tT6CSH7OaZhl
taVrSYBvWoonWWMJ0ZV7X4kquwvqxdmVRoHBJPaX3eRazbszJR5+tGK8dcgvPOhDLR4dXUZZPYVg
STMQ3rhh++rTbFPOSdweheOc6qGMltp4nQ2dVcL3rlBi2Fui7SR9IhUcJyhxCP3c7DFdJ6Sbuta7
Y+tUmE5ovdS5H5mjLrY6en3yIX17xg3rPU01QTRoQ7QI7Tf3gBivLfGGKde/vphqJCOlKOOD7Szu
1prfQcuPe70X1Z73bTpk1vI8cOhlY3CScJzb/tkJqnCwmsHBYKcIBnWC4TaXOJOSPtnNTSeifOiy
qFsc2ozjdEpj+hsep485oJWMF/x6xs3TWYl2a2Aouo1JxdsKo75hcvPgx+lVYTR8Mb0IPZXdEoHz
OlpTFokunSPXbLMXJ8Fca2cVP5KFh7pWkJpNG8LseXgs1Q03JATjlpvbEL1PhP3FuqZOtYgHsJYL
vrvp05C03aEslyPR9MXeSUm2r3rCe1JTUJCSw2lwhij68+wrl3iiNpeb1BcGYxZOcGmrmo1g903y
5rCKdGnKixfyYMyN1okHcmz8U400YZMabJmJnOLjKDN6wn0Vs3zTmi/z+g6mdYQqrjslVr2vGlUe
BqH0UwdL9LEzrgf6g2G/DJgtywXbExV91MBpPHM0WHwM4DPx1qRKNt09EGPnEGMLDGWnPaeqSEMe
QuPgtXpw2xdwyrqsE0e2B/tQsnpsm8QMdriwiYrgJ7h7dxw5g2tSlxtHS3L+NA4py68QG/QXiPL1
TS+9JyvP9jCVopZpJRbdtto06Q1Rhe/S9MJWlWwZafyVjqTAQ9i9YgZdk7qmcauzx+zcJYtfWo0Q
zsRnz4tz3dm6GLCZ46XTudMFhozBbT+njRxi4B0yjjxqsCzKWW6Qf2UHJoIEAY8CS2/D0zQl/Y4V
/Xlsu93cGfs5064WkZ+n4iWp2Cvzl6Arr12nxMShIntq9k6e87Kl1j36OWaWz1MzP9S5c5cUX4IK
e11Q7pIg+FxJco2KC7Oy0LOORJe9mD37KkmcQ0fabW8dWpKrREEIRdriatTnnHXR6u7h0uintkaS
a9Dazzx5dPPk2YZzhv/RvW8H5lVMZxrMx9YtkcfsUk2kDYQkdgPprpnYW7SJG7c82dnL3Dq7Xg/k
fqzqt2Iqb4ghDUthPiDCeCEl+OTY/bXq7BvZtLcdD8wyZphIZdCEZMoyMfGYs8Wc9gBqOkeNinVb
G3MWxgMgEIDFyXWZJodF4AvEb7DV/YFzYFV/9gs4C2nmf9YIwI6U4nGhd6fDigLv3PKuTbTJOHqy
iTVM6lQcxVbiHPPWJfmnqPdFrb8urcDp5zD7i6f4tvW07GC7ZMz2GhGz7WQ/AISxtoU+95FnZe29
kPxdLhmLXzNNfk7TIY9Ms2SzloVz5fRNvQ96QqS8et66qYx3mUwv1ax9SwPvIp2Rhwueg9XK9zkN
LjOsiYDGWtClu6Kj+mppe1uZVFtr/VpeK1+o1fg7aGSLNsxWSLI2pfNLaXTcx3yoXnjQCInUxHNZ
jNe9736te/2h4gTDsKz8RmEmTo3jmC+WtO4qzttbF0vmmKYbV3uwK+POHxSPkjnEN4Ya70kbvkdZ
uZcsBqqZ14to7XpnqvckQDNq0ZPmDUJ//gARcDpm+be1iWJWDKHnrr4spJbuwL9sexvzpW6n1cUn
/2yDIie4qcoCAupStfe8U7d+Vb4DFojI04PCpFX6ccCYHLkO7T+ERJYdShwZZytW46a3bSdq9eSq
UYqUOdgED2TtpTp0qnl+wgLsfYG042/TZizOMcS2cBXqbtrZK7hTdPXToWYxb9o+NJAV/WgKMbyR
9SYoMkZqrnujE48UgdOgukjSI6wxcW6awrzmkNRHXVO89nF8j5Axe43pZHns9J0YgigVFOAuQc9X
laHEjh1Z4rHjOxprPiqNUvsNCoJ5qEY0415sasfGx/+8gb/OcrjiwAi/ba8SjgyM0Nj3QflWV2ZQ
DldZU+SR4TUVhyenPzWjkMSRL+pmiDN3o9te9bgOa0PXa0nZTSouB86M4Mhu2V4Bf0x2GeI0MmvI
W8IhnvVRUASffZEluy4xmy0z0nq/0I7bDlWutqyTA/7wpglRtvYnUWKZaG3zDSZ28D7zfgzYU/P7
mmToKCejfjt5nb4Z9fQ19ZFMaC7TOsw79QldC8b1xOvlUcrEeJoIOwtBGdKA0wL51YyHdleomcZg
gvS3LozgSfbsw0OguVtb77yTBSYhbIijjsgRnjdrDPK251t9wnoKP2JsHY9eGkuSORreofCUfUCS
XW0GhojawTeNeDt28/M4T0aYYN0uuaplf5MHgqlbMb2mS1XWYQu7BXhVO7cX+KPxjSzwwsrSm/cz
K2XUCW25FL0KiI0T7X5Wi/UZRZm5691uPBmru3jr26zEZWtC8pUJEoQCB/XgjiGCgWHX16o9qSBY
BREciKEAPzGh15/HwSSrUfXjp4VK+xMIQ1TTC/w7Vvdqb/ioXbHX9tuGJui9jkV52axGx6u47VVo
1DVOXC9WqA1iEoMBPN20gQn1y8vl98Hqxm0bFOZFWt0+M+r7KXgmLVYzN10FHKZp3oy0iqPCazV2
8tg8mGtOy1K3XwPGP/txTgJmCnM8bgQIrL2nT9Y5n534v6g7byXJlewMvwt9bEALgwYLKC26u1q3
g+geAS0SCZHA0/PDkjTICBo0aW3Exsy9t6qAzHN+GbrSsB/J+vgUgea8NqPRhWrBe93znr3PJng4
sqf6EuPm3tO+1m0SV3Ou1CW+5J2zJrnYq04DV67rVZ99xfMVdyqau1ye3HIoN6as6fDudP9srm8k
4d1vhdEWTwOk8U6nDilq7ezRSvBbYpiOJquqL43nqCuLuXoUoxFs+6H+GB0Z70fMnxcay/uoRqvI
cZRMZw9Z+AUNC8qdCrU17UxLjoF5Xm4lcRPcs8z6kjhWJCHhkiIB8UfTvk1GF39QHSgOI8Eq22yM
nV3QcOXok+cdPHbC0PNSYzPRi4x5tD9pBp8lHt3+NOLJoSK4cJ+sJJgPwhurfTMz7UY1oVgfpgjm
JxqYzDuDmvNj+R1SIn3IBoZAa3oQnOmcRKn9W6sJXLGq8ZjATG4F1NdT5f5KBaGt7aPojV8JGVaV
OJrinjZ96LsHq69/Zu70U7XALwZNWx0CT64t3QKHvDnl2iUQjvZUmoCQCTLNNwy8ND7iZfjFE0lc
uo+rq8JEf9GGLLK1nCbCyko++OLzs7K84o8dQ2QSw+DsfTqIX8jv5WDNSXUQ+vJiEjdNrG6s3tLK
CD7qqWdvmUzxqRAdHOfYyr86Gwv6EsQGx85IMj11A1UDAWpEBYWlm3EQ5e8myHkQetRikmPJWIqw
G2ZUT1qK62wT+9aSfq6FQhvbTfpzn1qJuXV9TYez7yQhADb0+l0x1LLXjV3yYduJVjD/l8NnQg5u
vUl11dxrt24eCz7jvmwYG0OaFYrLbNkTITa1MB4IidKPmVVhPJ99UdH056TG1VSt9e7S8XdTpamY
HgzUppuytNMupGl9eh5UPS2Rxb+SgCTh3mgKLN+01kDeZGjLvZKSzdTwyvbYUVJJhWFK0UA6YSfa
TKLxHu2lcP7E8Pkwp8XMJeY3eThJ6E/Se3Lv7NlOtm9MCpdCIZC1sIiaP/TlmMizYg2qKmF7Fma7
dYRmRbOxeCwLDStTTgbF5DX9SW8HyBLADFGcXTK/tJDtPfhJguWxihEMNgW7RVULeTa7GLSG1WrD
NRd4EVXopEGlvtuhh5jTDF4A8aIZ+99O2hzHAT2KPjS0NWo1RAMYwCkd9JHM2Ka9Jm2ujgSlnxQ8
uZdr5zq1XjpUErYwCftPxK5nHRkSGT/R1dUebGavUNSNDAfZsbmjZlNB10Wzv+w7+9pWZFdCFaFk
MZ/4FEfT6T9sFwnYbG/zwU+jwRVHH31PDpnvjh9iGsPcM/ZVMIVDDNGb0fY53RJG1/vsezJyHA0S
dFkToJFXcK03wspDB8LsMExZbUaEvsA+ILjW1VtRuk+U4ERmNe2Ia3qx9WqbiXhEXX6Yyj+F5EIb
4cjczL1T0tm8sBmOe135f8mSIftIZ7kdfYdEq8HKQEVGsZzd1HVPwVC4YZbnO19Pfk1J+scy5vli
Z8XBmZ0pREW51p8T4pPZ5RvoBUleYIob9BTpJvDnvaOyeu/4wbnW4Z9Qepx9y/nly3Wmo4c4qmmI
YILXcRexetrcCU9EfllhXut/ZpPhmzLS6s4NvPXaWYUG1MTBQ+OEEQ28wwSsTLGzwKw9VOuB5xBG
gfU1n2nwM+yN6zLn6Y7/bbVFlOVIUjK5rYK1WxNCTnXwUY0pQtXG0YCIhmD4u4OwOwdCqaYUOlz+
NpX3sPjGNWCNH9rgtcbPHmpQlnd6K9wdD+g3QdAWIgGP2BfyjnRnvjXJzG6CQtLWZ56KGtGd9UcO
T5o579CjIPDAHMSrpLal1WwB3p9tp9n6FPaZ0jmrIPny/IMgb3YRuBW94GXRVljMPxsTmTaYiGi6
2HRee178kQyP1H+lgfgutJWy6jBV9NqDZVr7oVHfelpck5xP3JuKVcDd2rP6cjM4zXzeqdLjcq9u
eXzp0hShaxafprK7M6neCht8uCndfFvH/qfI6C9f5vVMT+4jHfZEgQREiMIjzXMDEe/HUTYRIWba
C1Ef2r7OUeEX2KQ3ASsMZJ2wj9z6bzmp8zGgYzQqQlvhntUSJaV5NNj72RGjRneaDQtegE6RmdFR
5McRC8XTWCHp9E5ANfbGRnKzGTvKH7W6OPRJf3KDhvuMYHWmpQY9HGYH4tBmvzlMXn1x9eowW4+A
joz9k9q1DbdJTP4V4hvypfhqwMD6U1mw37ok0PfSc8NyqtWhm9vN3KLWGXGJheB+j5Nf7mTR865h
SOrHYNyAQWwAyo5jQoWCNt0XS9+7AkrZ/Z4mn0Wvi7nMg98ernArJ0GhLP60XQxWby/9Va9N/amT
1Kd6acvRKsYiVLmfvJFLZEeNbWaHNsapStp/u2EP+i6hiWso843baFcXzZxZKrKXxjEiFS/GrgVJ
fEqFiMhg+Oy6N8Mn3zMIHogADUUW7DxBNNA4FDtcyWt0lmU/I28NMj9qRupm1gJtIufXet9JvLfG
H+xR3wzn00Yaottq0n8sais+Jo46N6XghRfDckZ8HHmx/lj14po7oK0c8j+1rh7YQI7VNL0j77jo
83tgynstsOOCMHnbSTISkOH6niPzTVlT3JYfpcVPRlHvKRtg/BOlvWrmlQps6AxCQvThTFnOxq/w
hRISb+p0UFWXuagRjfqHuluSM4RvOA1HsnhI03+s4IKbca91FxuciiHIPvlBDQ/6Cu6wKeJXMd1G
lxPFW54NcwDk73dZsB/BRduedMDZZWcEn9a9MK78K2zKJh3OuXhfWVJmDtKEYDSQhnvdPWMiVfYU
zS5piYv16Dqv6GBCw/x05p9CvsK0sOyxDnIfSM7dZlHnrl8FsTvpf0hdw6Jj4L3qD/o6LPT1rdfA
3LDdFWiqI/bJd6VJI/QberD1wYPQD9SLRCEaDUlTbE2ImrA0/ZcR582uVubd9ob5KmTHHmIS7rP0
f2zlnSr6xGxzeChZ8XYBUYgnFIeXhPkl0lLfOLdx+YLf7IaS8diJbH2qUbXbaVCxNPYyTL1mudik
bK0taFE+eAc0v9cezwuhL/4Tfe/u1tVmlHduz343u8nZNIYvQhWJ59C6wbtaFUlxk50cqHmeL8BZ
dvlklf0friDQD49Jxk6HCwYLktmK9STvZ/8hznuofBmQ61EAfHD8QmZ8xEky0l29yKdJf/W0+kZj
6aacLN7l1HIfsiVwjy1tJ+hgn+0CdNhlrRFIgzy1GNESJx99b88Xb3J2zNZQdeTYo9sLHNcjU765
mObj0nHTmqtQfD6gyA92GMumraG8lxQPvR9YZz3XH9r2beqQpcvqpdA8ctD6yOxpGa11A24AiUsF
uVaja2NZoRD7VBOpdHBKP94BheeHekmodE2le7N15R6Lvr1mUPweNtVUT+8tQC4wC7r3oA6eKkIi
2WUcxd9lFNNA3HWrPXhxBaYUkMzRsCJt9LX9WJK1CIacl9ckPucmWqFynBP2kFggLWm6JyPwPvIs
yY5S0gJrdBlJepiYT5lXhEgzGUW91rsGAtV11hB6tRNWBVFq+D8Nf23jmKW+p8xdRI453dGS1duO
zJG7ilN933rpGZkaoQy+HiWO3I4J7oe4rfOoaezjaJfHURAAZKdx2NryDSz7pe/xrjdrAJDmzbgn
ZuopVTCqnfCZl8iy0pk1/KG/JczRL7Nbe9zeOaOpV91VHnxXk703zJE0ST/bU6fxPpfaDXThtXCK
A2lIB6P1n5Y8sREODoBYwQjg75yW1H9Cz3sYJMwtuQibtLeQz4r+lV70xwZDWWgtvQ0enJGUSe70
1ZBr9bg9jVti+f6mTNWbJfe7w9IUP+kcMzQ6XGFjwaiF4e8791HKiycPNyMoxPRCgtI1S+xXn+VR
A5HfZxaDVIKBaMd6T86lcI4VZuUw5+tBBC+eY/rIcID6S3mSPa6BQKa/Sh9iL12zr7kcE/2ZRoZj
vUDKNxXDsT7zAOZNTb0tD3zcRHpSXDSPMAbWA2iFSqvTkzvmJ1C3eDc147wfBUmFtEuUYWJb+2ZZ
wtTt+DMzFmB3mI5ZI7RwKRf9Nal8Y6Mm9zbqxKL3JNGF69KC/J2Az5rU2hHmldy6lYATT1y+2SZt
UcvRyOXuRT39QebMxOnmTRgXlrFbJNqyrjAIW5+d7lbgNsjyVeQa8xh3vV8d+66tTomwOIJaNUTx
gDbNkpZ3cI3+K06XdgeGYUZTF6eRJqud0oxn3sfHLgO9AdpKGbhMYyuWHqZ3ARyL9UJ9EINKDtc0
TyxvnThPpZ7/djubZiyRdqelSZj1xwEVKeL2XUYtAGFhiK6yZcgItkqno1COPGqun/NuVgVyqm6d
+HIDsXI+hGtSUmQpJcntQvugZ+CxQ1YLpEP6b0pe3rWKMY/8jb0xokAwrakM3U7Lot5vPxJYpEeT
DSTywafuvrLrLUhSHpoC1dpEf9/VWmwojGbUyd9dE96D/HkeupfZiz/LQdd2drcEF6ZFAqB7iPCM
0K4wkKufWXevDTsxyYLdWSMN+kgCV/5KKZR/kRgdjt0AxI2zFNB51h/NlVle2vKhcc16n6F4+90T
N3ZQZqdfTJEEP/MktfemqNVHptfLHuvmDBSaQAhU4svQapftZ7m1bvowp+ZdI1sXnJb/AL9Zmmcl
rAk8FBID4/qmVoIQRyP4XbRWlAY4dzyzQ5bbV8xDGHYQLDBFVIznKMFyjhG7JH7XMyf3nmS2GVVe
++oSj0zgo4/WgNDErVT+ckjQ0b70qAMPPi1ar6TiXStDz77gVboDaZRYvEgsrFy+Q/ps92OWtUeP
Vpow73IS7tC1xNRGbSzC4sClSHOuLCT2dXVM0Y9FnTVlxybNd+h7ixUIuzZx2T0Q0PwdO7TUIoTg
RJOLKcMpZZIgakVGQdudAv0yJ/p3D6CQasZOw37eoxPmqeTtIeFDmZthsCySMZ1nqVOb0JRlcyAY
1PoPn/n/San10P6pn/vuz5/++t3+f1BZYWH8342a/zbIvsu+/5vIir/wn8303j8M7N+YFAyYXXc1
ok9/ZP+v/xL8g0iAgHghx/R06ulXIdd/FdMH/yAwxDH0f1opHXe1d8pm6NN//Rc664nlwORIe4dn
6qut/P9QTG/yJv0PN6JJTZXhEvTi8O/jf/6HWTNPsj7FTsOSH4zxSQ7w6eW8VZPH2JN6O8sTp6CT
e93ao/A7ZMruoey+KCwcQjItWWIQOLwEoGKo4bW0eJ0ogieViKA0pKnpCys2o3rq7GMLRTPQWmhk
2KSDguhw8KRdlr1IMKjIsDmFjXG7brpukyYoYskWT8YjMbIUWX300mkuVvDTdcNpJn64TuNiY6uu
iGyZRQ3Gb+5FZnmCHokLITfDxLBggj37T4KIgdp+11id6TsBB/COomLHJs/jISUQMYoXC0yHNZ2+
23D2tK3WXSdArm7RoqrIT3o5fypj6jd5V+yFQfE3218Hy2LL+GOctYNZMDkpYgYzJ2ZH+mpILUkB
ztuvvsfzlfkfLkaztgD7+Bzq3y3XeK3eR409ey5M6+CtxL1cRaguWQSD/irKal/L6XUo7F8Llw5r
QMGpeTJnH9F2wXhY9JdSIjog5znULHUOCu3gjQy1RrAbSD48TSbp2UGeHuzpbim27rRWb56wkNK9
eMEDbBuf0/HDoTJC1aiHjnBDiMhqgChMmTK89EnQedQhqNMsby/M6qKrLxjA4KkkfOCtwcPwYmgZ
PDSmrr6HYu/6rypotjqBSEa/tqyJT4oRTj2jdNM95yxdlWScQ3O/AjVA224CXxETUVs25tYLfkjC
uBa0ovbY16NWtVu5TCcH0y/JIhaXdLoZUdy/dWw8YqqIl8+Rbvh5eq+X+XmCUvpZSFT547fvMWOX
o+bvrsijJPYfh7x87MwpLMUTgQ0bLe42wLZRYKkkqioW+qr1cLIiHbzg9tnIzn4hXEK+qaF+nctC
bhTa2EPWzPlO5MAWva6Xm6Ex9soywsCyIg/LhVO/ooncTpRELZTaue0ZsfoYVkSb9D6Xex7ciErY
YMyI5ABtDsONE+mtafhKZ0GYz8mGrpQFCofA3U9NdcQ+uXGTa+seqQjAKqxv9NQ+KK0hb2bAY1u9
+qZiev6dJ1XYNOfCqx4kKVzcHpEPQ2sOu3lE/MXYHwTyxUyD56z8xQabzPkrsfv80atrFQPjpR25
49dS/QTyybVzpBZDBDM/BOwGBjXPxRnRJ0E0gJ2xMZ8nrf/BOAYEK7D5pE80D+JsIiFTsAh2OGwX
UhdmHBC0+q3td48kCL7PiX/TF5w3BKYbq6YlwG2jVq/uifyfEoQAEjpoX4SbPLXe0aJ92otHblrH
OFQSSDdR5ByasLzIz5OB0HV10KT2V2VedsZo92gU3ZXo+79TliEWGFICIPKPJlm8fYpyRIzWLcDS
uMG9gtAtd+ZfBiG7H0vLtD6VkNllXPeRzrmxpab3hYT98YTRUKJ/CQZ49RpciPre00QGf0h+L8aQ
oHsEUHvurOaO7OBKD+s+R0Pyt1hm5630psnYDIm9EWb84lgFf54gN0Xrq7wXSbZzJDHPOiVnqXYd
KFDtfGQQnvxiPMK9W7lUcpk/RtkhDunP3aw9k8OEXDz/tKuJotO63yqoi11dkhej+TN5xYM/wWIw
zItkm4jveM3BbjCyNiP2SevvJCqCy1lpB/u8zt1lO4zvPojbFrN7+hs4X6FjMuDQlm6GylHFvNVj
H4YeAnldgfWvaSi8C00rMbE0frPNZI//tdADIm14TBFHDfQJO1okxUORyzliC9JJkOrhDC3xUQEd
pEan7/NAk9wTi/5rFL4FdVPaoVzEvJLiWyHeTU985F7pkD310VUnrQv8u8h+txJHSAyoWIh8Q+Ks
mR9GXg60D6g7NO8h0082IedDsO+tX5RL9AmvRssJKc5z2RyrZPxy8ypdhbMHpA6ngn7CgsewbXhk
LWIDOLiTGlXCjPDC3mDjjmLCkxtlX8sJDiFeze8GWv75Q3KemZ72idE3gpYmlryyUSytqFPpNR4c
ynSntmGbT93F9JdLW+V3lt1ny9CTLNRLEJa28m+0WHxJhbciHdTF5+ONMMVj95yZF+mA6ZM6mZ5M
HTDKf/Lt5LPKsNRONdCxHw1rVu6z4HxdeVkixr4o+47MYkTuVJDBB0oFLBe4gHfNkfYqmXzEvfjS
1oVfnEbLA84Wm6EiSoBKngCzYup1ZI8kNzH2e6S4V6oRPzNPHV3xWpXdh98Suc4peCZVCUgyseZt
rTNR0nuLN9DFbR/03s2FUIUNgXYaESovvQGyN40XbSqemIbbo7207LdJshxa3D+Vd6uTae+lALJJ
ShmDv2lGfmXwTHvudokwI9/v2DEdAmnTEhXrmJ0VaOhgpjSLMmZY4KROM45HiF2kjiVAFp0kn43W
vBA+gZ2uPSvCljdTFbPAmKzW3kVbXDIum/F5qI1dWvjA8IRim4n9u3eD996AG55AfW3efPINzGWz
VJ27m01DI10fCXLt8KgEELk664FWfqLM5sBTGIQqbCv2VH4YyayOSkjeRdNHjathCK/4MPr4IlR+
bEhzDXst2xkeskyv+3AsRA5G/GQIMvYElnN4soA+KHpRaI/J9jZHFfUGO4MbvgC97hfr3Lpqhyx+
gLdpBrSX7vDWI7UkL4YvH9h0s5B5tNFNJpNVbwfw1jRoxvJVw5vD7Jr6XgDyK4BGty5OtTceyrWw
xJ7O/2RV+KdScMglZuK/jQn18vYLuequyh6ajoVB1/6MVkfPlxcFc/ZEOu8zSuKnWRseTFfd4S+3
yoqrTwseuRzcZ5LNPunUrqqVOvhLkuppkmf8/YlDKYOFolUfQqVNoGflvqCbU/LaoH1L6mvaXkf/
KzZP+vhm8EbHtR1m1Rb/Cb0DdVAjmZkPBWnV0C41KrKZlAgteMPOhwL5W1b+1unUDosgecnhiJ6C
n5PfDqm07rzkGEXrBiLLSLkuqq98HfB6cPN3LKSRyW7WWD6uGYS9vpoP5gTxwqh9RkkeeiOJ+Nrw
nGOm3KJ/Isg+/wsVFeG6Pif2dMkafEpeN97y9GjY3lmVM9EXlX5TCpHTYP/qEJUHSreZZJqD0Ws7
3Uo4ddtDWwY1MfVZJBwIDr+B9jMZ39RP3QpyAoHsu1ELSUU5mZl7RJq8IXVA7bDGvuI63/a+uBvy
aoJgLKn5NGR/PaSbi1Fw2uonmZqIT+pHYgszPMq0bHZ9wTk/vInEYP7oyR0CZbGQ+9XOtAMHfoO/
PmaMTjetzKg6l7ERyoKD03Y0nWc/Rqo7VsrduLOAMmwISkKr7SPpAgXbVPJkOVd6KVAyldZfN15e
kQzVqINsKsgG747wOj64+BbDMjcfif/zN2NFIVL34/pg8IHiN3FVc85y7V7WwZea++1iaA9mZ5Dy
hFELdS/xozHicKZLuzmVOjZubltJ6dKwvJKTvQmgR81GHi3W+3QhGMFr/Cs5fScDGgNg+JAF87uT
Tm+FZwLEG2fuCXBt5ppGPwtaxTIzvZq4ek0NRsfA862kQHNt46gY8UdpIIS72rR3aZqbHMSw0m2e
noWrA0BSmLG4qMyggNENveRUkwVaEbHovIApgbCu2RQcKvlSX8ba9CPZQx+6Y//qV4pZd9DTLa0j
lFoBHuuUIbV5/y0ztoBp0H8xunafbs35XyhDvyUVrgAKNYBRJGDWOBg2gReJ6UauUaBo0TxIaE0T
Zy9us0NiEirQGjg8dKQcZZ5EWR8/l+6SPJZKq8NRdqirl44TN22qyXvQZlU8UKGokBu1+s5GcxYF
2AKXRbeZpfcxEiqXvJbIreGDhpLRX/BlpLX2rvwmftRMVr3RopVn6dUOocRx6VZ0eXBelKbdfJ/S
K54cnsi2Uf6u0yZ0RLqLOb9eDo3P2teMw9b3UmS1KwFCTGj8RcbIY64TtmU6TOyGWTzMubeQ2lXI
Y1mgU2wLao/Ii9sSq3cqgvhOFIlOwUpL9k7ThnVdP6JxJTGi/p3lzrbseiwyuBO3CKE1Ou7rb8PN
88csT+RvA5b74Jf+yhAhasoY3QTFNOEE1b/3G2Lsga6IE8KcAOuZQYwNwYWEQ3DAhNZP6pqpG6HW
QaO1xkLzENJHdSDjPPKU+T2a0to1kKAHkCZAOEF0yCLpi/DGzjoy/+zbNQykBaWb9bYGkVt8fqQd
lk1j4y4PvSiOyFyfpI4UkfFvRYKMYvwNOgz9tgwbt0sge4y/rl9ewPcfvEEwa/KyoKhF4sj02Bsa
219Dascy1emDIvR1T9YOAsGeny1egNpap5K7ubPM0HBmNIe6/Go782PqjLuFDnCW3qURYgvM9KB4
ss9F9lfY/icM22EKvL+4qiO8Hn86BOuZjL9Jpz6Y1S8/eEsm480y5HNX2i+OqtJTPKe/NM/9djr5
1RBA7mkDtgQ+vWabD3RFlOSAut9tsor0su0cpIzMqj9KNLRWI2hB+12xxJ9TF1rWjyGxR/yOuDSI
hZjhvlAf8vUySOTD8t7pTrJrNCLkBfbj3G9vOHIWILUnE8PWwSq/WmNINok+Nign+ofGE+7WKcsy
cgcJ2ijTm5fT+O6ATFZ+s6MIdbPo+pvkCpFl9SLXlTAbflJ0MyhnF8J0MldFfp/vTdWfmiRZZWzP
TV3eQPRurVkgNGeYapffYwYYzcWLS4EaDoGcXPSrVwZ5SkHW8QwDopeAvFp2L9uRrgm0QbM3fxNs
d8K1Pl6oxvqbMeYYqJtKMT7W+oivmGZCflmWfojDcqk//MXb6WtfB3lhDO31tu78jy7Ha2zpgIVE
aiAjWIOxTTKOja8s7x+zND7gU9hY60ViumJb+uSHe/a6rCYk0Syn0g72nYRXVcapNuCzpmGjl8Or
Y1b4uytvHytvN/rIoowpyjKwzcwKHUZJnEfQoO586HqFcwx8aLDMd9iVlbYH3jAka3YLjtkf08Fl
lPK+7axB1EVDTMZNiMB+sIA0EAuVSBsotJqD8kLyTjiPsfFotdYN4D/sLe2NVkaCEzTEx8LJAXtT
xtZDImEuPZLnGUWxOZezZGvN+/6diWhAXmb+QsK+6bUFvS2jn59KsLQxcSgYmxDmWq0yjqk1ZzdK
lrkQNSt1J0xgvnrypqRE3+cQ5ZDLEc+S3j1bgljfXLfmj741T1NbAEphRtj0Ix0tQy5/hEvDH9G4
ivIWKM40U7cR7UdTk6XgN5O4IZ7T2tCxu/mVoDEyOagdBGgS3Lw4H6mXHbiAMdt7uWgOuSb1u4jr
M//ZOKF0+Uw3F08CL8m2nzRoCUs9jE2/HWsZOiPfoOW2D4ivGK6qcGrENdWzXVG5DfZmv458nRvG
7tfvHGTcn2jEQBCTlulbvOpPVnv8MJG05gDm3Mal0UODFdnKZ5q9/WPXzpDKtoToayf75MrmTiIs
Xq9ZzVsvq3eTb5j7qlenxeJSLpSnVntN8SK6totwUWMvp7oj0vAAKDpgeEIq9QsLx5YYg/4xH+ad
t6IUtWeziRymHoUXUR5GpSc7+HA6eDPa9dBcJO6NQ55OFxNgDy3tel5/UhRDRxCmUfSR1R6zXbrB
ijffBkeq17nK5m+t1JO/RPXv4+EmKu2QieQXjtJsj78OKL5A0OvD44+AIpQV0JCkucQLvDnUQFEp
iuod9Yg/OM8DVji9V8h9XXc/Wkep7L/W2vFQzBpxN9mTauqdlS+7kWg2iGSxXNOhfdcs/Vhp3X3i
Jd6MIr3jQos3Sez8hXXarzOK5U7bWCcw/6zhQyOHILQduSdn6MW3flmUrhgljINNOVo9zkgtrSuF
elRWC25RgeCtK86ZV5UHc4nvuS2uwjTQeK3VVyP/70iMNvUkfC9pmd27Sr9WXoCkFc/mRqM+6L2M
P2WuLmZ/D6q7cOsDrsVjHLsUHQXPrpOAc5Z7ZHOU7njC+FrkTO5v7tTbUc+jVpQ3W6prFv+0FvyT
TRSGc8s662Nutx0yU2A5ID21EAc95rdMwSFyK2l0oEZaHW9tIUdGkeUDzOOEKfpgGCAgnmWcvIbb
D6UC1Y3ieYw19jfUv2RRE5FQuNC+DOguV4Vf+PesdcilcL9miqm4t4OtS+NRiAfUA1gR59x5kYkX
OZxlPVfsAJZQJ9m5bIyT7wL2ZABAUs8PCbItjWEPOR0ogmkfE7YeLEzIvNd0htl/VzHWJtpVyS61
aQbksmk12vzq/lNqDxJQek7o9UQHysUzO2rP/L1xZR7Z3sJxtMRBAhOrpo/aNv5qXvJ3fatcrCR6
LZCq6B99yQE81ssdphxYqzxhA+zqIzjoSXrO0U11JHCYP8f9GJDkMnF+6k9D1XwVNgahcYy3Zlse
g57jeOqfid8hSOilcQNSW5xw4ovPVX8dR3sv9PVwDvCw/lJG+SUDolXoAQSUIOhkmv0/ORuOBvhJ
nFZUEbHtzqibvOFUqJ70vm09bAuTEJQ/ZvWNx3Mu6fNLf3Nkn4Nu3BqDGbrFp8xeQTT0Ktu3QO06
EjEwhZukQFVKVgbDuNkBWtGR1HWnlucq+dti+CiM6tqh0WkSfU9KIlKcGXZM2LhgLQY2B7eyj5Qg
J48jffcIHWHJ5Qu0k5OZfqWmdaxJHdHGx9IAQS7c4UAT2iHTCPRx3Eenfvat75XmN0k4wmVxr0oW
+s4mQ5AyTCRmNMllxTlmZ8PJZm0Nl+ICq4vqBYRaaMOTu0w/lZ38bgxuQSXbR1I9olwkT87onxZO
PFFnx9JfICYqfKKdbqKmQvUn3sV4w7NI4OWbQVxPm/xVcAkUKnbmez09rHW8QfXWzIovF1myu1SP
izboJ8qLj0Q54gZFuyixn6l+S6AMrqfxoncNgDAyNesjW/pj1k4vpflVTgTfjd59RFGPhX1D+Upk
xCRafdqrWKod15wL73VwsDsxP1/sIttnojw3/UOMNOTFQKFZaNpB5B42EsWWGKDyes7y+GxauIWV
treQNCL42tIKGxYmlba2H/b1o0i9ENEil+B9sl/qYdn4plld3Wyb9F8DxnDA3p50dMrOEUAVUx6O
+gmOx0Allm5t41y110XnqwOcTE+Ff5TUwGtoZpiOSVEsGBSzbV2/lctD6dLJqn9pXOH5pW1OeEgP
OfNDqtAw5dcp25b6zAWCbguyjJiyrEiwWBMFxSOzroW21hyy5XdsqSjIFSEwFWard3ygYWIiMyzl
FXz538k7jx7JlfWI/iIKdEkyt+V9VXuzIbpnummS3jN/vU5dCXh4ArTQWts7d0xXkWniizhRkuoq
HH2xBFfIkUaTIrrZ0l5nlrNNnV3sJpeG+IZiglUqenxxgSUoa0kwrFxh7/1aYKVfyPCN5X8R4pEx
IR4XR5GdPQ6fxq7skIo2ToJVsvqZilenBSG8Tmz2v8p/xCV+ZB8ilowcYmc4eLyNoRUlpcZrQ3Sp
IwVMeCa552TWOJJnEJ3EdJZwQhjuXBqb5zba1nL8cNIH3cIewy/kI5in1akotgFWU+ThzmFhwRnp
2xtX6pU7Wd8W2dLYL/CV5jfaaWwGFYw/ArHANHQ0bCLphAYZAbr5echSuSBa9jaTF13DANgprl8c
n9aqJC8PEIhJwaqlJzLmS8zqsueZM/01TUU+LEK6wCodLoY4sFnweuY1MZsPaOTaxPjhzi3Xs+xU
WUi2lP61uit3hVFdYfF9jV75CQIRLZOUrRtgzRvgWBGJ51Boqeo8y+YDm4c2gSaabfunzJJTkwN3
7RVazz8wd8y3uIGCTW5cVdgt7hK5nOdt4xssx96imq+hyQ89f5rZY0LexgX80Ndl8uK65nX23dNc
h9hN2u1kkxudmdreRd9nxSii1q1Y5ylWIgzKecX/OX+NBTbk19l6rdOLA0qfQ/pCG3A8eUpnJ9uE
9il3hpvV/hkdA8dNs7eDL9kljyk6rJ3cQpOAhd+sfT1vI9GtOSqMqtzHGSihdRy+2+OxEE/o3Jcm
dziBd3ppCxhG0JsYn9XdE/YxwPqd8yHx9WbygxjjCTDV3YuQgi7EK1QHLCj5PiV0akKgLKJv/H8d
0VoMy/YE4QIfxKb2iwuKgYMaVeG2dIfTYPKPpA0AexEQOdGqaxE26sPToQdAyr7xhnVkU7tgreNt
gCYhjQ9u2rxUPnOgtv9QugDToDdO5jwQJasWppf8hG3N7YzY+hDpQwIrrVPRrm6dBmmuoGjTqFZp
yvNcW+jTCKIrY/Z3gw/ysnAVM97G+C4NeSk0k1zDdC+ZksExSLrhedDuF21LLcOf6dFCH8LV/9t3
9Z4aSYMO8qhj8IXmLxEol03HVGSaKNtO8WoIw9u1ug8OXsOlUnfLWnzNjNoXdDVMiEWILNHg5Xtf
zmdKSWsidJG3KsIIH3sQ1w+GgL3Wc//oRfwi7cgBMITOEYcVVrm8BV6RWwQlrU0IdJYD9nWMcS3O
kFEWeeJ8yZga8zkGJuQwALnip6JKvJtHMHwug/TITMI3roaSR0jqY2pF3TYYyYDldW8J0I2R2viI
7ys3b3ZYa9+iiW+jHl3A980bxuWdEYsv6YgNLQyMsl37NTI1lzB7A/RwoWx99YZ6z4x4EwX1pmnj
fWWbp06aFz/GtZ4aHub6aTqk2lxUvYxJGDfmKtOGuaXetbv53ny0yggKbnYnOBRKZBuz8jFcD2mW
vdl95ZJnRSfZtq1LDM+0U7/nouTYBqtK9JyovrIXfhsjX6qYv3eVzumd9LSGRUkAyhHemjmOcySz
SR0HcwdU2k6FlOoGidiEYVVuW7N4FI5dPJYWI1JJle21iux66xQpLEYvsV980HRqxOTDZRP/rD9i
EKq43QyVOQHORqzQsdk91eguRDBr64Z7LKZMZva6HU27TKt7mtZxTdjJ/FDjrSO4Y5nWprK5HZsu
qkPuWE8qrP6AzLPUpQhtB7xfVDofY+7Xv8Nd5o1smqirEa0pU3XzqxNTLWSk+5+7F4ntxOmvdLX7
a0c16Ct5yji4MkBL8PvwMswDFytt8Ecwj3EpPrXuHZoBgkWFGSmL72WXnv860Jm6cKtwl2Le2MR9
4XwwdGc0XVb9tbc1IATTYvUocIablZltQBLL90jFHHWzbvwk+PMTF7Xb7QpvFKe6pV61iRh7Rzge
fjjHkoucaw73Jv7cGMSIDO/Me6lJAAoPty8s7WKHvR+/voHsBJSX76JjbZxgPNTND8Cq6iqIvROY
xEqfOhMIYDYo1B64g5zuRnNPwBDbazv2FyubxftQ0AC8tLDA/prJhK3snirHMN/gDIxGLHxpSVkm
d5ptFdPptoQ82/owdIKGm3A2Zz+NS6qW7uaK0MPUMkIB65OM+rMLi3xj4sL9kSmgiVWLVMQwdqio
nMuTIn1oe1AWYEdxfzNC4kuW3O+GQHE8yO2lrEf7wyp6+woixf7ouNrsKyXyMzHBekvK1r7kXCE4
5wDDWJZsMPYKP6G17FTtLpDAoYfTf1l7vNdWeUpTiUA4xsG2qkE+uEHR8L01jFRCVXnbwgQxOBvM
EmEZ/K3oUV4z0zablYe/5UrHt/ymXdWCX27466FqxDn0hbkxOSUc0Kg5SrGfXtvBmN78YcLa3tje
rQVCsfGAZSNXwmQ6No0jL+Rv/dVQdXhhHC4WjsQIDIxorLlUeMN3NgKi3cJe4uYCiIzOmqYwD00L
nmG2I+vR6iJQtpXjl2s6tomx5oyoy8Qo0eYUPsHI6dozphAXRng5R7ceCXjNVXO4KW/i5+sCg7m0
BUCQ4Ht8JknPs+FgO+VV5jYHaXOrSN3jQa/MtyAMdbOp82Ta0fcUfBLTjIDSqDufil3MeLQVxh/f
N/6aYT4hNMzh37yhRDbHBbgCeGetKdsmdnJHA1xkhG7SZLJfdakf8LUkYm+14jaFZKJXjDFhHVUw
awufZmwG2r715mahc0PiwZ7delVmXUgr9QBL71BRUv3WHdzSrw0jwEhqWXZ5Qt1AAU8FURFXrAKK
S+CtpMGDX0XzdgrHlLA1sdJyxDQU+WCCgrLpHsNsSh4qbhk1tI9LynES28cY/iYVbTqLkMrmM3mY
20QmeRuTgLEA/W16IlVw8TQ6cWXbS8hx0TuFfi44RfE2lkV9dbtiutl2B3c8BRDEj2XzWYfhDhmp
O9YqtN7vS+FGSG5SdlXML6M58CXwTDxGyhbbubkzy6eEp8htzL3rlvOz13voLlNucSrERgNaRj6Y
jU1DwFhXBsN3qFSLwBykt4rHFEAzNHVRrbIuf4mZJYTBCLMpy+lYV3N3CMa25o2IjNUUWMGPC8OX
OXXQbcqKuS/vEGOVmjvPwuKw/zcd4/mMJPdd9szM26DaSn3HWXUKQSYjY3zxS8kliiKTmfcQQHzc
gF31JptHeISSQuRCtzLYk25G8w98LNhmfai5bT9UhdufGVu6G4u657MztzNUrIx3LCWYAGDNwy5f
eGc7GPvrPOBRz8tavZK1RHOqaOzpMSpM/QXIMDpTmJgh551B3aZuSmh0Qo/t7PhxzhvnOvPdwgsT
oMgYKPl3ZutrAl7qQXgSkKDrh2+lMZtoburdQmpY5iRKVnqayl1TkgYhJrixhqZahZwaX6To3+9A
gzXZe+TREp7SazA6sb8oQYKD3/c6BCXtd9WuwQW9FBOR75R43CKKSnPD8YdJUjYzc3EZVWpGpFdf
WBizoC/cZ8nHSY3Opa3vJQRKf6L1INGUI0Uv4KiXbjbhvhg9Wl08bNtT1egBeAJwqfvbaK+rKQcN
YJgh8+IcuM1Q+MnaH4nUc2Do2DQ4iBSgqTdzP+xz9DySF3RJor984re3XBZsD9uQpJl0FZVSfVkF
X11oYy1wciphFiq5OzDq6Z5kiXCddHUe/hSRFZxmhL8adw0RGAMvT5qtqHP0l6Y5mgceULWT9uh/
50pizmQsecXG4fAXNf6WTgCPOY9lGxfTJqYLKnoXdn2DDkOVy94cB8ZAkxNxgZ678MrTxu08gdaF
2ylMHjusjRwxAxgoKWb6Xcf5Y8FfG7xlWdPuarx1M+E8wpXsY5Y/rNrWvvM6/Xy62qqHlGDgY7v4
ZmbdGiJu+9QOUyyffa+Xrt+mb6TdMlxfdWKvKmigv2NeJ3DCwRyV3oA6reKJwNMopwP+V2Y64KAg
tkmhB+sUBFVNiHkOv1sKsetF6fVcjzKj/jt3pf6lOLY8SG3OClCrwazAGe4z2Cn6xIMhrvT+DBsb
GYo0Ah172GNE/GDMRbHWNEIcxx6hfIw7a6enof3oIh2tIkm7teVk1SOhguSMkgXweLQ5RccTKB2E
FzJzBpphh83juQ8n/UsTUg6lJoTjm2mZL2wbXHJLufOyN/H+6RI+2jwjXFA2izs2i8nVNrrGx5qP
QXOdqK8jM5wvK7akvUfO9GD77PBqnAqSVhQXUJw2X6cSQ0+T+I8hE8rN5DvpnU5Re3hedXfsjb5c
GZNHUibWn7QaVs9tR06pTkuGrv7UvZpEkNPFBCYbma7zj17AXCkdHxwvQjRssSOYc3PJ6tTZdoBj
r5MZMqFOlA/DwuurHTiccTuAG1obUKseSESyMUyQssLKz1lJO61xswUFBiY9BxddYLvinTFOsWO5
303Ehxk7dsT+GdUM2gvEvIDh0CKM9Eh4BtiyM3imxuLjpcVygmK5hrJnvbGYfPfMFfcMhuXCRWCA
O2aAY02m9BzOKe9ISB7VgQ2rxy9PzvIhiM5ZyPAjPkpxC/OYhEcj27/15LI7hada6S2KNtnVjiNA
E+qNb913c21Qeoha6fYAoaajIARmN9CQLBdTbX50i6SDbisF18nw7p/XgRM1TIJQGzigQPOjEuWD
nQNMQwQkkXGJL/7I2ghf+7yIoVyl1It4DOkB6TWmwcE+9VZ+ZbnuKstgiJhu3SztIN7mVgPMI3k1
EQH7ZaCt6BY4h8A3juBr0PeakfFx2eh95pMASCK0GDI06I7VRy/I1il9CoP+1Sj5FYcULjiE/SDm
n39M7/8nY///RwSrjzv/fw8HLPXPn/jfwwH33/Df4YDgPwLB5ioB590rmxzc9/+VDrDs/zCl6bnk
Atx7L5OHb/9fPU4mbv3gXkothEth6r/SAbBZhRUgrJlcPl1X/N/SAf7/7L3kX+RR/ir4g/h7BH/s
v3cVcYUPDM/DhpQ0ZcBMOr0C7JY76ooBKxrtnhp25qmpSVQwIf1J8PKLUqFyYczNGyfvepnUjtoD
w6HtJfg2XfWQ1Ci0U76k77090W/oMKFxz7oUxUW48ujnvOxqomrAK/yL37P1iLbcM50Hn+FUePGm
430XqmKGohrnnCDsKMsz98AzfSCLFEezFPknBqs/5Qg9r2t+W0Oe/daBA+E/xuidvctE8jWWP+V0
HORrpzFehIdoPBRpcrKCF1VzYEhNrDpuhtwPV3HeSlwWNWABWX3zr1sO0dn0FDu5pdd5kt86eQfQ
KixcySKpX7m07O+Ep6DfOGF0bEVLQGhephpZ7GwnLBIK7oww/qTKfNGe3nP2uQTMGac63xnyeYS+
QSrkmjYfuhA0tiBw4BCnSmIRMUWayvPsLkG4bn0P0Ww1968Rphs+SxoBFjI5T87F7g4QSjCes5C0
4ofw1TMNQgizaOaW0T430Rd1nwv4QVH2FJa0EuGl5ey4mYm3FV54Ix65FjHmy8Y8x2610yZG5pxK
5HPZplvwrH/SZtrmAxfZYRKreRpPvjleY0Yo0xzvyDV9K27B6quslLNQJsAv7EwFqTPb3iZR9TAX
1k5iYHMMjvpptYyIr+5tSBEPEX9tjFqlnAMaZWO/pjJZ9AIj5HgDkZ6mFQH+gTOXycgvljGD//I0
KAuXohEtRdg8Riy3vnULC7GOfYeaiuYWecNTE6ie4cy8JRstFhUFzTyp+QdzDSx63vwQlcHRGbD2
+8AyCqCRZkfDK4PzTTWaj63g09VKvTt4z5A7y6WrrV/L/HEtJsl2OZznlG0VsiCk+dbPoSy+VY5n
QfpVy1SA2k8Vxa6z/dIydHJIl43c1PMZr7BmkjYwWC6OiVszqmjLq8cp3ut/U3+6tJK2LNiXQVcy
Wk44IX3kjH+Gfly1zMGSvl24xXGOn5p6XNU2t0F0wj57aThJRGmI9TJfCXO4tWlVAVI4tR27iANM
vEVFjf/Glt5QiPjW2T1B/WJvM2Ib7nhvp7l0ab5mGvrQ+tXSYuCXuczNnfE8l+YfmYmPeLZ4Dt6l
3oEUWoVc1mTe7F0SIWVzHAoyuMUhwhzM6eI42BNtCBL9wnRvszcQkAsfwiH/jfF/LuqO4Zo7WhbP
d79iBnYBsth9Ecr7I5vyQEiJb6PbFDGG0IRx6HSfi3pMXIKZk48RvsmA18MQzm8rzR/UNpAhAdiy
DEkJZOA61ukRt9W6Zy5LXOImdbyGT/JAvX29yQWliVqZxQZo2pOfRsjWCm5Ere5eNwxPhg72cUl0
HPL7vJoDI9pMcXadgKGvuMy8zLxIzcSqYGY7UO4gQD90RR5IvCt1U2PCsZnseu08Jd0faho1AW2N
OU6DpY2/raC+xP68YPiLD7bXyAlYyJfIGKw/ocsEqhe4aSXgScufT4CxykUDlQbDB7Me3z7amV8/
gYE9Ja7p7lnTGbvOLz0JTO3aw62OSHNhzoUV6D5hbVz8Q0Z2uxaaZIZF2wzbpzlmduDN9kPeFtcU
kjQV32O/8aJK78LGz9fl3RCmY95JPAHpelTJp7LbYwlepS/DK9cFg5PGKQCX/Ex3N9bZ+abS9Jj6
4mLhHqGyrDcivaqG5IeZ/KMeQ3rKpPfThDaENZVieATYuJOz7a5H/EOHxs1RQMV0G3phfDidZKTp
ccZdzgRbFu3cd4sBlPzGqzk2zbxGrhGewlE3l6Sup0VO1+UCItrJFwTRQ4RrHIBz0V262k3oX6OB
T0lMhAlWMNMxBiYgJYeuynlB7mAuEZrePuDM/AT8qV/5hD5YsU2OmEQSAHChKuCDfm26atyIOa4e
eDDSdUvQAWReMuH9lQK8tVvuvKwtKUuDaZVFaEiAX/SqBsPGPghMprb02W/kptYNX5rBa9fH28gx
lqxnf8TdJmWlzbzokWSfoiAk1Ns3wZpoaLmH1kbUrfxbddGTxRTVqY0Sj/pjm5TOKSQIsbKbqgcs
IMpb4ye8LugaxaVx3G7jxN3wHRuAkXXmztZ+9h1oMj6Y617YKBFjoFejHuor0Mp+PXvP5NpBlSI9
off2INGiX+e+4UX2p1uY5oqp2kqOTn5QFQyFLFjxIZMYoTwGa7BS+84v3LVH3cIqnhV6ZGxu4jQA
LCDjt7t1eTadE/G9nkGc/wQGoTi7fqr+4MI2cD6M6SFUmmRATmQNdmkF6IlbqAvYjk8ms7agpIC7
51zQIs/+zkFBLlwqQjbaq7ONUbY34RoDnKssXLqV0a1FlXebvL7/aU5Pdolt7Erw58uxsmkrKiZZ
bRzv8jp4Hh37Kky6dZxS1LB5ORr4r7Yv5VZHs7NsUjIMRjl/2ylnc1KPyTGAfLk02wBDuqeBKVn4
RxDL5wmIAeck/Rt1ibWSd2kk85o3WpH+Er95UALcYBzkLAF2drZIaDlJu2+j+Qxc7AHldOM4xa4T
/bN9b/CDl1KH+s/kq88SYDv8km3Dx54k2VY4wdYLiF0jz7qnaaLPAu1CluKQtGIr4TbGCDopRrsS
8O1IwAQDOJy4picCBUx0rs+lUAc55ddI9nBqrnUrdkVhXKgBJMnpAUdF1Ao5qrWutaZ7/D5zqC58
9hwdngw3lUAVC/+DUsLhqAcdRUvJ7GIN+sK6UvPeL9scK/Mi9812qfKGhCbG4XCPch9sqeOYNk0x
UOkYl4YDtIqb1rojKwT3dpTZ2tVtVS+cdhC7yPeLpZFQy7OkgEweaqTdI+dj71sZHBljsonHofHA
TESduS0rHT94ls+WCD0Gys7ARdXQIX6TiOIrm84qnKGdWDutjbddsyEh7+vjEMNXs2KZbvtRi10f
K+sEHCj9nBNdP5ZlW65jQ3M8wkMQPrnFP3BXj3hcYKbY24t6Gq6kgNW+roS5g2NevzUulm53dLAX
mdwAIcwVxa4yq/k51bN15lbZ3+uRxG9uxTQidWP3IE3jS4wFmymX8u4SdD4qDuku+s1q07jgAVGb
PiiSZ7NnTuHwozPrNv0HgsX+KsWRuM8s6BOTxJNbGkMDcZvhh+nEzsobUdZGa8wPTWKza5AThSPV
RY6zwx+5mzIvOgwyebdbrGgbqzPFm5Xhe0KRiZlM9OlNehPas8xbemW8mK7FtArCF+QcuXcNkvoq
opUmakLOJ3NB5D9vAaIp3CM6vdeDpXn4zhw5OzjOSLiJbCdnxGr2v/TAUdioLXQCtKN+O/p5f54K
I31vJI7ByRJ4LO0xJ45U4Hn9q7MKzyndJksj7j6F15ksiI6xwjHs4tzHwCUFzLASiijUgIZG0bqx
VwRZDnVEfFYkE1WZeWwsoGCfaYe4BM306qoJwvZ4sSeAiMwqpunIgb1d1finlumMO7hX4SckPXDj
8GQcVZwS0zrJmB1wDrI9jLjnYMxfnExvUpKxlct42yWd1AAAbYM1VeHdamqmbC2i9MPomal5ZPTJ
NVbkWkq9HtP2Zv/Dh+sB5QqBGsZ6SWFQeOYuf8b1s5ftF88gOoAasfB50SsmEVBpyHu1YXPyM9t9
WcbxIQVjyGx1wK9tpMRgIvdNjyZDjoE8CDE/PDbBtyREzT6AtuXNCQ1Hs1s923aNvXLS7jNppJ4B
KZKUR6Hj0k0te1OmNMJWafPCRFI+KgWEqogwpXeZd0BjX/WJHzERzcpr3fQzTnwe/CBS4cIkgIDu
CqPTdzd2JR9n67PEeuWQERNDsw1NGivpSvfzljUEF4JLrwYzc9vnQ0o5UEobrLUxbad71McSv8Wc
rGuJ+9kIDgo8LhOLc23hjKrrv9Ia/vbkQRaQ6AqaTM1mkyU8+pYw4VCUcPr5ifkAuAyM6mjqflhN
A6Yn01f9Cv2SHaQy8mPRRQecqJfIaPsDra23KsbFmvgi2GbSYaDYxltKv1eiBXXVUpHKBLVoYbEN
+b09D4DNht3CP6tBqK22o2QnEsd5Mwmp7VugeMRjVett3NwUl6wrPDJlGZ18ToLfzcqQCcMoOLb9
XTyzQjvf2BE9QKUJuC8QTnwwAMK9EKOQzOms+JbZGWmm2PHfnKyft57ZNFvmjYlBQAdmah1E+uYN
3vCSenP25Ive3pli6DY9PWcJBh8p3mzRZed4qCkWLAz5VGQGrhMim6SVA8vjXjPWexgX+dsIB+k5
yor8C3W2+x44b9Dm2BsH/OSUAfW11b3IwWfcC2/qAAoq+/TA1NIcq4Zh6yICzgsw9ky7Rq9774Qd
PoE6iR6tPmFjGtqQ864dJvlzT0fHp6YnmT4tMG7FYrLrcOUgtO/6VIV4Kgv/WTS1vQkKNV2UqMyj
thLuYj4PKjEd64nEv8HsrzHOOPooP2r8+nKv1KTMyKtY+tPM6Uz4trWHy5u+D+26XN8C0RRvDGdC
Hpp5xlTWuE8SGfl9kj60Riee27deig6HE5rgKxLCtKfBCTn1zsQyRLrXpP72U5QgJcqusR8nMJmE
1jjkruxiVnw0Axt10OLDCZL4NUtdd41ZNrpJe4h/e3cgr9pGkJcXIR6ou9eLNlgt6uGOhoRx0/tc
EX2jmo9KRuwREgdfO+EExjW8hnLpMOkpTjFPLWyvvQX6wWk11n7rHh1ClnA77xkb8Y19t12MA6eF
UITEj9wnM4+5x6hwlYXcaKzJyEF3QxxzCm39lfmA/78JVwhACRG7NP+Z+6S74NraUxAzrAtu6ute
YDYIDbRcqd7L0M62th9vRgnD0mEN91XykIoWm1cwcgxTH8TyiOvP9nuT55dK0O1GDWv0zLAnA4R4
JwIU5NtysCzLqtDDMQPvlse/GrXE9SlC6M034Pd72Wfr0bX6hd0OME/IIwT49VZd5hymAsQcE3d+
XzaeSjvbDIrxnOQWBoNlxa30fo98CHzl8R8JBHhhL1fzgD3zJRUAizNkBxSlwCWU1MfP5t2apR3g
0pxY96Zf7kRDKqcfrYhbn1Wd7eqns7FTcPIS5H7h8nPLZmZqKao04skE6DAiafjE3AlQSXlM6o0D
jId3KME4ZkY/KRXhae7/VFOSvRS5QbXhiFWrbjlm5aG7s+yWU7fN/UqlFTHsYM9H+ddwML5R9sU0
qe02Kpq+6F64scix5nc656f9O0PBMav30NCg09FNUtoXSUZyM2C6wSUtpdUkyJTYepqR2GjdqYGG
8dpRftjmNRdTWR176D9HU3mEWON424Z4pJsgmlZaAedXOXqhCPnuSCC4wQknWpSmH7VnXWmq+WPE
Eldjzx4KeOuO6giDVV6ULh0CCDJNRscII8SeeB1qSo0HcZ2Xeb2reYWWuV22D5HG/Ve3AUsLdD2r
fVbldAp7EuxKla8MHfCfBV+uKwc8pEWytUx1vo/Seh8PBh5mW+kz8XQCKfmd1wDQzHRAZHQKh2od
LasQp13rUDjayvkbg8Gpl6F3Yc0e1xG+Yoyy4NCbUq4LSAMLRF/88PEJB3y2BnaRfkWafkdm71T5
ldMvTBGx0feLKF2l6ToK7Ivq3IOM5ApR4ytLEvPkRt6pbwkXK9Oyrn3hyfM0EspQLZO+sayYqczH
sgrXfYLr9b4Bmh7ISZieZwbmLU76J9lU5aszan/t3hOlsBtGPgYsVtOAx9yMK8CwtEOfDKSnJ8fh
s4nqEQBB210YmW69JHrIC474zNJeZ+7e0K0kpkJK1xdUIppIM63iIlBscsiSRRm9qJLZvix67+jZ
IQf4It63utwEIU9pE083K8vFc47OmDCE30Q5Pnw3i/1tWdb+xi4xWZHnyxac64MHmDJ/6jG62ZpA
SBK9sieeDWLeuY9fkRzoLpptlsKUvTGEMCcSEP0WrUVTVTCCNsobKWp0RiGxy2M+pieoX3pFV69n
NzhKTkB1Mc2fbFbUF8uEpMEUnHqFjZqhdLoamYHdhgRbEEeDs9XhdLy/F8PoOqRb0gclDfzyYfRj
DbFaD57+44nEJvoYBU9TpnntVfmAjsYi2Uz9Jsqae4q3Vpw9SsyapTUEsD61fahEJSiNlNGVlt5k
11r3tqWRXAIemXJZu86SjeuWkXRaJpX3irEUgjm0fxvq1o2NZ1vQKbLDqySu3T2BUbAG+yK9Wl7+
FNBKyzQZN5b+Z1fiGwmpYOERxSzE0QYWRg25ZFK76N5YNHcb0+VSQYK16+tXx/skhCiu0WQ617in
xrlc+fYDhTvYnr+gu5lPQSlos/CCmhytJrXQWO7TbM9qG3R6eC5CWll0MEGlLxhlW6XaM2MzzyLu
Z/xRwUcf1BwUk+a1RhdDaGfh7WkbXoApw/gFjLGCvcxPOlXwXCe1kiG/SPpfHWO4uoV5HWyBC9Bg
5NUQhwv8Oy7PQDGlAc0rXXpmeCFSz5EceeeMgwrqbF/vCYDuTcugVJfGV2YWVUD8MXnhEGwvh8be
QchJ1wLva6q5IKO/vpmB157jNhYLNwfW2uJzBHYxbBvWXIXvheA8xb42t38nJ66GSFJ5TCzeib3T
A1SX4gjeGagcqe9d4coYBYFjV9m17ZntkmzccGc5p9VvjO15Ku95pIDSKFXpdOPZPemyLDbEwVTM
JkLmyZu2y//YkX9UdXFCsqMUpVfvDZyv44DP5aDAROd5VO1SM6e/PNR4PfIKpAXJl8XYt6BXzazb
jnZ/yu4fu5Hzljig/IeEVns4zOsB4409NN/SCjHqGbSGLEmDn6iMxYgf+gcGNc0mD9xh5TR2dMjx
E/eZ3z6noYdVT6wg1h7uTZHQh6iw62N2pOjOo05xT5FlMS2q03JCbYH4UlUtl0oOznMVjM88Bjfq
1ZNV5UQ/nH7sUyXxTIyeOE7COEZDmi/xBrBPz/jvC6cCQTuF2DHBqFipC03DGPfErsh7k18FVeic
6Ve6cWu4elH0ZvQzEoSbw+uI0m2d2oc8SsjT15wFsjw+0fFzcHNvXFL0DdqQo+0C5ROXSOqwVOG2
zlPYIaMkukb06uAD/FTPhaIoo7lybcU65dMS4nvs/VAx/BoYIuUWhW/45L9LkDbchtEQN0HVnF0z
vg6u9dAb6Js4ftZdozHPC3kltzkt9DhNG5n9GNAHch780gRgXk53CmDS7hyzw6OTPokuj6CNj1er
qQ/MgzGQ20TTFIOj2vwbAnBHNU/Etk6gaKT8D0R+SVAqjyIWLYjGZ868yvxPszF/OWrvfIM0HxyH
jTEHT7JOT1yrrl3Y/y3cxIFT4oINL/NqbUdivM4GTNyZG13l67cuwtYSVCUb9yU3sgcZdaCYWLa0
xDI774rOpXcb14pHLeIoCXzw8ROhoqW8reeHIYBzyp4HarX2eTExB6b5uM1VG5CDBZvdtE98rQsO
SvmSfg2QxaG8zfehYyVZmUkBRDmGMLfUx54ee59vE4dBsSTADLuF6JAdR2er4BZsY9Sp7liYSMg3
n20TUxPKJx7iILp5d5HeMt56keDynVNSkKleBQ4vfw9j8JpYvFKjU5JA6clLobG84wR9ALTD3jPJ
fdEzlSIRoYkNxMRYaOP6T+rObLeSI8uyv5LI5zbBzWdrIAuoO0+chyDjxUEySJ8n89m/vperKjOl
yCplV/ZTAwIkKhh3dDezc87ea79aPGTHNT2AAhJt96OHIeLVcH/IKXOvlYL450aEF5hXdYDlrI52
RCpvq477Xr5mJrjh3H0fouB7yN7mVgOhZOTxyMdJX7mFuLLHDsWMvfYNceh6YDjEiJeBX7MVJwlH
QCLtDENuNb23B7fkxrdhjkKCqWnHYfVfAUR7gHKdPNbN6JDqPuGvtkL5aJUD7uDGCYN+RQOrPFMs
n+zCJ3FYBfk6JA78NNnI/C2u4oT6g461DYembgWMBHEMS4GWHn0cSW2UTYxvVwWUrU1Won5JsMku
2ChcXIgKTXtC+Jz462IpgqquyGC1JRvVdzdpjHFAGhMWqixDH1SKu7TTJ5GFd7DL6K/bN5HI0pOO
8j1p5RisVHs2kU+clC0G4mrCb2kFF1KnRxnqbFNlI3zo2UGNS2NpnTSkN+bGiDfM856Ssv4yDFqs
MC79VTIvXoZBPXisgJu4bGl6FZm9F5Zd4VFpD+AhARIQdoA/CWVvfocfKrmL2ohJGhmK9DvgJF2b
SlxAT+/ytL2Za+LKoNASB79vp482qG8M575AktzlOFPyjDpOMxPOyp3ZmHt7Ku59BFxmq6jnfjRL
hFLiH1o4cOuCpYt0omRXdBD3FQlKtN9q8gU6291B1eCUQeAKkn8004nsAd6f2wICkP3ops2NxXIe
RvV1jPZ7bKnALKRofGv2KzHyhGw2qb1uu9R8Fi3xiYiDqGVIJQsQj3W8O5jfu9h9xCSwTvWznU27
wEmvIzvchfqY9JtsvDheRLDyh6IM7yZnvWS0CWThbLEYkb9MwoMXj5RKyTdP4xcXHoTVfhDYbVjV
S5bot2ASt8awyAysTdhHZJbQEUrhJYPAA4gC97aIsnVFuZks3OV2l7jAT5IFxC5XZLbmObkvUR9v
ONCvOQOePIdvH3kaLu84eKwWn1Ag6eSltvTWbpcZx9mn1Mb55xr3MG/CBx029W2R0yCsAOYfGy3U
HlUHdk1Lx++GCuw9DrSM0Q3r0Fo3g9wyqy8xAtJaYA4ZE/aS+gGZgcXEW53QgVZV15wCqxj2be9U
2zIv7OciNinexoalPjHpLyptp1scyTd2QvqgAypq7VRTSyM3C78a2wuPhG52u8Q2ym+dJNeb82qE
8j7xq3tyCEE3ZMlNhpgQmWECLjSx/ek0LuG3idncphwHHkcO9euwIMteNgz2nJdaBSTolg+JFk9e
CySc1uprgMW2Konh8zIW0RK5bGPgg4n0M5Pzcl9OBJ2DWoKsSplQxGJNelS4olcdnEzlk5sZZB9m
4t4yvHsGNXc0o+hrIHWibSpyA3RGm5BKvnPvW4ICVUCft0Ktpzx6u0Zg3RgxdwvxQuEWRTGRAC+s
8jH5KR09YmuTU7/0DmNBb8GX1QZ3yxAdEOCebLMcMNy3dzjxl2EpmN6hPczKug4z/CyO9x0x/701
iFNitZc5A97mYL8wG1zzopsFoqvklrBOkBhx+DAaySm32heb3RXe8MwObkcOlB7wyCOefmVHD/Vo
3eZGtPEFXerSshak5MXrGNsQXBcE0POIW3130i8tO4GWc+KKgtFjuLR8rRTZI5Uobm36WQF6ZOTO
AIYkLD/Ff0wjh9MMWEYkomsMbHd+C+ommIO9NabfScoEwRVWn10QvVtGyfHajU96BKRrFeIQYOKC
xzliaZN7y67xa4Qn5TIGwpjPZDs8J4F65mB4bUlAO4lGr22Q8xJNwML91RQ4I2b6/JJYbKfQkLj7
dEiPYFmTJVFH4JCDAS861Mr+UNa80TRIX6rZ2/tRf5L2uAwYA8IZ1cYoK1zeyPRJw/w+VflNEjSL
nDl6MCKXSNbaZ04Z3HfAVAwspoU9He22u2mLZBfSqyBy6cu0hUGOm3okkH41EPjT4ivQhmls7K7e
+4UPU3Mqpl2bj9aWlFO1jmyb7Tqzr0dOim1u3fZ5QwpgDgmnCZekKB8bmPguuwlsTiO/Ejlh7Ur8
E1PwBaff3UajxLM6XptGeCMGIgya9gWc2U3R653wpntPvePijDPjmvFhtfYI6XVcC8qpUptscBbA
xDY1AGwl8afDeBSRfo1PJYEVQZIWRw15lTGwJpts7efmMaG5hlD1fuoefO84xebBL8jQzR/MVGza
dqFrkRjC2MzRMLjhTpGRdQyRKS5JcNtowKUyRg5zmCI+ezNk4FoGNwmEC+Z+dK3muWSsRGVLR5nD
rdE2466qvX3iKU0qLpW7yoAQJCT4ghL6IeacTBbnwenirZglCZNdb0F/j+/aBkOKIOojGumb9+xp
a4xgL1k1nTLP/hHqJTpD3jNqIwTHv6LHAYqEu9iamHNSX6Lg1eUacJS3t+oJjmaJt9QBPNn4zIa0
3CRtZ+4LadJgF/jXGTss4hXUCnXZXzrf+AGUZuXb1lNd5e+Bl58n1X92Wf1DiGBvdAGYUWQFgG30
B/REPHGwrNlb732H0zbwQJzMaK3CiyIYTuaA4LuECd+XIdp+a3ufTeo/6TG9xo2ydLxy81pn9aVt
W9ixM9p2Dam0h4WhStZRvIvnMqIFWY4EYVZJ9sIh92jUGh949DI0gbWncjyPg3ye+vqrYLAL0SgX
tL/Fo8GtDbRo3s/T50xo2iotWSVDE0ar777RPiasNUanH0f1LXvxCez0rQ8okgMGgIn54GVyx5Af
AGQeTbxF4OM+36gzmZekyG9o2QECSiN8O0N1ETkSpigV5TqS01eMNJsFn1ySwe82mcGkNgMSGIrw
opuKrGQ6ZqvGJMgpbuJ87XV08MpJHP26N1YuShku5fEUhzkBezadWwQqGNBcdSMhIF+CNIrWfEb5
U+MSn2yK9xl8Ckamx054exn3PGKfRJjL/OgcRxMfX8WULDStkutRngsGD2tdh2BUF0cHIRkrtgex
xw1I7e329jow4y8nUQ+T3dGcTkz6drDrgT22brfB+1NUjGDIChY09eKN1+vvhR4v+BLTaFchJseV
hkTDdZ5xwG4Ymjp0OZp+O/UItwlmfxM6eXJGOzoXoyIbx8yIMRPGlwvMe4jk2zBQZ+VV9WrGySWe
RhxJZrhMpd7bxnzFo7F2mKQmrbMGUUVOX032Yf8yK2QTQ8YhCpjJJQCEWifx0fbNW76us1Bo0hgp
3SaZvakMriZ8v+sMDUQG7WZC799cqegaIXfsJQQNuC46++oUzvpQ1z2xkwRuGRW3liNhj7YuYgls
BqtJImtUw8m1xhcnWeK6RkJimeg+zNUCsM/Pcuyv29h7rE0+Qovoo0jvbDpiqyF3xb4VnHJC6zUo
77RA9FapeSeswFjXHfOsPLqv6U3Tklvh5b0jDfFIat630M2+13OEkHxIHhqRfvQoDwPv0+LY0DD0
HRyL+Ydzwj0lhn2VHienQr3AFDbNrpbbIil3WTSTifvUgbRV3T10TMqf1CZWj7rWYMgBNmemI2KB
jBzJM2aNj81T4UA18AnKjDykYb6xfcLdLG+cZeKeF7Sc7+rIjR7jOgrutcEbRZQKJWBq408vhTSW
d5b4TL0s3WbEaj7M6CC/CJpghzHbnUzZifIhjq7j3BmmjelIm9HrBBkIpdY1glogzojoURh0yXkS
rX+c5tra+VHR4EaLokuO1eE9KEDCRIK61Qowgktmmrs8MPRBeL4DhDINXgY3fAsU2hYnefNqZklm
WyKP1y2DHkBuW3SBFaEIs77CdJ1eexYJo7Lpn0GyAlkK6IJuLVE8exgAGZabnXWSmQ+dpEt/6FCv
WXO3USh284JA6TA+FfKmbKJvk98jZnOfGzhLG0mewFJE3XqFCf0H8sUK9ymw3sQVd52i8Wm9lRws
gNt6q7QzrpIqva1TYve64CBoQBzoI0Fz8Eg6qQn+O8R9e1tjX0DIFt8PbrWpSnrgjVmMJ41mejNC
0iKdursuXfkSx+25ND9g4OEUowJhMtMyfW6ZzxMTnWIQHZlRBUb84htXw8LNHC7SBXLEzCV0b0uv
PyxojJqDnSc/xcBsMRKHpBObyaq/W8n7rBQ95GfuW6AT1Jh2OH8XMb7WTtDtCxsYVWaDpMafZnBa
wRkANC09FyhxwMCd06J3Sr1wS6fkOkyqo2MyxJ1ChINm/E3jQ12qF7zM7EYzaEabPCWZFMizxC2W
7LVm4QPDaJvHMs9va8/udxATiDI1gpcUneMOAza7LKLHAVzcOJffomLfV/G5xPObLM2kMQFxMwi/
OU6NosIdif/S/UMGdC7o8UmErSqWsObxaILOglCrX3XuvbXQ7jJTp++BIfxneoPRzpoVJ/8qAhM5
4K8qlkkASra0Aivb27gvFYxrYHKcWjR0uBr+9jobXW+VZcNaO9FViLe+H+W3udXnpkWmCxApnkIE
y4n6oUwWSRos4tWTo8Rd7oRXiQu4Aj7qWZQ4SrJpj48KqGqc+os1t+ekZQ7E2gC48VTwIzKZAbZI
XolVuao7AmrbTyCISHVsDkm2M83rbsze2HS5eQb0cOX4UsAUAMrONJtNnWE5LFhMxzCSOJrl8sNL
PnTVoEQ31dWwGLA7fnAQj64cjtmQmtp1ZTT0XLFssJQM/ja2qugabd2K1RnvrYcTN+jKbajCx6kN
IV35lveZa7w6Bh03cqerEwKAKx0bz8y4IzKDswHxtUPua5o1Oa+CQe3/3I7x/1vOAk6G/95J8e/F
j1Lr38Us8Pv/aaT4hVAEy8dDYStkFvgp/mak+MU2TfIVFNpFUzHi/LuRwjZ/IanUk391WJi/MVKY
vxBaaiwPJC0TLYfzP4lZUObvQxZMw6WxbHJzEBmC/c/+KWSBHjImB1j00KxL4z3uE+/WHkt2YxfF
zmxARWs0fcig9fynnlnUIehq8RTU1QXoaLhXmdgq0qxHficBc3bj2WhZbaytz6O2+3UMk2QbzrW/
UzYDPu6Zj9zQ3+cw6ze9mO6CKuv37ArZdgSTsJ5NRjDAPTtEiiiJ6dHr71rG30GuvlYDOGsmvmd4
Uk+GG1m7op2ifVDrs/Q5P9Vj8VS5siPVPPkMmNjXJaPjkqgjIxvybzW4+S1tXJKCzLLdAz+btjIH
Lo0LmSmjHNsPSrd7Xgo4F6zAKOX0Vg0UvoVNfpCuJvMG2VC8y9E/UkwyGUxVTJrE4PabQJTuJh1I
QNVSkMODLWv23XnXDuTS4ST5gT57CQkkJQen+55MzB60b3VvhdWPIBXf7B6xDBo950sAISSvKHoM
Us3oxhsOHN+zg0hJNaryaj7NvV/8C7knj2XOPz8HnnyM//ujRBgD3rr9t6v4QyMY/Gr/8Lf2n+X1
W/7Z/PxLi1nrb4/V/Nuvfxx+lpu39u13P2yLNm6nu+5TT/fkQmbtX0NElt/8v/3DP33++iiPU/X5
lz9/lF3RLo8WUkP+NgrFtLkb/vu7+gmX3OePP8GTBmSV/8Nf/NvtjQ/JUUrSoCYESOKg+g+flPB/
wSS13OD4v5Vrcsf+zSjlGr/4zLg5JjG0trBKeX83Sin+yMIzuBislIUj668fwG2ZTYgm+ez4KPno
/vPnPxVdflvGRdv85c9SEdXCaWT5veOPv/x58WDZro1IjEfj5fGE/PnH2z3vafn1/zWT/zHLTlKL
md5U492BleEDN8tQ2BeVUGI/pZk6axES/ZXqSD6jxo93UGXsI3u8F3M7hf5XkJbya+SeRMKFAH/K
Jm835l786IeI+samzPQDrspx7xV1dcuOTZmOWv6lGGq9L1UFZdtpK/gjpTMZ3+Oxjb+7MvFwHlbC
/Wa1WRFQDREHuQKbUvebOkupxGvkLdbehTP3MKRJp25Shch0Q0pqNpOc3VeA1ekBSPrWif9idr7A
1tFymtsCsJixCAS5+qxKjO0EZTpsfgGEdIuDsCHHPQb2xFtPDXCutZYNWCKquaqGpZmPzlFw0vHv
wSg1NLJiOY5HO2Az5YzX5CmzDJHxwXWoNuCjjPsCe6x6CsgDbjZuVocHxPmIqjU65deonLObYcZV
to7LxnN2hQ90eKZGDjaVz0id+mzqr5CPB0RgsjJy7smZAOxzyyZA09SUqMUQehc6/1gvJCphWgHE
W5s74EHoGxQq+R9YxThmZpU7OfuqJ5z5FlCGbI844NBU2AXNE7oUqOjKQbk3JsDYeDsWZXpFankA
qzLKRglJUQnoyLFdvPaWE1cnrSr6Q9MM970hDOcdmqDr32VqoJZpo4QX7BCijOzZME0Y7AaTMpAB
1Y1H9Fz3iJCk7NY5A9N6q7xcNdiNWuPdoJW1N4KIsa4zJZipCp14w1kn2n+lPU/yXhKA3YdYNYUH
yzKsp5lgvpphW9ne9UMFiK4r3fgRoD/nbc8UxcdQOQMzK7d+KafBQJ+fYWtxGD93IgXi2oW9BwWR
BHiGpQaln8oq8Yg/HaPzSAYfEtrY21h5VJ/tLoS7FsMRfaiyXC8ht9O8bacSaWZDyfPMyKK+1chI
3BWcjubgozwyUL0lGAOReQVvDhaLD3Li6JYpv5nByZdGsFqqC9J1RwWBtku8GpVijjHHx+L9RuRP
enATYT3XEoHehljEEu8JGs11lXjoXaMSMctaD95bGDkm8C5JkRtrB12975jAlSLPI4C+MKFvp6Q+
gNdWNPE6I+TgXyAeC9edFSRvviDlc4/Kddxzdbc0392uGHaDE3HqZ58trvzGUcMKkiwOFmx15KC5
JZw2QdyGAfutEu/uJJFTo5iS1fo3q+t/sVgtR42/L1UQd33WO5O8Kfgoruc6Sx7Ub5aqXKatgcKP
yYgmChe6hA4P/8IzWK5voQqxbUv9dNhpGghCHfovJt1EKHkHI0z+H5/hp+VWVd1g5ZxCEL4TMWcc
vLb5V57BNkyPW4pZvcPO8dtPCaxLw6WCVrHzNnQMUX/pf/IM5mKd/fsX4ZtEbRm+r7DrsjXBRvvJ
WhtWRkTedsB10Jb2uABc6cE0uf8tDm0hz4auq4J3FuI0TP0CjWq8IDc9nCFOiKDHtxAW7+qxy7+N
QMm8dRMa0/yiZU8UMac0LfeBExvjxRBGgl0kSxm0/fEX7f78Drh6oPB5jgJf4iuPnfe3H1KNwrx2
a4+0gFlejPaHr0gwKg3wMPY/eablC/3dZ8UzmcpwLI7qbNnGT1842IYmMjJBs3SqHgNfJ+fem+9o
n86bP35L//UTYb10YSZafPG/f0tzRjJDXES0r+iD5LFeW0P5HKvh5Y+f5h8/Oc90HEoSiVjf/Ieb
cHSzkrgeumQGzE8Mp8j2C/91LNwDISn/5LmWS/X3n51ngeGgOpK4tyzrpxuejNXWJhESTqs/Hpmh
QIDAdAiurzmT7/bH72sps35+Mt6UYSlpefxbLm/8N6tL6haN7Y/IfMbcwtz0bDCy9c6KzkVNNml/
rxHO5xeLec8/eWL1aw310/v0eYOea5suV8jPV+NgVzqEf09QuolFypN9AtwdkwjhR34X3hTwRODf
TZn3w8xEdgpb2LcWyDUiE0eQr7YmA+DAJh/fJKXtoul1qwVMVQYR5zmnEy/VkGd7ZrXoTiB6FBCY
uuoJZi9Xi9Ml7WMwxfI1ANDzPfBdfOCNnzPCMx1ghxvYrow6RL4AgfEb0i20Q5iB60RhewNL2R5L
nzMdtJuhf88qwpBpXZnDk4sozaP3Ld1t5jT+vdMBDL4PW49ogZA22njKDSSq5xB/8ntbVfFtlgao
uWnJouoYXDEvrvfGXlmxiu+tLvxkfwDoNxpFR1MIJJO/Cqe2QtkC/+ZhaCDSnTu4wi7ur7B+qOdB
l8eRad1uqkTzgz5OC9k2IkqJKOhD7oXYsVogIDBTp6jcNFVv6j2TXOsKO0zTs/+qimgiz2ciuFhE
l061R592BGr7nsQkiazQsFcJOusUfgzj9WZD5nudX+V66t/AVpRAOGoSOuvauFNW499KbZab0rPd
iz8H6DJ6jlIMqbok2VDSlzemKvt8h4/L6B7CMUNElNR1gygzbcrxqmHeN5xDt+mxisugGYkMJeq2
2wOx6VA9pp43QUIrh4eq8IC8NrGfviq0S+DS04NTjsEu8rV1x6FQPZCMUFt7GQY7RGOweYBrcdlZ
3rNwZXARWiH8yoMuvBAoWgwnvkxz19TeuBn9oD91ZTgxegPKg7mpSorHgbuGUCxQY7vCZPlAXZzi
dDbNyHMuLbF5e+pd8VyZMygSeDrNtnfR5XNVuzrCasSAp24S2gBu4tIPb8F6XnVtP28bADUQnBAr
HM0qiMr7rp2MajcGk+rOOR/ljYr8+kjjlM2jKKZheky5dqw9RPuaSX4kc8A++M5ovTy2doyL2gxn
ksVJ3YJJMkwHIA1cy6sYixXt/xK/PqfDAYGi4WUQqvoo2eNQGMi3K2N0VzdDGjbJR29gj9+iKmzF
YXJUhi7JoMcNUEeVZ1ILvWNWzEW6GcHxuesJYhKalULHFzIlkJGoeMqdDWinhPECGvqW8W+jAuBq
IAZsKrFx3SZo/POV1J44gh1jHFRytvyG/Evbu5hJ/8YKLFzl9qQeIjtPsfLaQMQAdrZvZmZHO1t0
w4Gkcb3Mw12OzowAgCXai6YS6Usi/EOidffm18aAfQt062ocM6C8ErG1xo75K4a+C/pDg2sc53+C
RqgY4NKCHu6iHyUBl/ewghBNkIE+f9M44FDhVNkMfzMh29zBAbXzBsYjjVmh0hpZdXc4YdoXl1HE
2zQxcVl5Y2ftBfwavNIJrwN0N0YZXeen2KVZ8gbE0pJESsZi24VCIfm1gxEVjDmGArarEQ3riEWu
36cEWFzsefpWMjN7A3pVoOpP5o8kdgN/P+RLwCMFMKFUTBmNYT8Kk/6vroL4aYp1aEFwFnrv5AH2
J4NFPEaSaeRfQwvtNa2sQd33YE5cdEpV5pyNjgj5m8iLG+bQVhVPm9TR7Xxx7BhtXi1CstdyB8fi
QRAqzKgxKMY7qsuhvtIygRSWd3hti02N96kmzjiu6EMVSwpTxxK9C5LIGNfxaI6PvO6F2UUWlEF7
rHptqZTWXW6zdACTjNxd22PkO1sJNuVDJDiMrXQO/Lyo5YBofJD13vOS8gd64mwid9fUYE6JpVl3
2P+2XqbIC+mNRtxHhpeTJqCK+GkmK/2p6EZnOyVFBRlaRiEWkTDc1GBUn33YEPNFNrFxJaZ57B5r
baBnimNiaPDmRcR6Wd770EmsueQwRubOTWcsD0YZ+dZT5mPOKsawAocSau9Qtpi9jnUgaail5UQm
/YpI6mp4oO5LiN8w4rjcee1s2rdeazf5C5Kzod7RM+/iO9dw8y28e+PUUf/J70yrJWEOsVPbtwPn
x0sts/6O6gs7s4QsGRzMATJS2JvhNcFC7j2DJtNez/imzLUv4RUmq7gVbHb1hC75zdV8r9dEOUO3
o2lAok/SQTE6jAM0jGcCQrEVa0yoZ0/34aFsKhVeTb0kLZYSXB8nU5QPOWN2uB9DG2fwxTsYhb5R
qtssHEy1Hc0pr04TtLZwTSOY3iGkR7Jsu0A3NWJB2Akx0eFocdH5oRp2DX9Oz8KZMxQY9C7ue8Xd
cuhTLDEH9gZ9cGi35Ndalc0+JmzpG6hTLCVY5MZhR7oRMiLEAN/A9s8vyBS0twttAiqQbk3JhtW2
J13dldwlLiGP+C0juUet3N22c9x7l7xCTQLQhtynXdqMIBjKSVn3dguf1BxGZqAIo96wiWNFgTcQ
P1gEFVISBNbWhaa2hQmM+33iVLEHmINDiakhx5GVdlzK/chhBfNmWe6jeY7BPc2eddRYr+UlVQzN
yEYqg+LeLm38pWnXGw955IhiD2YEwEljaOVdO9YU3guKFEI3qtl+mqMIgGArkw0ebnKJIIp1CWwL
1NyLypdUyqaor0EoYuqJw8agRaQz3TG0o4ramShtBD4Qi1c9G3piM0VLT0smEetgSsZTb6QoA3B4
A4Jos/y7GJkm7c1+wS1OyLEyJN4xsAOZjvbWqmlFvhNeJSGxzYa7Ca3KYPKTdeklB1LpHBZfCcla
Gos7J09i2SumRTVWjkg6DUjK4I0q/tfMhyF5HlpJJs6oM+Vfu3JO8rMefdroPrxZiDxBES4sCB5C
97OzTO3pQfghKJaeVj8iH6FTSUpMAY8TYm5anJqU1Fm/HlokDXmThvcyWJyk9PVSsHdzTlSJKMKd
clwmzB6Wb78pmv7BcDCixnFy8kOSyQv6MpshtA614UQIKud0DxIP3ngLOy9YZpshdz8g+c6w+YbH
8QCmxiJ3x9Ezeciuf0llZjRftei9ldmT/jDU6L+bTIiCvTaFB+4FTd7f9flQp1tyVlN16ByvvY5U
Ybzm9VilLCRdhd6nn855U0FL81sFEom+6jjtBrexs5eB3glzVZCzpI6XkyTco1l0qjGkbgMkn3ml
UpvxHYOH7D1hc12siWqBMbuMQ8p0cM9jP7i3STDnt+Pklf7bwGwxfFYGGlWzmVXCluZ6r0EY6F1k
VfM2Kwe8gbUwXgW0WR+XpGruRhjLKD7zxj2bufRpOpCmt1VqWGYWCXAK3EfCWiMumcdj1XNc3JH7
NRYkPIrgPTdTDoO5WYAZ8eXCKcR8Lh68IvI9+k1xXjIwjKa3NgH7+cP0iqB+x+YlYzCmueiYfcQ6
f2CazxLS1oRBdFpFnLVo3m7K1EcgR59PbRG0AO9uepjto9lYjx0k5aUxaUyniQbhUUg09WiZ8Eci
2al6MsFUSCqxXaMVstGYoGxDW5IgkEjTc8fYqJgKy8Zs5kaQnWYtjulUQ90mQPuQqCS4Ae+XPVbN
ruUo39AZArjScwMYo9XmN7PT0p+WqUKWzjlynjfWHCLsxfTl3Q1mUsOTmhv/2q+TgtgYCyIPoPZ1
aefdVxY72RO3nL9HVYAZWVXmjumz+JIhdxYS9HI6DghjhxMmzRrv7VhZnBqnIvxw7apDFz9X4qmz
UmtE3eEH5hoHOSmHnFGNnZwR0UD4SJz+uYJ1ThWmEvpo6JO32hH4YCiz9Ea3aXppsgUe6nlgEtdt
XZr7QJPSeozneQoBjxGbsJZNbuzzocAhO2T9kByFO3jmUePoKy5+5sLNcrhoX2KM2dm6y0akJZiW
y+KSdvOAoMu0piPLInEBNcqnddZYpIzJZJg+2A0WXtmcI/QDaWKe0PZQd8VNzrMWqLThF3uERbS4
y43KhVtGcMRw7482FlPtmsntlGT1e+01/RW57yQHeUQTBqXq8CKCuC0vhBUPL0bf9nrlFeMAoBJf
XcuyGba/6tezpMa0qiLvhKc7yR9bsFUc/fk+ydG1KmBVFMVwgHDg3kNntO7EGDTf/UYa4zYa3fkc
Qhc/905mv425iRokxHZeXM3DAALcjFsd3bsBqU5sk8Rq4cwS01n0IXFjtW1grPba4tDYvR6W2gTk
QFi7xLlVvf7AUdTdCKGL5kjXMX23Q7uG2IPr1sEnugNzEaRXTh3Nr47kfL4xW20lFKporuYJTGjS
SrNfW2y72MPpzzNr7OEPEYXV8ThBY6qNcLFcI8IgJMJqvOpiJcOADkpxjm8JjH/I8f1uyO/mRwUS
IE6xtU9jkt1Xcgy3hlF7287ycZMMheHvVR+F34kacR6rqQKQUAQ4wuo2i+9K3RjPWlKyFrORgoNh
IIvmocEoSnDTK5QdjwadrM++GevraMbbt0FoWldbOxr6b8qt4i8CfwfO5KMa9yiFp2u3n6jLW1fT
JpbsiZsCe+/NVNrmPnVc2TyVaBlOuM2I5yTjc4ZU4CD4zGzbXeeD+4EqgrR0+urEyoZGcceRtHzt
eolpO+bNE9bccACy4c8RYzSFqLv6doFlMAoyj5ZjY+Ltx+aSxmlGlLwlNwMhcDteen1nmaV8HGy4
cAXHBIfuxiqxYkNxbWS4xEejhrRK3XFK1ACTOHCj4ThxfsekCszmW6O7KtrzaPZ1GllptcFa36yo
ZK0PH7vhdtBkSWFHhRdfVGjlVwnoi01A4Pqrv8RmlWO1mM3Gpouwpgu2jMwCsEmcXFThTUD7tKlZ
D54F89ol3TF8caPWLo9mIxCSpLjFTrFZYZ3OAo0SKHTTOxH746vQYX7vwhJZOyIEI8ig5jLoJbrY
kp68Ln03P/STld4DPvC2BqY0HFsQK9omBnmINS1eBJUjs3oNUM1t3eF71zlYxD2zcQ8ksjm0dWTt
LP5kI/W2lYFNwGJDEath5AUAQyyCp9od/f0ssVu4OpDM/AjOdXFXn6OYRNCQIcFRj6oLViUoiU0x
9M0pn+zxUTHGuYskU3jIpmNA2GwMBI7IE5LnevrwD102uPu5b0ZoqW6fFyQYTSlZDQEdixJhFuDe
hsSEToJfHgQbjzeV5HDwv/t0k0f4YqFkTx7hTSqhTG8S3m+RyfFOYKKhTK71xe4AlfgVQ8MgmuK9
M7CuORIf9or2LX+pQeT5nE2JiSaL9WNC4ZKFO6uaFJ4ni73ac83+UkiliSRttfMZEiAL/qQqvncw
EtvYT+6DRlr9VTWDQ1gOz0/+lHoPSJxgEsvS69KP2VfVt0kLRFJQ2Yzslo+D22esehBgciTgou18
dMt42sWNnF3iyYalN7hwo3xjjynAmw5x0hrTBdCy81bGtmQxpi+60RaFxS6OhcZnpzNza0xEm2+U
rL2E0EVSCwA+sx21df/RB25HVtr/Ie08lhxXljT9QgOzCGhsqTOTqWXVBpaloLXG0/eH6rG5SZBN
WvWszlmUpTMQysP9F+aDLkOvWFY5LylQ3B2g5JatYykCYgt76qFKDfs3plbZ/ZCoHURe1R8/nNTV
P9xq6J4ogvGWdLA5u7HZXZJyZdXYC1QJeEL7DQwTFGhrc90FY/DsOlBBSy2w1o5MXaRf6UYj4huz
CNYl/SQMOiy/AGcaSAuTPRqoYKVL79Esh1iH4WpqZL+sPFCtsL+f0adf5G/KniZemGyFzMVVldFu
30RoW+IuLuI8WDuJ8qseYI8uSt7jv90GbZq14sLWSnHb2yC3ON50pQWyvEaa1N91aVl9WnqibxE/
0FdFA0htN9SS0F2lDexs0ZaPqpLL+z5m4pxIYPHlAFwWSYAmfyJr907PApQCEE/H2FyAAzFuoVC9
YBTxadllewtBZ3jSkSTaj4M+cspC+y+vja3/GLH8doNbx/WyBMTXbK0ShfExwP3lWsAH4LSFnnBL
TX4gPcx4NIH586+kzTuW91NhvvE27K47O+3WKpLLGEACn/iVk1TCY0RjEPcBlgZGg9BhbKpTGA9I
HSy1GbWIHibqDwgjzENp8nRcRzVIdbTRMnTWLKzC5W1qZ5DWyzIM8JnK+6ZdkHYWt35nc/qSssH0
DschfXUQfpKrgOr7fe+3DoJ/jcbBUeh15mFJWLTWnabBDrPRbq6WIEqAh6c0aH+oTRcE27iyGmg2
ceVsXXL9z6gJza2ft9EnpDU7X1mdKq9dDHzFhsfD0G2DwrlnWz5GPpUDXwPVhhaSgXJG2ejGxqnQ
lIHtzyMBQLCq3eZRjUaa5+bOKsy98iMPgGGX2GCUixgNincY3g0CJo0NJSdjyt5MirAWnaKw0p60
jEax24b6lZnw+zeiU7Bmh7ZE2gQfCUsG/ES7ClUCncIgpN/yFqND+xcFzd+Zmjy6PjIti6q31fvB
CICaj7Th47VnufGzVuvQgkoA4VocDVCyAd3Ha1tJdJwRYJ5gETI4yX4Io9BgK/gARBE3S+lTmNnw
6eV2IpY8exB9wkMLJXw7Cm+klkIHaxqsuIBP5qLZQg7CQMruKtCs8ITxkG0wJQAmDPc03IQKGnfr
Uib0J2uhtO4LYNayXlmBN7YbmsvusKAh6N7anoMvfYUHR7WN0ljbK0GtouKeeIOz8xPq+3e+RMJ6
4ZUGklFIygU/JcXxFqHTJNiHeloYKxf1GmunDQPGw6BTzE/gDRiD5WRO5srxYshUWTpGj55EzS43
E9EuG1b2Hp0YfgdahyK6crpIUUBvUmSB8eUjuf2gOrCVV9TsG0r/fDJ8Waqi+0z8qlMRzSuKT1Dc
uJpBqsjih5a89yrlDIRhBFgAnZJcVR+ll5kROiipfMHkCoFZT9dkBdhKc5c1AhxrXVGS+9I1q+dG
RgZ180LI32Og+Zs+RV8G0Xdkw5dVr6GtBxot3Md8902vlSYVaCk25CbBrd7W7riNFa98rDy12XXA
CHhGlc4IY1kED6R13V2KXpwPmaoHPF8Ji39l9u4vpAwFFCDEWbUlvVqvWpRpiJuiwOVav9GMVFn5
ZuW+pRreugki5fYesAz8L7umCv/UqGxsfOjt9i0ZU1JGb/QVUgPpJW8AACLQnUUT++uxRdIFgAT1
U1gBXvg2Gbrw1qCaj1QHrpWjiRqyV7sczFZUIB8a23SAsv6TYBG0dsUunpVRKV/jJMebMObG+q2j
cvgQJ+hmppwV9bY1bXsdm2bNO9iu/OQmo1z4XA+j3k2WcZq6D4zG+YPSBd4twm3kuPLdquq2mkDp
DtoxAiU4p+U2IsO1E+96jA0gmfeWf5Umka7wadoMIbeo+JYYAxYujQLFwKm7Z6GJkNs1hr/u/nby
XHnE8qHcAPcFCz5gbIWfjxlTOehJQGPkN6Cw045BObeSHZA7xIJseIOpG2o3kZ/47yEkr3IdNJgr
0R9hPdNTdl6pCt4jO/HiSiPKVprpu7gceFXOLKKRVtd9w0MjD2+gv9S7CtoeEBVUQm+GlELIHiFV
B80ZZyjK6xw9PSxqwzSlZcBU3+l1kaJQ1LSIEjpu1KoLNIJgtUOnpkOYpGO91120cTfMONLwdNOj
+F6A7ofRRmMIo088jfiRPpJc/UDXCjRJme8EPcOnYrp0vdpm5ZlOjpySze7+TqNPhssqBUS9YKXq
66CUICC5UdSXChHs+9ZKyQQj6o58Kl5vm57aaAQhJuZeSAub51kXlEN4LWVrfchIDW6wkK+G+zKr
0aUweg1n+tRHThc2wmQtkEGijOhH/IgkxpGbshzj7j3P6VlMjBA/2JY5jhiiDDDHaRW3o1VH1eYx
xy7iBu3DPnpMac8xMrv24gdZG/ZjEKh1eh2HA0Yx+Iwrr2OVi3vhgUVdiISykREViVinYhQ86lRT
JdFBKfAWiCVqZGIqhXvwitW1lsbmnrXkbsijBD6biCNc97XUf5Bx8oUMQ+YleH39FQENAKcSbS5r
gam4hXR/YiOEEnpeqMJG8ApY5FjnZBQWx4Z4aMMtaRx5Jl0C0x7QVIKlCy+4Vd4ySDe70OJKxVIp
Hn4wcfI2wKIi+h4x7IUKh0R5pika01xpAcRRuLO05w4XoKno6CKYJZEkWxph2eG82lTtVY2ERrQb
vTwvt15ljC+hEbRQ3bu+f60HDT0LWAGwP7BsoYsefkeJptyBqEQ02UrQid75ZQoCrEdlB8QgNcoE
GYkS4Z4qfE7lADeyw8V+xCUPOnoiSAdu41rp4qc6c7HkTux45G3c2hL9xgbPnw1se6xgu9SLBdmI
Zf5RAL3EV3WX1zRrIJoES4S3qklCu8p+oHuGb7RiptJ/qtwkghrnTCTUYdAp6Rt22b22SG8EK7cP
0teqgw61FhWSUAu664oC95ey+WZsHcV/rF2kceE+R9U3zUNQNxejv9P9DKUGHdO/t6DSdNCOffTs
Gzl1Jd3tXIW5M6EzUOeA1BMWQT+JqHQ5tm+dJwN03BRfPPn+wAoPWVvWDa7B9lWSDBKZQrrMvEl9
vv5isNXmE9xmfSejrgDMVTnmY4AsTLfsijp5sCH9P2s8+3UUrGBSXLu1iYSvJ/tm3yEet4mjzPtm
kgjBVMf69psSikDjgVMNKNzbyHU1XgWLyCu5XJYq93Z/gwQowohS9/pqlfVN8KB5sYYpA/LD2Xsx
wgnC6V3wGvei+D0VIBAWQlb1S22Y5ctg/hXgNXOFYn+QXdtjUeI94ShAlh3kfgxEwnlDLJMiUikm
5U2yp6AXP/LbFbnSdVnrPyOEeRHdNsoHaZKYqHoxvk3aOai5IvSg0XJfyTFur03KJkj2G3QOTNR6
lMHbDuakrYYzpI0EYhGjOv4UhjWdT0uU6mOIkdgvXeR49/qB1m7gLNjqt4AckNrnAC5iQevR2lXs
lytISs2enpv1XeYNcuq2blBWLwXSWynicduuRE2Fh2CgbVQ9FI8447ZbNUCnl0046K9uFXPCohWD
un0Nv2PX8Cama5lUcqc2Oo+sIHXQbwIxi2IAzYk/XFlyVY95aa9c7AA+q6aECZXQEs96LEMWLCtg
7ib1v2yFcqgFmQSYbPNUqAXKmEGD0lLS9nf4Magfsqzl3uzxLyygb37ixtMgeYNsbrIOClqIsdph
9lNlA6tET5G+74TZrrVWCaEK08l4p1KUbsickfpNhry+KTXkRiwjt95EY4a0GdTmLu8aZxfg6IHk
Cj1o3ivY4PQ7GmOIubo0/n+xl9x1m1fOQ1g2VKpilx/kmRpiWVLca0EDfDKPa9TROE7eG0FyL1ia
a/CMdo+8k68mf1yP3G8PHN7NrqHdVjC0Y87jHUk66Fe/C8VV3LnJcyir7ruWBl66oDAKv9/znFJ7
8AM3r1Awlul1WOsmurHkuSg29BkrWijJ0wC+gXZmWIS/heqO39TKoDMi6LSVO8qVwyuKvTXeAXQA
+RZ6krtXndaAtu0cDOs1tiHinrqLZmIdooWYKlH85Hk2VQeALPKpo4ZJJkXVDWs2tU03vkLb00lq
9Pa8QLNfk9HNjLXZNlaxrkIEDlbIazarJNTG9Mp1PMVHZsfKFUykySbgKKmIz8TeGL8g29svWiXp
9ip5nYMJJ6fcJuNKuwH310gclJL0wbBJcgZXasiBphJtPaYWx05EyKJg41Yk1ffUOW3vezsWKhul
NKbmFl0EvDXxh2gCVNuwT0vr9s3MSLMcb6h6DGcUo7/C7VCfKEYU0tjiBY9IWNUri2NSWVaViTYI
Ld0xhq1kDvmW8yJ6cHvEEa+xC42esE6kLc9U3BiGNb7SbfeqOxRn3ZD6oeYhoR56Lzn0ta3aNRDS
5OSgA1DPA1FCnh5urFThCcujnn0x8sGapUL2DLFMmSiivV/+LNuoS5ZmVrffjdDg0HILP3mossno
AnXXMF5S+IbnRFcifWqI+oRESXLjcozd8YQx75u6Lx9lMAQhOjspHQsI9xvHVXiv4JHZoh6SQ+Se
0sJNmFW6tfZVI9k1Nufw0raEeKJxRuG34G8hHGwgDj1w2bTXEF2b+65owTfGRal5m9KAGo1dtQaW
JnBRbwV50WQPWqirk1Cwr92Arcv6K80MKHHhZpE9KHUa0dxp2Sp0+gPeGkV575W6wd7o0m1IfnMj
XX/8xFi2ey5rgJSLZkQopXSasVrniec6S8MiwdrkDiDPBc4I7RWVa/XNJPN+B24+UKE3NNoOeiE/
0cfHppNt52YPfd5Ha92IcCU1+kG/7tC1cd7jXpT71Bh7jCuZFm1T6kmBgUSt5LC+m5CuF9JW92HL
B9qQJkib2lJa4ZhF1T19pAvhD88gCeLyg7QHgR0lKXzEp/zoTyWEjfyQo7X+A095u9025DMrxJZN
JLRa+FSLUs/sZD21cTEeN+2eKj0wnCeOgQjkEloS8AnyZFuONXalsunpFnYZOoiD+Aa0L+cUNLj/
VFyLXBJ+bu6OR+xoUI6gZxpzLCdt6NIfqujpOhntGq2vFaiDNQlARKFvHyJ8socpAM8bw/P8FTkv
/U3XhLWKLNX/Zav8lF2p9zms1yazQ16LksoUv7j3bwa76t/xjgvMDXYCpVhz4joAsbgMPUwhSvuX
N4xqdIUsN2Uk0IlluiaB76OlkWdy8m4mtZF2N3zUqR7+CPpU+yzsFspnEqX2dx9kU43OaY5WhG56
9i+f9oXDEU//hRJqhwufAqaao0spaRP5IYIWNdSRtQSXgSoIfrMj6nC280gJExiI6tnBc5uUIr+L
XNF1bMMQX9xB7/L2PtH98dqXbf9TcK/+1rLCR2M2Ujl3Mked1nlo9x8qHlHPQ6FIVIdKVJ52U3pm
0S2ktLShng3Zu1NTGe7BoqXqRJiXYhWoTv2BFZx7E/Z+VF5lVetaq4aDerJwp5kMyUKdTmqvpXqQ
1B5+t7leeBGiTJoRrcfRpfaNY2SF+mCv//DRwxmWWoyX69Lnaq2vA7fOzCt65/1jjS5Ntv0/NaaG
DYRHjvAAZZwVLqrtHxt2ZQ3jOQyeoia1t9Jswv3Qe92nGtYFNVghvp1Hhx6jei3btsB9yEmdUegz
oHLWybZCbFBD2eUJJY3bhI3rWOPV+SgngLb0IoVNI9Q2bF2fAbpFjp/zUKM9F6soZygojSMimd3R
y831h/OhDkH8YMdNy9FVywFjbxgCfuIhzBZ8Vg5rlIou1nxLIVxkTt3H8yFOfDMHzTOqPBrjEXNK
k6HlSt9EhNDyx9x6Scc1RfzzIY5R0LbQhdDAl0G11Cdm5gFY2M/AwvjYzQKwXhUo/QfRVgCTRSng
AjzY5i8dYoNtYeiS2xxysjQm+tjXSGlhaVjAZGBJcpSMKet1geCJgLXmz8S+DpD4Oz8yeQTuN/lk
KtpGEH1VWJ+zCcJoICrB2eIIEI/LluKhkNcpxrTObRjcet66pd1rXgBfH8/YBHsGw6YatjTFHLuO
4oTs0QKhc9E+qVmza1NcPpr1+ZEdrzxHmJLnNihry9TnyyK34yYoTVJo6dz3zVtt78//fTlN+sFU
MUGsOJgFIJFZ5rMvV1E/tfrSNBHCaZaFFMs2ew8Nc1kOfrDA0hpnXcT520+1eqt4GFNbRPvMuj3/
K47WCywDKBkcFqppS1Wd0z+yBFi3M1K80oz7zM8xCKifBnTFlp0iH9QiXNFKuDsf8y82fjZyJk9A
LROGzQxOJMMv2HkzdsBe+pIieejclcV73pENVHr3WCnZfkiR6O/MOxpy1CiNEpyjjvKjrS0rLdqn
Bf5Lnnebe/3ThV91Yj74VZrBYcDHgD9w+KvKaqBrBY1n4dY/sly/EeRgRqhPXkK3ttksvd5eKGnz
6qjxvWJMPQLth6rLCySGkxMCudu0Hc5X1Z5NiKXSrUOAFvXMBMiloSCLHS+6wltR6dihLrYE/fPz
/MiPjvNpDXwJOf2kL9OhlgMN/JSQpbvJDSoeKCp0NNuasttl/oW9e7StZsFmc98bHgjnjmAt6Bgu
bBqZFs+J8yM6OiAIws6yDFXnVGIyD0cEIHIIMV23FmIw1jQNUFoBZEsueD7M0bFuQai14NRyQEzG
wrMd7FlKXSs1Yl+eYT8MKTI5tkFtJKlex9HK3s4HOx6Tgym8sDnZTd3kOjwcU54gQF8blrtQArGV
JEue1r6xii9cuMfrjzAONEhV00xYO9OYvyyGrPZUDE0dFCjkWx1u8OjRUUovQCc3H1ZuLM8P6njp
kUhISDQTZQf2zmxQndL6tYOrNDKZLTqWQXPVuu066hP0psf1ZDpyPt6JGeNyRCeBo4f/zncX2uqU
+qSKDFL2ozXlXdzXT+kQYyrn/TcJ/n+kSh9FIndhTTAoh4/omLNNhf4rUOgQsRC/sh75l9nOa0s6
cKGGECluC+fHNe2agxOVK1jVrCnBgAEORe1w1kTZlw1IPLYwCqf6M9roHTyQVND9s9ZJ+5G23fp8
xKPlOEXULZaIA9/cmG+xpkiSyBNEzEIdMxko0sZvd4j+dSPbSEiQ0JgaWxmu2mxclJkGJCVMmsw9
enbfDEwXoujCFXhipohhM1c6WYzQZ+c+jazchiZMUqbsbR7xenltxe84TZ7/YFI9niMGQocIeI9q
m8Ysa25rbbDxEiLPrBS5h4dcrwqr6K/iXkM0qTH+uFpXg+Gl1pS36S4aoFuVdG/Wauj2F1bn0b6z
SaVNaqU2pT4SnOmU/rLLOyywnd6S6E2pegdwgH67nejai6a3MbYdKoUIvUkvZDzHH1rTBUoEBvok
PFPmhFy9oZpDp4Ome40xT/lTFdjMR3vXfDn/pY8Hp+mayZLh8QCScM6h9AajGMsaIF/Gx25zbM4D
4wb5KrRpl7nz53ywU4NiberC1C2duLPVk2htFyBhjxJUnD/A3byC8gjur9u3qrI7H+roaOYRxEmi
CgZmQqadxv1l0iJPCzEYSy3sOzDgcN+qoljxZscPolqn9U+agufjHW9xrHWZLRP1RtBWc4qjLyMt
10L86cdWL2+Em8QruobZNW4o7YXT5Pj8IhTmMcKZSKIkI4dDCyrT040KSXvY72g6Uf9bIEmVrPrB
zFB2FIGJa9LQ3tAZf8Pgqr1wzEzL/fD41AxWynQKWKp+tGL6dogAKTQW6TZWTwpUteL6/Lc8fieR
WX4NMa2jL5OXS7uxZAlCPQlkussQq1kZQ9ZclYC+lojJIFwm01+R0hbLLo3vtUYU/3r3Tb/AgeXN
e43LT539giR2XV9v+QVogPpLCPf7zMTTKh0+8NS8cB+d2BUQ5AzN5NFr8KqYZUaghAdKeWR5MQrS
ElMk5zZJuGWr/88405n75auWSgtPURKHrteqk7cuXe0ApYQivnBJnFohDuJI2iS8NNU+DgMVboyv
m6QTW2Tysci9n6GlXBjLie0G2Y5rTvIalJyPhyE6PwLnhnHdogSMtqg0xLFV5IJ84//qZf2Pqckx
d9lmYr5Emq2EHlqr7Wd8tUaHdRM8jCw8/3et/NXpWioldYrmswJ7aioXNpo8cYYRGlU7i+IU/zMb
ZNjAwQVWw3tTvgTePe0/XeyK6qFTt4Lmmh7ss/Za9Nscnlr55Jd7mv2NszGixZh9XtiSpz/4f37L
7DPoYR0gxcJn4LcM2dar7zLx3UWnQDP2kBBNxNz659i9ccOWJunajDbDcOFKPLGsyAhMFZSZyeKa
X4myNTVUYfkceSnQ+mtyLiwwFOcHemIzmlLnxkAiiGrD/I3fABKFD00NF/7LHzUzNuB3f0OcWxem
/++hJqEhjWNGJeedBJG+7sfC6wodE2wTscbyvUWyL6+MG/BeP90ICbnzwzqePjJD3JQpQBqUnua1
TqVTC9SXp1WsKVu0lH9qkQrT2Pl2Pszx1yMMDyFVUIeUwMoOhzSgNpkPBmGsut37fUIHGkRyNqx5
fV4ojPy9wQ/voeloQVFE0Kam8Dktly/HGfL9VZG3PnWGsLPsx5yq/xXisEr3Htd5EW60kB7Kmuq4
/a5rdR/S8Bu5rRAQ7IYlVbjgCqKm+RZDzLZu3TLvfqO55Ix7qAfg4S2ac8kKY1mS3HqkobChmxb/
GVyoTStzDIw3FaLkAw5NzjVLpq/JQ7v2JfdLaCy9ZqaUqvI03upa2ANM8YPy1cJN4aUK6vAbzYz6
Kkz75rdrhfUVnIU+vHBAHp8dfwubSLqQ2nFLz/arkcdIWAYAQ5LiR+Ag3W3/KgKkj4o7TB8s9cKJ
f5xFTi9Fm/KiarGW/17oX+aCBFYDM4GojWKPyAa5j/TuFrJpb3VuMm10//l2RnNfqBQcbcmb2J5N
vTChA8sKk1+/kni6rA2tQ7kc3n56IdDxkcNf1xx665YFYUzM1rNqlC2+kJiCpNk3Tb8JzQuzdOrv
8+qljMYGIJubJcS5E4MLySAxDWP2o6bHPXbW2z9vSdRY/hNi9q2UEE9XDzjgQsCxoTe5YLcsrWZV
g5w/H+nEYIBQUYfTpgtZQxzxYEOOINZDq8qwXtYq+raopGiXQpw4Xw5CzFY1vlFdB2XLhmmJ4nAS
9bjWZKLbjRD111Um+pfzQ/rbApgdMlR3JPk2C8CiH3E4piwFIot7LvYa4J9NLb/OcRWjJoe+BNgR
BHlAsLwgZ/Ckh/3S9mGBZOlNBgnagl8g1fDx/O853mcmrR0o2+haUgMyZqmiU45hHGA3spCp/qTr
HnzQEuZ3tcOM6sMe5YVHzfGMMm7oFLQPLNyhjx6HUW4qaiMU2r+Buw8r60831uOFg/z4apqkYXh6
Uk2Y6tyzlxr9CDfzgIahXPkZZAKouYV2dHZhJo+/HFFMkPiUYhD3/Ntg+HJCRTlMYaQdMeur5M86
T7cuDNtesWAClThBycrenp+qU8PSuAon9VExpROHK2ds0qFVkOvCWOUlzeHPBng5mpcOqOMN4dCP
QP3bAsar4V15GAUKTuSVHuqdClrpy6DBvDCVOWIMXvRkGZ28kIIdPz2ncDYHlYnwy9GrOnYVq7YL
5FV8G1k19wPQ5RrDq93Y9DuNY9I0Yvx3fWN1/lseT95h2NkuBHeFtgbQi2XY9NdA0TZQ9BDwLm77
vt5wIFwo+BxPHSe+pkqNJy7P+UkA9mtmgWgBJpAgzZYgXa+rAknnaOhuclW5UD4+EYerkvwPfSL6
0NpsieiozBWypHmF+/LCmKT1xD6KP85/u+nHHp5g0338nyCzKwwy2DDEJK/LPugiTBgAOFfxEhWe
5UgqGLt//L58Ph/yxJvJobHOmcHK1OVRpt4GeQfosMeXRg0eMZ3Y6BCl+lL8lNJ77KMWVLB4B4w7
+RGtAsyzz8c/Wi4OT3aBHij7QdKlmlbxl73eQCqPMWdH4FK0xaLurJ9OahmfhdbIpaQbtYqLdHg9
H/NoLqeYgAh4punct/bsJu87iB6hmQXIWSMKaBqoAnEuB2uvY1ucD6VOBZ6DKSUWKR3RMDGmazH9
li/j80PbALogg+Xgoc6ODg++X+n45saoyURvTdwDe97D8rrBaIpPvUzAtvVbMwk3eSSulOaudH9b
1pXRXbgu1KP7YvphiJ7Sc8GITswP2bEcuqjQTRzgU7ipFMBCMjInrcD2gjZLbqMhQxscnClw90Ax
m3qXZarx4MeqshZBiSR8Etief11yCOEFggbPCmii+tiBg2xXZTvksMCVXrnBei/VlzIC5LyE90++
XiSF9tFYAYg92pBhc+EEOjpnHaFxHvBcE/SwjjqNsau2vYJnOE5PibbnATWu8g7XTTG2YicDz9yd
n+OT8SixsXGp8tEWOZziqBxbWZkAnxw/xgDhmxeoKDvgwHkhcT+xbGmp05kgxWXDzJ+7QQypAXUi
xjUUd+zMyXJs6yn2hdv31HCmIjq3ocoGsWY7kvkefW6jcBmH36Xxq203pvYr9y8cdaejGJI1yLPa
nnf98NOSfhPgSOyJq3r8NaKE4PUPQfvr/Nyc+mY6LwI6f+QsHN6HcxPGNdcgxgtLTHSarRIYCaI/
ehAgPBVmF5IjdZro2V7/m7tzE/HcOdrrIfX5zAqicKn6nXhDOcJBO9gP5WM/CGCaAyhR9AIVVfyo
0s7aIMvdvMYQyvYJSF7rAQp1nizbkcxnS4cP9LwlKvdXhRzCy+h78U/LqowdMgkAWYfWtr7pYSY/
//17UeUQHMlCUiGf1auLhv3YCTdYNvqwcn1UzZxs57j/jBtii34NM9syqepG1HQJA+ANOv/Oq8XS
iCKImG/nx3NqmZk6pW+Tbjsd2en6+XL8OnqB4pauMJ7Eovuf9rr+Lu2oeOKhq/0cTRy2/v1CIw4p
FzUc1raYXS4Vdn1MJJbsvEbgI4lWuWXyfvRpVcN3EOkaS4PiQqp3YpT//ejl8cPb5+8d/2WUeGwr
BU9+oJcdWoRFt0x4Bwx2snO75EIedCnULEWxR2okRUSRAjPuHMoXaFswxh++fuEQP7FxD4Y0+4xo
wtaGlhIH4OrKq6q1VQe7ZvxnWVKq3iifkpQ7jkr+MVsfIhClXoK65svZq0aWdy7kc+THNueXoX58
MugYGJiYFQBCYGCHy1BryywMMWJEIuW9M/FX1p7PBzjxuaYek01iSp2NfsxhgNzNI9/MmmiJkMOf
oE42GUIcIHYvXEEnsrWp1YuyE6cbr9rZvhUIWPqKCaAUUYU9hTV6EgiOpb9ocUETGi5spePcFDjc
1DaQAnX4KTM+HFWJcF40pBFC1zDH0LdAnn00r0TKIbmxVETjGkQUy7Wf/vviI65OwZMMAlu52TDH
wk9dJYdiAal+qUXGKqsUVFDl+vyknbowAH9KajDULfA/m82aWfWOkZRptGxjsi6MFJXg0bFfdfTf
EAOgN1AH68K91rxtm70hBNDbzyVSnO1nnt/oE3QfN4h7Krfnf9aJxUqxToDEITsGKzP76rDgcdWE
o8YW38K4hCdfXZjYU8uIVcSUQhhENGJ2iDhj0RdxRgSba3+ArlXd17S0UQWpLoEgTm0MvBWF5CSe
ruVZNuNZpumhQ4B8DibakIxXXmRcIWV6YUSnw0wFn+lpYcxzs9HTK83mYFx62bg06eMaEXaV2v35
mTkVhXOKywXkMO+W2WBU13cATgB776q9MWl0jRE6EReGcmL66aqQN0v6WIh/zxZ/ERW5wNSUPd40
OwNGIPN3IWM+MQ6GYPJmp5KEkehshTWj12gxlnxoGrVvKK1sKiBLIrb+tTYA0HVCSzD/tL/NeQWu
6Ou0CTULcHvtrGRzPdb0CuzhwnY5cSMeRJkt5gHp7BE7GDbxgAYJFYIGzdIB32RLXHhMnvpsCCOD
b6EFBZBzNv3IFsvBzgMMRc3oSoHGoyMl4tbB9vwqO6pCTJ+Njc8GJXM6ymCwgXf1GuPjpauX8CUR
gaATfj04yA0bfMi8qFdN8+d/ExOAKkBrqjjzE7d2S3fwLGIiCLsOWjLiq1w+lhmVq+QB2bTz0U6c
P4jbT5UWevlTg/LwXqHyje+Xhl6hhv8GTgBXSWutzIaLE1Cs1V64/E9NG/U+Chw2JVocUA6jFa4N
LcOACeWN9vXkPiFtY61WF14fp5bhVMBBXl1OBarZmBoD/QcHU7elyMztVHsLkxzDPx9fnu5CFnBy
QF9CTT/lS7oZ6DBpHZNQWum8xHDO40VujMOqNIfy+/mZOnUY0QflrCPZYMZmowraLGDQhEIt8Moe
rHtEqi4shkshZqMZDL/1cpcQZd47T6OHHy5udN7T+YGcnp7/DGRakl++mT+AUh8dotidshh5E+h0
wZ405X9xtdKenjCawJtojs/OCFR8xJjCLUGpSn+eQDEtbtCj6iPjGt1qin2pfnfqsPgSz5o9GAcb
dRzPzdi4OdTIqvQnT1oPR3a1+Oa6KEkH3tbPos35r3ky6uQWRG2bQs88Reliz6i8oIiXYxZf01vM
49+q7BewdBJNLhv7QrhjkBNHIm2B/xdvWkNfZk/tUgtlMuKhl7scEM9SkGeTukCQ9rkz7hMq7AZi
ROH6/DCPoZWzuLPlr0ukXTCZiGmXjlskVfTicdDQddviw7UA2pFVwxJhpE2DE/Kl7PTkIfllzLN9
YbqT1n1CbLomrBw0AUWvPAyxh31FBzcw+ffk5uAbz3aI3qP06WfTWNW9hz9xUaG9CB35/Cc9uQ+/
jGpaWV9mEp16HKinlTM4aA4b9feuaqDbeDhvB5esKP4CCWcFIdOmsg6Th4wajOhhsLiOvbbSKeHX
BuKzfoNUV2H9xGgG/rL7Eu6wrdeRMEMdQxNXAu2r8NM1zWXrfbTZhfPn5JltO/oEMADzOH8gtioY
ryaveUME1e/ERmqhgSeOh+iFu+Hk9/0SZ7ZqNOT1qOkzZEVFj3BUl0qNhsn4HU3I/0WeytKjGkqR
F4zlLIn0CkoeqG+xPhXcPrUMsTEkwi8EOfXZyIDAggNRPYFj0kSPGXyHpihSRraX743Y3Te1/fbv
q5LEx6H1A4jhr8Ph11Vp5a3iA8GIl1Fopi+mGOKrEtXHvY8f4puRRO/nw516WJsOLy9gP2RA+Jgc
Lky/nYQHgwEhVESW2/qKOmzWfsPa2R2uGwWZTus27laVuzkfd/qz8/3AW2zKvZgziImHYTNMMdrG
E1xOSrBHf0nfRtUgFiIzqge7vvbjt77JUEm9iIib/vBhYMChkiKCSk2TvG8WuHBGDIE1zCE8ZG6R
MKutveL3H0qlIdJCS2ORNPY7kt/je93lw6oOB31ZRcGTp2nfO+m9aXYZ3SnmMG6jFtkND4bMhbfK
cRbC7+PLQInmOhXzB2SsiArvUrRMCu2lzt+79OP8pz++MQ///uzcS5MKbwRf8siWmLO+WSqCZo9x
ssXHPveaf941h8Fmy0sPUx2NNQbjxivh+Yh/ItuEdND5IZ24HVnAnGa8hHAW1OdoBLWqWzqLFA6A
sS90682Ivmvaq5L2i8LYR+pr0d1U7QaRNhWfyguxT8zX1GQCnoeV4dSPOVzKqdVmcaHVxkKV32S0
irFTL1r0Tf9YxhKUU1khq2l0a6d7daNq4zq3F4sB+vFumvYRuIWJ40Gjf7aoFVRz7b5lUcNPXyMM
EyGmVQTXtQ6gB0KAct8gtduGbGNzicHUMs02vboeG+TAV53+oObLyt8VpLy4p0+KNHW4baEJ988d
gh5iIkBHy8LwN52tLwcXNdPwWS93A3Z0vV3i7PkJuWgVKbd1/j3Rf1fls2Pf6842HMTWA0pBhyNO
nnFVTtNL1c4T+djh0GerOQgsd0xjhg65HXk3FLWpRWKK4+tQWlfATVdD+GSg+3J+1k9sooMvPpv0
sP8v0s6rR25kycK/iAC9eS2WaW/UakndL4RGht57/vr92IsdVWVxi9C9A2gwM43pYGZGZkZGnDhn
kKSkx+ysKt1TJWceX3ip42z+HQ/xlVhlZYE1IbaGwDm2ax9zOVyfDU3+cnITD5DDdK6KFLY5/pTh
gbw8xPML72RmRZxDWDQdjHYIthvI6vgFdMfgMENESy6bUdXzE3m+BHihkP6Zmz5O9483jhB9tNgZ
p8GFb5IezZcs+eUYN0r7bFnoxjvbKYZr62tfxZDI7FXtJ/n7TW+YkHr1G4nEZKHd98OhhkZNkord
ygfOHyBcGScfKIT8XkrjBtyiTASsOo19E0G0mukp5tjzMLu0v5JR2cwMs5b/NIXveQEeON006CZk
g+OOIdRQzjPwOnouHm04GSvrQa3N75c/8xz0BoMADw0DuLBmkX4UDgGyFfI41syjP6HpbrlO/BoG
18gmqmCMInjDdOuTTYqcUp5TfiVf3g4/4QpZma1Frzn6CmE/qmhJWLHHV8h0EujezxKsJ3KsK9tv
6cA/Gayw/2QbrqLE641NXznap2xS5BntY9wOxlTRAQVDa4uIqBt7KtlLaCd3besh8D3r6dRaaK88
WBbCe+YeuVjHBthMl5Q497IzFXBcGpukfEZJKKiuNT2BTzzdWM62db5Z+ZvM+vMy5s93Y4An2Xnr
K3BDny97wcdRf+asR18izD/9Lpqm1XxJ3U1wrl21QHqzeCYzv3Eg5oeGWIECTlIf5fqTLO/96WEY
X3XJ2yLs2JK1jqJxo7Y3FeWO2t6lRuNGUKUNekNL1jeIvnhrFofL37wQg86zN3f8mgacoSL+HK6o
3kIg1QAY/M1T0eZ5kzQU72v9MIAX8brJbcCRgIJXmpXDZ9FbWbKZHAMuCfHihKDKzLtwMhCyQVyk
bVD0TaXuJ0y1yYrHnr+G5jH+sSSsi297sAFXWAIBwTsldaVg30AeZbbmypjWLAlbQ01ZNC/Gkq/J
yGyTWs/InSZPersSw38g6s597d8xibcShLW2NQacgmE5axFDCsk/JjdFC7di+NxK0U7lqPQVd5Ie
FPmgajd+eKs7REVfEuebVnyx7Il/ee/He8rhNPY+Zk7qRuUuR0eo+Do6zyuOtrjccwaRRjhKsB/b
+OjJb2qJB3KCDzYl72EIIPGtLKh0UQduBm0fq/p+kCcyOdYWasv32PtRofLsood1mJwOneS1nsBl
zz/6IOHcmAK9HOhmMzYZ0uf5WLiKDJuOc1cHqovQDRmd21p+6htzY4V/f71Topr7SpgPKPEFN0nV
VOpDdJs3KFuQr5LuvS7ZNUmxAkhYGiJ2LOoUcxnpDMIr1TFIZYsLYTCkyJVQzNigLoiOwAi3LbSb
0p7/1zt49F5CwMgNm8YjYJnOTlYGrMz3tOCuM9fJnH0h/26LfazoDoxRkHLMRHCaD762zR3li9aY
W3XIXSc3XtBQvoaK9c6BVRnypmezVx5DXd8bXbySol+elaNvmb/1yBPb2IF3z2D22zkpYhwQxpLN
+xxqDnhxtd6t5PQGncA2XdkCCzvgZA7mnx/Z9Uq6CDPgSchKRNeJ1e/DKdvlzd8Xjm2D1ggGyJFH
6Vjw6wQIghLOw4ujGwiUXadZqQYsT+CRBeE8VTrEPeWMgaTOg299HbTrOr2K+6/a8JzmN6AWdfWu
z9dcaI6zz1zoyKqwacAq+QGaqISC1qsyffUk75DIN1L2VKEJ0oAqA+u3lt1aXDJthmGZ9JRTNzpd
MqPhEW2OjFQ32ReefpXCyJ1nzsobep6ws6EdmREmtEISZ7RmMwhRuUV/CNCRyiB3+5TT6wbx8spR
vBBUA4z7MyphJgn6VfjwuKXi/ElJ91J0D0A89H+hkkTiA5ZmbkY3z34qOsrQ/UrEcXlKISA8ndIk
ShOlSTh2tTqAwVJ+hJn7vkvs/2Sz/TtGS1ZOzaBHR8otYYyF8aluHiPz2+R9ujyPi2fakYn5cXW0
n/NQDuR2YNXiSdrIPfTb0oqFtbmaF/LIQpw3MpwUWGiD4KANvHUH/2aWQ7g8kNmLRfcDYwMOhMbA
GYN+asYvabm3ZZakrjTYWVGFsu+VsgEHcyuZaxiNpSiZGGAuj5Kz0SDZEqyhmmDUESuD7k03/jYC
9Sprrsp8cM0I3nTnUZ4grBqISayERs+DbNUHe3hxWlTVfjr6g6z9zK2fkoYK5ZPTZNs6z7d6fytZ
322zcuNGXYnplo67kw+eg76jVZj1tBJkRLm7YrV+VKORhEze/NAcek75QQwoPw2/QJud3QbjFLpS
Lz/aQZusfMfCKp18hrBKJLp4ZcK8uAlKEhGq2ci8MdruOobpCy4WlGz9JlrrgJ+PAsE1TowKJ5Of
qjb6kxhNp11GIqvPxk0VZjtgom4LRZ+svdrWKuvbvDnPrBIifuTUVLh7TmdczwctMwcc0uirTX0T
JbB0SgC7t/ZDYj1mY/VbN9NPlSldX94IS09bjvl/DdvC4eR3WpIwy/Nb8nPbvynq7w/2RvtzXl03
ETCfCQ6/2xJRsdZYuQM+oP7ngyYsnHMx8lkOwWpzxUN/xdg0Q5HuAtspt2jWyHeKB0dFB7HVJsn6
3tWd6CVIUjhl+ylw0e9QieQAcCnW2vm2cPowGX8+SFj7QG1rEptMhmmkEDq89eCcumzliFtA39kn
VsS1Ns2y80asRNx1Hfod4fiF7nGuva1mf6/ghA2yDblTK4faWHanGDLvDMXD8aWImi0MwnnzTXXI
oCabafq24g/LjjhX1ue2aUfMw9VZVqTFyJrk7esw3ibatZbsO/qOBhSmRkDht6nuwpx32exSWo45
+WNWPfX/eKLRyEG5etM7JBln+ciAx124a8CBVfXWhrU29753EURdFb2VVIksF1j7Bv7xRPoEcbJq
uXC5RaQnG/u2Xvu+eeHPPJU+L2Iieb43xJMINFcZSMyKqffbWTU1bjpktJ+Qma7jt3FacZFzVgd6
o+a+sv+zJziilPsJYhFMRxQOVyRTlLDfBMq+KNAlvAmL185+MYx7SNaDoSUleY/0B5rQv6JhGyrP
ZrFKcDFP/6XxCy5rTmaqdNG8PMa3rJ2uq2Tao5G6acNXVXLj9suoq2Q1PpcjX7RyVy8l3Y8nQ4R6
QD5mDAqtxGRbG4Kbu8Qr9qZ371EQS3kuFT+dAPaQlXTD/2PVkUmyzdipjzvy6A6UuJ4rq9GMzZS8
OYm8MbJvkGlvrPLVtK/LoXYt60XSpZXBio5GQyF0PfQNECqoBCdC/NPJPS2Lkg2ORb6GZN/twSQY
d5rypeo+5fnKASzmbjDwwRwCfluV4TkT4hKtQtq7Q3fQ7VoghC3cv6rTbpzY2GnJGg5JvMvnwcxm
KMOC8T0jijPgBM/IC0AJnMle5eZjnEPEjzxSTeQDU9Bhsqbw2q+yZCUsXhikSXshrBY0+0AuKAwS
7dZy1rGJ3QGOgA1brt2SrP2GDE10gyC8srl8ki2ag1QKDg0AYvrH4X/kNlWbI0QNGTfX97tegqxG
uxXyP2Ut8/2RPTrekkwovSVUbeeL0yGdeHpi+vDQztKGtGtWQIJMhJlQCcyCzURFSIPx/pvvvdYZ
BOVfVetATWVUX5CetM3D5fGe5TnE75gn5GjATTw4cuvxHWbkbWzV2yfofKVPnJN6cQ+3hJfdWaGb
KjtkcjZ2eOdIK9mNsy0jTIRwNtcTiPlR5QN0RNLd3vY3YKXRaUByNJPjHYzru0o1VvbpgjufzL5w
QHuoShkRLKuk8oJdVNxUEHgkwV7qrqTh7fIML5ribqSYTG/XGcNP7TmtWjrsHAjTyWgdCnWXVOFW
7baet3IgzD5z5lM0YYFtAwpris5rx7ml+xVFjMF5nBrQqV+ntVTKsgngtjArAjwQX6mRrHdZOePH
A7R+P6R6fyf+t8szdhbUfvgkSOL/MyJEE0EVIE9o8mqRa1rZKAzJ9U7S/PZb2jnJzrQj/cqPJ/kl
G5JonxRFf9cAkOroapDC6xi11LX8g/hwFj9IONbLAO23UJcZtbq1ZLcKgCjYW8O7tVBSDJ6d8LqE
F751tihPhYZbKWsfICZA/vcDLK5JqnUA+IXkgNrE+mSlfIAVIZapuKm009DQk+/RzszRKECFyamo
nVOw/6EbK9Hd2V0qWhfWQxr10UD0lTYk+RA0DxOkq2r4D4j4vv8q2/uk2tfVyoiX/ezPgIUZR5Wu
7LKKAWveexJ/Gov7VP992c0WN6bzx4SQVc1LeUJaChNUYeXqB9i21H7sJsAMa7jxtcHMPz86Y/UU
5YMkZ/60aHzI23fJkffqavfR4kF6NB7hJHdiTYsh3MdKw8sTFVT90KO7ylMItmzLWTm255Dx/Kz5
M3vCsZ07WWwY8+wN0xNSBrrzYJp3Q3YIAZQ0N5RxLi/W0hTSiku7Ezx6MyPv6RSaWpmg1+vEblE8
h/13P6IKsZY3WbHxsQ2OlglpRCXtO2wgv01FGhFstALJeF8eyVKEcTQSMTBVqeP1ZomVNNE+q722
a5ut3PXxRtFW9tCSQ5DtA+GjI8JLx9TpnAGA0BGjp6YHxsCv9in1ifFbi/poa9z23uHysBYn78iY
sJuUxDCHTsFY7/U703+OaASuun8uG1mcuyMj80ccrZDHQURwhhGL20ft7lNzjyo2koZrJ97iaCgu
w2thzI18grvZTeajRM5NWoAbyX8MXb8Z0Xs2lF1Vqjs7eEkolyrosU6Z21bbUXsMhu/VGuHo4nD/
fMUHScTRcAFRdaFU8BVZRGfL98G40VDmXuNZXLICUzJhPZQLPGAEN3EcrlIzBooP7Y8ebx37QRq2
9loWdWlGiXLn1zd1e8MRZtSExq1GpDBxax8FJuetBi7aRyvQio9UrHgqwf4D+wCPhllN4NRBRvgH
ZGe2osjUD9uknGUskty+iqFyQ/sSvTrKIVNS7fzYbu9teyp2ctSP+f1gWjV0VnZil796iW49IHC5
76juFAXI/fqJ+kuuEzTFANgCh8uNTC73UOTnKL3badPcdZ02yIckNQYChEov9K2uZf4asfXiNEKQ
SLPgDPgUG9PLABHrsQaPLZXOQx+qrkLrduPHu7/faCSQ/jUjxMdJjZBSYzKPo6d1G61HSNHKNzBv
PEZtcvXf2RI8Q49JuUsdtrrszU5us/g+KR7aNSDrYhBD5AQ/FMkx7SxF6yMxV2ssoWsa0a8WOoxS
bjdIavJw1hG+rZ6gZdzmMOlVa6DPpQ0GWdpMRW7h/SJnRZKpitSGrFmpqNvM26UKEBko1P6WPHMO
00g6MUiaF3kkCVdyUShQ4luMsKz8dl9E1u+kMPSVB/JSKAwruE1KBUuA6E93mNfqgQQWnfdiXt+G
gHT9LFi5txbnC7WHmTMM9gUxh2l2QVtOE/2KSCLH22F4r5RqYw409A/lWhfm0nAQ6gLkQUcf+Rph
zpBhystx5EaJERGz8+cuebrs3YsGZrZoHbopeB2EyN12OkNKEgZjzKDf9jpqfvwnBqifo1LI+S22
QDp+NPiOTgskvII/yXQhdBas6UecVZRm10KUgEQ/aw+5vbDqeaWmZRWh/TbU3kEJd45KMiDdIoaq
GV/8aBbxuZs1caF4+09G98ewEFZ0hU97bELLpVVm3+lLc3VfXQGdLLnb8diEO0OpE5S/A8bmq2/w
9Gy1YSfZxn40ViKk+RwT7ybQ5pQRoTPmjS54AqUSy44mgCuVpXgIZ/0YKvId/deqi56cwTehnk7u
ZFgDLs/g4vAAMEGNB6GUI3Yzp6ajN16H2bGDIUwptW0cWUjVa18y6edlU8tuwt1OJ6pJh51Yl4US
Pc3MuRerKzTX9O6s/HE0ocW7VrVfeXllGM+S+tnqVi6QeY+eTezMLEHaFTJqEZenQz5LIMcITYQ/
VdA52c8SfK8dH/R+f3mEi7sZKTGOCpKDoFVOT79c7wKrVDFVNryyaqW68vxorW66ZkR4bsPpk3HJ
YwQ2ty+9J3+2YIK+PI7FKePcQ3prji9FGTFptBwkHzmVRqn9VfrhdQFhLtjoK7t/L6u1TualhwgU
if9aEwakyby1+5wdhvI4gbTc7sh8bpB9gxXkq9c5D4rx9fL4FtOaNHkBFAcGQ1fJPAFHoTMSjVIa
SphEw+m5n1IX1cBXVIK/ZDISefSXGBnKsVmB5I72TXPGrdrq29YudhYS6Ze/ZXmu/3yKEEt5XTQm
SckR5hi9W0pEUQ+I2LZGs0uGFVMLEw1whFa9GazAS1lwzxrpcnRr8Ry0mbZFjWT4NjCuTCvd+vY7
AsiXB7ZmTVjWsLWbDrlU9h3vZXN6Lf1vg69SgODJ5NyY2dVlcwsHGR2RJgODrIhLSIgT66IyJrWn
cQ88yIH0Wyv9NJpPqCWvHJgL5zSiHDQXEP/SEC+yx+hDJYVVOjfVUSyrPps9bBY3mX6lJOhvqbye
i5W07dI8KqRs1bkXCQJaYWB22oII9zg1k+lpKN0gG27VHRr1u66pV9osF3wRYlQS0WgLQQgisvfJ
kln58tzOWSPQPHBHbZD6w0dSf+PF1pP513g0AgcMzlpGEHdRjBPGNvn54MXIf7oRjPatZG8aKgs9
++zvfePIjKiXUdVqYTSzGY8QO6rvi9r1CpW+pZXzf+mGQwbGoRpG/zhwMmGHlY7RNsVEY+dUVKBu
oSiGbSdTy9sx0Z+loQ6f7XDUfnil2ezHjAb2IDLbYKMHiFCvbL8lP2VmKcqxlOwJ4VMQYlYQIVW5
Job3UH6HgjOZZlz0jUF/uVNvwrUc3KKfHhkU9vtUe2WYmxjMoSlpE4TNX9Ef3qh55PbpuxKs7Pel
FxtY4z8DFIJOKbDVtEEiiCf4XWHXYGsamF/mOBfeyL0kc2BTtnHK75d9aW2Y8/V8dHWAg0qHLmCY
tG09lzkHTWB+yQP7IDnTU4kOXJ+tQkXnoQghzMlQhRjU8AZPqzMtcQv111DsBvSb9WvfubOca0t/
dJrXNt2XRoJw+3XvrTy3Fs8EG+oWICOzrqhwVbZ9M+V+zjQ3sg9BwVVjafvOdmV6j/o1tpEzzNDH
ecD7FHUgOtxprj2d3NgfvE4KmVzNLGRS1GG96/sRoEiqp7RseD90Pyrore3VG5gGXyREuLe9hTI0
CWCHSzxIry+v9tLoqZ4jkERtmWeacEA5PToCRqYz856NhAEEWdEhqve2FB/KdDpcNnaGk5mHf2RN
zOjlkeY3RWiQn8oeWwXZ9bIqQXU/c3i5Qa5v+zTaZpV6Xwb7QtmqrnVthp+L6I5DGt11RBeip2Er
bZVo5cMWQk6+ay5HzwISYG1Pl0VCgouUGrMwUJ6My+KRq2Flopeub7Ca9NXyVrVhGTk14cReUEnN
vJvj0Iq3YxcDBRqt/hqNyTJEVdlpXi7P9uIBcmxy/qSjnay3TawSehJ3zoSA5feufTWnXa9QXv86
IAaMaKD0dtnm4kSyh5gs/EkXiUMhUPTjqGKUSe+g5ljf9d4a7m5xItFfJZ/Ea9wRwUyKp8QTUAx0
2Os7Obm1hk+SenD658sDWdwXvPkNysgKkn3Cctm5VpVmPu8LP3uKNemmDMqX0YbtuG0fAiTjL5tb
nDcUPkz4gTReVoI5ufH7JgX/7GptWd/WZu7cmdMaXcL8S8RTFg/814jgD0VEYjDoMGIYw9aJS2RF
4m2prtwfy24HMyTVcXY7jnDqdglxVxbFsCJ0evpc9Qr9lMV12AdXEmzCU6xftYVz2xu/LGctJPh/
TM9CBjMDoia2x5ooGSF37BAjt9q2Cd8UCXW5St13gecObXpIjfc+Hw6+slb+WXLKmRkL3BtcVYZY
oO5KisR2BoRvCqvosfVr8pvyFN+XnYKAqt/UKy+dpaUkiQv+CVgQvYDCgUXO1pBAWpFMgWLRa68n
bofg12WfXAz2jo3MTnt8fgxTLfcBRjrJcTZDAcG5L+0Sg6mNZrHl4TCRAcsi53mwHIQ9wp//5QcI
uyKnuiclKR/gS+lezw7W9OZ7D/p4aGp/11bPqvzZ1n5TTb5sd2kzHo9b2Cd11Wh2qrGYRpSj03Cw
zWF72cJSjDVTeXBEAsnk5XM6s5Wv+Fpdj2x3eGA1Zad0r5F00KWrFhrkhB7Sy+aWvJPkEKK0MxaQ
3M2pOWPyoLkNODIV5U5xejdq4OmI3nMp3F02tDRzx4aEELkujMwHswL5fpG9tFP2WcumlbEseT4V
yRmDzF19RrMX6l6i2R0RVNB8s8knl0/Zf/KwPzYxj/LI7w25Scr042XRv3JbWvSk86Z0W99tyqdy
jTt6cXGOBiQ4uRM7chl6LM4Y3yhVh8wFBHR2tBnWgpw1Q4JbD1Kktl3MzEXejWK/dsl9VX+ygpU4
Z2l9SBNTA6Ex5Zy8aYgmezI9mz2b2Pmmk96Korzq/Wzlfl7yNBM4JmK6Kn/Eh6gXyMakWxwNdhyh
ze0pLd0USvR62Z+X8mgfAtUz1zoEomJBVW4iK2sRYER3RHpvS+2gShptNrI7QjPbDwEcrP9ocCCX
Y7V3Wn/ns6XswneT1l7x+8XTGOEB2PJhmTfQYz71Sq0we4p7KUf+1NCmHnbDJh6ox+o52PocfXbH
zcOSlvlwQ7eOm09rvdLzoSSGD8cfIGwL0ymT1MrmfBdhQ9buY+s2QwkPhICfyrs2z3kvuZfnf8ll
j00Ke8Pw+sgvfGrzTjXsw+afOjzkvbadmn8u21mC3LHOfyZX2BtG5oyhNRMmjsYQwneebYoebkur
uvEbSM5ojdpazT/aFB/6PttFagg5z1930cyvo+OPEAInHaECu58nuE69TaKSvkcj0/41GT9K858x
uEerxY31Q93+Bwk4ZPo+9EDnIq0wy7Y2BjHFeo5UJbryLZSgcu9OjV4aexuZ/0Td9vJkL4XWx+aE
uS5zojKJYo/rB9PXbCx3nW7SB092cc7DKX+ryPsxq3RPkmAgukZM5HTfhE0YOXYNtSMqV9ux3ObF
wyRDt7NGAbM4LB52GrXnWSFFsBOEU97qIXbK9GXeFF15GBR/a5f39loaYdEUpHQz2TSYMPE+L6o0
MKuo5CiQFXT+rjRpmyII4H0P/1b+fZ68uZxFg7JJ9lmsD4ejPTSg64kcml1jQCjz3MWPstm7lnJX
Nyu7fenqODY2R01H964SxoUfWBjLujo7dJEiI7anQ7PWoo192QfXTAkBWBxPpZ4qmNL6B2v8kUhP
ROsrNpYOL5jTiPBUiKEBqwjDqamr5hEOUbTlJm5zF7zJBomljfMfjebIkhB20WXjTE6OJb+hCVSj
t8x76Lq3y1O2dPwfD0fw76jsdDnPMGLoIV3Hn+oy3CjGQVE+p2O5qYfHstxdtrg4gYgforZDrvmM
qYvLxkdijGz9EDzo+b6Qr8PkM5x7/50VwetGQNXtUGKlyBDBU3zpfUqmm1BRH5PAW7vE55UQ7tCZ
tJ4XG+PhQBKO2gCMhBLZ5M8hCd1VtMX1EOuZZbJpoUBLpGsd0VKuH+PGp1HUUxXXsKuVb1h4e/AJ
sEzAZ0EaS9zSQwHgo5g/AdY11dp11bYwrjv4A2XrR7eKrls4qubyI9B/EmvQGwsbTa2HvJ7mF0Fq
dLA7SXvk6z7r5nBFO8Bt6ptrDSxzECJOMBNLt8xccQX5ebrpJqUaWk1jNQH17XrT3pGhv+wvC0fH
DLGbBcqhxodF99RCVtfJWGnUxwLpvfAf0nHYRMlKTnrNhuCTehLKVlpiY+qhz7LfY0u6U+xhf3kk
C/vrZCTC2vRhbGh+gSdUUU53v5uU16H2osBF9d/Ygbv+dMYm2H8VyN7h2Na7TS4/Aohoo8JdB0nP
iysuPjkBsuv8bWb6PzWkUmUstYpn9VQBrNq01VjEkNspztZTUEYE25kH+S5tS2fnkRO/Dvqhv0Ys
1Lkb7ILvSxDd3k522R+mIIj22Gh/0YQjh5sqKDO4Nh0PMcAqIu0YDhN0zekYA/dt2GvWVUv9AvRR
Xmu7OCnUjSFNw1evn+S3yK/9OycsxvfBTyzvOW5V7U1vYc7JA4kscC9b/sFOFPOnF8bTk5WodIRK
dpcdiqLIerBffh+504B62KHyGqu7c6pYKvdaHSvBQfH94GtldP1XqSo1Db7CPHgrRlsJN5LvoY1m
N2p3RTkw2/dRFTkrt9zScQIgCoAf73FQXsItNxVcfqlCotTLmm1jHCqC1kK/Gsq7Qt+l9qfLrrS0
MY6tqacr7EdtOEYq1qyypxJNg1oTbGxSGpfNLO2MYzOCI9XxhNOMmFGgz0ufY+9T1/4oV8te89yI
/gqhD7g4IlPIOIXboPKMwNHgYXTr8kehbdX0oOmPcYB4SnErRQfgQ075ZJorT+ellyRt4n/MzqM/
irP6BlUsXgHk9bSfHWRDefopQYnG7HaG0W1k/bGWdg20CGt47jPWPaLJma5X5dCk4ARY89SwXU6N
BBwrdVGx+6Hn71M37AFF+d1rG9c3pj/ubJ4Bs9TIQJtNbDxzgV5PQX4zatbh8gov3EsnnyLMQVPZ
CdUYPkXvFRMaZGMrGQWQ5cZ32zy+VvM1lp+F8ImBcy/NwFHZEikSPNPLQj3tUzfJzZc8QYbGLmLX
SL2HVsp/U1W4qsf6pdDtn5cHuoQJPzYsUiQYqRL3ktIhkZZP156cEOLYqeU2kt7cy2YHSUmRxdFt
NNVWfhMHkncrW0lIV21RB7+9UZMlt4lNhZR62j3J6hhdRamNsKUOFZ1K17/XvAWxMXzpfKrxm0gP
ypug74ybUZaTJzniGs78fAVVuuTCxKKUeYBvGUhgCp4U+VPdBN0ArknqOtcDyy7btcGpoL+hzRLv
qir+TB7myUgOUxlrG2VYk95YOIlAkIC5mxFHIDuEIwI04yRpoZwSBqRfNS04OLX1xVTWkGoLJxHi
qXPKhxwDgbB4vPbRYBolqzf208akkkHHWxscUkAVl/3krGl/3pyUMBQVFI48Q8dON2et9NTB7DF1
S/Vt4Fmpw6a+rZRtOt108iuEeHBCBsGVVg6bhB4GWXtMwuvAv5I1V+W/Xf6a89md09S82SHg4m4x
hQBITqJJwn9mtHoKhu2qHTM3Gf76lIeK2EDiCKw43iQS27RBZ2kDsAIURsjwhtvBeFfVL8Naz+h5
SHpqRjhqCFW0ss4xk8J20OsPoxOvzNb5YTZbIMY2IeiB1lgISY1kDJXUwEKutbtRfs2mLWj+QzLB
SnV9eWGWBqPNeuE6TBIIoQsxo2lOHisDRylids1Tk4WUeJs0XRnQgjNSB9XAoWEEtJsodWT5hoXK
F2bM8dVAEjVQ0i9On9GUkrw4Nah7GnQSqUPUuoJvZFbA9DeNEb406oveRvee8nmwClfSVntBz6/s
uSnKpHiDxA+s88LBQ41P0yu5TF0/c5Bk1WCkC63pkXTtBtqXXTFB8jP+M3TpPqmBQRkvl6d/ocJ5
al9wpsiXjM5sqpRShLPvym5TjhI6skrwMHm/qzrcj5JOWxZB/bCWSFvyMopI3F6zIiT75vSAyHPA
KFNWsya8W8PuXk23c6ziDbdTvFblOT/2GOYfWyJQJOzpAw5CbGlTA2wW+pThVgtv7TVM1+KYaHKj
YjHTkYvJQaj3SDCbhAG0MG0UOacjZt+OD0nznkmHlaVbdJ0jW/PWOgq7hk6v29jCFi9IQuRfskKI
fGV6uatb/0xkmUN9n4M9Gj5fNrwwRt5D4Mg4HyAbEWsYqmOHtaXnGSi1334mbdSMi5KuwejGWpVe
WbTFWx/3IG/IX6djlPoqzaK2QBJZrSmaHVT1IBdQu9ftpvn7qiboZpCcWDHAjorRZNGMpeqPJbbq
g6ncT6hQ14OymdqV+VsoAp0aEvZcoY2VmQwYatPbOLifisOg/VTt3UCm0mo3XXZL4UNWv+T5tV3v
2vj58vqdR46Y1ymocTtDaygmbDLDSXxiw8z1jB4YFA3wKEz3c1HSesnqwoXiO15r1ljYfyc2hftX
45hXUx2bk57snWivpN6Vpd0YzVpZa21wwqGCKpoRFQM9ZxrKmxA6Mqhx08Y/FMPbNnrnhvI+tN8u
T+j5k/VkQnUhH0HMMSImwuAyi8TXTVNvJ/19qnXe3O4QVdd/b42LDNU0whi6t+ctc7Ttx0HuaHFR
eIfn4U6jcTeu7iTSbXE57Mu2B1fRrtyeS5vw2KKweIbRhgglo/cpKcWhHr5LKW3JtrkPg3QjrUZR
i9ZUHpTUPGYiNmHLg3WLgrhifM2Qb8fMgqQGkP+Yb1WfFpu1N/PZ2kH+oBm2Bq6IYJjg8HQ2vV7t
u7ZVJGqeLipgM9dYYKpuJN/b0TMPqMtrdxbtzNYQBANlQxh6dj0EoZHViYc1yflep7Qr6e+XDZy5
PwaALsMkgqgjYZV6Opwury1UleDtzwCfkrXsmoc6/xKNiKmhWJDWV0W/xsawZlKYwSTteZ6prJE/
vifU+yCTzuEjTEBcfu9sw3XWusnPYnlhjMK9p7ZT02VkMDfD8GCre03NCbYPl+fx7LwSbAhhmTf5
U2oF2Ag4Fz1/7/QQiw3bUl/ZzEsOwUuM7AXJP1xC2MxgW2GbDrFTFZ8TLXWrYsUhlifrjwFh75px
M05pPhsYXnilK8rzKiPZ2hhmBzk6kBpj1KK4wYQd+HvUPjaTvuZjKybEfoRcich0zNNUB+ZG97/I
zso6LE8TGGp1foPQUng6Bm9QzQ7tY8YQ1RuYmavqk2p+uuxT56CA2alsSnfgwukeFBdbb+AuBIU0
K1jFW7+E2KbaTs5t17qRbm1M6zGQqk3ZQqdXb+VyxaMXp5DWLRBbUDDA4nY6QsWPzRjGdWljefdl
+mjXKyWGxR1z9PsFR/O7rotQd+doG2m91LrdaG/k6T5Z679cG4fgbaWp+cY47/68SjapcuXJa2Xj
8zcR6zRDIa256xJMsLD56Sodpn5gnQaoXU2Dzq+NHz1UmquN14WxjbyH8q9LGrNJinU60CMOA03w
P7Mum7KTGVVMN5u8GZXPOoCg0ri67IJLk3dsRnCCNIRuP1QxI6tvFhwpZvfrsoEFLwBFTV0EcXVe
CKLCujoUASIg9LOU9atCTrLcjvr14Hy5bGVht2IFL54LgfBfCCGCFs3Q5mqSNom+y0gSBlVMcSZw
L1tZmCxeAybc3+RBqLEKngYvn6W1GYJzkfPqWM9ysEL5czYKUh5w4YMIN+C5JRt3uiODmVgXKFjg
6tJD3N/G5k7z/na9McH8zBw/tLM7H9pVR0dz54NFr/oscOl5kJNPurby+2d/OSk4zL+f1AXKQYZp
UcA8HYLUyX6Y9nngNtpvpXrpm5s+2Gf9NghXDJ35lWBImCvf8fA5pNldNZ/oN70JrXc92cnV3y45
8gSwIgG5AQlD6CnsDy3NZITge/q61d9NuG27tXLywjhODNinE5Y2kWKOYNddw3qcvD3tNwXwobVy
08KykEVmuQ3yaoD/Bc+NvVTxjGa2Ut4nHtLD6lXT5S6qDsPacbzgxMemTPHtMzi5pgyYgrdKzw9t
fdPZKzfL0miImjUerHMDqXgcJ3mg922jsSj6D73Y2NmtV9NrQLIuXvGysx3P8h9bmlfvaLtkqjlR
DMZSjrZYlFF8WKP7WJgunt0sCjgJCldiirjp+y7WayNwU54b8atu7qJqpZax4GKYAMoMO+JMDCT4
MCBnz248uAkS7Zetb/wCovXoU47M6OXjcdEOba9zCY5byxL2vm33Tm4VTuBK0jbS3MjfmvbjtNaY
sLAk5J9B6yAwqGog3E+XpA01NTSnNnQRQ1Kkz2H6enkUa79fWPJObbMgVfj9Rbyv06em+H3595/P
0qyXTYrz4z12dgKHQe9odeUDIYjU5srxmgdbn+rrJgcVUQ7BWlVw0dxcNQccQ3O3uPgc1cPkRBAR
lOPOrHOo6vYhu96XVg7K8z1JPp1mHIbGhlTFULZOJiS9Wi+mWfZRCer/Ie3KduTWkeUXCdBCkdKr
aq/ed7dfhLbPsSRqp3Z9/Q36YsZVbN0i3BeYpzFOZ5FKJpOZGRFoOG+H6r6zm201fFzeQRmszu8Y
mIJgEEV3DHMBauk+rV30AAlMQXbMf0gLc3wYsuZqnlKxL/smWdnT8MNppvEqTcafl21/9g4ouYOq
Bfh4BvpvdbxqiJzREB62E6Qzq5AVm0Y3rS8Dvro6grsLqQBGqNCjOPfviNc0K6gkVnC7DTPcwGft
VVolby2bVj2K1QxCj19YFN6aKE8jQGBp5ya50yUxMOuYQa/vuVcFra4XvvTFcHtKRXAgu03VQM/s
nP8efnZrCKdw6AasR/8e3XiTQ8dpCELdzMjnqIoajhwEQBQCgI8o+WCfc+F7NUYJw+J+Rq+qfuh0
L9DPjzdZzUesA6iXgBFBfT9VdtlV3hSB/S95Y+HKBEdpvx8jKLdGoAu97wEprUFQT6GF1+wuf7DP
h/rctJI0VO1oQTYXpm02HkYLiEsKSPPj/Ndjn+dLZErxyMraYWytGAyeXhbQ9C0uqm2ra1t8do6z
xajXhgiTgTcDFjNbmEzEeAa4Bh4bfwygdfIaWZC6E0PQDL4mYH12EZiVKRFYlzDIp94j1dCk5kyw
tjADxJ7vRPka/nWRW+4fqge4c0Fo83k2sY56o5c2ap/2+8H1/wWy9K41pmqPvGN72SkWF/THmEoD
3/tOilwFxmLnX9fczAgTEdE43ueX8PmK1B4+i108kR0YIcZ1SNY9vebgBS5yZyvsY2Nt5uqnbXy7
vLBFbz9ZmOKFMZ/9yQph00/sYi0yfuP2E8HDuDQ2QPDp0AO6fVQCcG6GxchKSHuYzkMc3tc95nU0
eAidCXnLnKSVsc/jmUUJPpX3AxkZmp4BizSp62cCdPmpJIk0Ji3kYKL8ESdGgF5yyeBiHa5/Y0D1
r74pSdB2wejsw+zgJs8ManqRGUADunbvSAYoRmC3mift5zka5VfIj3vyK/zCqYBBx68YoanmBHY8
BjbYctOPeLzLoeI6hGsKxbteF54XneZk9UrSGwuIulQN7E78yaaQzNiDYXoNsP9l31w8EDADsXb0
6gGbUna5mTuwG4SwYxDU6QjWYVGQVoXoToQY3I3luItpraFofgQF4mXjn3MujORjGgNTLJ6Ha0h5
1QHU506WDdtp7R2BVVtnKH0No/OdluwQdTqHkpfmeWZyao6oU7Yj8+pysiHzkyG/Y/9Wo7WOwoA0
jxXAhKIQ67jc5sVwGOL15XUufcs/68Run/sQTcxmsiMYLqBmVDv0ECViy2zMTIIe8bKpxVudQFoC
r0vkl59u9axrxq5IYMtDOybonTnwuhls+dl6guCbW40b+f+LxrlNrWyP34pxXg2H0OKZOf0NyvWO
nl1bZAN+g8F4+IwS7XCV0wKPqrnsV4UJ4orBiOYdOKimY5XY4i4fxa7F+0tD3Pd/bAbm0P+3SaU+
Ti2oCqEwgh9iUoxhtOu+23P202i3qbuNIFkP2PKATUKxbdSFr8+JNpzNQcUVjHpyTkf55rXDE/Ad
lQiR0XTrGDVGnnWq4YtuhWFxF+9JImkXz93Knnw/B1M0tjn5Di671PnHl+DzL+QZwEFA1wOj8Ghh
KtcJN0bHKCsh8wz32NFyH3cAZUw/NH67tF8AWyAIMTTwP+kGsKxKLI/LlLBHiB1D77VgUAh3W7DA
hF1mv4Sg9OFtHmKWcfgxVuW3pmEPNQlB+pI7L2FLHE10WgyNID8EAgR1M1QflBDcZwYuJoHWcNrk
m9AJHzHHtG/nGnJokGkKkwfS5Rt3zDdRpskYfpfl1FCFRxoKwlKaBqNryqdNwTPugDpqlVb3go67
RJAf2ZQGefs4W+3aiuJ/IeYg67g9+nh99d5y3EKDsA+NmyJRswPqv1/+QvLQqj8J38VDXZfif+oY
+8Saum4nOHQyQlilf8idaQemgyAMx9sSMNcw1ZFVLPn3qUUlb6qg5TBNMyxWfK4hCUbWjZm9J6ib
uNquudzQS6tTvNwy2nm0B9hKkU37QxKw6rUaNDfQ0n13uiB5Bk5yCeEacWP5MDIhBHNeB0kEzqhj
GOPxs7n8tZYeJaemFAcqs7aLwWyYrhrM3zXFBlpiLPkeptHahpTUFHVB1WnC/rJJMMljShbRyFFu
cz5USQoBbATbsIYlvhKpfZh8M+iofxtS0HPld6kxaxi9l+KG1KcH/BIUDSCuO99TIxfuFFsIgg7B
yC3zbpNIlyMtfTa5HkAQZA1KnagoKzMBl3GL65uyqbrPp37AYB8ChrtOsgpkEVELRc4GwkCay3zJ
KSELA+J1VPDxUlcCkKhy3KRmDyWA6S51ti3Uf4avXCLg9MIV4hOC1pDy1cx2HIrEHaB92H0Y820U
vyT+C/W2l91xcSVgm7HRFfRwLSq34czGKcNNAt/wkqeu61+5ACplmDVev3jhYxKFgfUFtehPI9qA
H4WROU5I8fwbN97Q9GootpPYie7edDeltXHwRqDXVv/8hfWd2FVCVTxaXTzEswwfxdZP+cGpH8vc
0OziUgg+XZ3i6zxK5iiXokQxI9VKOOxfaXTvJ6RY2VXBtknVWeu6KDQjF8t2MeSD5h6IJNST7Q5F
7TTo9YO7J18luXfVM7qeZuMuNIqgsIwtpb8u7+fSqcZh/o9FdQAtbPOkdwAsWzlltPL4rd/pZiMX
b/dTE4pL4nFDahrBhOeFACDjZG3i6D4a3iq6QnvJhnBZ2GoO9FKI/D1Mb6GdDHC6cthCt3Kbmbtw
kx6tZPcdRIGrMR3WDqaaEjEeW5Jfm8N0uLyZGqvqZmJKY0yBYsJKx7u5AkH/vR2/CuO+IXtRr2rd
xNbSWT9ZpFq79B2/SzFXjok6DhjPVewAZxh/4SSc2lDOG6T7ShrZsEHSBvqIgUviwEZFW0zrqYXs
nMacbknKwZtyL51qE+ZY/JFhtrsYN1otj9/XiJKCUDi87P7LeR21LeCkUVs3uENXHeiAk61l99E7
BP7ozwSDu1u/tIqnsfTSWza2Yl5NIjLu0N1FW2xIo+E6rrPsqnU90DRf9p6FtUuaWxuafuA0RbX4
/IL1CuAyW7xeUYA5hNGxYWPg9VrYt+yqqouXr3M8WHGT++roPPQmRen0qJENQ+1eG15t30e5e5WN
A55swt9NvT2skb7cjGBLDmJezpplLkQcSUwBIBgA5sC+KuGAlnj6gAcZy3SA2QLpFC6Lyxu5FHFg
ArJlAJe7GI5TrvNorsPWjZCTlfTKb/djs/HKVcbeSWwCxbMbBzyGNZ3mpY+HHiPYBiV58CfWvIw6
eUtKmXEa1xndGcg7AUK9vK6F8EJPbdBzBxGWiYmltkCsrtcgpBij9ZzfhMkLyCgB1e++kEqAyh0t
SEBLZKap7GLTTBHtHLxHE+tI4mM1fvcSTU65uGuYasXTD54PWNn5ivKaJHE8w4RnweV/DvnN1Goe
l6BhWvB4mSdL6mP0gVXyi5aPYkrBQA6UTlK/SBnIH66Z9q8Qi6lAABja37Om8A9hwo1bVvD2yHMr
33CAQvZhacaHiIv2nYyh+VHzMtybVjRvueFGeFXQ0tmVfRRuwbbdHU069ySYWTG/pxN4zWg0ZknQ
j8SsQC/qiXU+8e6mTTJzPTW0WiVNZ980EzPuRB2OLTRxpnlXW3X0YXMru6F5Vz2EVTNeE56095kh
Orw24wr8dmnug4Soa6J1ZNo/vDkFRXVBmtCGGlzVPnddkmxI2ye3LhNus07cBDRMFTqkgPDHDIyA
M6RrXlsKCh9s3PDYV3N0sNza2vghEp2g6zyyj6uxrFByrsV14jjyl4X80EO9Y23XXQHFYBKDItUv
h21NXbE1i8HPd11Ud3tUGYcDDfMkWplz7LxE2ewdB9qMYHYYCyfZhCSbqoDkJrm2KzPcR4MP/qiq
MZsm6LCJ2wGSXGsXc1rA/9Hc2PddlgCq6/b+ltM+2eWzT7/lbZwfUX00nnma99/n0AvvmmogG8OK
nQ7z+sTJggTdULKGDCvBXKGZWm/ObPtoa4/0Kss766PLhP0vKRPzfmAZ35TCSpAwA3KQrY2izN7y
lA41WJzL7J8idMcjB539K7f6/lAW1rwSw5Tf4D/vbmLPw+B5xpyb0JgsNFac+OCNNr+xE7dei3JO
qqBGuffNr236MBSRzyF8LJwKABwvG7ZhHkXZDkBy+1DaTfuQcqfeApXmtyvuONMRA1/Dd9bHJnq9
AsViD9rGuwHgOBEQ8Njee4Bm3GZhzStwvssYDiWLpyjNi8eymGm55lVcHbqyrt8jQmM/qC0xfJCe
Y3A0s6bZPdpx1n7jmI/c8jmrjmFnOs9FVznhAaKvCfgA7fkBGkfFNk8nd2WEBntwWR0eWqtxzV1P
Qifa1F0dWgEtUHddEZ5O/S5rmvEhq/qpD8bMD68H18iBNDK6fZhUhhWwsS5/AKgTPzvYlziowU37
FFluU6wL1mfPJSfjkw1Cte9+Be7YKPPNNuAVL54Lp68/3AwVBeCIKOAgcRrXb+WQ+Q+hHzU0KCrH
AdM5ya+8YYw2cweMd1Y2w7NdT7YIIkOUv8Z+GDcWGorPNk0AaMk8NIuC3C7B/ZwnfvzkpCEkvxI3
HoIIyfmzPdnGtgw7Jw7M0sww8x+Ow6sjouEQZrnwg2Kg9Gqo7PA2cloc4NJ0R5wiDDPGedVfDUNq
vk+YfArstCb46a4X5uDgLdltLvDABmGOOx7qMDEQOqhIJ+j4zeJIhJHeT3zuygASM/Wh9mi6LdwW
9TJ3jgWqD+4ILAdP/8Fc1/BSMb875F7mo7GNIuBdgTdaAYRSvK5EKT4iL4xvEQ27tSHy6QfL7Xo7
E3A3OX0xxkHDKtBwzNMUXSV9gtTVn2i4qwnPn0aE663JG7sPYCg6lH5VbzHokd6QquSPRjjFexo7
Lo5DCk4Ej8btJnLAo59Nc78FE1z6nvuNEZAp7jbgrGB7UE6AP45Gbr8WYmIo+lk2ZkJAmxptycQg
BEnqYZPwgmzKPnWHXUWp8FdeTtw5AIy48YMBbHPt2o6bLMajTKA77FYgZg16UIltAPBvnRWLWLqh
Vpo9exCLx1xbMxoQiieumFbA28zVyjeb9BfI4YGlHMu6fa1LP9xMjqjeGQnbfR9n6RY8DM27Exnt
voZC8koYXbsRTFRrR256XBjzG7E689dAUi9gLC0fMBjArqPWb64gjjEfLDgiGMSNWCdtsdQKADPg
n1tOyR7jxJgg3xVyMCk8zsnWRC/CYu+2/2ainzzTlVEF6bQlOkGRxWxOjgtKKgEUkxWzAjNQpSV7
yUazq8EBnwndYOVi1nNiQf6Ck1pe1FV2BGoKNHW76Xtl/SOp9X0TMhcOCkLJTz/L7kmrA30vppDE
BBDbR60cA2TypX5itW4Y70YDSUMqRx+Tg9tvuzwJoEaUxPsxeQvJP7zWvMWXEhVU9RgmFVFTQcp1
bjNpYhAWy/Z1Gd4mSTDQbVvthuYm1D3qltKuU0PKlkLHafJ72VU2xHMnvjnRodOJDC75xakJ+RNO
9o/XoYgT+dVmdhhzFzzHzt+3xikKXHjJYcZLkh2fWygxyEZs2X/zh6th2jF/47uanrRMqNW3Epjx
ASIF6QH9NMZtNXljWr1s2c7e9eBlxzZJoTWZQD3WXl/O7Zc+yYkpdSZDMNZUeYbVhN6TR+6hk2jp
Rns/I9nBG3pqQ3l5OcjyCj+GDfAQrsA7hxQRRJmzuWahAMuKcW1jsjDuKfQqAA10/BWyqsAsrCDl
436CJt+IF1trfmcYEri8es1Gq+NDHkvrsJGTFCLa+M7r0KGycIx0w1BLPglhAcD1MApsfdL/pn3W
gOgBL09b/ErFcyxevrAKWXkFSQCI51X1K2RBTTg1eM3k/qaugxYoE5A8eoVugnLRVxAiMP3vAXCs
yuIMNkfxIsXz1gmPtvFv3YOxSdNi0JlQIoQJkWmIssNE5z35fQKIxNrUiSTqbMh/PwkRZSp6j3h4
MnvlrzrdpOXdWD1+5Yv82alPL2aQ+FQDllEhXavdN6/8HuarQej6B4uedfJFlKdyYtlxRF3YKaD5
4rzwXlMX1m2VchsZNR5IIcFW1fmmhsBg475af03JL6PDyRqUeMpTG0xyFdbQNkfevQn/KQ0fLn8O
zTb9vnRPvrgfFpgGFzBhk29xBrkN8YU7QUo9YDIV9TqkYOcuNZldOpk5elS5dUwgHogb2/xrkRa5
T0jbAMMDi6uvtulNz7Brv8Upn3IMswz3nvHQuTcRBtipJiou5QOnlpRDWCNvjgsAlFaTuSPxPhJe
QOgDiH/Lv5+ClWuiUOyTTK4o+Zzvm21VYV1wWOqttUduZ7Lth698e2CiMIeP2ivmzM9NiBFyRVaI
Rntb3bh+GbT5V876HwOusoasaEvqxTK69y/FsKXxVRnuqA62tHgSMUEFgDRmr7Fd58tgZlLUTSdr
cGw3RFujTgOuu6iXbkPwjAKHgTYQuHWVPLCsZsBhB/TWYkDK82ib0ikAS5fFN5eP41ITj54aUhwM
wsyC5K001LTVNYpK6bFAUWPD2qa5B+IzXIkehLE9pd9H02rWdHa3GU2cFdiFdRn3krPjXv7th+ge
20pykrXOXM42ji5Lt6Y9Ak7/GJlXLYTERktTdVwKQ6emlJ5GUdk16iowJQd6E+dhgCTH5Z1dtgDy
KokGA8JNiUNOBnpyLkunbbOrylun1xymRQ9BBf8/f1+5D/wCLF1ixN+vi394x9dRgWqJzzZOoqOS
/k1vo+bAeNoBdITUETP/ijPCEdHTAofZyusp5OlcPH6MrRuBWRE1q3ZmGPVigR1BjSYtrzGwfDuh
9jc3HSpjfcBBAOyAhygZ/H1n3Xahj8KXZi+W3oenP1BxYqDTurmTe9EZbx69j+kxjzdxCV3QY13t
Hd3wxeLWn+yHEgBQc3R90AGhs4iGWJO0Aa0mQAv3EQpEl51oKdScLkxJXgqfAzoyYWEcA5POS2vc
mqYmAiz6qSRbx1wC+haqnw5G4YIRAgMX3L6OUwvpt677u3is/1hQ4fdJkfklZjowJwClgqx5bti2
yL5lzbWR68axNYvxlWMd+lQMtY3FxEm1L3lyDRWt/Vc+yX/3S32hN449jTzEanza7UpnQF2tCDKW
aT6LbtMUl677VBArxJefACEGKQYrQK6Vrkn/NPBs/f9bkuLPUwUeRdB44dpsyZqWLzkFttvT7Nvy
Gf2zb0o8DE0rYX6DfYv43sQQqGhupuGmpkigoNpj7Xxne3lVy1ebDzA5SM/BvqBOW1d8SgdCOlwn
yXWSH8PxLsPssW29QUS0A5EPCYi1Qic4wEvxK+dWTmah9u4AvqfsaDHOKerTMB03x6KLVyYK/bFO
QUX+kU9h+cSIsqM9KSaDypPrezvOdiJvMJKvaZ0tHqgTG8otUxfJ7M4ubIzgmykkqUGncT6dBSUp
jIaqSgwDFrCXQWiUq143VLvoeWj8Ad7FfosunOdrJXRhaJlj6qrw+DNHSA3yHGptYHKlKwYKJDDd
TI/onHxg+uvwBR+UWpJA00K0HXjac9t1OjTca0c0UN3oIfccgHueh6ZGLbu67hu2KkbzQYw/5vYV
c/EbYvw1YSdeKqDWRaIqUcPsU53AgHKQsLD2nFspOKTZZO5Jb7jQpq/Sa88rrZfLK15ySmw1pHMB
cDAxj32+4DEZLEmFCqeMAysFm3xxN0eT5ngtBcdTI8q1CNtjUhEYiZ2fCUNDZ5+5FZ6Sz033enk5
8i+pZ+zUknLGxrGeor5DelyNYP4D5SMARisbTSKnfb9sSbdxyknDTUIzNGKQL/ofUbRn6RNjm8sm
lg6CRMCDKxIcIXjBnH8b267rJhkwWlaEHyyBYg76zxU6kmYw+B+Osa2jH5cNLq/pvwbVYSgv6zBN
3MCgXTobOmJeAUK8OZqgl80sf6Q/ZuzzdVWlawm7kB8p3dJiQ8i6yJ4c8oVAdbJ76qPfhQw8uNph
xRHfcr7rK02leSkQnv59+e8nlREGoPoI6SI8SUZIokHuletupcXvL29DcFMA8qo+j3veZKCEszCn
zJ5EO634+CpMgmYi+qCHZEKbSAcWXjyomHcFpAEQfCBsz9cUtSVDzQoWfes6CYFH4dsiGoKhs5A3
by97weL+ndhSvMAGhbbrCuxfDAioQTEzr4kFn5kXZTA9saC8gwpvKogYYaHGRCY/VuKpjB4FWRX1
rkODGLkzP1rRFvzWwHWtikLzolxMaJj7myodMyyfEppwyKnVhfBAI7YGHuSsn15IYqDhLLhXAhwd
Fmj9jfVjxmh+RwGCKldyBuHGAr4PzLQkEpo9XzzggGsAqQCim0/E18yOhroJHfyi/onbm2Y4tr4m
aOlMyMN/ciyc3J/qJCOYZubsNu3Ap1bw20LoOH4Xz8bJSpRAj+jbe8kMM02ftVcuG0okI9aRjwld
Ny4/en4G4XAeXZG61L3yFk/JiW0lLg9tl7h9JW07JbiVtiJ9KuMdeHEAf/nCGfljSSWy5bzpvUjA
Uty6gSBm0Oo02TWfSz3xzCkZEyUsZATpaLW1MfBDck1rYvGonyxDOer+aFUYX4Hb9dYr82Dj6fI2
LX4QzwFrE/BRmB6UizzxuYJziN7U6EUlqA6ZLqiy1zy7McJ7NMEuW/rdHFcTDGS2eCcgsAB2oCwl
zSyeORLIAXqAIHSu+v5XFoIC8daAHFRbbgZnz/L3Kbyp3Hu05C5bX1onckMgnwjEcAC3OF9nSI2C
QwYX+8ibDxFjtnz8juGyu9F9dtJGc5CXThjQp8A0AZtAPum6lSWeSZ4c9LOJCb6fq5z/GB0vcMtV
XFz16bpp/728ukWDoH4BoAP8nK7K/GNA/tOuwhZlGq+8mpr3BmwV3ngbewOE66PnOZ/WkIfWbOmS
/+MS9SCmLnWn1ZY0w7OPFRZgJCkBgx2kG/qrScsDtWgE1F8Yt8AMM2iHz7+b740dSot4SwvSbJtw
PtSxuWsiqvliiwMlIE+GCBJAeahjKte3GGxJ+ydfD0l2M4m7GXyxsWhuwaq2wazrNq7je0iXPk68
WfnZx+XPt3TIAVcG/xTAQB6KwueLpP5c0NpHkl9D/9AYr/vyn8sGFncRDLhoRqATjDrquYHUJvVo
OrhOWTjvZOeuMsxtFHkaj5AX1KcTfmJGucBMB8qjTOYl0N4NOhtTuvm240/kC8BnqUD+3+Uoh9kq
LXDRYg50FSKnSzCHk+YftQX8nq4ntXiuTgwpL5XEC2lXgUBnVdqgl/c/CMY4s6eW3HVsXZTJvvG+
0NLzMMZFETzQVlep9Kqh801Ro1gfpcdp/mbSvSW+0F2FFjFa9kiwXFu9tgwHTDrcQMHG53zFRpBU
4IrUFUKXPPrUiBLraTqDi6iAkZx69ybtHvzi8bJL6ywogcFxiryEhBzODKRzrPHOzTSfYjEHRe/O
lQg2yNGrPbzUnJJoEDiVjfdmlsAKXU32k9G98PgBpMvxjXGDYtr8lRfeiVX15RIj98xc+eAf0hnj
Ma+tYEHlrbWs+NJ11bN6akcJeJEwhxEUUenKqmmxS+zpoR/fxOzf0/lnDjxfwNIfl7/YUhA6taj6
RJE6ZVriMKUugAlSYqB7TP9auhAPl1MjilvkdmNHIsSyen8HFtkAYrzgIHV0lJRLke7UjPTOk7Sp
ZM3gjAxmKrzAsnEKcvqjHfaVqQFaLE7mnRpSIjeZrIzZEpsHidZVNH3MIT7YTVg9Qm4Pgk0goXdt
JFRfaOkB5gsCPhSVgRRXKwA+j3hjy+sw681jW7DbXkvuLz+34oAw4UvCTVBRfdJOCd1yGDF/DxOs
vq3lM7magyTugpw7QMrUKNYcmVOsB/fbGH2zKx2TwsInREeRehQIFkBUVRIH2ndWnti4REwwAg3l
jmNKw/zu6giyF7z+zIxyJwL8G5GUwUzbYgi8He9aUv9qC3N9+XAtHOczM8qV2HZz3ScSS5k1/AZK
LIBlB+nDyPwbUYYBZlE0V/3CzcjwDkYXDcjbz700bhlmzRtc9ZzWr8QuN3H3Kw6BOx+e4FKYKf7h
J8PuC2s8sancxgYxBrdubRmy1mJ+EulDEDhQ3eatpmW++M3wTkBeS8FKqJIDVo3Io0QaGiYwdXrx
tp/zYz1HGh4RnRllPc4oIjaYMDO2u5re82abxfvLWyY/+6dDBn07PH0g9YiM6TxOtWENjTEMz6/6
AbP6ycYXqOIApJMH7Rd6NJCvwowIaJklE6VyofggB0ZSBlNjPKw7uncgmp3p6geLW4ZBEfw1yPuC
wul8PU3uACbheqjCAEoH9o4JM5pupLn5l86SZWLUFqk4tk2FJkbRaBtRZwAFyq1dGKMUzglI68i0
9nsfoJcRhcSk1HyppZVZgAiCPBGp3ydIHR9oDMwM+C/jFhJLvsjrNfP7YZs4s2Z5S4Hv1JISkeaZ
UQATsLzYJ0Aok+ui9w8RuAdx0xwuu9/Somz02zG4CbaRTw9hUJ2EmZ+iKFqNEIU1wSbH6WYSvqae
vOTlNsU7VOpW4RWneHnNOj8rE1Ri/LSAAsYO+pGxd0VZMPHt5QUt7d2pJeXeh+TcDIQ3FlQYWzB7
BJT96P1N7zxdNrOQ3IIz9M+C5L6epBeWYZsR/hVm3PmODf6uLCtNAF9eiSTrlGLmnzj2szyD/JeD
wlJe/JoAEfffWLcZdLJdiw4Auqj/WFFCXJJaTh3LqmlX3ZfdYQIlyai5FZZMgMkGhR2gmyXN+fle
JXnud4MEv7fT7ei+GqCoNRvNZulsKGFHjIPAXQcbHtmS6NtggcFMpyW3FHXQO/VBqA+NLeD4z9cx
ZnYKKjHcBkAv/qjy+Lp3oHrk8G0GBlK39gIP/LHBZT9busUlnkDWxTAMruZAbin40EZYV9JXANne
cgTsOi8DEPGuaLUBAhP6t5dNLp3VU5PK5+orO4sqE2e1ztkt5j5W9pD/7Ctrk/vetme5JqzqVqh8
OSIwmRZS7OpUVuWqJeNHWBnNIeubb2Vvvpt+VG7CxL/NMQ+m2dzlD/pncxXfh1hfOmYVNndm1gg1
LhSuQMnSr6H98DGW4btZWjcQAdCMMSyda9QcQWuMOiBuSuUahhyLPVWGjIXDFZ4NzpgGc7IS4a/L
n3GpYIY5KkjoAJYCILg690EAZByBbkf8sOmNmdLVlNE1FDV3tcGv8vS99fKDCxyiG037yO1+Xja/
6EWykIUKKigNVDZg2ve9ABUykvfyZ5vmcJxka0c9rrSP3OCaD7m4pSfGlKDvuGYSghUMRRlw61X0
NZ3Tg99AwsX4SlaNP/ffZSkxwAUSj1OBZU0xANWmd8UKhrwQGtdjecdbcy3iNvBm7WisboXy30/u
mwI/CTR5sBvzam9nYsXdLnCB6gBX1s04TSuMy91HPehguLkPu/Ypr+gdS4YWMtDZrk67wNIyVS5+
YmqCPEii2EHFdP6bgKbNxNDJ44PKdRZvffCmkzWoDgIdSdziQT2xpKx+YAIsGDFWT8bvxAnybJ+h
GWLxdRgVUP7QuO7iXXJiTYlI5QQGAkeuKwGDiTl9C1EntSBCePmA6KwowSceUtdwM+lJLuZRN0B+
BsjGNEYWg+vJUuS/n7iN07pdbE3yE3XtN8dvr+OOrvvwFWi4DaHJJok/CszqXl7ZUm9aqo38xzFU
JQXex7yupNXRzbZOkhzAWLmy+mLTs3aP7BntFb4GKcZj3zvb2Kg2XvRhGtF9Fh8u/xLNHqsSwW1t
0BBoP1mGttcktsGNmewqQyezs5QMQtUBDwMQBoIxWYnoLGsq10/x5omYCyV5ugdgffeVlfwxYZ9/
SEw8J6C+R4Rr+ujIWYxh0vg1nGeNmcUwc7IS59xM6bSl105YCZmig2iqG6t/tAoPYyBU45lLzUbM
wEF+kwCCgSkgZdOI3zaGE/vICsFJB0W32YXUeuA6r4x8G+dtF965Q1CQHuQPm0aHONVaV/YzRqra
EIGF2qgtleSBxsfYWw3VFTh+s+4HENk4j6Bh722MWQ2byx9zMZydLF3Z5YYNdSfkG7lMwFDGVzPd
RUm3jvKXwod4+OqytaUK5dlOK7djFMVVnOOVt4rnW7ffVBhzdfvdnAjkVY+O8ZjZ65FruuKLjiQn
HOWBcD5hGw0/G0y/hM0qjA+F6EHC3mwKz9h1WOLl9S1eQ5LQCwB/gmql4kj95OZTaOO17MYQxUSe
anRkl+GFMZNvuLY0IWVpYXI+3Ye8Dvh81DbkVEbENUiJhN9hTSDS7J+29vuVHdEkmG335fLalloc
6HmagFZAy92GrML5gYxK32tMF+YwqUZ2TVpdt01drt02Gg8gRKK7jjo/26RugtHryrUzgsO/Cuen
nFY6TvilYIqgjvEAgl/ziQ/WzltnRJaVrXjmH0lXr0jNbjLtK2vBXdH5ks9RSBNIPW3lzmp51Nue
06OImDx6xUfVP5Rg650gkkPRnd80BiS5mMaHPn9V2ERpDOOxDiRa1Par4dlxUoawyfOV1TwlngBH
8KEcdHRXOjvy30/uY2Z3HKqSKKlPbNV2T1OxhUK2IG+XvUZnRZ6YEysVH0Cn72E1btYHsQfQlvVE
THTGny/b+ewRctfgnhhyNX2mOmedxFA6aOVqsqehfyjMu1rH2//5cJ+bUGJX7Faz70sTI/sRsYMl
1lGJcYZfs64L8PkOB+bEtKH19lvJTB0/aUFYYkxyVnisHiLhP5pep6lZL1qAwgxBnU3qoyh+7Vg8
DpMQBflOrFr+Rpy/DrmSzRNyiODHk2Ioylfv4mpqxt/Fd/bSOFsnLIM0vCsACbr81Ze869SOkrja
Y4EZvAGlL5qvoywLIgZCJTSDiGY9S/uF1hOaPygcgTVNietdi8StoqhMCf/OLv/NBlt3MS44l4u4
inSeobLCVPlvASREMRVIDzu3gkD2swnFz5jlkvwlEOWN7/8ilD+0TrdN+YPZN3s0OJ4721mblgCb
VokYUeueBYu/iYIo1UHMlyJh52dXdFA5A5QfKSvNrsK5uxKJtXNqdzvB96dZ171cMgctEbg+aoBw
G3nET0JFWYLjYWD4mKKZq/eJhSCKyWeIi67KLIMYO58sAl6TDvqNBcSSo4CQngXzyIZjBJGQjd/N
mRcAEVoWkGjwJKMW75uXEEWke7fsiU6kben3ok9CITJLMBqhTsOFcx+ijoztmfCeCMLUXBvzePSS
8no02n+KpNP5iITpnvdnHEjPQYHYJnBFNFzPN2iCdO4YeTJRNARkEhpzPTjdNbBdazZPa1H7KOPk
wN0OO4wy6r6O/OOfjMMXCDg//oez6+yRVGe6vwgJMMF8BTpNzmG/oE1DDibDr3+P99Vzp9tjtbUr
ra6uNFIXtstlu+rUOZyhUDCOzp1OG1ZcbebRC9tJ32u6t3V1IGlte6sN5HlNJ1x5AKc1n8YmViSq
JBuQq8dDrIwregKWdDr0CrFmLSPc4ez4x5RQ3wSH1V+HEgC5/hQeQIOBJtFTC8UYz4yMEbK20cZK
Dsy4nEGQVL2dtyI5pk6sCFtqrhID9IuYxdE9tDNabNmtRzfnbUgeFARGOFUO9hHSXcJkde2arm2H
6lBlz9sczQZ+HHtG4PbGsuu9PIcSw5SHRQ0i7jnr5xsgzZC8MSb7oiuH+7FfF8UXyXYKXNcGLyBP
WIs1MpJGkwUAIKhRzQ9UEvyS3kS6djd4E2oVc6gYvsxT4aLg8cSLzoTLnK4kGTuUtfmTpjEiiKWU
3ZUHoq9Nwmr2PqZOtsVN4baPV/cGhNfXGdVciELkCof9M8nifsECQObUwH4FRuv0KyKbJvMYgZBi
bpypR4twSfQgdkrrSfNAkdPnQwuS9zmvkktguOB0aZajTGmgyfzguln7NJMcRFW95lrf6RiTEHy2
64CjrcwvdLZUySZf8Ut+1zvdU+2lRthEDWc7q/plE69O+Ww6vc15bIwnvbe0D1Z1bOdlmvliRxHb
F/1ShllirVdJapWohERR4sfgRbsb4nZWAZW+PjOx9riY4bqOe40jyhjkMx7e5lgVATXR72W6d5X9
s0cZITdasHOS7awCMUpSzrAIggB+mPC6vDD/2ehY0+DitTIsG4/ekzishtfKfUrG7xC8S5GDca4t
pXyjbH/jMEBlFhTtoMsUtt5UmIsNGYkimBKQqxpc2SW/dVpLAQaQ3Htw5kAOC/lsbHQRTTsV4MtL
ZyChi8EDldshbb5l9M1xt+e3kmzfAuwCXWuHRxQxZzXVLRnQ21MEFp025lwcHC8Pk87yC/Iez5bi
fJPO3ZE183THrKM5ZlkLa/0KAnHT3BTuHZsVMyc3Alp8gJE5HkVYIDPJ59j1oD04l9PPaXbmO+qO
z3XW14oys9wBIZ2B8hyqs2gtOh1OBghPO/HXeR1NwJz+6BYgay5Xz49nVAY3pnsxojO1UdFE86u7
GHcsj2CzQcsIHZzC1Z5avRs5JWbR6Z/X4XFuLuIM5AN+rj3r7d5QvVUkWQF0AgCmz6UP0Hwj9skP
EPArgaKDj/TP6FufSaDnYZRu+tx3szdSBDGsOje02Z33TdmN4NiucPXPTFAKThTjpF2/S915Py2q
vjCZ+/M3EiYTdasvudS2n3qzANEpb81uugOb9gsrOW64dlbF7UPmlsemBN/P6xioN9yAAxpDfSp2
9tQufL0s/mFDH5sRjsY4W9jaJjAToam4me/m/M0r6yBafiVgzzy/QLKQDywRRHs8xHxLxKnzbH9X
TT12Glo1vAcv83zPvm+jxwEC044q0W/K/MFBsIfaEQGNmRjvDaaNrCX80gMcZ2/4XvNorli5jcbu
u+gFveCadT3E35c6KOme5B9dc5O4DSo3Ozpe6tavVmN+2TwW675ywrRScfDInOn4+wR/dVhHcjvG
fQCU0Znuj8u2de9J96NPFTePP5hsMQLgxAN7DV6rOIWEwENa2hmJjZlozQQwrl2xoJrByWP9Pr9n
zhImBvHzvtoUNQ7f4ltDQAcUFOynTS7y+aWioBydA925n2NFhJfeTI8/TXDzwWwIyryYBFZego0K
k79BaqjNQuI9ZeXWycIx39fQYIvLsPr7FiyCfkuYB14KXEviG4IxJD2QiYJoMLjOkTv1IyuYVJJ5
svB7bISf3EeP2LxrvAoNhrgAGO9979v9zi23JHma7H0Z3ZoqgITsInBsjnvdkTnGFjtOF5hz7Cyg
jm+RmxnNcp7qdSTzXjz1dSgDIPOLCu+pnWHRbMeoEW1JPqLj8NCuDwmI6Szje6Fi3ZDEDRyXf3DE
QLchp3dqCo2xWZlaMJVmj07cop0TfMT1bQyuRRKgIex8lJKs14k1Yb2mzIwLbYY16KWsDJyP6M9P
E8t3TL+0voFnF5AXRWCUxPoTk8KaZWhEruwRJs2WbPR+CKf6Wlc5hmTBTowI4Wadsixq+WUqnkqf
FRcoOGJafTCtj0xxpTKlK4b9hJ5ZpPpQZDldsbLKrMJa+BwWj+l8mNKbviJo0gvteGNVT2lmBcn4
q6t+pc5VtO5d0oaT5fhE31JQkaeHPt62UREawwadVcFcDGDa3OJGkUMdL7mdvL8/BFEt+fxcYWoQ
H4fKTPH7LTAKHsBLRrtz2Y9Joxv313nvkvCKcqWFT1vCbayl6NFZ+S0lYj9qO+y01xTpUK/38+Sg
L5s23TbkyjM2Zn3Xg51pqQJmPnj2W1Emu0Z1BMnC79HXQET6dKGgXBZNuo6v8TDNKKzGEIEN7Fz3
u/EAYnI/mt6Gdt7Z9l1VhtP8DxUHmEfbnEPwMkPf+6l5kFeTbuZX04jdzd6TuQIiUl/MieIAlO6v
TzNiM6+2RprXpTBTdW9pO4Vxs69Y9S+b+MiIEBBtS0tmwJowldq3DrzYQ7pxVETBstjEcVm8r8IF
A5Wwr4xhnoqcl6UT50cRHdYCQpGH1gXZbH5Z16/zy3lnlc0b+noh94ekEaDMwvLovQ58b7xg3y0b
je5t+rj+wxHMW4f/Z0JcmsacINfewETLrov4nTkbrVLsbvkooFqO/lYkm8RcE+jj155oE46Pdb9Y
r3p21aq6yaQmUDlxdKQJ0WkqrEsymka7uhjFOD8CBb3kV6i6nl8LWeURPHyfNoQgtdjQuoDMCPyr
fVu/Wci5d4Fm/zbTb8N4X+BYtIdSYVM+LLxz0BOFF6SYNmRNP1g1gFSB3R7i+CNF8oh8Pz8s2UmB
ctN/JoTTNjJ0WiIVD5bWaDNpe1zC7TCrblZvY3aK97dqNMIieUtcJNYAUx5k12NjP6XfAI8+Pxz+
G8JNG4v0ORxhkfJhmTpDhw2WLn5a+Jb7stDS94xLoioQ8Zk5Z0rYnIbL2shoYGqqfxraRdF9NDMe
irvzA5K95pEvM0yOj8YlWXy0rdkEJRRoPwULbnfATEKyxfCjYbx0mRNEZouXXHPjUrJb7Og6ceP7
hCk6TmVB7/gLBBdpgIIFGQO+gNDDuPx2xieToER9ARKemm5TXTViHqiFiUVnmW2ClAzt3GAvPT2U
Rm9N5smwkSdsIaOS+EX67NabIrqYrdWfvVeCFHKPt+Pfnx/oPwBqHj34UPgRG2vztmcRaET/hClK
w7LfjfPm/GJKZhKNNVxHCopWHkgUTkfWlG4zsxSCZA5Lg55uHX2XEB/VN99OQ1y0MlXKS+Kjxwb/
xLSjx4hjQl+imSMsnZX5RdYAS3xYh6uMKGpRkq19Ykc4e0cdzehW6SFZAvF16iKBPfvdPxzwJ0aE
p6rbDHZV4VoaJGiG8qKAeK+TipNZEj9AH4A0JIeXwBP4348mLHe0tSS5UwQoi1519QD1quyyn9JN
zfs3x0wxb5Loe2JOCFdgxIE+hw6fK8xfOUv91DT8QttA95xiLlVdoSprgvu19oCbQAVrphO22Xcg
MX2r3c95aJv3+fBx3te/uoSF4h0CD66WeIQ4wtB0PXKqwYUmhdsxZC8gYjj6Vb09b+Srf8MI6uAQ
oUZNHNwPp8tlryUqoHOM+iuq0dYQMi3F6/TB1Q7n7XzduLBDACNDsRfXJfE9la1xrTcp7BjGRw7m
WoiZsVcTkn8j2JvcKUhsxY35qx+eGhSWqtCn2oAcMAYWbdpqP3oXXf8OMSulTJvkWnNsCUzhp1MI
vEgzVT0srZZDcGuOonTr9lF8bZAs26Ye5DCasq1/WYkTPyQGTXbO4OVP5+dXOlzo6HLpCmQ0xCJN
1HotKfUUcE923QFyXJj31H2f7ZC1ih0nXckjS9yjjjZ4aWd6W7mwlE9N6OEGxxzIfM1Aee6T6XW0
7q1ece2R+uiRRSGkUCtCFziBRZBw19NmNV0AWm+j5h+qrFhJ1NdQ28RrDgfn6dCsOamgpwtDuhuk
TmAbnT+OYGfT/Xb4iKwHPX2avRvg4v9l7f4zawkOBGXdLHYqPj4D3ENg+NLuHG9TeRt9UqQ1pCHl
c4Ai4MGIW9AO1LCkWRu7uJ7WO2N5Oz8Y+XY4siEcMoamNe6QJIBSc16KelOiItSvHaTmUuBin8fM
15bDqOIJUI1MuPLoqauPi4GRjeYaagAWzvO3aFVx3Kms8IT9ke9HXlXaDXeQlFwm2eMAPfNcpQsq
9XaESZA0UeQlLcHbm7aso9WDDWb71Zr5FJBTkAMkyHadXylpyDgyJJwvuVf1kcE38oycuqX9jNm1
RzZr6zOVapQkZDgGqFaIaxoAtoqgKy0aCm91Y1wMp41d3Y5p2LuPY30D3EJeh275914O9R5AaG1U
DFAwEGYwS0g80jxFsiS7co27wn4r//6Wg3LMkQlh7lJwbmbTgqR/Xt315l07PrM6WJdbc/j7Ywx1
HwQknNAoW4vNnWxA3cMdATOh0V2hP2YsoDSwcMxky/68O8g27okpYdoAPKNu42DaaPHRa28ORLCD
uln8brg22IuRXcfRoHgxSHz9xKQwjYVmWSDqxeiQoZ6Mt1Xftd5VpSof8185fQ7x2tnnHAphfVzy
bl0oBuYZv5bxO3TvIu+BJQ9Fuo9Mhe9JRwTqM56q4WUZMQ4NU5dA8w+lY+QeR2Ax0g4ihldkUKyW
JBJBaODTjhCJ8mk0Sd7DTrzemnYYNU+jCnPFf0KcNkwa9hDqIAAfCf5Q9TSpzQiA9MgEFFP/IKrM
mdwAiM3A24b8nPiYIxTvYndFcy/UwiApbz6udq1o9ZeaQMKMF7sBaRThhXli2BMGzffpr7p5cNAL
c37XyNabZ+T+Z0A47ZLeMOe1KpFgKu91RGozv3WLh0SlBSxb7mMzglu1GRtxbmMcSXdYqxeX+Vmk
8CjJccAVpv4bieBRSdzFyZxjJLR+0dJ3D0LqkNrMl9wvVFyE0lWBHDelhEt/iIrcNLcmo9NRsrfT
K6tvgq5kimVRWRAGk+PqVtccqAJ1I4IMSKPSipMuyNEQ+N+PbgJt36As4AH8pSXPqfVEFhD5TooV
kdoApoe3cKGOICau4mitWD4DeFXPt5oW0vqKlB/n3Vd2MqN0/J8J7t5HwyjauMutBiaa5QaSqoMX
WoBNNtdMg1QygySrqptIFotNCqwtyqHIi4sJWWDaoBVEUGNIli1zutCE5nCxhJpzhfjMwHR7fnxS
pz4yJ4yvh3gHGGZgjrZXk7FP3ReXhEu7b1RYYvlafY5LCJbTSEE/tMLQMH9zsh1DZtZSPIOkY0Gt
nzdicfCJcIxR5pVoFUGNjzRPU/OcJgcrBuL1Mcv+4c5hfhoSxQnZMA1lyRD49WU/lk+4wxdNMAKB
6ShaEKSTdmRISD7EJgV+F9DWwEletaL20YUJPUCFC0gjtIf0PzhY0HsiepwOqHwGdge4OPEtVLVa
GuoDOnQVt2lpxDkyI3ia0WeZkcQwY+r3mvbGtPC8J0uvZwA+Y4k5+zmutqdbtc6crIo49oitUIXT
kkua5SFJzb2RTJf6dDNXFeBpZsX8yusURQHZHBJcAjgDKf8n2O7BzEzWCq4309s6L3w7208acK+H
82OU+QOATvwMQnaQioSDST+StaPwh9rYmdHvcbldXFUOVIJhRBrm04jILwje/QHMGzAyNAEwaqFJ
ryP33XJ3nh0YAExUD5m361QKizL3OLYquvpCgIrgVrvqMoUOZ/P3TWkYlgu3gKeDUE7MXbTmuDZr
A/foZ80ZAsvNuh1B4yYLmJs7oAYddK9U+KR0vT5tiokLACS6nHKbrP5euhCpfh+G7XmXkLv9kQ1h
4tg0gsJrhQ3DOSSd4U+tDXDVXdHfrchYdlFYaxvd3Jy3KjsWCV7fIP5DFwaQwqd7bSargfoDjEY9
lFd8QIWzEfR8GoO+TE939mSaYdM16bXWR0gsLqWxO/8BsljP1Rs4pQ+eEiK2vCg0SoYCH2DhYlGQ
DcOmi7zC14oXs1JcM6Sbm1eKkGZGqlnnq3x0B9BLMoyeN+B13qbhmlUbCF4zH+LEuDXZqk5Qqcsc
GRPC5FpXRTQz1Pz05m6xwn56zqnCZaRz53HdQQCGOZ/Y6Xi0OHGLqpjgMawCNYfmu/Q7npkAuaJj
L7EVx4vUVT6tiYpXzGE9QGYY0JJajwl9X9u32Fvvy0q/1CuKkxOtKZYKxSuNJkdGzdMhFjHTzNjA
EEsgQ/kVavyHnCS65NAUjdYW3NXETGFZNtBNTzAsK/sgq+avk09s36uebVUbhXy5Pi0JY0H5Zk46
7hGDjl6dzne8gKT344j63vs/bCo0sKPQYeMQFd+bkHKLSe/MyAMAHuT2N1C6H+kTEORjpFKIlbn5
H/w4SukGZ2Q7XSAnp0tKSizQCkaAvJk2bMDb0Hw5PyDZzgX9D9cfRlsG0munVmrdrkCvueAd5X7P
yMcMHDCLbjtH8YiWrRDa1NBggEYnkAIKIXjohiluE8xbrF0N8UE3b4rp0qzvB0dRJ5eezceWBF/Q
AaQYkp6vkNHs1ta7zHrgykhFQKzUDKExok2jZjsTLRtz1/1q7Ld/mFCMECgbZCW+SDoPLV3X3uMT
ClZbT7PCmG16RI7447wdqXsc2eGvpKOQSzWtQD1Zx4zSy8y+tLKt1inOZllcsj5NEKGokM8ORJBT
DGUeXxcPSd15n4GmNyYfC+pT5nKjq7RSpd4IiI0N/JCDMp/gJi5dzMmIMKgStS5rCRzjIwHtvpkq
btpSd0RilwKYCZSDLdgpl3QwMxtOkq97FGGb9EmbNl1za6vyhtIB8UcqxoNLlRgDiyHu6jgz4Y2F
dnDaD+qNP70C7HotU+wwlSXB79siSpeohaXJvAcLnFW+Ei4YFueb8373B+8m5vSg+fvfkISLDV7C
QLxGBobE6PU61j5x2mCssuemsx7afLhK9Qb8pU9m81KlyR3633wtXTcTfbfwPluadrM6aeCy7GCN
KjYh1STwQ+9oUwyFzRyL4dvAbtt5m8a61pOw1R7OT4EsAYF0MKT6cLPDSSB4T8y8yTRGYGPo/K0Y
PsYxWLODzi6WJph+nTclO6VBEAcaeFytbCqWPawlMyYKCrwgn29r4xYUCP55A9IZOzIgzFhOtGbJ
GQwwpwgzcrX0YcHIdvyX7OPxQITTzDXrsXQG2LHTb2m5+rZxb+Q/zo9FuquPxsLHerT6aP0HTJPb
WIbSz/K3uYmD3EjQG/9AVSVs6byhmdGCqgaFCLZwbk7xiBfgAlttAxrLt7nzdciUqEqSUk87siIE
eYhnTEh6IwIn2DpOtukjHyisQb+j0daiT+enTxruj4zxvx9Nnx4XEzE4yC3VryOAvjvgzree8ZTE
QdfuWaq4SilmUHxEV64GUPTy56B8G+rd3ACG9RSrOL2lxyTuaxy094cW53RQRlNDBKpe8WjW6G41
QEHs9NdR7x7Oz510nx6ZEUKCnaIOEYFTLEigfp1ChNt8PW9A+ogFjfx/AxHiOyOkzC1QOQSr+WEN
us/a/eS9WNaDyV4TIJagPkVrVayX7qgjo0Ksn5MRmvY5jNoNYjvyQrgfhnma+Lgch8T9BSWqbVI9
DA5uqN77nCaBNrzWevU0olWaZTVIn6fn8xMhdZujTxICljbosd3E+KQxm/Ase2wa9EQ8tNruvBnZ
gqJjDvgzzn4AZolTvymbvhzr3kEuxAxTMBuV66q4g8gGcmTBFhbUi3OnLVMKC+PrrIeze2+4byBU
Oz8OlRVhBaMMk0WYi5hY/J5BEBHnfj9/672P82Zk2wy1MZs3daC5V0wsO1PdZTPDYErkN1CKsa3t
CgmC80b4nIs3jyMjYlKZmo2emC2MMLTslPGjx0IvuwcRVJdddnUWNqOKs1gWf48tCttaN2MPveuw
6DBwFgeDiR1g+kt1Nf3KK1VJSzGHruAQ1BtGc5lgTKuf8iGcx2eiCLmG1Bs8Du9CQQM4TsEb+l6z
2mVATshuuycXzZf7eTG3LlvfwN6Z+/lEp93ctUuYguHrgjrF21QzpP+yjZf+BLfElV1OWzKvvQIQ
JoszXEMCWhJcK8MV5tkzByvROQCejhpyHSkYISIkqr5njt+rZE1l03xsS5jmFihCrYRsX9CwyUfN
P1jbn5YKJSWb6GMjwkTj2I7pwmH21QJYQmyEdTHelBp4hP+pBI5stIlCGB7XID84jVS4mtCki2cc
DEZog6k4qb6f33bSxTkywMd6fC/IaOy5JQzEBhoBATsnQ+pH40ttbYxKJawoi7sgKHGhfgCONyLS
vA3UWvR0tnjB8lsz/WTT9vxgZKt//PvCYFgyWG4cEbxe1iSISRcm7lM/q3pGZFN2bIX//WjKKhRh
ohLtf0GdHUZ7F+loCR2DguI19PgP4wGdB5oOcFYhbX9qqZjKGrLMOKcWKwtYtyVDtDVdRdyQLsqn
kT93k+Ph2NFodjqMRGgYo+4uGVV9mbL94gJzSky4MvD/wjAqKCnVc4ZjirD9CnW4yq/mh+xf0CJH
VqiQ0KhcGxlPE+Mw421pfMygdjm/GhJeXTxyuAQdxfsQqHJhHMNgI74ssOCgslBZB7xDneE2nXeg
waLRoWlfsUPzftfE0MvBfsVL6PwXyCfyvw/4QuyraVkLCDVPfyVBS/3Iea67t3k8nDcj3Uaf4xQp
UGI9hYBch3EaRuJTnA3Fo6e6ukg3kcdp2DmXJwRYTl07WkgH6hM85itw87SPdnrQq0PdbTIVSkl2
yoN9/T9DYkww6yXOEqROkHEyp+tpel60vdW/teXeUlVKpFvpyJbwopvqrCoWF7YylGJWkEw0qeIs
VYxGXJranK1uoZg2s0z8Lkf54ooOV6wPrfxb4Sjq/DJjEF2E3ApyncgKCefcGntWMfDIMOf1NjXN
YHDtw7C2+87wQOkw+33bKArJ0j3G1VYBAOEtWWIrI+mjNI0K3JPqNIiI7qM8QkgKSqjbiB1s6qfR
b1zc/Izd5OaVm4e9Si1D+hY7/gK+yEfxUKPtaKQjviCub8w5XOPQnrZNcZ3E1y3bxdlDhLfJ+Q0n
t4lEA8+eQytAzAQBhdL3KTRaghLNCJOFss1d2txp7WXidGAiRDd7nfvo2laY5Qso3rn/sIcC/MBp
IoSTrKC0KisHZr2KaL+afO2QA4YswjBr5aHqOJgU+LsdQ1NV4GYZwe3YnNYPna46vgyFznGY/gUo
A8Y9pMNAQoO2FiHIMuQoKm/lHVx67Vf9G6MfjZLlUbZRj4yIZ96MvLc1eWh0ot0A4VQdVSzF3Mri
Gy+IgJsffU6e+MS0cxDsxH1a4mmW+HX8cwDTSu79qpo7ZcOFLFwfmRJzLYa10ClN4zKY4yKENspV
OiehOU+KHLTKjHCNH7K1zlsTZqL2oSOvRUuwGVUEOrIT7ngswv3drNalL6OkDCxtQ5MLh97iUpVN
isWRLv/n4ohwlWJZ3VHTMRS8RnyXEd9VgSVV4xCCSKQbpV4ZsGDn91OJ/BdsWJ6f/EsZ1gPlH8ip
ecQUryQ51WvWtGBN1uL2JXO9u9bQIMk7X6KjddeZ/f58xJBO3Kc58QKSl2lmrxG8erSH3WzM9ytO
hPMmpG7GmRK4GhtYlAQ3c4zIHuMSJrrmJ0ELap5spvj9r224XNYQugfATeI9chriB6eLbaY1JXSQ
lsjyl0jX79BokbmhVVVFujlvTdJgDGyZzXW1keDjjJ6n5qD6G5HRAo2WVWZ+piGW2lcRCvODi9Jv
0Ky5T4dkbxR3pO23EDFRnC6SY/zEvLCn9NHMIN3cYkatrYbUMqjYxtADaJfot7qmuKDIjrITa/zM
OTo+O/QP5XkKa4Q89HiKrf0GvJy+m7wMBOcMkhNXUf8PG/rEqLDd7AUUu72JGU6a2yaecPdSXb1N
PkvCWXligvvt0bhiQutSKzAuTbuP7G1HNySJQ0u/tqO3XNuklea3v0ipbbNkk6SvSTZwSCRevIEL
PFx6OTk/9fh9YU90jFQOxp82X77NsaEC80crVCRnQOtbyUCNWAKy9lKCYGD8bq/bqaG7sn2y1hDO
B3CwqhtOslHx1gDeEIztSAyKaR19sSJmcJXaaPYz8uLU11m/Pb9zJIfon6Z8QIGR/nDFPvVC08lM
XJA+dCbZufNPs9gucRfM1W5WiTNKAvaJKcGDGOBM1KlhKjHCQgMCdO9Vu0VFLimJnydWBCdCb3rv
sQ5WaL6bzdsO3PDnZ0y6KLir/2/G+DCPvBQyb7XZpDCQmWDIfk7HbZIqYMYyEAYwhKh4A2xqfu37
SJIWVMwjeg3cVN+geQa6a5sy/5FHYWpcEfQE5dsihTCarkoRy2LLiWUhbmukAJca4V0O7B4KrnUZ
6tkPJBLABJ02IbhllU9hqUn0poHpEdVgJGKEK7LhZVFBRiRV+8EvQDqLrt0BxJK93y+Dn5UDmhVx
iwj/ehWBev40Ko5Tp9mSc9xktd7Vzp1ufDjzz/Mm/vTZCzHj2IaYb+/G3p4MHTZIMz3ZA7vIosXP
ALDv0NKV9yTsyUdbvDnGI+7hzLkq52RjUJR3qa/n6Dq0k0M6OtulhCSA82xGOnTOfqZovQVuxR/t
6m6e7NsM3eLnv1uyT08+WzxL0zEx7A6fPeIVaNbbyXjx0lCrFCFVcmbirAZ8UccdBBl1YaPGVhI1
3QI47uKs1kvqeeW3GN4BZjaLJJfYFbg89JXT1piMBIzE5wf5NUyAFx/0s7iggBn+C2nUVLASDeMp
gAHFY61fVoVidF+jxP/z7nMTNlrRhNGVY5O2UYbf71Br8VgcZHq+9fS386OQgElgBlgppMqQaoet
02DEK5o2BPDAvZA+tKD4zLc62c1QKYtjAHNv7TVko+96V33AnmzL74MAWrXNdlVFLNlwoVMLzDg0
scA8IfhMnzRGtpgYLqt/17lz1S/abhlMBTjtT+ve6Y4CNTE0psHEAPQRSjCnw111fdAaHdFpcpw1
8TWgSz6MpHQul9occ18vekAKe7ZCJacmHVRVCrQArqXRktBI0/rOwLP6FoX6LkVbpdc5IZkiczN1
7ThDPX0oK1+DNGTt9yxPniJ36J6mtcYMEj2nezPKVIcVX54v4wHIDXwMyMW4YuhjQ1k4VtaiZGXF
eL40kD8tvAKc6hqlPjPLq6UtcJ8r0GmWaf+AXcFs4q4MNlVATIEZO51NzZg9CERgB9bFR+xcRulu
jF7tcnfeR6WucWRFcA0oXIyZzTtMaPeQ56HRguTCeD5v4+stBoAqdLFZDlREOWT7dCRDB6h9Q0YO
xm3uzMG+Tjyyc6IVx0ftUy1SHB6y4MHbS6FoDWVmKpYBO0a02BgwpBaYZq81fTP5fn5AUgtIVeEG
wIUgvoSPqAbTaMKPJ9fZelYEDglF4490yo4sCNeYhaFS2uSwMNf3Iwikp0c9u/TyzvdUQsJfAz0W
x+PEJuDFNvAfYXGiEWqSJoC42XoDCKTO9lGyqSbfppB03JyfNwkX4YmxL1jwNorbisOyWxaW5vW0
7Eq2ofnGiPeOtZ1JWHe3ZRrW0Z4SlXquzNOPBurx983RzRDaI4AK8IHq7KpFKtzbxypVN1nAODYh
PP2axIsiY4WJoQiH+QDWAIR46ABk3lajQacSBJfkivl04mTBYx6rJ76r5yrPrQrgnCButl1/p69v
Zran3e2SQPfhNyWHwvrWaBNK+pB60793tiIjJtsHiE44QgHfw+2QT/nRlEbMibOBYLwlaE7Qu+OP
piI8SS24HN5kghQHYNZTC/raNLnpcOQR6XyjvNZTFSeXJDmBUIFZBCEX508XN0DLNJ1BxwWnlo16
0mW5PBjeXsuv435TO2Hs5T7rgJDAP0WqX7bzjgyLmyF3x7gfRxgGKt3Tdgb5kfU3xvLcNRfG3wMU
TwYpatRlC/Z+wwfZxPW2W743q3mhJWl4fn+rRiRuMVYVzsJR2wkI1Jz1tqgucf+NnB96vwd+TGFN
tqGP50/YbQPwHl2u8zGhaO9+6/qLbHo/PyBZGEarmM77sF1A7ITg2DQ26HR7dP7QyEKts01/p6Op
+VMNtZRkjtcN6GJUrCOySUSejDO2A9NHqeDys5aQ1OMIjjJ/7Hvwlgea/lwb/uJdTCpSJMkUGpyn
/U/rJxqOhfGBKtGoNQe2eg9ZMdNynpreWbeFC2rD8zMpCY0G+AWQ2uZigmhhPt3IsQ5Z3gl8BkEK
vUtjSW/i+g6I6RvNaC4acpPoZEttXAfPW5VQ8eLi9Gn2S2lgHnBFsBE/0tnbo7UK4ituGKcvZDH3
muZcdM1TGyeXY9KFOMdB5GB5wQKti2yFnJT7bGXJ3hqswDIUr08iWWV8GNwKPf64QYhIkDbOxtqt
4Ly0RmeDNsT5RWLXuhkUXpq94DW5vlOv8A4pGaZ9Zi152A79NPmN2UPmtV8jn6158lq1jX5XRWYW
hfrU28U+6vIBDMrT3F9UM5mhLbo4JHTNpPk1ZGM8haZWzr8KsDf/TiIwEXfWvMz+lDrmD3ds7UM1
LfnlEtNhDnBWrw+D1xpwCj1/jzqWHtDm0m0BUOvKK60avOtcH2tF0fXrAxdLhqY04CTwZIIw2qmn
FFlvWEmDGr/RXeCpoJFfS31dRKquqj/aAMLtHp3iqK/xZic0Ugs3Xzx8x54lFmp/Y1vpQZIk4zXm
dPpIB63b69YAsgonb+YftLKGm2qeUMLQx7zZ5HPeXUzu3D4UeY3Mbg9Cv+c2tfI7VmjDj8bTVsWU
yJwFvEA2kPKcE1h0lnjQLciGoA7tLlq605zV3DjMOzRN2x4IQRZooTTyl9oa//6AhzgW8Kj8fIQs
r7AWeLwim/+nPtrdg6bQd53N+Q0qW+xjA0IM7624pxocPQDBCdImtdb4UaoH2d8nlND4i8s6J13E
/4iBXGMjG1JejqIO2wxDflORwR/GVnGkS64rIGhAlMNrkRM4CC+dqhxZNuUT8tB0ClMNm3YOzk+Y
5ETCgxAUgehosyA1JZwOUwI5vLHFQMwlaEEhDk3rwQQR5ui3BlHYkiwOqtC2A6gPV7QRq4SjbjXF
GKESndT+WH1r59u+3mQq0SzJnMEKMhOYNK7QI/hYbnupSRdupXp36HWmKlyofl94SiXLuI4Frw7T
ufJ1bRPPlWKeVBaEVc/0zOlLEyOozPzgjNm+bvbnV12+Ep9zxAPE0UWbNUnB1gVjYFW89QgIYeZX
BynYv2/ogngLRdqNixlzrptTO/ZoNMlYwk5p3K/27Mf0e09uvCxRzJjk3nFih8/o0XigKNUtgHCV
aJi8W8brbnrVhvfzUybJ0p+ORdgpuROZ3TzCxho/ZBGA4eWmcjM/nvb9em2292l10L3vyz9EtJOh
Ce7mgEZUSyl3Zwuynt3/kXZmu3Ejy9Z+IgKch1uyBs2yJFseboi22+Y8z3z686X//7SrKKII+fTu
jb4w4KhMRkZGRqxYy+sq2SuLW23rU21t4dLpwmJqnY7l+faLUT7Wwehqye7yHm7ZWLjdVMx+prbY
qIPn2b4qBg8k81aKtnp6KBYyrcgjFq6dc1/obDUK9IYNqxww6MbOgXRsckVlzZI/TXALRK91+tL4
qG2C0O3Sj0ydXl7mSo8DVxE5NyrwFHSWnGRFUwGZLnD7rjpo1lOfHYAuHMbK8zPHlYH+yeNd+n5i
WQNJTZF9c+AotS8yYstM5qlWLFLT7IpRPvhW7GZX9/vLa1tJHU6tLAELtZPZUHBhxai/5OVOn+/t
vnSThghy8LMvl42t+YtA3ouxMUFhu/DJuVSSwpZBFaX1rq6RHrKolT7/hQ1IGBRuJl282s/dZSDL
cSoHd4nyX3lw10K0snWLry5D48JDuJLsfAnXLYY6HqIRdxBwhVCg/yjXb5H9r7m988fIEq072qEV
zzNG2vKjT+88+puCl3FqYblTpChTnHF6pap06Uya3Y2/xfe8lo4ALQDYDIO8aNWcf41ssjjTA/Cb
VrmTx13Xf+2tg5ZcT8PrX3x2nUc4pSAgZb+VwE5uDChtMzhp+eymfDX7u6C+9tVPl02s3RiCSwTU
5W/N7+WJ7Iq2l9sZ5I2Sfi2lG94/u6LfT+azbx1s55iovyz5UFgbpd6Vux2rqFSxiwoa8IstNMLO
N2npEsgRlFBRy478q4qHWLEFTBHfe/HgwRAT4fCu0Vxbnhwl7dJGzRLABGa3L7TK9W2m2ZiBGYF/
KXtgGSBqJVBTA7rac/L98u6u+PuZ9UWa1yeJLNngNMC1jm5uPyjVxvpW95EBG2Y5aJuYyyZXavVN
S9Wc5RGwE+nXOD5L4X24dVmsBAcM/DGzWEcbam1UO5jRgjtEFvvwyvAPf7FVJyYWWdisSnYVJBl4
Rqh6hwYMcPDxsoWtRYiPdXKapBqeY03sFSUIt3B+hT2qZeVGP3Ct2s/gDg8unlyUiZfPVpiqEgly
MbAY6K6VEU+7kLEBzc3zBx7c2IN9G97jsvg0dp/8LdTXSsXpzLrwl5M1opzbx5KMw2V9fGwc60Xu
q1tBlxVoJogs5sHHDEdsjpe3diUinpld3IFRGgc8plj0rD03/l1q3I/KV63+pm1NWL79hrwDLThU
dITB6a0t8oesGaAHlK2YZqocuklXPWSm5KZyuBGf3u6jaC5AqYdYAW/AN2+CtqvafDITuneNq3f3
5fgyVJM3aNcy+hWI+r4fZyuQJthCOZhTsCzIj2VmpmVpJR6dZEn5lITPUvP18kda27sTE8vSu9GZ
ueMXmCiBcdb6F60zd820u2zkbcT7jZjhsrK5hpH8OHfACZrvYRiRpK6sYW/GzW7YyiHehjws2IwU
8namz7kslWW6ZOZyhHy51buldG2o+16Dhqt/vbyQFTPIr4uyCWMBwrnPF4KXZb3TAR/Iuk+Gc6uN
SMB/7JSNN+GaFTDvcNvRyKK+Ib7ZyXk1pMlUEj/ASuozPFL5z6ncPQyz1Fwrsi9dXV7T22Nq8+L4
Y038mhNriWXEs6ShyZ5HVeLq5T9jnn5Ug6/2rF5N7a/LxlbcDRZXiBQ4R7Bua4uAHsdl6FcV7uwU
ATQK/4xAp8zy5bKRFXezxSdiyBRUL3RR5ysCjNwWlmApG8FdGC6pjPXETWn/e9nMSjj4zbNtC5Ft
YImLsDOFTqZUAg9m+Ydk/hLCAxRHjH7tCuUA+JdC0dbQJE04fvp55mLj5VS8AJao0JUvMtlwljIn
DOCS1Uq7mV1Z9ycGRWT/A+BIvp4V8uR2Q6b4Pcvuu50zhINbKTZZNW9k5g4kqjONpw/SAN303AzX
wyDpr5nfkIpEcl9exaWWzLteI5rKmdmGx25I0Rroiax3TT10d1SQ64dKmYLutrQi/YM5m5y3eZoP
ajuFt6aayd/UqbBvx8hurjvcK2J4LCMw67Ou0DxMEgmKocAxf2VyMR5m3Z6+R9JkPBWNn72EdLI+
l4nd3epOMh4MbDyVNqiPMs/VcJeNTn+jp6b5pa9C2J2SKVTcsRvaaacEUv5QRACaZzltAm+q5f4f
wejZHCBAK647cyZs14OVfRjyup1v6bIO/gcHZOkjoy527w1QJbbumIfFtWWE02vZ1eHBinqYQAsF
fgAKmuYxjDS0AnwbuvNd0E0MAM1qKD2mai5/SarZfyraJqJ/YhnVddZL8Q7BN5Rzej1vPOpWYX6b
l0lxw2fUgr3mJNNPtVKLDNa0JPsIXVHJOxvC8EPeNNGvpq1S9SBZdc6b2LK6hHd50H1R9aH9WswB
mjJ9aMffEWvQ9nXQ6Uhr5Kl2p4cN5bfW9CX3ssu/fUNTE5MFU54FTALAx/nJirioQqmCK1nNZk+H
+0GV2uMcy8cIama/z37G0lbjau0wU5IQWtcOhGzLoojhB5aeZ5wyLTmYgI+68f0QOxZ1YmER1Ms8
tYpWsKUGSMdK6eQO+fXlbdtag9jWkxDbTkqnT78jBf7VRA+j+nTZwEqCCUWRxm2B3hUtimUsasGr
Fnk7UdwoVOmb1VvW1zwMhtqr7JzyqAMB5iHznYBTmJn97LahH6m7NlGzf+tAi/l+UXNbRkNf7S7/
srWlQzZKfga9HaX6RcBPA38cAh1gxNB9kpTeNcONRsPKZcnK/xgQP+Bkb+26TQr1N7HRoL4mKjSO
IDCMqbzJ1Q1LW0tZOL8R2VlsCWnFmnYG6ItyUzNq7Xa0eJPy8IbCmy7A+VoiJyI+C2wCkWqnWq8O
HIehsfFFVo3QWCSfxBb97nMjupVG5YC+uifZT31zSLudoW2YWPsm8LD+Z2LxMnSArJp+TJeuGb8l
hrmLOyDZ+UAHc4vdcmsxC/eSi64oB4nFNNOVUt80ZORbKISV/MimokOGBO4BhM9iv6J+UnvinkAh
5AdYBw/Z0XwJIVbW/fdTuUKHcGJqsW9jIWfJJFGi9MvoCrHTPA0ORrtr5fswfH/Wd2ZqsXGjYgV9
4jPaWoz+rjWjHQyrafGqyzC5S6Z3OQisXRuwaEJqjFANaPaFsSoo+q5x2MKh9KImcssQjbwrZKhc
A73keMspVt3vxNwiJDRKok+5hLkp892o303yL793+/T18qrWfI88kwKLqqtvO6mwnHVGagAZCRE/
AJBgA9pQ5i1upg0rS83YKQ9kM5pIZmPYpuzwg6k/m1vMyWsbdrKS5aBdNtdzlfyWPi0N8zhoSU3Z
X7mfocSjWeTHL5c3bsvcws2jCXnzJmXjNO1Hav1gzs4rmRwK48+X7ax0M2DuI2egZ09/GAj/eair
OU613zEi33PvZobnGM+d+qJMVD6iXVgc2mm7cbjm6wKyAc4dBTuYUM9tOiEc60EBmEIrcjHRp90W
XffSDWW2V+qHnh6O5GyAItYilAMLP0uUHYsm9blJ8sdBswa4BqRB7/aS9sFIOh+2hly+Lu3qCzwc
W62qVYu/uQDgBROC1ucWza7Vmyoh7BZTatFuU1AbToZI+aYmvhR6lV756TEbu2yjkLZyBQOa0kzL
phgC5/DiycUnzhNzoK2Sh8Z10d1bfnW87DMrx+3/kTCaILPoSC1WJqXooOsdlW85SbK9McMradbN
CBbD+vkXlngHM4vgiFHQxVrm0jEpBBOl4oKCiPrUWcdSrfaXjaxtGJPngjOGmZQ3JXVltsM6qQWx
mzm5I2NY2pbyyIorOKcWFs5nzUjByNpEVkRPPv4QywdFu8qyu2L6izxdIHvpjwKNgNRKfLqTTC/J
x3yyJ4GpVBgi7RyvDH9c3q2VwET/kVYUoHXgRUsUcTLEVqmVGgQhyo063OT6frJ/FcbWM35l4Eq0
V8HewBpv8b/FpzfSrJsikVK0cVQcnC7or/LeqWfXyg0z2FlOaN9HchY+BE7YFbu6yKqHYUjTl2jW
ops0U7Pi6DPeHbtV1el71fTTF1Eqv1PjEeJeFWV2UOQGFJzNMDS+GxdMX+3NKJpUCgeR8ZI60Md4
NEHM67hpqppnjyLlG1mgWMV5rYL1gYeGI5mit73sJftTEvg1DQJeboa8n4bc9/Smka6HVhis2mmv
qoN+NKZuONZ9ZXuXP+bbk4x5ZlZgNqZJ+kZGFKXQIUpK2orQlVSH1kqCL/YEYCT36/eLrmNKoDkB
7wBAX4bD0YmVOI/pL6ZdP7mWkkfXYWnaLuM6W/wga6viywm2L0dTeRGfHwLKM1IxpIzahlPZ3Ba2
WT6pcWt/t0uNEs7lHXx7HMSUFEHVsIHfQpB/bovcxjGbngnSsnysNFpJ6Br301EvpY1PtWrIAs2F
3p+pqUuij0A1KytPetrMgBunSOG9Gj2gxrNv9Or58preBkTW9MfUcpbIL/VCnltMTSYcf03+OHXl
18smVj8R3C00Mm3NeRPYKz3jzJWYGPpgl/nahwQNvjCZNm6qlTc/SwGSTZ8P3CyrOv88XeRQxUsn
+ivDoZufo/RWil8D9dpgxDtCOrO6ndFIjx/KFDjmx8trXNtGWAyEsjZXC0XWc9uyJFl9lBg0iJFq
zrrcy6LDZQtru2gL4DcpFGDFN3Wfzih8k9jrReUrWm+z+vQ3Z0lEeRtiI0FGuOznTEFS1HPN+OaQ
XMkZwgXzVUQWdXkdKztFGkgDh6+kc6Vo5ztlG0UVlbYC/cekeF2yZ35kw8LK6QEjT7VAIAxk/j23
kFWMDYZ+mHt5fu+HD1F1bzm/BnXjwbiyDjHhhUgAE4DMcC6CASKZeZvkSe4NCDzqX8wt1ZuV703g
RGCa252mxzKG5k3XTszw5F4Js+6Q7NT8Ues2FBdXbiQTcAGfQlSj8N3znVJTXzcpceVepRyV7ONg
Hwvrs25ey8azb6CYwlDv5Y+/uihQGkIgAJC7Kh4LJymLkoBUDwYM9vGdYbyG1teEgbL/m43FoqZE
DrrCxsacP/rdIyXrOHq5bGL12/9ZxlIgoB7nBmg3JvR5OihKejUxJfB+E4xEcEL4P7Nci4BiDXpe
wSKRexLDq5FpUaNP/mIVpyYW8bKJrJDyDibSuXYdxp37jdfJ26cfKTalAHzMIa1bhizT6KHuqurc
M4vI1fOP8Rcaq5Q4diadmvH75Q1b82WSVUjCBAQMNbFz18LlnLSr2xwBrMepRz6ZaWqZnpoJ/+Bx
8s2jvCVbtubMLBCpIWYEoKhfRLIuDgunLHrijBmxnpss/qfbIuJdi2WnNoQnnhyYWqslXmXYkHI3
+tU3n+VgF4cbjrCydRbVT6F/TjWKfv65kXBQ/bGWBi4t41YyYzcLX0zmIEPHVcxbNKOqeSPuCM9a
ZMJAOskE4GaiRa0ujujQqAhMThPfynmZpVsd/QDT01pAF9MW2djKR2Jegyeyo3MdvBHjsfU+JxeX
c6/uJijEeV3qH6txqynzxoogDTCZlRVcilydi6Mky0zlkKMBPWwTZph2pZK7VnS87OFbRhbBsyoV
p/VHjBg+AG/4xbT8L8TWBC+BYKDFoYGPLHNcWRlGcxwhJohVau3abghK7/Iy3rj0bwvYoGcrRr8X
F2fblSWjcrS8x8rZ5dXOdp6V1PHkjXiwslskGIx6I9Mt6vriz09Ojl/UJWl0SSW8apFhZZJp+hy8
OyljEB+ZXyokfHXSv8VapKYIjVooWOWh9qR1/c7Ikd8LNuLo2lJOrajnS5nSwe9iX1gBP2nK8lGJ
ukfN2sInrZrR2C+e/DqvxMWp7EfejObMIF6fGnftqN1bgEfUrHu/G6OKTIYmkENiAm+xmllSzdoQ
LQrq3RZAs0pzaSBddrI3Vw8fBl4achpKVgr507kRtahyHpwmoFDDOAxOtGcu8zgEYHnS+HmUhl0Y
blHwvImiC5OLGBDbZWWNLc2KLNKZqd5H5T+B3+4SJu309KDXR5iuLi9S/I1nYZS8gPe1KP2B6oAJ
4nyR1lyYpdHSqLXthpzdgqOm3MPbcDRn+7n3s6vL5t6iYIU90UdQYCum8LTw9tCHZLkTylwDZcYu
3ZcmbftjEXuF9SlJXhXlKQy/OMHNZbNrq2QUUkdFiBQCxOD5KsmRhyirKVpr9U0Q0p8RLePbZnTc
ot/gb1oJTRSfaDTSwGCSyll6TZ6kc1VgylTl60zz77o0gcao+tU57dPlVa2ZEk0SGXQWV8bysarn
RTMYPd5imL3sNkrZ3dvh1N6VTSW5bTD9RaRiaNKh9kTHSVRmzndxUO1G8QUFdK2ae/qt0FlTLXs3
6BsPASctsPGkrG9ekA7wDbyHEhes+tYusQLLndP8KVJSJk/z4jDl+ZfL+7jmHWCkxdrE7b58JlVW
3ae1EGCwe+NnOo1HFRXmOagbN7aTQ2NusYht2VvkSs3YgKUKsVdm0S85bBElHW9GKvCNVD2Z9bvT
l98b+md5iyM+5YVVpQkbaucw7Uofkek9FFssjCuB3wK4TLJP14Q8eZHI5sXkwIHHGsZEva60p7Y3
9iDu3n/vn1lZ7FyQdXUSi/r+GKoHufa/dG11r80/gqje6P+srYdaoIALksxQGjz3dW2e4niOJyJx
/5wODqNkkhtuBd+VG4biHGV3/qGgu7z6dSavax/WIQiilF0of5ajz34Tu7nfPFURkq4b8WLVnIWT
A3UDqb/UK5zGEHSBmH1u5vLGSu5S7d96qPbmz5K+eL9F/SK+xfJmgdeAJIDEhl1cxFxY6Tu56ck4
Esf5IaUQOubRBnh4LQCSnmk8nkjT4ME6/0gcIrTbG2ItVaJruct33TB94yXCVJWxcU+u+QP5k8Uj
TVSkl0/DSAGel1s0SmLrCiwhSOirRk03yg5vKVc4qqdWFpeHqUdZ7ggNtjbVs3+l2TBv/FGrP8Bw
NX1SpNlictwsjzRVUmqTVnMbl1RD3LyOnUfVGfoXM9urwxZh/due7+JnLQ6DE02GH5osXoK/Jx2O
THiYsxcYIbpau6LSPD08Nlv3wJq30jTiqoHtS1d/ZxInybcC5a41Q0folXV7HZna9Rx1d346Xk0c
Rb/ubhK9fn/GJ/pU/5lcJMl9YU5+HmASXg631U13tH+0/g7A1Z5OYh5tnMe1EyJQuxTpdZgClrM5
XVrOeSo4AhTH/6DBSD5Wny7fbKsHhLFn9EnF23UJElEDI3emWlgAhxzd9HKmxMdRU6rQjUvD/6cN
+/Jv9pByE7QfvPyoNJ+fyX6aej0Q6KE2j46dJX/J5fKmKCk5WOp9O0EmmG2p0qyuUtQ54eOCOXMZ
acJqHo2YqQjPoimgzzKsifmtXjjMXxgbVYfV/JWPJYIaBt9g71QrThBJ5e7225SR2MHVufOs4BAn
P0bLlbSHyn+x1INubYSG1fjDMeAg6AKzudjWkL72nOiijdpYLtIxH8DoHXzEZC47zFpqQr3wf80s
kTGNPQVqJw6dXAf7oH2VaBZUxSGcZjSON0Lq2mejfMv3omwEc8tiSYEhKah7ikRvBErU+Pa/TjVY
ntSOIXQ0yfHyylaDGINwOo8c2ga8Pc4dM3B6myYfX8vstIeofi5sC0HqYjimRnBQ5/TrOBvIVjzG
5taMy+pCTywvworfomjTGPhMlGZfBvnznGhPJcVZj4bW4fIq19yEWiINDxJn6mOLNMyq+twPYkwl
lZG4paH/ctrshsbaluDWWuyiZUpIsajBK0v2wqjVUAYcmZik7f61qJzQ1TbpfFf3DYIIHlFcuXy7
8y8Wd2M25C02cgsAMYLoRQyCXleha9x4H646B299SjxELDEFem4KmpxpHma6zWbb2spN62hBek+y
WY6ujpQBEPU+bmzXHNTkQW+N8FkN1e7WBsz+/joNlUao8niVM+S8PBRGVHa2I/FDkrr9RD7NWJsa
73JYZDfi9OqSgVOJCppoOi67A7GhhKldETVJg280Ow7cBLllvwm/+f3w7+yor2GmeWqRf1B4Dl12
07dflkcroZr9plD0hnLG0AZjKMl1PLpv+8GEIr7YBXBc5vnzZUNv4xmGwKvR9RSvyWWGqPWD0WkO
/Qm/ucvNb2MWuGl+xYOczsjGmt4evXNTYs0n+Qr0XqU26phSJlT1nL1TkCxuXehbRhaZWG8YTaWI
lg5KJkHz3ZF6N3m3RAAoY3ofXDNUhZiVW8QQpj1qeQwo5SfM3Zhpf5VZ6UGTtkpBK0sBb0SKwEwW
AWvZOJwUkspSoaqeN9Y/dOWPlk9ADspg45rZsLNkYkakt0CcdcbXsskNS+nQSOPeN7ZwxqtmYHsS
tzN5yBICLjn9JDWVya5Nfu/JdmG7jlnA89X57w9WCl0WpqwpIUEisHzHBVVNpEoh+4/M0s3svW15
SXxvF9HOrr+ZZXiwmQma3z2nIoISCAxqLwqoN3vhembUhLEfYdVO049wQ72qJWmPLKHQxgyQwbBb
Fjj7y8d3JU6IkTNTsFBCr7T0kV4L4rSbo4LRH/nQa9/TaTjOZOQTmkGXLb2tvOKIfywtvcSPiqAZ
Ryy19icGW8hJ9pJv7Ofxm6GS6+2rrd78lsFFOpK2hQ+UC4NhU7nWQMb4EA/MuH2OLHvfSF+sLcD4
6l7CecZ8nsCALG+WztI7Y2ySwlOALU7h06hOO9l3e2sjRX77bmMn/7NDK+E8DtZFKZe+ycJiRaNy
/Vl3Zs+PPcn4kjmfbWlL0uZtIqKwJEiFcErWpS320ZrDIQxqwkhl3qpT6WqwX192jZWTDYWUoLCl
CyDSqvMFjVVKoYGZXq+0Vdmd5CHeJy3ULeg2bfGiry2G2rEJ5Fics+WLkI5aKqWqRTs9KF3D+LCZ
Uv1O4M+rMgjriblnIggIwmWi09VgcGufUzwaTe6WvnFrZUZ7kKb4MZSlx6zRjRtfHe4USbqx7fpa
UotPVTXfl2oQwAPPKWzCD/SQdNLm/qZAAseXyMgCWes3TuRb6lSua0Dfov9PnsKenO/7UPdAmJKw
YDbIPJRKdiWHgjBe3pU9+mgjkOjY9+TxRzAbu1gJBNPeRrlx5ctDLsCENbUyCmbLtkFT+nQgJ0ng
AW6C3nKD+hliq+O73QsjDM0ilQOAZnkuszSrsnIKCATkYX4jH02o9ze181bSPdoePI552lnAZpbJ
dBdXuaIlmCnGZJ93n6xJYGPb8WquBJ1Ot5sQnlJKZA+NZivXXN1HnpXCOjnFcsSRNLDSIgPbegwn
1th6Y6ncpuEWJGDl9AiE+X9mRAQ8zcDyGhamDjNRQX8nNR/acEt4fSVqi5agDqKS3BW+k3MTdoWc
UCYR3Mz6Wfcf+vwLxDrt+Gw3X3T9qvM3cpeVcgMiSif2RLA9WVI7tbY/RXHhzdWuqB+SyY0ofiu7
Yb7RpW+O5rbDJ6m/er9HUsTXeIYAsSKdOTfKLG6RlQD56E/Ij5NW3IyB8RhJX95vhd4Vw18yvq8u
qzZQTAK2TFFxNNJpX7fTdVU3O2C+G9fRmlNoaIoCtQJj96YMPcR2WJEP4RSMqGjNT3L/969DJ0Co
KvggOnGLdFmNGQjozQbnlj8qxo2GpkC6sYa18wPETox6ARHC+c4/iM9EdkHjFK9DDiSvTUEy4m7e
DWu+Tc8epCDgU267xU0amHbhUA9hp8zbjlETSEyU4SkJd7n/sx52WbGRxwo3WlxF4EPE7BrsD9TM
xapPfDvt65p5dIacNTg5rW501eGpLT5EduSmceRWW9pZK7vIwKFoyspA1kigz+1JU29UvGwKL8nF
tK79ow+4XDR1Czy44nGibwlqRFzk1OrO7eSaUvphJItUspZu5kGFZrk3tqg616zQhKUGyf5xRS52
z04qdi+dCkRGbkcEpbdGNFe8gQFgnhjQ5QIfX5bL1M6CbS3k75fqfSlTSk3ohn5Umjt4+9XgOG2h
1FbtiSYl+SlMDsuGG/gUY2hlds0qxpvOGY9U4l3T+aVZ38lZYOezjvSN3zt+TIQzEfaDic2Rud8X
mzj0eTUkpDhcTO2VFQzIjG8xOv3+O5ZuzrIUwRxF8XaZROidFhZQ3RZeQPEBYog0uo7k+5aMGG3M
/pM6ufb8AWGfIPon7Y79/BhuxfM1Vzn9Beq5QybG2I9Vrhee6s/SDYpf6qNeGT/eHQYFpfJ/y1zE
qFpLFDaSZcaJvJf4LxJI1xaEY5fNrLxifrfgAOcDWmEA63wtkyNPkG2Lw0Ua0Za2p4zoikSPVbHF
oLgWLkSz7/9b+p1QnYQno56jKMyUwku1+SrT4SNx4v08mM/vXxCzarSd6JhQ51zsW5ooVdxR//IC
as+WE3wf6+heJuOFLWkrm1jZPBql0KoIvnn8frF5YBuzVAuwpcblbdcFH+bJPFp1hhyHfUiS9krW
PijAa9NKhcr8QVVeTLO+CxrDrbTvdZJsLH0tuzn9Pcstbiue3U3H75kN/3PRK3u9Vm6MMr+Jk/BD
Q2UjBQdpka/SbQohEdlw2ZULCE5BpIvgVwHhtQw5Q69OydACTswbx82U61HxkBVM1cjLJLK6r5c/
9Io/2cRrAYADIMQI7bnnzmZQTxk8ZaiOIe1sHKf0n7nfiGdbNhYn3fCLJHX8sPTqKHdn/5hPwa7a
HBpcdaOTlSxcNqjKUVYaVqInR7v9KjFXlO7CeH95v7asiKh2cv7C0mEitmMtJhJwAWCFa559qv3x
spX1HTMFkQaiyBDwn1uxlTm2cMPSSxFjVxigTyOaT4fLRtaX8p+RpU5ACJmOPNfi00v3uf6YWVfx
5I3dBhpi1Z2pGzC4xHTeGx2uKrf8eLTYMKnRSDva61Kr7jpYthnTV71B8Y/qsFXsWds+UXhhxIRc
ByD2+falsZVAAstQtm3HVD6dOznLj06rfLq8gSs3GCwsVAAJ+RhaogarpIqVqazwBVO9R174WPjf
L1sQD7fFLQ1xnhAWg5lasECdLyQcmk6tNZJDy44yuNQgBkjCgfnyJv82THFHXAyyjfj31iYEvcz5
QoKPCJ62LLTPmWS0jk6K1Ua73vmqa3u/uxn0b53svXdxGIIaWszoEPCWcT/yFa1rCtKcsvsyml/9
+jroXmv1Zt4a2nz7nc4MLQN6U0BNlQ7cmUr9xUoI2Vvy8eI4nn8mJL9N2sW85WCEXRbIGr2fi7Y1
yTLG27n9YOZHKfxcB1fVcFuqt0GzAeZc+0Kn5sTBPolBRZDHXd1hLi0nb5Kv4VQ++tE3abxq4y3w
z6otJv9AIQJlold1bquf0ZDnpHEZyq+tHV/pxvxUaPVeqjuXztJGLvD24IoJdgHUgzWO/y783ZDa
OCjETTEMmWtZh8H+5Jf7y273NuwJGxDPwmaAONuSWaCIe3sqBjSYu+KnMT1X8V04AQPZeByv+RwI
beZcSQxpiiz2TVFQc9QsYUV5Mv2IisjT5WW8jasIgBNUeR78jgyLrerkqszLKi69It+ZJVqcPwL9
UYuvM7RZky2w5poXnBoTP+bE47KqCLsONiHPnnU3Sq4N68kwSteSr5utF9eaC4CmBNMGPg+E1+Lq
g852yI2QjavQ3kjroxCAM8IthoFVK0JOgjtJ8Acudi+sC4OycVoiQvU0ObCbOc+StcXGuuZpXOH/
GVnsml0NEpEWIzOHs7huoh+zciMrWyJvqx+HHgP5IrUY1HnPP05elo2VRJixE+M2Y2D3iqcptKXB
+M3qzHs18LONI7RqEfFn2qR0UsBen1sMjTA3ZJ/71c/+FVdsY3mVdC0N5a4tjpfdfHUP/zMFJODc
FGR6bRMXBe4wXUF1Vw2l6xikdRtmVv3hxMziuJq+UXXdgBk/3Zv91y58LqPXyytZ3TQT+RLKi6ij
LiFoCEroNVCb0lPVpz4+tMaN7PiARzxzC8G3uhiCjwzkmeiwLMKEzNYPWsZihiY6lJPmxSB8RkTJ
Ly9o9dOcmBF/fhIU0mywTdQsSy/pMmpj3hjtJ8V02+IvQqmYdvnf5YiNPbHDiGiqQrLP8wH5Ya2z
X/M5+JvPf2JicVKpjQWI42CiD56N6DFyHudxo664/vn/rGJxZhrd6SpDODKkVYcwuO2SYwVlRaij
M7P5pBbuukxITrZsmdpDxTE0lY6xLg+ZSx3EzMB8lIxvZmfvWivb97O+q8wuhpKmv0pm5/+2n8us
wbQY6oIL7Hd47dSPvX70m62C5oaXLzV01BRaArvERlo7Oyt8lFvHtbbgMxs+voSqVmYxICaHESXY
Oe2+tw+GemNtFXVWfYMBJHBPVEGQ3j33cE2ewlAZsTKUP9D8qKZ9nz6lfuBZyVY+t7prwIkh+WBM
jbTu3FSoWw3EzSWBTv6oVfs0+2ltxdLVzOTEhEiNTs5rHKStZvusxsxf7fz7qPyTOF5vv9iD6gKo
uRyE1rfuz3oWQcjqpbQYdN5gtQTlUdTtwnFkItYdjO+F8XrZ1tbCFlGiCYJergr2LqyNK3o3/fjZ
APqhaF/V8r5X/yIXZlDhvy+1CBh0ypM60LGm5vr31Joil47lAfmU68urWql3kUn+MbSc+QeeXNJ7
ZwvbYF/7H418Z9E+nOOrsdsV5lUREd3DK1/eAg+LBbwJUid2F3furIzQFzPI6vl18to78bUzfjR8
YZPJNCf2FKrRVf03afOJ0UUtqvDnJgwSjHZDfcjUp7IaUHI9qs3XAWHmbPhxeXM3jtuyDQc6ukpk
cdzyDvgwM6F1Wz6nkrWxqq2tXBw5uHmNuc8wIxc/jNgr2xsLXrjJuQoHb3LcZiuz3VqW+POTIx6k
ZSiNGvb86d5qH4rio1q9XN65tQfUqVcuDnZfpWXlCBPz8DJO37Vp4z5egR6cu/0i6I62H5hxjwF7
bF/nSXpWnNgtlfAJph0EUIzbKH8sUyYEMnPrxImk9ZLnLwJJbauVHEeYNvXiVcu6uzgNbi1rukn1
6KZ2ZG8uc4iozb0xyhvxcj2GkX+iicLA1e9gcPLlcsZcO60lOMeS7qXyDzkOj2E2HxQEZrI6vmfy
dqNaseorXG3gXXnOvUG4awwIjGksTpyBJEA17HNFh/ZlC7y7ehGcmFkcbKQrayee2NM26g+ZbXv1
ED32UB9n2s/Q2ZooX91GZkEpzYK4oBV5fgDMutV6ZiTJC1pBnJl4Tnds4W+TZ1ctPie9e/kwrC/u
j7nFra1D3N9A5855K14lsDD256bYzc1B23oXb61rEUio/fnB2GCoS17knEGqm3a8bfVHSb7R9Z//
t0UtggjjYlKRiU771P1j6ccc9rrxTonunXh32dDWohahROBSO73AUAtLl/0Q+58cH7qs5yK/G9W/
CSv0bwQGlkTK0MWPOTlgjuzrWcKMvhdG9nURfpY1w4uzyTOtEKYjGizjDzlIX3xnq6UrVrEMKqIO
zcgh/KBwp5wbNszG6OYBw1EkX4+Sc0v4fIpr874Pw63DtnbfnNpaLBIGwbyQc6LIqCbHMNgNxVM3
X1Gx2TuSG4Q6fGv2XxyBU5PiJ53sq54FZZVGLK9Jf2X2rdT9Glt0Unw4ebdIrdf8RTycIaAEA0Rf
7NxU3fXtmELm4c3JwfIZsP2m2nf+VBxUdWcHWyzdqxfRqblFLMkKSyu7BnMVOaWlX6eh6sLYbQc0
y5w7u9iX2c/ONDcOxaq7nCxyGVLCtLVKTXxC6d4ej31B2RBEg7nFJrYW/k9Xt4goWsFsWkuNyiuG
b4nsyeGHZNrIlMVf8cbzqb2jo0izDFax8+9Fa6QLzIobprCLh770n8m4Nq7sLROLEJIj0msXbU2C
Vfp3nP591fwPaVe2GzcObL9IACWKWl4ldbfbW7zEdpIXIdtI1L5vX38Pc3En3TTRxPgiGQQYAy4V
WSwWazlH9whULpQYCAHpgxhYlwwcCaOWg5oJjUeYkTLTrz1ZgkyHIKc8uP8KedcGjSQXuDoWuEJ3
Xb9tw2fup0eOZO7yozeeM24+esB9u+x9lUuHLjGUMgU6s9zbW6GRwAOPNtJE67fOf7B1o51KQz75
/dLWLKRaJ0OE2Nxxrjyff0pz1MmT2tjF60fyGkAQ9FCZRxsVpdIeOenEgX0MXVDvLILENcqAj8N1
m+pqY2pj+FeQLaU9R3cprJxBEGnwKGve/ndsR+NS1Sv3V4jk5wgiT5cXEMIKTDoWgYch//GFp5rj
qXSnDHlwkAG5mFKV/Ftl9MPqUYhZRR9vUqRhWoIYjS083PwlaPLiasaT77LVKSImoBdhTgiIpmiw
fNfAUrEsRT97jbmQHYDh7QlQHUFXR4b/elmQ6vkskMUwOQa0LYzeSt4nB/KHUzo+urXYuLPX8mAU
2z4GfWbRbVeD/RvV6HuG/FS2OrcZ05XXVXqiTwedimJiFf+e+z5nI3M1Z2hWscd2jCjIaXbmnPvB
mNcDiGSsKiIpIKIu66w40mhAR3spSt+YPpAb1KxqrNbYRO2piMcCEK4/5hWjlpdlKFAHLLStiqTv
H6xdOYs9bax3yhGFIGe1H8oJ/UCQNtx44Di6NlawSRmL8YBkk3tjIgQIrS37jsFddA45Ux7wBFjO
2X8H7BGfhJ5XTK1jTFCu8zarRcqFQu+J/WTtc57kEXCHseprEDu+xm8qXMCZMMmvjaiyksaBsCVZ
0DNjsDW0AC8VGOn64/JSKy4FSEKhEs8zvKDks1K1yLj4PUKrbp3AQJcmU1BwbkTmahzblbN9V/hm
AICY38NSf74sW+GDzmQLUzsJ68CyNwL3CMUrY3NCzMu4VtQMdGfryBVU5+RUR+mUrhnyg32D6kuy
9vcugp22OtCmAzUKQGHrq8tKqRYUHASYZQGIGhopJGHpsHVWsUCpsQeHbkstAGURZ3kFcQ9DCrT6
xQuABNfdlL2Qbiw1D27VkqL1zANkJAaPgEQoLekCANdxMdC7tzVdkG3d8MCGvo04AzHVti2jRp5q
aTEWxAScAxU4wefyMPk2JXYObVuMMk7jq99fj/GVmdzxQXMkVKEy5kX+FSXPw211aTNuwyfYC4sD
k03hWqdf2OCEuRW/5WN3RI/iz7Wxjiv5wNP4TLZ0W1Y9Q/oXmS+85rKHCbTcCTM/GXUX5lMRNJvr
BhMzHi4bkmorBfInECRMZFDkl4iXtV4zizL1iL8OCY34xeR5tCYaD6C4otHe/FeOdb6FqH72U0Yh
x4vn6K6K6gqDS+2Dke89a3dZJaUoSkVfKaDP0Jp7Lso1xnykDM6mBoJhwssDkLRaMN905hWzbzzd
kIJSnIDGwBrCxclNRjFrSvantDKShF+1m2MCLgZdMmtZr/d+6ZtRweO7pgBL3mU9xSmTHiWArEJm
CKjZwJOQOwxoa2GOckXU05SfBDQPsHSJjsJCqdyJDPHzE+eZ5RWNyQwZS+b+GKb8JuY8RLT9jMjo
6KZdQA03uqyWSqQLKFpBXAX+drk7bCrn1ttE/+NsfjaM0E++utuxnz+XKO5oH+IqP3oqTLoc6tGK
wRiOthMXHS3p9MvOAOGKjkhCvxdGGsTzDWf/uVcVpJV4gaFKj3QbBhnOl7RJ+UQyIdIwt/1iDtfb
wPfj7OwvL6NijBByLDHvQbCQwAw9l7ON7dq34na3ZvBi0ueEo0QGRBM0WEdW8hMFGLz6DS9ipW5E
Q7WoQHMVDXc4DkzGy8tIhubyBmedoFIGeupdyV+I+zo614n7VFGOloQP3PF/oFQwECJg2KULAsNv
SdYbWFMztZ5HTC2OpbVLMXvSga1Ss66K1DqOOl7P/ytLrnx7S4qWkRzraue/UuDwlnFcheiieukS
vuNVfbSGpQ1I43/ySPJ6WbjqIhSIh2gtAy7nu9oqSjxTPxLcTn4xwZM++bj30WQU+EYSVo2mK0In
TDob24bhncyEsIn+9JODNRRRkb217W4By/llvcSvkl3ZqV5SQNFtPaZzRS/bZL5axXfgcXzg96PQ
iQ5KZNMxbXB+FhIyJF7j4/f3fvlsptMPqzSij4jw0X4BLgOgKUoiGtJRv0ZJCWCiUQHoRAJisssS
VP5e9EIK1hoXc8zygY6Hac6Q6ApdMoSsCtYeGMC6mRmV9z0VIt3TQISkXidyvNR/ad1jWUTW5mFY
jIbl8qn8eVkj5bafaETPtwX4R2vLKgizFiMwgRtim5qNV66Zi+liQNugx1nu00YWmbtWh9TNmqBx
CIPTPEyKFzPrPyQHs5A4lQDmk/cGLB04LaK9x/PS+UAQB+9y9FJHptnr8g7KHfIBXQtPh6hNDoYN
kuVFz+B/fNLtBuc64xEbfrMmD0j1mcZP/32LBHAC+rTRD/BuStvfAPZbuXjVNOvbgAyOoUsvqHbo
rwBMNp3bwNpuXll4EODM310o0brXqc5n62RIJydFEbSvMshYnb2fPVJ2j0j38jqp4uhTNaRz05CR
IMUOEfN0m2ZAKzs2Y2T3Gj+pU0Q6MAx47NZIIaWj/b5s8z2YmINy6DTWrPL8AGFADI1+TzwzxWec
RH2uYfnDLJyAIDvygtR/ydEVmTs/K/+fy8umVOhEkljWE0mZP66IbSGpAS67A0zd0jkUvSbiUiZ6
TvUR+p5IaTHvtDYzlm3i2yPzjGBucW+mZuTY+ctkDlHqD9i4FYUtJ7K3YQqqmu+LIrvv2kX3Mar4
4fRjpItitVlvrRlUXjz/dcbwG9/qfQFoI7dOrxfbDuBCDpiejdLyA31TAlzj//bVk85aiqfeaIte
s4TfLcuPFhhY8w6AEit4rs3n/9fOylPVVRp7A+aMkfp102OVAMKyQuvUqINB0RiQJ507x6zWrXax
mhhk7awysMckAFXxZV1ULvd03aRIqJqc1uGi2ZGtD6YVWtPj0D9Z+W25XpW6G0snSzp7xdSa29KL
PVrm22p0gi4DyfrU76YsfcgmH8R+k0Y9ZdJDIBsBEg1vWHj58/PRtUO9tqKfDrM68bFYabnHOn5x
y+SYgQ45ADsIC3OWPde+f03atdn/5/XFcw/vPQQ1qGrLT+jJi1Nao28pTOoU7uznXHs4jiGbD/Z0
neluA5W6EGc7KGIju4y0+rm6RTtnvgMe4dBLjXvbRCTPBqSSeDiAKSQHCNyaOruV9AFZi6vLmirM
9Uy05O8Kuxv6roCmpXmXNbuifa1ijQiF84YIdF/SP1xrcla7cpqYL6KTI2sfszEy7F3m7+PpZqCa
RgSlLqDrwhQFkoDgfD1fxmnNTcZdLOPkXFnrdVq/ZvPny8ul1OVEhHTwCsNJ8phDRMV32XjXApAP
IGbbcuXrsH7FwksvEIxw/VVGsomtm/0lb7AxgBct+fXafFsSNNH/uKyPIuBFfh/FIsHgghYK6aC5
edWlmwuL8xno71DBGXQUmqpN+SvhXfk1t7i/mCMkEONhWm69/ljG0X9XArglQJTAIRIYDOf7DuwU
a9pEtS0pyYLmNSCZIv4tNaGOakNOpMiJWLcZKWlmRO6j/WWww9K6qbK3YTtc1kXhbcHP+a8ucvrT
jsvRSDl0yXwAJAJof7kpsr2Rvfn0vtoeLwtT7Y2YeEd+WQC/yvMZ3oiRc8BXoHFn7Sxkm5w+mLcm
3bkYgdOsnsrQ4MtR6YckNOJJEa8x4qkDty5KO3PUb8PNSnSVatXSoaCDF7UL7D/Y9LkZMC+dSgtA
nWEKIGxwLoO/tz5YSCZltf9opz88Wh4vr5/KGwCOTLSwY+QW8JnnEgeEvjP4yVAGWIAvOLWBZTyx
IgnYagScaaaKdcKkwKKl6GQoTBEDVzuwLofrct1v2X41AYmtuf7ESsm+51QvyZGKzg8vF8NO03JP
AOUGiqcgznZlGfXxgFbwBwNB+OWlVJniqUjJsXZzPq3TgIgYbVbXeeV/GTBgTO1UV2NVGQlsBHlx
IOGjF1QykmnD4yQxcIoXdDFa+WvrvvrozXSPJr+KU01orV7Hf4XJIM71UK61a0FYk6RXc1Fh7HK8
Au/TkdtVYLjbb8tZxsAziG5QROWrTrSUx7RTks1OJlq+a+YFY/uyJFaw8TtAEmu2zdSspyVZ5Rhj
/nYSKs5W8z017S4gPQvrfL11m2VXEhplJP20eF+JE0e192KQ5pD1VjA48yer+ZwsNqo8YFwD3dIH
DEpASQI8C5mJdz041Cho4+JsLk5y1fdw2Hz4p906jb9WnkqkPv+A6AryqHMXYPZoiaUGXKhDPvfx
80A/ddVh+5Wsbx9QxwKonSkgI98N185+OxntBv+ZZ3a44kHouxhC1JXFldogCgBtswAmlEsBYK4v
09aGFOLkj/iWMAfDUgxgl7KorwdTdymoGknQwfZXnmQ9W71tcGUIp/CstYKO/NrSb/UCfvLR3qMQ
c7eZ6+eYvLh9FzqFDjlbeUhOhEteLl+MqciTCQ6VFDceey5J/Jyn297Fyn5g804kSc6toeYG4iAs
a51foV1jzb6NunEIpTK+GLIELAPFfPq5HTbLPNl9BWV4+qujkVfteY+RfB3qj9JN/xUjhydNzkvW
5RBDeszLNHW4iFmSjxzdEyGSVfiDP1m8E0H2/NzOV0X/lCXHD+zIiQhp7426SEAjDD1MBgXAZWSl
aFfWOEfVYgEvGW86+GLQhEt7kpT5GNMaQur2FlwLXXub6hgXlE9HFH7ggASEH/D1zvedN6TI3YUg
6PF+juvnJHUDcDBgxvJ+hJ9YssDKnr3yA+URoLP/lSr8yEn+Cg+X1QfnCy42kAYMJHTQA315gxT2
DIXw9EcTKOgY5X6SFoV0nE34VXuxXnKK1wmnyY9xYejuGHQ5G4XbQ0+XbSIrbyL2luO4eXU2Z+hx
Pg3zFyaZI2fNj0a1Rh7rA5r9vKyZwirOhEnW7S6JaaUzhJXF9bh0iD2CedZUypSrd6KQZN7gM9mo
OeHJvaEnZrNerOIpxzRqavy6rIsiwDnTRXJsc2+QvsFf0NAvLxj23bsDMlB+G3Wef7eO9AXo5Tsn
05mfbgnFz0/Mz9ksf5pLsV8oNzpobShrwGNqXIT4dikIPtNNOlmeNyZAYYVuCYAMSg+8zYOujUin
h3SMRqTwliKBHtlCb9CBjxkCH4roWLoVMdqZJuLnJ8uVgnqmBpshrME9OMOtN+yXzhLnKWBDGdYa
m1CvGyALgV+JZ5F8Ew2lWTK/h/du1jqi/U3LdYREqrABCv0rQr6FWN95oscaWYs0GOfAN28XFgKw
xQWQ8pIHoxmiPOjoxKq9xF+p0sFN/ckYzBpSi5YFPX0sy6/NcjulS5AsmvOrWUNXOr904XnfikyW
A2D5eT14hu4iV5/cv8qILzixidqY6qb3hQS87bw5WJLdnB3KXAD/A8T5MFdXl12FbvWkM8tRSlu2
EgIBoIvBu2174HMejjya6bfLktSn6q9q0sGdK7/sSgJJgHBeR2SczKAyNQ3eqnv3zASlo9vaVT+M
XARCK/o4I4e/ddW3AWN+E/lWZdFqBZMOcklnFNIxxhwU+pNt6EXN1zH+pk2j6dZNClfMdgJK+YLf
P/jpd2OdrwAh9jY0bH95e3RLJxd9BhAjTJsw7iaxMfWzB8RSnwDcEdim6Z1TRZV1zXR4WMoLEQiq
QLhlaA99n+fE5R9bcIHenES8JEeKFI1r/HTRmn9ZPeUu/SvpXb6zMzkpxxGS1g6jRV0dNP1H7PtE
gvTkrF13HIlw5x2gYN3pJ1iTEh0kkfLKOJEh+zqv7bOOYo9Y8dUBr3dyjzL1UgyYk0fPqWbJlK5B
AJK76IsG0rzkGkxjdltMyeIsWY/ULALTi5b+duSfGuNweXOUJn4iSXINxM/GMbfFqe2fCIsY2fmN
zjOoDeCvNpJnoInF622GNrOBmGHaGXTYVdbObIagNcO6m8EUAtxo9L695uXXegrnUXPCdF8gOQrg
8yG8HKBlX/9y6E+UOS+vovLuOFlFyVFshb/F5SI0rF6T+ck3QZPxEI+fFxaVPTgZGl0TtMZAfKlM
zLYqtisw5IUJ0NhcEsZbOCcA/0rDSVeu0ImSDpczd9Y2msIWkTIzxH594euXKb9mOhhSnSTpiFFM
q8xuLyTNBrpWb7iRhmYfOMvPxdMcMKX3AyIwmlcBEInU5/ll324rEF4x3hkS780YQBLh/BjYQ6/r
zVWerhMx8umyeNEnIke1ud8xGzLNt06syagqTftEhHS4Bm8yR1c8nmbvOR3+We3jZdPWqSAdHZa1
DnB5sVJWlQUkTyIyHmj8z/9PiHR+Vrv15kmskzU5YBQrMb9/oMmX/5cQ+ZYtuy4b8FTG0wz3UGbt
NoMFLtcBsWnWS345dxPN7F4k8Ez3JbW/8eRQfABFChv+r/F6UizceujE9ETYgwHvkE2vfGrDrr7N
+a2JUbrLi6b0bCeyhPmdRMUGt9LcbSErab7HoOXZ2uKVZBR0tmQ3+H7UtuWeOeXXy1KVl+2JVOnc
DIPpFJt4MSXzN7t5MQBzPXXOvjBNVJUcL6jyXEcvqfEIMupknU7x7In7fWiA758GfrwDtlRg6Do5
dPYhnSfXqTpzEapZ69FbonJ+0+K660RIp2noNpvguoN9+Ht3eaqKH9oWa40IOcnfVp6xjsmf1fpc
jA9+/2RzjWNTi0CruCgmIk6VHVtB55aIg7RuY5BmV3n8guahy3amvHHoXxnSZoyOFS+mBxm8WF94
OQR8sff5EgdNU3+tbF0DstKsUY8H6hYQg5EOOD9MbcfQ/0RxwbmYXwCsWOCP+6njUdtcp9mR6LLG
SpNGddlGVyiGPWzpPu3iLfdXF+I4+Wqv1157TOuw9I6X11C5TydSJA/B8gIJ+GrFwaG36Jchy1tq
aEQIg32XeMIcDdhYoQc6as/Xbe4KyykTJFcLTJWRKzPf9UAbtJaoTw62uwRb/vYBnU4ESv6nGy0j
pwZ0KrzVunUQl4TxyFCnIKsO1UW5fCeiJDPfvCbPlm1DE4WfP25VGvLEvSkWzXie0hROpEiGbsGm
+2SEFKc4eBRIzg8luWe6znQFoYRoEPu7UbLncYDyvvgQM29JhEHDgnSBk963zW6pXyfMYfMbDJrw
+Gbqn9YMIAd7/0MPGldMJQEBRaBsSrZiA2JzdkQiHhlyutyy9ZujcxtKezyRIa0mRaXcZsiFikdT
SqOy/OEO34dtZ8a/WnvX6iZJlZt3Ik5a1d5IBtLFUMm2v7D1p2l9dvwbbRZCGUi6QDAHBCZS/zL+
oLcWrK7E3vXrEk7tjzTW2KDS0k8ESKs226nNGxcCuuGQl9eAZAK4yeVzq3KweKMDPVH4dBSGzzcf
Q6NG6iXweHStq6cmHa59hnaQbczY9YDBkvuEgBjAsnsdY6hqi9A25qF3CL2778hcraVamF8tcBjO
k+s+ojtpsW5y3TNWtYIUKOMUk+cW5oskQwBdj9G0KRXHy4piIPwkbAPzHT1cXkWFJQiGP2AmYI7X
Q6npfBV7YAwb3ANPOsE8KMBaYhIAh00HVSQOouTUz6RI98bkt+4yOpCCofaHpgEKalvsAXH/3CNv
7SBxfVkpxdqB44YCfUJgxABY+lypdCgK21sEE/uY7uqu/0mHJXQMoslTK8VQZB3Bcw0yTjn8dwGX
DHgAsFxPWfOlmtDHbnYPvg5NQ9Uuj9ymgBWHscHmxGechOUud0pmp+Cfjr2K7bw2z56Ik37Z8iTb
cTrelnFzn2fOW40mwGDanLs4KWlAhq0Nlrj1j3nPdKgyqv20QJwsGr9AISIDCEyThfnhFvTQonFy
9ustqAbHDFzEuyEIlNIgc3QAbEqRAu8HI/ZYbxnHLl3cBNSBZRkuy94fr2PW4b9vK2hRG11fvipH
C7q7v7KkYMrmzpQ5NmStgGQt06tqyoKeh2S7H7aI0scVcAKdsbtstJbCr5xJlazWAWN63S8F4AnK
XOCzLG52Z5l1/y2OvfXOGzj9ZMYO+x3Pi9fsk2EEc2bhkPiYEHN6nNeiQl3BMlsUOhdy9M2pm8K+
61G7a+hogszT8M2faZ84u5kncCwD+q6XoLBocxXnPHlJK3stotYY0j2PJ6bJ2yrcNWaxcCLRKogx
W7mBlJr1bBgCAHljIFWjz6N/BCBhah9m966aNN2CqpN5KkwKvucElmuMEIaJWMsKZqMjv00MMj+N
Bi++Xt43nSxp21Zu5HWbQxZNngb72JiHOA8/IkL0qaJT2XZl27cainGIEcetYP8s1QMo37WEVkot
EM4JHnZMYMvT66NfZ3zu4GQIWw/5TAKUEpDL1HUdqcag0VgFTm+wmaI9Tc5nWMWYW+Of1eJ1sK72
j6T6WY7FrYXBvHEtfnWmG5p2FrIyv9rAGZPk/OHyYppiQ+TLiAqOU9wMzGGyP80LMpgdFRsG7oEd
mGPeiG/Me+ZjxqEtMjBJM/uZdF4REMJvFsaNr25WPJXm6OyAkGJoNlfl2E4/R7iFE/dessbkm/Cl
E02DGcQH+XbPhtDMr0v/82XVVR4GepuYI8PlBCqCc1EVxtzTPs/KEINHGHgYkziMK7x3zDWP8erp
jUFXaFVKBEgR2FDRJojr+Fwi8ao5p0JiRn8P5m5G1b3drhxdDUUnRnLYMWhlZ7OBmLy+j7Ooie/G
DOalwwpQWy8o31AKdHAL+WIvT/ZqnIuc921ehknuZvupqYPMz26zdf3sj29pVdx1xRi2hL+NjrGv
iu3IrC+Xt1BpLejcFWgarmh2O/+CKenLyWa4mgYbTAyvsOVgqQ8d/1XqumiUDvtEkhSzgZAS3Fri
EuwGFvn5lzQdg3whQYo3Dx/nYxPPmiyQKhaFdYJPB9D/uCEk3YxknToqLkAExEtQ5ssadaOta2RQ
eTpbhC1oFwP20TuTXLkNgscKK9hGWf6yYIqWbNHlXVJGELZNxOQPmEWJ3H+LXlXXbg0EuiQB2tD1
sr6O3r7bbj1g/IEBwnQjVzcarGpGBr3NX5mSI0l4DI4THzItUB7VoCOEJ2u+T/SexvvWijbnU9qG
Kxyd8aW1wgIwFDWJhvLo1Ee/1oXgCoZvDKuiHIWhaAHDJB8Vv+rFox1fM9c3iR8w+3e8PDZZYMTB
bD07cbAlOxNMNt0nlt/QOoox2Npej+Oumb8WfFdn+8tbojIudPX+L20KSPak95QZl0ZHzb4Mx2mZ
AiIC1KGpe80QlsoR2eh4BBU8bAvYWufH019qBOnFWIaM/N76L43jAgTPwyD9B7orcVkDdNa3kVtE
0u9c0Jj3/cLsuUTn9dHHfm/8wdMNUatOCpwd2gJBGgroHsl599yrRwzjlGG1siuXtXdubV4ZZq8J
1sTKy/cxUFfxWgIwioBgOVdlzos6KXz0Ys195fNgm03yaQLG3XVH2jKi3UAep9Ear8t1IE64lmn1
dtk0lHpSsVsoD1L8Of8A8DbxzRnxAUZ7TKavJD6Uuu1SOVNM5v0rQvz85OJoG7riZQcRbZniCNxu
zo5vUTIRNL95gCncfUAjwJLgWY9VxZ9zcbTNae91QtxkhXbp36UL2618e7osRqnViRjp2h1bNC4M
LawdUHzAp3a7LqiMN6f/7BvHRtvsK37bOzs5kSbZiZVwa7NnSMPDfii+bMCRSssX3L1p8zZ4u7om
gfebtEfgLwaX9fwT/V4SLd2FZOvjrl6xnk16sMj11O1S/64ywrI9JEXktcWhI9dO0wW9/TP2dqn9
Ne2O8fjAdTj8Kv+Cd7dAc3cZZnOljWUtOluZhzUwMtG9fdXUEU9e/U3zWFOdCARsgIsEuTzeHdKJ
8OeiXU3wQIDp2zx0i7n3+nS3xlRjpsprEvRvmDK2wCyFKsm5nSbMmfq5E5fECgidXTmn7B9j6sY8
WGMri/c+H+MdsGSHpwIhqxtOFWqleBOU6aC5sVUag70NGPkCYAG5vfMvMbNhdON8ginPe59+q8qA
GLpGa9VxOZUhGXCOrrw23cTlkESbG+TWlVUAtLLeA23A+UADLwaqkf0Cp5rYRGlpR0CE4jKEQt2G
62G0siAbsw84zlMZcsRRGguCUciIPYwWgfvRPFp9+sMt+49kf04lSQaJUoNrJBWuu+JzX987w6dl
uyPZJ/58+aArd+hk0SQ3XXpzi45u7FCcPye9HRTgj7YjEKxt9gFRt8atKG0OL3o8yBDPv+PD7Njg
DIUpBn7YjZcdCuvR0UElqPwF0FT/T8SfA3hy71gr7dq5Fes2v23zL6uPzC4sdWNgqtjqVIrklSxu
5XScocgARmxr7AMgWFzeGNVSocMTQ85gXyUAEzw/nixvkHJkJkIResswblqi6VSXClfFIX8y4QTe
FUkq6Xj6C6bPehQfURRBXvGwYRyzxJvHapJgaQ5DlUfZvLusltIBnsqULhanyk0HXhD+PNkCu7od
kg6jtDek3M9r2Cf3wM5Ay9xloWKtpMvMEyS5hFECOj/5DjGGJOvQFY93ApqfJwFXVv7OVlRWux9U
h37wJ6VwLowBO1fk+1DNxZyg5IZYUoyVO2EWc2SoTWMK0vGmYM13k+uAEe+XB4C/mX1pzDXwkxRx
8j5fyyD3/6HZdlciRTT2V/Zy67vPAzk63lMyVmAiLSIXeDu6rs/36yI+1Qc7NvafgQj93MYI99dm
K/GpRb/j85NZfsXjbSJ4oyy/L+/Au/MC4F3BSAq/TAB7IT9Bex/Yt33qFGAkBV98u9lDkBebjvf0
3ZkRUnwmUq7wMO/2GQPvjVNxlCcw575d93X/svgWSOEq5+W/qwMqSgtI9hQVJDmnN9Ehzv0N0QJJ
k+8l0mWblYSXRbxzzNBF4Hgh748qlSk3iFSDQQtkPZDQbb6u9HnYAHW9BGaSBBV/Zc7usjTVyiGj
imccpjgsV0YGoFWz5hvrUKbi3Sszk1sv7V79RIfopzADBOhiOpdg9sqXq7AmmMV4mdSIfgh9c9f+
sUdke1kTlQiLmZjDE07z3TORLPO4+DhSYdqMTgiM0gGeRgeD9e7gYMDPxtHGexQg+e/S0x3HoDEw
AsrQLBCCz59pNYQJezJsGm5UU1h+d6FBFoMpABvEFvSn0iHlcTn5a2FjzTwkEf4xzKjcHsbl9fKy
qaQ4QL8BeAZD6tIXBnJyba5sRvKrZiJ9szxm9Acmle6aygOD4qZxxu+z0VAIyOLIR4kjivTEuajW
TpyyciGqA2LzMl5PFNWYK7++Muwbk4XLtnOQLMnmr5l7g6al/64nHvYo4TEUZQAacy7cH4FT2kxl
BSDuOkzdg+sd8Z4MUNLQCFLZIdiTYIDonMbsshQheBR0tf4KQWjwCsFjfr8k9uNlXdQiEO6iHmkB
5VTSxapJl9qALwRxbHJs+hkzk1Pz87IMlV2ILmK8vfBOwATt+XolKdg0QLZaoYj1w0M6y/3agbSY
/GcSOdgEtoTA8mDpeOxJYsYsn32nw2rZN3Xr35W2G2HWXrMnCi93JkUKdlHumKnJIaVrMLTPO5AV
2L/KqtTUW5RrhneIwPVHLlQePhk4y/x6gpjE+cLBDlnEQdtH2uH992NxYtH+lYPL6HzRGmeoWTZD
TlH1kdEetuUbra+31ApSB5So/n2N7EQbFjqoIsXVdCZXMm2r9YtkioVce9hhVC2sJj/ICm83LXZg
0yeCPMF/tkKACJsMPQ4A90HW7FzTaon5sAzgbYHvAi5ZHfBhDmL6GusG8RRbdyZIHLkTN+igKd+k
KwT1tCifXU6tI8q79c3aNd9ywE1r9FKspI+yFFopmIvBcbmrYDQwMm5SOIm+yV+BaxYNyTgGmMMK
MlLdUSTlYtvSyFSpCFIkvI8RW3jvEiq5awIRORurkC4OQM6mYEojvwK9Q6vJDCtOGzz8H+xnca3I
WU4+zV3ruXAdyNFfe2WVBo6JWgB1dRgvKo0QvLogvQdbHXK355vmr6SZ5hwarXj3c3Dx+o8UlCgd
1aycUqETOZJxpMSwnYlP8IWxe+BmElpuGeX9tr9s7KoL0j/VR7qLlzhFpqqEPvFWRXm+ASRx37s7
Zw0b5xrc6guQfVsj6jG8OW43nP7XJh/xVsKwIywEgTST6wYVUITFNHkV+hgjMI18Z632zrTqp8tq
KmKoUzHywEJsj2ZhFBCTpHgGxd9m2j7bpI4Gy7yqG50xKqWJi1ikEFFElIohfGkXY/Y2KAWzIE19
Q+wfnP9Opj5K8fq5rJriYgbKM6pAqAcx25YN0jR6gm4hqEZ59WCU9NZtv1+WoDTFEwmSKbZk7ZLS
hwQ3m8IqmYLNHJ7AUKExRaUijAEjAew7CNylVRt4tZYT6HfC3kseibs8U64bnxOH8+y5/OdlDoYm
By9QHzQB54e35vjfZc1g7Ev8FIu+qvqzi2SH3QTec1XtgHXp2nfubwJA/qocDpfXUeU6wMADWGER
4lgyRn1l923MVoCoZ96nDLmoav7Jx11MNo3rUDl6KpjboKYHWHzpSHesnE2LoyUpo+4duqKjpXaC
eM0D3y8Ok2cGvNRdZaZSNyQgfGyg74Jm6HxlCzAlVrNtV0CXpG92shwdsMh9cwt60wzsrhp7J9zs
9LPTuU98XuaA5al57OyZXMdle2R2R/fN0JZBYtKXy6v+vrqATUc3CsJiUYECXPn5p6H+hbwjKDLC
tu0DltJgduzAmVBNmZfsaNXxns2AljLaMWBZHpromGHVXY6Jjwlt61M7By37h7W6gbZ3+TB8Fq5z
PH8ZDq0lp25g//GcpQioq8GNUCuF6v/kTX+ozZdqC436rimjyyuhOscuQ98mLn8f3OiS9TeuMaBy
XlSh2ZbZVUsKO8xputzVtHA+IgoKInrygZson2Xb431c+VCu7rY7f0VReiGfHXd+vqzR++ZNyHAh
BZ28qHC8azZCwdMpiYhKN1CBunn6Mg38rp9+r/EvOs9HLx3SgI0kRC332eTLjgEePTIsAm6Z0dQE
/KoNBUI51hV1cMbkjumuYebM1xhPzdkMaB8C8DBp96CdiNGSt/qfx1TjMFVnDgjsYEXF1Qkwdvkd
A5xa7nQJLMhKgnj84br7qtlCruuPUyp2Ikd6yXitmxpebSBtP70My8NUHQnDuBXKY/6d2eyb+QOx
HIAcgdwl3DTqK+cHlsNLGvGc4sB6wBZHdt0w5qDvTI2bVB2HUzFieU/Cb3sYst4EKygAhh5mtw4G
DFp4up4wlS+G68E2CcdoycVvnIOy9EeOM7fcx+ld2QHx2r3yyX6odqmOg1up0YkwaaNS0tV9WWS4
3mwStO2NxQ89ICsvnzlVcHOqkeTp8z7p0ckGjdZub7hjWGGQMK1vB/5iTR8x8L/6yKyNE4bv5iKB
qMT82nhXS/7YWZ9bHRep8hidSJHuB8ef86VnkOJ7R795W5tP6DWfZs3lrzxESGnADvAGw+iVZG1J
MWW8xGMvoUnkj7+JxZFtfXP7/yHty5bk1IFtv4gIECDglaGGngd3u+0XRdttI0AgEDNffxe+5+xd
RRNFbJ+H9qOzJFKpVObKtUDioCU7w9QDd9xKRNccYqbS8iBMg2fRMuInqSS5cuAQyOIjT1R+quLI
3aKH+zMiv0yrTs0sEsTGAF+O5sGMhnL5S5vZHTDPddKkUWc747OFyUC2Azl1YfuAiLR5WBpe944r
uQ9Hz4gxxOd2QguQEhjyySVa8zq0RjKDmWrPAWRawdVGDqSTp6TzIx8n76mjSpQoOBjuc8pS73Gg
YOXpclZ/q/C/oBsL5MabqKDE23AZZ7tYs7oGzSbwZ/i8Qb/rUfUoqIW4m2qQuKYVSLiJqWe7ng9m
EfV9b9U7pxYUpLWTGdbKKR9KVk0QKE2FEn5bNk7gDHa5q4BbyOMGc661JQvhD7wtPX9EX/DOU40x
+ZQOxYcGadC3Uc+axE8cQBh98JPgVTVYE1LquorbwEpLQq+yzjFD4sT6c191Q3rbWiN9MHjuDRFI
F/o4cgYi7kF83IbALcfU5xbm0CwBDBNmbXX2yktvcG55judikPamc2+oXB15rJzdkHYI2syNkfJU
tZvrWH3qvPRpFTd+23Zib6hG7nLLLYtd6jU1uo2J1V8DFTm8M52nbdAPWgmpIVKKjYRh7RCeutAi
5qupnyDfh+ORo2tWs7uWPTmoLbnZl8vR63NLEBkDmlAzKTHKBJCmOj+Hdapb3JjrmONwX8gDSPNS
fTdWLyCl9cv0mjlHUztctrl6Ck9MLi6awe1qp9BQeFGAIZek4qiClI9xOX27bGd1D9F3RD8asDWc
+fOleXU1dYWAnWZQhx7Yf1mlL6lJn8q23/hc69v4r61l53sYCwj3zhXniR4M94c+PjZWEozuu1VG
0xTVGaTSt7RgVh4ZM6wafSOKejrmRxaRGgiPWAEgjFqgdxtXD7K/VcPPmL+PMkjt3YgDm3zBOfcx
1UrKxpckTLK3Rvy4vM2fI/n5ryDn24wpJJc1HL+iy4B0ZM9qzMJCHwLGw778ypMgqTferZ8dCBZN
e0Ylz8TCy3UXNuZaE94UUCWwg7LSdlbiHnu2ZWalxgs7eJCgm0zR1Vw25ljf0VJMEjdhT58tDxq/
HVeHhntX1ESzOCdZH3ATj7wmUcdEQhwLnNzuf3et+VfQmUEZjzWMIJ7vLzOAUTYy5PR59Zp4vzI+
+qbCrmrftPy9G+8wRjxOW62a1S0+MWqdG9VzJmJl4aMO9nRIDfrW8HYnlbWRBaycGyxu7jqgnI6Z
s2UFQkePkEmQqYKCHcyC+Z3yvuS4+fN7F7oXKsrr25xtgYU/x4XZJjqH85biHlwcGyjntF6r4D51
/kvVGSjL7xgbgSX8dflgrO7hiZ3FwWCeJ0fhYG2qvpLiR5NHRv942cT8Gc4zjfOlLHxDQUIHMBUs
pVGPky79AQTily1sbdbCEVxSOzYvsIgMaGpE7WOWuI8OOHwxV7NhajWQnOzXvJ8nD5C8dFN0VbCY
wr3XnA+tpv40gDyM+cy46Q3m16DT+e+rw4ma0fmQAoEuw7lJz6zaoXdR7SWNBcmd+zG5K7pkZ27x
qqy5womd5Thaz2tz1DnscKO4hmxN1FARTiLeiBVbZpaePYjOanWYaUEu4mHciOcqLPMt2PnnwRQI
jCASORSasTPh7sIOIF5loruogJZJP6Fv0jNrR0DRN/pD1pj5LYauUL9yK+0u0ZMuMtVYfHf7vLsm
9awA2Svgfy5/yNWVn/wicv4hHVNZSKTxi1zWPUtmfNSOFTry+bKVNQ89XffiuBlFPZUjw/46/Vev
KaFahwHU6hGwA65PSM7e0D+/bHF1XS5eyiiJzenFwmJcJlnJCYrASeKyXVrp9pU0uwxNRrFFEL4W
SzA1NWNqgJ1EOni+hdB3a2I5m2pb80Yx+ZAUNLi8mtVwj7bU7D0QeYXU+bkNzrK0mXR0Aipw8ccK
w/QHoh+abgfeNsN7IJT7Tbsx57MWwbB9AMOj7okkaWFT0zzIKgwo/9pD7DtGE4hpPOaWFdGi2fha
n6sbIGBBIXuGusHaEtPlZF6lpoQUaO3l/qSFUxf7Bv2myG3RXxXq5fJuri7sxNqivOHkfTPlOaxx
1Ltc6I3rDSoPtS+3+HJWzzvuSeSaKNHi1C/CpDYpURfzukZbB1FzszO9PEyAvGxqLUgdI+zHr0Bx
B2M13DLh7Fg6bnjO2lrxA1D/Aixr9p5zx8lzWUISC9cQxzuU5T9bl4c50Pe6l2x8w8/1HARq1E/R
zoSA7idc3uRmXpnMDfakrm9RIud7lrtt2IyghfWmEU12m5Mvl7/k2ikHCNDAPQSLyGrPV1d2Xukl
OuC/MYXglspFHcRVz6K2NH5dtrQWwWZ4HpgKZkHMJTudVkCJwNNyif6i2b3p49Qr6BwbDuSuast9
l3Ss7+0k7gHcQnsSz0HkpRsbvJpWOxQbrINJZdbOPl+tnXQ0HjIHxfCC+abZo537XHn+UHy3x/sk
uy+te0r3U9XsLq99dZcpqj4QgkX9aIlRN1ynteKeIlnS3jULkkJ4xRfxxttkpQRvIJMAdBi1bwdD
m4twQxXLiQ0saeAQ7qtxL+XDkD7SHLWfPacHvb4hZDclVtAjzzC+oepweZVrX9gFusCCPwEitwx3
mC1yC6AiZ2DSfef2uxlx2zzY7o2ZHvsh8R1Hbdy9a1EP3TWwQVk4Olj3+fd08TWNWmDFg/s+GXiY
POQAs9cgonKGMK63SF9XDigCAZ59c0BCd3QRCkglS8xmVTP0262uq9FyoRKnOGiVrTSJTBSZ9k3j
1mxjlSvIAFz96N0AuQZWW+CxzpcpU9KKPIfdYtwN1n1v+53XYr64w8MXmiq3nh207m8XfTQ0KELD
/s9E7PN4FTCimFfFZCGO77l9BjYWrW9AdZSTqz75aVWPPP647Dtrgf7EhrlENY2OzWyqYKP2rEdC
Wj+HssGg/0zt7AaIhAN66t+bePyG+qZPWuNYZlv0oyvOdPYLFsEBZRykxi5+gYQisAe+tLq+A9vO
NW2G0AbKbkzSrXg0n8jFIwrNsj/iERgI/ARwqoSZtZNhyUAr44nuNbtXb+0Us1kCsG+eOMq3j5Wu
2fmO2JB59ZntxPGNEVvZwSllZ+5aYelXqef2W2NCKykZWHpNNEVt4LfxPD7/5HTo5CDnAoOd2ntt
cndlsoWCWjWBs4QBBNBlfJLu6Wiejc6IYAxerWNFUPUFKuOyV63c3QYGrWeByfnF8OmN346VN7U2
Xgt5fiBVDBW/G5UQ3+Ns41OuWUKlb+akQ2z4BDClMhUZiRHhk7RHtTcOpXdly8eY/I0d5HigrjCN
ueV6/l1c4Vo17gB8l1y/NvSfelUd6gGRNrW3eFpWj6SFnjgajqATRJXk3BbRzNLiTjbT692x/gX1
GF/nB0NkkFK51+QLba9b+yrvXjjdAD+vHcVTy4v8siuISrhCVqKPt051axRHYmiBbd45/MWYDped
ZC0rANB+Rgk5eOp8El1KLR7noy5lUHrWjSXJ09h98boyimO5K9PGb8z+VtezG1dzr2qDfbtsfm2t
QPFCQsGZy8V/vsJJ7SFpG7uFsNx8a3uvo819Ik2oRbsQYNPf4KzXTbzFUrW+YmQidK67Y9pocbq1
YTQ5i7HiIbO/DBj01EYjHIwmCzIa31Cjx+QKFFdLM7DZR25tjR2sZSqQncKzEr1yIHCWF4rJuOF0
DU6LrG/cErn80e1rNJlH4L8Prhe53t5jOwEWuhRlwF22RT639ho0KJRYZ7YOJL7L0SDlJaxuIZce
9OnRQCOqATDA0n5zxAaqHcR4tNgtNI/++5cGcBd0DH+ACUtIP5DHccXnCwYz6OlN1qgcIj5Neevl
oF5vkzsnZe9d5jUbTfy10ITpGHAUYHQBVfvlvWaqQiSkkYFVmdApLnyHItkF8kfHwMflFa4kSGCC
QGsVPL7AQS/HXFlpKd2RmI3r7J8QB9mD0y5s8C70GnV0QJJ/2draV8R7AsAWmEIJ90+X4uTotIKB
593DkwKpz/MfCWsCoRM9iwy32vf1Q+fpQdeyXYw25GXTK3t6ZnkRGjUJtZt+fszU7KFnadAUgC2J
eGc6W3yna1EYpnB5zWqXcNdFjquNE8ZecsSHZjKvLPRicfPfcC0OzVJFWW75ecl30n2aKL+eerqv
9a3q6OpiHYLwhGIlDu0iWhRTUhFeYLGT9h0Qslqr/bJ5qtFlvrypK5EQoyHoNYAF0ET7ebHS1kXT
GGcSaa7RXim3ixCqA1oZP7WiOWj5cBRsS2xjBZI2S0HhQkUvC4+n5ZvFKh0HtL+wmSVHG3wv9pUR
75U44O1ZuAc+hbnz1dZuCm9H0heIRflQzrWd+/Y/s+gir8aDAiQquL0tKJue37Wt6Q1cG/E7UlQX
sr1lfnHsW1cxtOKvPbElzrH6Rf+1Zi9GCLphrBI02rHTECZo9K+oNYTDYPnlVshbCwgoZmB/UXGb
OSTPl8UEGfu2nfDo15sA6Ao0W9qnwiivuZk9DZ56vOxBq4cFwYdgFAxzdGi0nNur9UFP8FaUgeGN
gPGVkOXYZa3uW+UtiHDA5MuSJ1a8Ji5I7pIvl42v5LOoVP1rm5zbhoC3oSs0zYFbjIEVT28MvoVb
nU/A4r0A2CQwg6h9gM10Wb+A1FfJXQYqSaG5kQsUgK2PyAKT4+WVrN3PQHvNWD6Mss6YlfOl2C2G
3a0GzdxaeXKfxNzyJyuPH3M39sLOHsSet/I2dSiMA0RTj1bq83hEYhjbL6BXb46dzMeNZP7PRbVc
PXCjf8RdMOe3BAzkI5KGtMXHVajkd8LweyhZV/YH5jKvLX2eZUcAtt69hPqlrfZWqwJwqx+S/EG5
9JDZjc/QO01pcs1cuudEA6R+q8O3vnW26YC/AxUqazmz0tVtGo8evKDoICafXrXZW8p8QEnAVfyS
WuXRSt6M2vQJ7b+QXOzSVPlK35r2WHMUuAdYsvEcQXK7CKX4IEaSoS0XJCYGdRLLGA4AIwOZXquN
VH3dEt497p9xxT+p5skdjPpdJdr5CZta5OAa/FB3IqLC2V92ybWIhU4tOu82KsEYWz/3yEE3tRSD
qlD2ARalrA9J9pFgpNjaoipYjSAzeBrPAXAnfSpTFiPGuJoUw9GyYoxEHDo/O1tXDRIJrXvp3NH5
arSGcci5U97UTm3cuFQZ11ZRglTP8OKtiDaH4qXTe3P5BUBWTIIuC7QQaSamPUtV1MrvkhsmP1rt
N2kiB7TJZF8Ve7F1zta2+tTiIrcZealqbxbNTItvlR4IgrrweN+bW43+tbvh1M7ikcdypsu6hR2N
iJ1WAXXmDYE21EdIbUMphW+Ej7Xs4tTcwoN6kydD0mMjRfM2KbAAlM998qRroWTSl97usr+i4Ln2
4dA0QJ9/Zq5aZhZTmqdOYeKORQkE4MxcDYPa10B71RGODL1SDanMKAaoejdCrfpVLxV50GxvNK8a
J+/QqyyNYUczE8IeLQol8c6axvGRjFJ3AnMyTfGA6FPty76wnEPCsuE9MzBfENhjbEZ8ihEGYzfO
ruvKa/qQYGhUgZ+/kzwabE1dCV1qUTK7rVkQBoqfVjc+vEavD6TuszHUc09Lwo6nhRPUA3PvbK1K
ARs03PLBjC39S0UM8WbrOei4NMOdkOXXeqwHVmIwjCLKJj22eW8ibx09cLRhig6/wW3vOoeZti90
LX43VFKGqHqqZ7My+zIc26qP2rTRv2N2AWfd0hOKyaA85nRn84pcxT1kg/2m7BsR5HVv832dAxgA
EOPMKmEIa57L0g9eRUDs2YiWTL5XDsB3pENRITSB6f6qz7gH7sI4dT8kFDmCsXW831lcGsfc9JI9
qgRj6AkMY10BVA+upwZkfX4lscl+XKdjGkKxrw2AH4TyIPoxiAx9Tmh2m7AWJBrQY7F/5x5r3o2k
Gd0gi2v1s62N4llCL4r5djW6YeNq3m9hY1OfHOnEdxDP0NMgHoXESIQ13VigNI46lUE+wcBlX/Se
u+8KRgZMtzfHvGnTq6nviyPKW+SoNyh+V0PZJz4pOERuVQ2/0hTAk1e2PaInXtjSjYjWJXEI2sYC
JHQdu9VJqanDWBhOHGZE127zFh7rj5LIN6JGQF8YUIJWoMapqsIeYmvysRxSfk3VaFpBVU4VhnaG
qprFyWRtR0PG413K+/pOsyfj2VJDMgH6DCl2n5iSGA+l3RVl1PZGG99qjTJvhp7UkYnU9wdG3as9
aDUASy3hD/nGw2I1qM/zHeiuIY6ayzljpRr4TA4d4xTEaozseXVL+m9ZcmdmfpEeTPlbTeFo3lB3
c+x9zvoW8RtvGVR2MOw5s7cvoqnsGq+qM+QDmA++wXTYnR1/ZND8ANPLnsDc2Hc79L6vqzzxawHs
uyU3QtFK4ANXFhD8wJGBw3vZPSg0fco5bSWgGYZPgr190/YWzqIO1octAb6VmI4EGF1M/IMEfBn0
RFlb+eggG5BZDR4GFKoZOCUyDDR6RKD+6igzu8ZMQVpuRPc1w5h1wuwixtbsT9Qchibs2mg0VLRa
wHzvypyii3oY2RdmJhvetLafqKWAk5BAtQOx/TwVKcceUboCVprVFqpnlSWvDH1ohQ92W1AnIWi1
4RQbWeFPLe23SG1W8i30L13AX1DRASf7wnpjjnUy9bBuQf+51ltcX+woki3ly5UkAASBmM238BAA
hGFpBgVIt+QlkgCjiZR9gAAF7ukvztYDcS2pB0ACWSp2Eu/+pXeOdCjNMk4w5Ye9eqvQnUUJbsQQ
UdAAiQ5ZVBrjV/A0G4Hf7i1G/RFX23fWtV3lizjOborYcK553XkHHlMeMVbG1zzptciwRIdSRU0z
FmZNj26ooCAJJ6rjW4M5a6Uo7BbA/WQG/AL1e+4UXpcUtt5CyLqkqBHwyeeiiMT0nZuFb/DvGJ0h
IswtY8Pt17zh1OziM2V1kROVwmxr91GZfzHHcS+2hADn374IYWBVsSjgVjOAZpmCNsKsx05HStyh
Oh2b/D6L24fL6dKWidkdT18RUuFgxzCR5xm+MOOPpEn++0tl7kyjFQTW0rnufG5DVbrTiRoKUq5e
PhW19h4zsYOmwEbGPueRn3brxMyiDNAmQtHGhRmIppfiXmIogSe3qecLLzK7rzndX966lciHZWFJ
mGWlYPlduEBeoWaY2zVo7kceStncp5MTNYN1RRoWOvm4cZusmgO9xTzSOvfUFubSiVa0NZC1M9RY
jUlEdkUxAAE2L5PfllsiSSux1kLn+R9rC7/A4MWgpSOsKe1+6mufkI86u23sHUdfptgKRmufDuMZ
GBzECQa/08JDrAzEm7yfxVzoL8uJPGc/9L9F+sXrWVi1H4O11Vhf20xQQADW5AH/hsLUuUta5oBq
eZxVwNhhIlKy0p+ENfhtlgYjd8agpe2Py96yEjBQE0DmipH4OR9afL6cD9KTMzuDlACIDfQ+ju09
QU7sX7aztjKkhyZe62A//kQs5I6jk+CsAVFbR910DVpRH4MzXCE53Jr2XDeFDhqiL6gglkhak4HT
YBKATTnqTeo6QGgvI9B8JTuMW1XaNQehGB37H1NLMC1NMuRRBrDpGN4i6q6nVUgmGjg4fcJ9z+uw
2SJdWUtd8cH+NblwkaQtwF8zwKQDYb2qfPGQt+lDHlla9gDsqS/nwVr0uGaBC30vPC/oGdlAFq0k
AzNYCmz6HpIONJLO3RQNyk6lE3ZYQCQ1AWm1p6nbRtOPLoDSl/1my9QcEE4uAqF1xNRmRqBqqA5u
ZYcaEtdmyDCst3HlrIUWAPExYgH9NXzRxUkwh9FT7gjQadoVEYM6QUg0+awNfZQ6eeQKLRoGuXEF
rV1zpzYX4cyJU8q7FDYF9OwLZaIu+Hx5/9bOtwOmAQvVR2AqloeBAc1n1SPQiqXNwLMowGQPmJ27
QZu7unf/WlmegwIDaN3UA408tR5KFNprknl3M2hXcyB3FFv7Lt6SQFs7eicLW1b2ZVMadMoAs6b8
KxUPLvtNhmNSR5N44Pkz7X5d3sdVPzxZ4eIWT5uE6MlsjrNbdwBNWTSp102K/lV/OLFinnt7YqOH
aM77qBz0K/oUZfSMmxundy0+nu7c/CNOjpREt8foPRjBnLVPhoPRfijr0U5+Ujv6i02bGesAkXMR
9xfLadO2cQyJTevQCkj1JjSTA9SSPPZ62c6q+53YWaworb0WLWisyJzdrc1+uqUe9Ea6y4T3zWbW
VZllfxMtTkwuooVT9HY6TTCZNyiHspDzp3oEayYah/ZP3m21tlfdDwPKGLADPAO9rPNvNsa1K4gz
B6dY80V3VwJ/1iWPdrbVKFh1DgAg5kE+UJYtj9XEupHoOQzV4qud32pihynloPCiCvWkv/hqJ6YW
R6pAIc4ZTJgatRs9Iz7J20iIqxi1kSy7sbe6yatn68TcwhnNxOS6p+Yt1Ktdxtl13G+piH9WogC/
BAoO/+zewhHzxMsTq513b/xe0KcRQuJ88N3xqgGp/7TDkB4oDUV5aNIDBOECmrz03hNtHkYQtdXa
l8v7u5oqnP6ahY8CJQpqeAu/BnpYrbpGD893gBPt6tgv6bWHFIzoGDe+5kW0yYDxp8+zfPYA+AG1
QLBgYGpxkadoFNJQbj2C8cAl3zKQl5Oqv9Na5CZGth896U+FCgf1vfAERq7Zllbhun0UZcD2gTwF
cPbzE9OhE9onGuY7WoMeTbODbpnwi/ZFp51v5SZYJjHsm7N3i6o3S9+IDmtdPyBjMdiP7v1MVbdY
vTTbDthRrL7rv/YFDRlR4ejOBOjVK/PIEWXeqBwyuMYQxXb2huptxGhzo/JNQZK10HH6UxbHDDBa
SMs02IjCw2g7j3TvF15mehUfNtxtXtPyi58aWux4g7H1eQgLqZqD9Dd7NV1IBpR+Lb/QroWC475C
9SVFs4BvdY7Wqi2zxMk8loqZDPBTnn9sgAmyrvKw3bEpfbMEUOTD1B9zI0oh/5Cl93y8y/8CeXlm
c76UTq7RycLJaivYrFDIryKSjKYIaZr3gIskwzcMUvRPl3d47Zo7XeWcEp1Y5FNS5p0Bi6CrTLXr
rAQNg/T5EJj6bSq2KtVzdPj8Of93TzEicW6NGdWYkhKf0ynkVSLrQwkgu+P9urymtfvm3zV9RjBM
CpDleU3j0AaSVchGIIuXPOceljlttTJXQyLE1zC+hgKW6y1hNYIYVLYQQUKnBrI7U6Drj7Yl/NL5
4tIfQOoKOfqJ9SbZfVtsnI/1c/iP6SXGph40O3NHmG6qYdeTXd62YQ5ZsOQviBRmKak/CCZEn0/d
DUcNGJMisJTLV852agxIfEv03jfMK5GGzhRMm6LIq4f/xObiNDjTJApDwiZF6SBzdkJHfRi1/nSn
2dcUpKQsolqYGO+X3WdtFOJsrYszkXSu1goDdou8C5R3VM2dTRHcIfJ4AxynrjUhqnpc7lriM7p1
Rla/KWDkQDLNUk/m4oY10P8D3hCoeCHVS9unj0nfBz1/FdoWo9TqaTyxNP+Sk7PfDJ0ApzUsSSbC
kvPQxHBwqRXR5f1cWxDqx/AeE6BTcNeem5FGNwCugwlFoWHowUlTjPPFiKOFZX3PjHbj+btqDXhN
KEDgz1q24dxK5YamY0BIIxjvZyZwoTzIteoRrJDB5YWt7R8mBv8xtfBPsyQC9D4wxTUMImdmg5Yz
hrzDktr7y5b+FFiXgfPU1GIPHbvgXZfDlCyua/KdeA+0vGurG17+zKCiOn3XjVeDHUj3VWZPIJ/y
tmRc12LqyQ/4o1B24itowtIaLWWkPvIjz69092YWlnTJQ55sdZ/WrqRTU4s8p6uYVXvAxQf15PzO
+GtWJL6kXVhqcBzgUDtLbGzv6odEoRKgSCC+PnGuaynVsrpj+JCFfQSm+KUteVh1fzG/AXztv2YW
WZPpcvTQLJhBFnndSGs3wUQy2Acg+jZkwFb2ENPUYECkgD9jGnKxhxBm/Z/P5Xh9HQlmeWGv59C/
iJ2HFFW10FYDBti6Wm3kEysvIlC4YTjQRYcWRcV5q0/9BMz4PM+5DGyZaE9mmztBDr6njQ82u/vi
OKBpiE7srIYHKqnFcZgqk8ncxMMYpCG0DfUEHCHgEfruosIhIANkqI0pa7K2LvDxo3IPsUqInS7W
VckOFcNqBrthlsDE4LNoO1DkQpGutcFFYB+gBhElxPIzWzuaYBt0nDiym2TfTKmv4h6Vqz5ktI8m
6nzRpeG7rkAlNQPzUhaWhRdkJAsvB42VSGhDJg1BcKaRQcXk/FOMA4SnhhJQxqKuoeKJbCT1RfqR
N4+X7az5mo2BV/xhwuWTOKHTFRqqWOjHD83ehtYk48cYuEPQ5VjNwcE5/r+ZW0RdaahJd6bZXPwi
Pe4b3l3a3XP2UvSdv0nqv/YMAKE1wIAQuQVifDlWm5dVMtQ6xfByHwqoy3mNn2ZGWBMAfP3aPk7y
Vm4NY659uZm0G6AOhKRPXcSYtPbARY8RBxU2pggK8asYv/T61nTcSlD/Qw7+v3YWAQk0v+guGDhG
tnvoQPtDfVuzfGMKRLmJeZxfassji8g6S2eYBC+ApTfGg1JWAluO8TBYD9oAArbOBy1e23QglN9h
zF6WO5Atgcd2726VWlc/owOs2jzeOrcx5604iUs5dVKaj8MfJ230n1n13bF3pAOpJQSjwGbQ7sWw
cS7WQsapyYWj8oYNRU3xFWmtgmnynnNT24i2qx/wZFWLOMipOfZ2BxNaxW8qGxSN4CDtVHJrZ+Jr
t8k4uVYAwRH/Zxf/UAOe7CKhoi7dBrvoVP2H4vcONEoEj+9RA7sqzfZZi92dh0JlY73VfwVzOrO+
uNQ86TVj6WG1vD5mVVSlA/CLT1r7weJXl9/I8tlwI2V+Ka2NnHLtRXBmeXFQEo2QYnRhGQoVoabA
3NPwG5um94rKl7oUu7F/wrjbXou7MEufR/PV6LY48zY3f1ELyUw6yr7E5mfVh2CPwDGGjRfk6X33
R4ihmPAW+1pvKfyuxiIwF0PYBHB4Y3nVjmOsD4UFq9wIi+bZqR9Yv0uLDUdeu0NAa/u/Vpbcn1nK
WqnZsGJbuNNb3K67yTgQ+zupfdV/uXyDrGQPKAroGArGICZkbxanJnHGAqP+CEWei3GbbE/L19HT
npVe+Bi6gnIH8YXNNzokG0aXT3ULc0b/f769k6HsXmx2neJByW3US2+cOPFpsXH9zwF1EXBnOB6G
GUD0gUxwcVrAK+fFAOAhRzIeS1BLEXUcu60W/Ip3nBlZHAw7pzlrTBiZhocGr3ThgZgBOZi9celv
LWbh+4nmGkAUzHbcH1z1qIUz3/3v0ksAMALgN79R/8xQnt8RRQXdTGhYwAlFYIlX9OPcKRpt0IuW
Wx9ndd8wroTrHcWUTzQWHgGWWuowVbL7qftV9c9O/Gw3//0VgAX9a2W+oU7C9ZShoyQ0WNEcFEqF
X7kRZVHVfovNCi38DYdbu2NB4WxgmJ/ijtCX5wqd7rgmszknv1fxj96soE79Su1HZzoYfdS3IB/Y
8IuVCxAFWsfBSDzwNKiYnK8QoGPXEnMyKOwG4q3gsHEiCbCze1NZycb61k6wgygIgC1SMkAJz21B
tVUS5s64U8gOy+zoGS9cvrnD4NvNz8mMFCLw5UC15iVwD5BVIWECfGcRqMaKijjtYdEGYFFrWKBZ
YGaYWEgwmPR/MrV836PnkNlVNpvS+iAbsoNGvpoYxp+ku9XHWF8VnlAelOnRE1ykYnVMWDnEtgzG
RomPAjPiP9zS0N6A1C6fa4cwqCtLEV8Dei9uxDQ5N3QkkGcwDI8fs9aR0ncH6M6Dmjw3Wkg/86oL
dTPvNvK3lTsJ8AZieDPUF+2mxe6X9jDUGIoAphntWBRXaf1gy84XGAgzJQfN27fLn2DNl2fFLcy/
Iue3vEUsjWlbdmUNe7yp/EyC6+XbgHSc6g9u8heDKkBMYWoEyjbgGl02NzRLydac1zZVyvg6ED5G
xClvFWhqQ4DT7iCjkByw+A1Mx9oz2gFbxszHgafip/PKhYmh0BTIYltR9uoW+vgEKIfxPCUDMQKz
E823nprZgVi5/buyW+8dM6tdVHetmfoDej5Hq6jtN5z4ePRpk7tPbprZ2V6TVt+HtOo4j1RHs682
10BaT806BHuO8TueTNQ7DCM2th42KzcTVF9QL0Y/EjWJpYpZF3OI1I8QkAZH7J2M5Y0oTIBhnP8e
6MAxAvAl+n5gBlqC3jGq6IJdOitRC/cFZjx08ozat5f9MPsNt18Jc4imiN/OTFNBPg0XFgWXVjJP
wVU+xljLEZps9ZUaUEQd9rnkR3yPy46/ltnCJAbhMGSP6fUloMjVlCorKDhi1PS3nu0RaX2jTXyR
B92Q7TLvm5SvsfmaFhtUAmuT2aeGlxijoWwzvTFh2AKjZAVIfa2Fqfdgs3ciOr/qdwm78qo9SGIT
D+LFD8p5S+Jvk7yrt2YL1rq7Zz9lcbsMDeRwWoqfomkqsEGu1Rvob+ehrb+nTh2Y6kDym3gKMR4e
g6YE2NjiL1gmQZINCU1A/oHqWg5SOybDzJUJgDQDPUZq33NOfV1uRLm1LAG3KI4Mhldngs1FWCVO
Q3JGZ6Q3imT9TpB3lu/d2ZHVLh2vFFSHqLNJJj13FhfZ8Ez8CAVKDI8Blzof45NUiJX4KX02I6bl
N2LdEk+ENn0sySMhQ8iHq9qKABy47NcrF8iZzfkiPLFpOSA5t1zgNjXM3EwCc/7j+9wpsIXA4Bgg
/ADdXLa46kWny1zcrcPYx4NjzSZVpMudtPb5tJ+REoZzKI3GT8qjF9+iGtxUUA95LL3Xyz9gfckz
tQI8CE/mxcfFA6MUncAApK7fljKsmye3Qfd8ioAYKRCyL1tbe5djh/8xt3xUZUmVlczAV011Hpjk
IL27sTu2VaDl0APGGB+jr6V+QMM5px+Dsrbsr3vVv/YXh1aCbQHj6lhuPB0hJmQlX0vM2OnBmLxw
8zBAizlON2yu3TenS15kCX2Cu4HMO0zII+9+6dOd1f6+vK1rN8CpiUVSXXadmAYdu8oxky+BotKN
nQ0QhJf/P9LOY0lqrunWV6QIeTNVma5qRxvoBiYKaEDee139/4gT56Nqt6IU8DJgUhGdym1zZ65c
64B6VjXP7MoNsBD6IERMSzRNQPA3iggxqVecftIAxU/ONb2Lcme7TvU99K6s1TlbMkVuFV4iQMba
O90xp0p1b/T7YjNIX/Nsa0xgqeKdRrfcMK0B3xYiXZrWZw5r+nbg3RCWh94YNgzTA20TKXX57Jb3
+C6K3rrycHnCls5U+MXJn3C28TgRgxClk00PsgLusdZA9jizdFrF9ESHo75uED4ba5kbZXDk7NaU
bDp106jtk23pD+lKoWRxeE++ZD4gTs48WHZ1udNk5MmD4bGe3vLwcwMyYIypjU5rl+bi+DrwhsG+
pkNlL4yvbWh+BVkDyKAJYRXPkvQt7NOfc8f6LCUAhi6P8oI1wiL4PmjJgwxIJLSSQ+hr7DwqIYJM
X+2i6Q5qaFd0QRfxY+eN1fGyuYWNDhLeogWQw9R4p/cU+F1olw59G3I02W5bxqC5FBWJxkZf45xc
8oxiHcryBuQHCIaeT1qI5qqDnFC5UbTiKqiyXdZ1xyG0Dk1br4Rcc8pBuIeBNNBswKsddTyxnNL2
PUXHGlN21BxSa7gKrDVCvqWBoyWEwicbT3nHz+IFklyaGuq0UcMzGTmTHyhaIaAyWT8vz9DStoMn
ArVTDhRaF8RQpiTpVhRVX4J9AfkstzcAKnZO5x0L2bqSm+o+VktUNYu94tk/VmzPa1scSAuCWQJ/
pI3Ju5zPGVWbNgqsqdyo3rhrvGmXNwk0Y93eLKu73gy452s3laA3S42rbAyilWzIwkafJ5HkFXBQ
uPuEm75qs4aGerncFL1JX8gwQhjQd/eUeYKdHkmpK1utsrvs9NLMntgUr3vIMViUnVJyMSGqZH2V
eQxlCfTQl80sbYeZ21adOTroLhLOsJQWPsny1LljyrmS++GtVIyDMVUHU1P2l00tPX3Qp+Eysjm/
iGTErVc5iT4ZpOPyXt1kwCn1Tt/6oDtp7d/GMtDWttym3UtMVNF1/tV/NC+4ag+gxfwS83U7WDt4
qGnoCPt9X+hgS0Jp3HCYfxh8aXTLyP9uGdGtZ1ffVz5iIYqir1BDTBJ0BJl54RinmXECpmCUG3o+
Hkx0p8mtDHvHK78po3odedpVC3i7DRzf5fhYCdKXJptGgpn2BAwf3bXn+yizq9GuHKvc8C666+vh
CZbUJ8mXP5eT8+Wyo0vL98TU7+Pk5G4cx8IGy2JjqinoqR6z9EPUmcHGrPS1XOzSMWtT5gQAwLjC
eHbulTo2tga+n8uDhChPui+9brxd9uZ3IkA8gRzwEBaQ1VnMV5i2FD7DaYzVYlZSK/WtXN5M4482
PiSJ5mb156Axb0z/01gcveG5VH5ETrEpkzup2KfTwcqu9BEw5q7wr1DV6rWVy/P9rCLnzZOOlIkN
57hI/lgPhq/nHR3fCt1zqHK1qb8Z1bfIebo8CIt2UKJE+32mmhTFVgan0zpqgjD5oMRuUJSIeopX
cOitigssWsIlesl+6/4K530gFZXXh+j70beOeOET3Dyj92FIv1126P3CoVXod4Z7Bh5A+3O+cJwB
7UzbI8/U9ImJFHQDl4XnrbWyLznDTiCZ/pvKVoxX61Yy6irghdEVQ3JDWCrd5ZVKjy84R3/s65U6
yPuNN2dxKbHRJDpnV4WVqnjwl0weKYfK8oif2iujtTZmvsYftTR2cGfPbJ8afali2zK8KVqcZDy+
B+uQej/U5PPluZkP4/MNhxs0luML3TpEt+dzg+BpN5opjcqpATGj66UQQQQ3kJm5kX7U25+XrS17
88fa/PvJaaUoXqglMdbC3thNMpStibW9bGI+W985BL2Fo+gGdRVxl5aONvpTzvtIbrV7KbF3Sv7F
GZ4s9UWdWuhLWp6A5Rp72mWj7zDoWmKXptHwAOylQ93uA+NqhFxoSK9CEzAKacdirUtoYfnNwrjc
bfBEk2+fv+hkJO0hiJxu0Mg91SUiC3tpkrfxqtbUghXAXrSHmPrcteAIi9wb+nz0W8LexEi3Zj7Q
zCuRl4g26hi9jpH5sctfDCnZxt4jHS5vKNvf0CxSOdq2hH3r8sQq6vuZPfuY+fcTl+uerLg3x+CO
8yihEFc0MB2H25gr0G3s16zNbzogHM4k7ZL+bhjGlWNsYTB4EJJP5vKjU1Ds1FEHCJejfCghC7Q/
8m7zodPv6k1cJ2sR3Ps4WNWpdVLGhS4bUm5h2PNCCUPKctUmH5HE69BKdYtJfigt/80w2w9xGVsr
SIKFjQnEEuYAIM7Ub8RSgNEgpQklVMUCnm5Brt00Wbm7PH8Lwwc/AWBt+qzYl+LDpg+N0I5UFW7D
/GMxPiXZ1fj3uJKZZJFdAWURfKzi3p8MOy692Kg2kBFsBwhMoNWFENn/e1VZ7FAFnzFuME2KoxW2
Sef3CXZKOMThMPe0QxkebWl/ecQWbrT5GWhyvcwEgmLVpMp4kNLmWG186dbMntTyMCGQuNbvsTQv
7GzUEGWCLnhyz7eVA2/eUFp6xd5uafCzD23j7MNe/+tMB2PGUp7BcrSHWsJFE/t6SkWQMUsnRDUe
La906eO1yZH9w6Cd2BGumDGFjTsPsOOl2j6YtQcs8xMUYZmbjyt5h4VT/8yleWRPDqQwNrTIbjE1
QitgIlDbG842L+HJVrqXynxLKqSt1wiOFvLT5wM5r5oTq1KTaVNXYXUC9QPHnqP+HBUIyziIctfS
j/Dk8UhuGhUk/RGissvDu3BQABxA+g2Q51xeE46myqmrLMq8inpKtAGnA0L67yeQRkyLeiR3jvJO
5jglr2EOc8EqQw5lBBZnfYmS53BaiROWHCHkoR9Gs3ksi9wQnRq3RZ6F9SYsGxqBNj1h3OWhWthY
BG5/LAjvYFQhJigAsVA4R6NOXKkG7PYvXnCkchTNuqaysBhKrdB6+FHrTdIhMUyZS1kT01y4iziv
/1gQjgdpaOWhLLDQOw9hspMyWPFAK3tupq0UmpYs0flCghLSdxB084ydLGxtGFjWUGtuxvSmasg/
EUT8yMNt4x0uT8yaIWFimjYNwirHkMMK6xVENHnOUlcCpbBW/lxosqHLWrVIQejz3WcItijgQ0Xc
lzUqez3ybZ/L/N6UYCt8M8YtzM5N/6brb1N9z2tdMyoXCHhrr6zDpZV+8gnmnCo5GdcyrVp5HPmE
CZx5Zz7q+Up+fuGegjOB2r5J6DCjoc8NSHKexUhE15tGUd2esKXyXFWpXLrxL0/cwoF7akgsrdvS
WLexjSfyCOQbDvsbPbyeX8e8jA19rwUr6Yg1e+q5Y3kuKZ1vYq+NDlmxrXRCsH1qbBTJLdJf1tpi
WTowTsZRvCJtA7yU0TCOE8IOMk3n3/3m4fIIrpmYfz9ZC3Wj1Tpi60wVHNzDS6rcJ2vIi+XVMAO6
yW4pvMHOTfRlFIdZiBcz1qC8bf1doF0NaxJEi4tapw5Gow5QKlFCgQqUJU0tjgyRDHI6dZ21QuyC
BbjC4LAgKga5IqLX4rjyklIdy41JAO4C0tlCIF6vREXz9hdeq5TWaLaFz4dLT3xT6FY8NZGjl4jX
VVvJvKriz5QVJrQQi/ZDsIYQXXKJrBKPCpvqwjtcUZno5lQFZPDMRJ6ezab8NAZO9feJEdIwf4wI
Jx6tFxlCVCQ/+7By0Uy4bkydC8M8XF7JCyM3Qy6UuSIzl0qEQ6eMPCXKEJfe0OgW7MvOAmyDDqGb
ZfmHsnLsJ08vy49hUhorhhcOBZJyqN7wOOOFZghbqOkCr7WBXGxC+ejbu9Z5qMwrJbor4691AyPI
42U/Fy6rM3PCDa/7uG/pc5vdaO5aeRdLxS4qK6K9LWohK8txYYGg1UEzmgn8lcSC4JuvO0WbOh2x
ZXns0niTgCq57M7C6XBmQXDHShIDbbIBdwoAJFm8qaMnPb3L62F72dDSuJ26Mv9+ctIFPQSoiJ4T
qMqPdZ+7mY+sfHmj5PAw08132diaV8KaL0zkeXO5rzbtJJUf0iAedq1U+o/F5DzKWaOu+LZwirPB
5ioSMmfzCXju24jEXDEamOucxyw9VuEPp1tZCUvDNxPu6ZSLISEQwZxdGQ/pqE7VpkbV1nD79tDH
YI2eu7/v0qBD48SQ4IuneoA6YwzZ0QFRmEh+sLqt3m7H4CnoVgKVpeX9xxYR8/m42W0XAUTEVjM8
h/21/Q8pDgpO0Ehx683dfUK8MPrBMJitxtHgV9QqXyN64GVpJVWzUN6jxwRdHbYouZp3VGl9E5QT
ITtbyN96wzap061vurX8ojafm2RnD7egsCbn1+UlvrTmTqyKsVcKh5laz77Z+Y8iMV7VSt3Zdfb5
v1kRnpd9njhF2uMbYeRVTItEmuTXmr3Gh7h0edBOPBeaKDNRbT9fCJ6TQS6k44wl/8qTQ58+TXns
dpU79Qzk98s+/Y5FhEse2Osfa8KZpwY6CmUh1igPm1/HNjZuYitB3yI1vAkcvqZBQj5VD43iGxsj
q/NbC+jmEQBAvZOlJNwgUl4fgyg1t33V2LsmLn5c/sTFyQU2+TudPOvPnI+HFiZ60zsmX5g+9PF9
Qjux/PQPJqA3QtXDIMkkmujsxLfjlEEwJuSIu5j++7pwU89bCT9+x2XiaM80bkh+Eh+QnTv3Jcy1
bEzNkTssVndd89ryPmgDdRtFzr4v31TLccuu3QwF0BS5u2u0UXf7ctrX7ZfJfkiC6igp+jXJhw+G
7G0LZ037dekQOv0+7fz7+sBSSy+i7zaPXxv9Ll0Dbi2t7dO/P9s/ufhyPdJjXeeQUzmEtPQ4Nd3W
Cq6j6MHrgNut5MCWVs6pNWEnIcMgRSo4Blq0vo7VnBx4MdYAoEu366kNYf+YrT31ZcGIwfIWxR81
XnrxVh1XFugC8kalEAo8faafpAAtTIwP0/6QJrgyqS+9b9GXeayAt+bWEe4Ns77WyYmWaw+yJd9O
jQqzVTtaaXsGq7XvPiXxRyPhtXT3D317uEbIOvNIE/aLoLbQarsU0n6sFPEuLFP63LqXKft7+ctz
M8L9Z6e2J8clE4WA1JRvnRHpl2mCZ2t00aF0dW3lPl+eshO/hCmja7bu5d8rY2zQhATpApqEV8Ft
qkXbfhYcSaD9zoFKO+UaX8TSyj8dU2Hm1ABkuyYzpp78GLZf4vaqGq4vn5lLQdipCWFzSaqVT3Ks
EE8MyVNnq+6IZn1tVR8r+iWoDKwk4JZOJqDPc7UPgo93OLpykoyw9jBnJtLPMeq/ZwiTXPZocdA0
3msQbND9K2Ibet/r0Fbhfg9L+zWETU/JzTs7MFbMLCXJad37Y0dYiQpNfGWVYCdIw091+SlsnaM5
JlAsjBttfB0m6Urt2uc67Hd+P8sChht7TD5ddnbppXj6EcLq1K1UCXt5vvJG7UPrBehZ1bso0W8l
07+mSLIz0LPIMX/Z7NoYCwuzi1UDxm/MxpXmkvFxCwUYlnm8bGXNOWFtamHegPDESpVsbNwYPmmo
s2sASL4l8Y1HGfiyvcWD8mRGhUtAzs24DKzZnr4LvC0Qp8x5pdXrH6zQcsXSnKlmROHlLAlklNJ5
NWbarTxcGf62b+80ZSXKXQzh6S8FZ0lZj6ypEG+FvkVP4uxMmL9UuuqG19Uvy9xa6geIDqxkO3Tf
xjXt2MXD5MTmHDecxAV+U2vWWGATdaY4+jUYrduPr05036zyHC6FIGg8gzKm5xAshuAe1N4W6WB2
n2HfVdldG9xV+oemeNGmR5CIfz9jp7YEt1pVmsY2x5aeBG5g7gpvq6PDJfUr633Np3k/nAwfJEth
biJFtQnaZJcPNtJKP0JThbagoc9e2xCl7P6TZyIyFbGUtqz8eRSLD7n/0+o+hfD+OPLKAC6ti7nu
Dw4MWn0u03PHENmVe8minmhY8Hwm92Z/PcHA6jU3anF12aOlk+nUlDBXg54MeWtiCoUoL/8mW0fD
//nfTAjTlOWgTHk9E+kosMGED1LxVg5/D+adQRn/GzLxLezUepx6yrzmwlbfRTIMsUqNPkBI6fKD
4njy5rJTi2sPoAGZM5p5yWCcT5HZFDZItvl5NqgvE72um8kctlU/3shJRiOG9kqP54rNpfMWdg7C
RUpxc4b93KajB4pf9RR60xweuvlEb9B22Cb682Xflu0A39eo/YFFE3zz4V7SaZCoNk7WH5Foj1Dv
dCR/U4wri2/+Q+K7EPAmETCNOjM67NwhEA1RXU8MYtl9qwsAghot11dDvIMQSct2yppE7+K+OrEn
XFhpkfm9OmBPnQ5572rq1m++WMpdVvw12pjqhALhwyxYa6E3c+6YmkpK0oRRvckVgsNd39x5iIKp
x7+dJ6zAG6ASGpIdFjFJqR4b6jglqJ1HNKHdgsKthq209tR7P2jgnkjpz5L2pPVFmQ9VdyL673Xq
2dUWEWOEv9ICVsyHYq2P8v1RdG5ImJ3e9gMQMRr1I+0NqvKUN3L9/fKILZkAJq2ToSW/+a5vUbGB
2kudXbOkb2vll9m95Wv8PSsmxO7awWnjRp0woY7HyDhq8hX6upe9mKPF820zT8SMoieZAiJ7nrGT
e6+QylFuFJtUWYhMR0Np3s9XUjZLXpyaEK4FX4vkYQIxD/gM8qzCP0DNsivb7K9fU3iiyTKJIQgw
lHdQVy1pmrzhRMt741scpATHNAvdARZ66vvG3meGurIC3h85WNQ1QM8UEnVa6c7HTh/hFId5kpgB
oEHi30+OedV1dHcdg0Bzm8pN16pF70/TM4uakOH2SujE226+Yeluz8vdUIZfUWC8ncxurcHr/aWE
KVgAodsgcUiS/tw5tbXj0JsvJchbbmK/eTJTknpSaX4ceu+plbttbo6fLi/Gheb6c6PCUqnlEi5W
mdvC8qeHroCeIbXf7GjaONbX0bKQrQz3Y2UngL2kRzOv7xFQuZKtT3LibR29u84Ma1/E/sqrYXEB
nwyFMM8lMCLPS/kqpZn2XlvdD0CB86Bc8X5xxDkbSSVr3MpiS51uh21rD+yTdPhqNrqrI+SA/iZk
HtNwqC3JvTzYS2cxj5Q5PU6H+zvK60aGFDGy8SpJvzRatreV8jGdfmWddkPn+0q4sejbiTH1fDWV
julbFHHJptSI2GTxIa6PsoNoyk3dHBV7jatkccZOzGnn5iq/Co2qYignz3P7Du0cQ94M4VqtZs0r
4SneSqYsdR57ZGgcV9K+BeFWkr8p0Wtn31jSj8vztbj3T3yafT45qTtk6Z2Q7BB9I6o7hOq2bH74
Q3ZMyPf9N0vC5VlLWRXKcyhlZr/ymFKn6sb1x8z+e0AMu52TBXAqnTCocp17RHOkbkWKQ8im6S65
2/tmSNygjg+X3Vm84k7MCLNEYydRVcHFUDSxvPXyUDnAeaDtLltZXgt/nBGmJwt1ubZbnDHrWxr3
9pr1ueuPRXNlSpvS/nLZ2PJagLAe0BA6zbIQvRtDNjmexPqGX3kjtUQ3Zu1qpeUG2d/TAjNJcFfZ
c8Fljg3PJ6k0B0XzTEZPDWGlNZ+08tUaJEienuJM2SjFytpbOpV479PZSM8NsDpxGLWJql5AtJtV
hhtX9xVSHXnxOHafqzWKxqVBBBGt0cJHW9E77fZMb0c7ygh5c59mza7y1Q+qGoVXWWE8QKLVfLw8
Z0vLcC5IQmIF7z/49fOBnGEzetr4My9LtEtV/370h/1lEwuDB54JZ4AQI7UlzlVu+JU9RUBSHekx
7O4iDQ6PYmuSvbDDleW+kOOae8x5NNA7Qq1afG9VOTdZXjBRQQT/6vTmFNIW/UW3CMd9SBbD0mAs
lvuRHNj0lBlrADEgWoyXELnSekl7Fl0bMAmLRY8ot9PRiGOglyrFfiOKgi+WP8Y7penlCdW5OP6Y
eVK/kzU/P0qhlr41uW1uOnignyHqkj8iYzHd+yNV2DiTmr0dhQZPH1u67bWqu28bpafFwMhZEYUW
l2+08Nef42TQNkatFJ/B9NvBZlAKCe6bfPguS5LxVJe2dV8ljgcjZRocgBcOP8PWTLX7wdPhOLbm
OC2ZZPOXOTR5vdWSQD0W0yDten9KjpMcWCkMnTFUj3ocRLdGQU7KpW5lyK7RNeq4HYfRtEAd6Fnv
xmbuqFfwout0dk2pHuwipUDYtZatGphtH/S7BJ2ZneV53a+uHZzaDawoCDdO1DraxkMk5Tgq2nAT
KVJ6Wydp/9GOp+KllspP9G8/YKo7DHlmAdSWp6lzG8uBGzJQ01lrStX2YdcnX1ursTeTUiRPLcnu
g187Cm0MKryR2UD6H0BBWBU73Yz7DuivbF7pRqLtzEiOjkqSqbtE4VVrIjl5zaaR4BGo6qNUdeW1
0XX2cQSG0ZG3GoJd00lt8xZ7reJfw+CXgNNMCxvBejPMd6VeWdp1Hwzqponz1HG1AabiTZpU6JNQ
BC6e9SqMntSMtnttqruPaVFBpyM5zn7oPNABpWW2rq3X8tdhjCATatHgMLe64wMKVCIv2tP+TdNm
WXT+czvVjf2cJEM7bjo6a16zvkkPhQ519sac0ngPEdP4Q7Z8MDUV/f67VIq7T6gNOepWyTwzv5pK
HZtqZQSvKCaW9rXul85Hgu70MMKgoHpuWnra3QSBmONCJEbfRqa0ze2gFlZ2TRVH1xHyUeVdVspB
7uYOVUZXyxCFd/PMseheDYuCPdjn3b7NMv0lTP3YQ00ry66lVJYPJSO1bwizf1RJofNWilUrc2Pf
+2h0mrLtIHO5a7Vm2FPPVq/rICsPntQ4t1qfhCpW/RgFD7nxD03SR09wME9HoOrkuqchVHa5B425
Pky+WxVOB/2UYfT+tkis7oh+PJIAQzgo23LSlF9a2EF4U3ch4VOnDp5r+oN3q0lS8ixbef/Tmdpw
NzpT/Dj2eXMAgq38hKit6N0hsqebOIu8beob2mNZK9ImTKGScDW83RtlF4MdlfzqK6zVoepaaeF/
UaOIJGgRFnb/4GVZeg0MVCIxKjfJo97XznOjlv5DCsjgSz/Wo7WXY825mnrVyw6TJdW3gZJYXPBG
6O/SJjYfuyJB7bq3pUS5beSkeDJo4bhRJTP6lRsEh24/OeSPdb3ud7aftY5rxnbXPzd9lmyiqGyu
zckat0aaRruYNqFx7aBeuOZQgIJ2YWZJQylZiLJ6x0oNu045ENpM3koTfNZDuhktZwuKA72g6JNR
/tQRKnUDjszWja+/j36+zfI7Qx6+X76gFpr8eJqffIwQi9WyXNR+PN+5iQ9vwcc0S7eR9XUYtO3U
+r/y8q30jdvAI9xsoJ6q1161i9fW6QcI8UWCIrudDXOeq4+uo6zdtmW2zWoVnKmOjpFy0PVmZybB
NqUOAEfP68oAzLe8eGvhPymKmbgYGsXzKECSygiICreWWX2PA30b1MFey+qvbfKao6ziVl2+a8zc
3yZF4DrFsBKELC4GMhUWIS/vPjEBB94MFS4LXDXo4A+G135nq1x32XVGqWPF06X7GfTV/0zNn3Ly
XsklpA6aFqC4VJTb0NnJUbnL6cJBKHbsXszwagiuW3Ul1l+IwmmXnV/P0O4g9yAMbywnukcemPCR
y8+Y+hdU8g7TJEMOlVmbooqfpLW+0aWgi54WWFXo34YHT4jrAl+SpqTFZFiHmx4tZl8NYOQ7esmm
WZNUWYghFQSjSDsqvFo0kZK+y4JaL7SRoEt7a/zetdYajpbWx6mBeXxPJo1jUC1zGwNtU4Y0Jurp
fdZ7nxN07nkNJuX28iKZd5u4GzSa7GCN/J3aFqYLOAf3NoixTdY9V/1LEL365kpacHHI/pgQ22OC
URoLqcfEoA1bc6i3dXX1n5wQA/vMm/TeVLHQVt/t7tBan/6huIGQxKzMQSGA+oZI+aIB3RjjWOHt
EAage9ARycvalRTlc6YWt13QPE4B0tJlv1YKW9pP2kw5hoAgbVtiV2+sJTR9y2q96WoF9oDvcroj
UJOCaVcnHwd5Bfu6tPpocnPQCoOVjBV+vvrQsWtrbb6qYuVjme+S6btk3RCnXJ6vJSso3ShQcrFf
yTGcW2kDHpgyMeAmyj7UdHd6g1tqXOl/D2nQwAr/sSPsJaNwmj6MZbyB/FnOrUM9Jbc5IWOSySs1
oqVFjjy8TfQz7ySxgjhIFTqwAdPE9X+b2NMtJCuHy6O2tFWhZ+TemJ/nPGDPR23sZJ2rm9KN1Fo+
fWaZtS2H0NtkKhWjfzA1L3Xyz1DsiId471RxkljOHCTUbjhcZ9lPFKsu21gcMbrUZ/E9+taN+feT
g25UkrZ0Igl3hodYNlxPXQGvLY7XiQFhvPzAD7tm9OqNT/mYRipXL3s3WdMlWGDvZLPQHwq2mP+o
WZ/7YYZhGeSxOfewyeWhzmIyNUYzjlspiKRjkPfNbTSVZEELzUiVjW/r0fNUyvWnvEc+xUuV4ZBr
U3ZXVFDl7/5+jE+/TdgAzWRX0AqyZKqsA646HHOpX9nLCxDB2X/klWbGIsr2wg1SylGo9TZst/Gk
8yrUnpXyS68GhxgdviKj3pT+LAr5sTOClVB2aQGdGBZ1TcBA23U4MvBepOx7K9hnyprG2Pzt4u14
akI9n9tmygOlMA0aBjP5pSnUg+/VV5MVbApL99249OFbNh/qQv9yed6Wlu6pXeHFkGgVcmoyrqXS
Q5l8L6Vrq/h02cTSGQxcdZakRasVSa5z19BNGGzLY9rofLJ4ZBofTNAi8ufLVhbn6MSKsABbWDbi
fMRKH/6wi2O7BnhZ/Pvcyhy9M6jy92Pj5BCZzIyTMmePd+qL1N/G8srqXpwIEypQSuX0M4kJ8grc
jjWo1H/bCmk7aXDH8rGb5JWU67IVy4J5lmuX18f5XPR9wPnQ48VYP+X9rhwfqnjlYl80QY6Qq4Ng
D8LucxO+Yjdd03PaluPv8OUehDy8V/W/rKoTM8J821PK37XwpIyOhh7TfnDQzRc5XSloLy7eEzPC
gDmJTDYj9QHMjIe0uI2tYyuh4bO5vHjnj323+/9Y0YVab++E2ZT4WFGtzRTdytVXyJQc5WgPO2WN
FXnRI7B8/EPGBvzM+fzAQ2kOWh02m0i5DSe6VKL4GFU/aEZcwSAvJgCQ3/v/lkSvDBJFNoc2Xo2b
ttjb5o1RvCrja5Ad4ywnTDo20WOKXLO/VhNcHM8Ty8Jp2pFq8JsspoczACLwlDa3WvsytPdpdDuU
f4+641qCc2vm+gR1J+7chK5OMwMoCYr1Q4VGsvxQ9a6EAPfaHbu4s+Y4diYhIJ0w/35yBBFURGnk
MXMh9OS1rri9870LjpeX4uI5d2JkXj4nRmKzalonYtIkw3OV4Ymc0WUD8/4X1/pcY4I+Rp4RcMIb
Oi66FFJs5mbi7dyMwWbyk7t8cDZ+UV9lVrXyJlxa7qfmhKXgNxqIuwJzbeS5ie7v2+o3yeAa3HjN
LWFyZLtqkLPEjmN/S4Nr+q7GhHTsoY32l8dvaRWcOiRMkNP2Rt80GDIoC0N/lgdXar9GI75AdqHB
JDR3f88Z5/ew5jptIYKej9ds50tIqiQ3fvJa6UeIDNvoRg6eJN2Fmi3UbyP1Y5xtvGAlqF4a0NMv
EA542aO9qm/4gib9kIzPZDZdsuskg1wnCv/hWqS4wMaiD5OcixAFWXKcTvbA+RuOH1TpR5nutbV0
ztK0nZqY993JvpKqulOl2cSYK49ZhCqv6e0b+PMur47FpOepHWEdxqjeFG2Gnca5cpJvrbSju9PP
f2kG/XHZNhg3qfNhWBPjXjhwWSaaiqIYzJrvtCEmxEQJCLCqVKWrKN+7FnZh+AeV58GjLNiu7IGF
TX1mTtjUXR4mCYUsciR+9VBm2VZvon0H+pMIamVAF87DM1PC0pgIyezenMOZLt1VTXzt1+bu8pyt
eSMsjaqTLG1sMNGlHybldVSe7ek5+4e4DEcg8bbR7mCqhHu/7HXHzCeuqaF/pjhghMesWZmWpRfa
qQ0Rs6YgQpU1BTfUaCdboL9bx09daOm/NFbuqn65ayB/QswHjrXx8fIgLr2Oz2wL98qIUodj9NiW
9c9Rsevj66Q45OHLVO7q4JNvHBrteSyPfbHV5UfNXDlBFk6rM+vCioy1QNfLgdFNfX0TyD8qpGfj
wHe9XH7JizViljVr4qJ0kiCJ5xgOygpF+6l3aG1nnSunN5SXV8Z1/nLhvua5TRAz91Lq4IXPDy4t
KtTO9vDMGMt7o5RuZVJcfeM/lFFAusv7kmdUvxvlqY+9D7Yeopfw+fInLBydZ18g3AR5akuOEuNt
NFAxse1eofBWKfAGlWvdZosDe+KssEmg9ElbOcPZNjRuAsnfF7pxrTmdG6sJDWg//sUxkuLcsLDd
i5Gj7E9BksHkvTHKIzSHU04x9eqyiWWH/pgQzpYkRC9dGjChUKkeLLeIJ1IMt3F3FcUvl00t3gEz
RoNG7ZmGXViUMoXwsDIwNSYHNBhl7QZJOl3dhdlTYZYr+215u8P2Bv5l1vYT+UxZBGWvygnHGbrE
NbC/3Jwr9pMbjd1dYtSuAWRUNf2dGfqbRFHdHAXt1ngDTbMSMS8O8cmXCFs/CJShnro5wgTL2aOe
k9FFRydRte2DlQN2zZQwm7LaO40Z4LRkoWVogslq4m1VtW7U/YQmZW2MF8p6KvoB/xtjIZYoIujI
jQJzo/Q6oEXa0kY9cxf7kAF9dMwHOhXccI15Y/E2tGFqQkqdPIsINpIm1WzzCqNeG7sjeQrbLB7p
G1DyNarfxXPlxNL8JSchmWGUNLbpWPLJf4U0J3SSK1sr749lI5C7oNdtA10STpTQrpvYkNNm0zeE
J3axj2p7H8hrqhbLo/Y/M+LNG9eDNMUWZgYa66Vt5j3AKtQ7K7mdNSvCHWvTjRoMScaIxQdj/NU4
D1G29Z2/F7YkkpwJcf7fmGnCjrLBvYwKnTAbrp7mKNfhm9Rl5WsWRz+VTgt2l8+tNaeEcytNGtuJ
PYbOi3+Z484JP8IQkPj7y1bmrfnuGnUoeM19+2AChL1kWLXtBCPv6sQPtJ1emP5WH8N/CiVPrMy+
nizpcHACQCqcRSE6STzhrlS0rTwE4QAqXfZn8bR3dF7xcyWcbpJzS3mShpoyn3qmha6QSqkImtZv
DUvD+SABjv5v1oQQYNLbgEwTK2KomhvN62q3LGqolDsFMJ8mI/bYm6GbOk6+cgYuLo4TN4Xt28Y6
6I45W1GNz0VKXyCgnmy6SlRtc9nD+Q+J6wMaI0QZuDlpwhDGU7e6tslCtlZmg4tq0KnNQ3dUpV1M
BlCe6m1qO5teSw6XzS5NI8x7tPADrYQBWVj8Zaj7sBKw+Jvh3kk3QfXsK0c//R4Uo1tFazKViw+E
U3PCBZZDoNXJHeasAP4z497KIjeXD572YPSfwnCftpss/oe1c2pT2HldAdllkmDTb9Ae1o9ZlbiD
cU9oIFuP9hpCYOkBrs78+9bMNmhyiP0fade1HTeubL+IazGHVzB1VE72C9dIspgDmMmvvxuae8bd
aJ7mHV9bku2xR4VQqCoUqvY+PxjjiF50UyuRCIqf0YmgtH4jIN8ZkkQ5MBRroBuOpmOEa8/334Sz
lxr0WzB/9gca6EIFwX1QsBRyYv5VVs8U90oB5IImxflQhO3UpqTTK5SS1k6pdX6fKz6oi4lldV5Q
JY5YKJ4urEFGs0lfGxun3S1twkIRoN0zcqNy8FDob8m4coKWgiOUTIA1CuUTeOflZNQ1OGPrCTKE
CP1Yk1UIpImGHu/XWeeiIO4GrLPDCmaOtHh+ToRyhqnPjVkcwwohklE+J+PgG1HnVCjYjePSQ1ui
3asomaY/KjHeJ9qXks5HVXrORIEoAEcrAB2rKvOhDgr/+rleVsOTgXGGS9TDbuwBWGcrI7BohVe5
2/S9n00fqhaTAlgZ1dFAOVi3vS53caNB3sVAQ0G9xhdcFAkuwahMxnqMxUYz2o1shniqXnuNWzYk
eE+EzULZxUXGDpWiOSrvcKj7erJBbmej0d1t0TamoT0HUJVPalQ6vYFK0jlaWdolT86eMv8jmrNh
6oD8l8VsWKf3u5jSLfg+VlR5eRV/i+BsSDEwSOsUm2ehKhfElDAhKamQ8f+TzfothjsxVYG6sgwZ
GztOR6exEjfTG3cAZvN1MYuu7WTBuDOCR7rOaJhrM+OtNntm+WDB+KeHpANb5KZba5xcWzxe81tA
mZQT9ieTnGY46vpBHz+vz2hFBfhCsyQJBqtiAapQPo3K7WoYt/j9gQepoW0axVg8MCmQfREuzmwK
xW1bP1Jrc338i1YLhDeABkJPDNAHz30UWGJKI2twSlsxPQypThQpedSqJ12tNrWe7ftxrYOafccL
B3AikdMBmusitWRI1KetDm53VBsIG638BDbF9akt7v6JIG73B0sMUQcAQZF52zUaKC9RVrSGy7M4
G1TUop+IvdXzriYdZiEBFTJMwAAHk2fjVpyATBWJbyJQhttZXNmvpShUMlHzAw4y1AjwnVJqVwZB
mddsUptGfTUlR7fweLBiuxe1AtiGCD5BjYKqvHOtEMoAdCg6li7UM6duB5JkFN4TPRHhpohqIpQr
d4jFZfwtkK+ridqyivMBAmnpm/JNXbtt+Us0n6Q1hKM1Qdy9NRRMcJlSNjMBXBWtAzSzNH2XJdua
V16tlk6uYgAvG6R9DDGC/f3JBSxsMosaZo9SIRldvb0rW2vv90sS8HCPmmcGMo3zey6hAoqkZRXo
VMETiD1XaCz4g6JJlKBg/OhrAgWuzgWSaiMpsxRAgpX2djigqs2JEMkKw4r7WXTiKGsBzDxwQcyL
Hrak7ZOADkBusKQXI0Pi+JduHPr0KZVfEs2J0l2/ltJiKsyZIQ3BAsCacGmFA+cUIaibPBop2OtH
/bkEOkl+W6k+LlmmGSG7dWuuGYoFa4SrPt5PgQkOvjk+SynLgHnTJWA8izTv/dECXDGK1nv4pWzt
XXhBL4BNoCDVi5sH6ofZGTjRvCyu4h59qWjetETPrKa/ZlVcUe7F2ZyI4Ix4EfewfBpESA0lIA52
2uG2XwN3WbB1JuCLQBsCY4e+YG6LdNolSlxByKzgbhiiJxnTST08NFx3FEvaB0G4KQAcG3kM3smG
Uq406DJj+EK7EWQYeLHpVV8JCEBECtTeZMcqerwuc2mPkHCEuqMXH0XP3NwAj1Elad8BitnMvSKo
tplRr9jUpcAf0/otg0uezVqE4v0UMtIK8AIgnFXQRl6wxjivbp0ZDVqzE7VeFP77RCcqigBbY6Gq
CP6Dt0tWUcWWOdQA5bsJgl/x+FiuMY8vqgYqy1BqjUN1kawQR5BiTnjmtdvqiVoSCZUPI0tgZl+u
b9OSnoNw7h85nBGPihgtWi3klJWdKmBQv5HalQh/qTgKJdyyjjwBqnlRlXx+XAUjzkYQD0L78vJ+
ToJqEwDoo54VsDmIargB9d3s12JVHEop2oKH7Yc1APWwmMP84fpsvzPqnFHEUICWih4aPNzwOSBJ
LZRASkdgkGdjmJHGMpqXoYzCOyMbq49JLdBomQyVAWYGXUudvinMmyiNdFvp0M8IWq6k2OCbl36R
Gujqp3BOh9FsBgP0cXpYknie70LGNxwL1egDbZAeqihsnzUAV9aok64GkYihFt8Vo6p9AlvYem0n
GYlfsAa/xNYgVU4EeK77OEglKHBNRhC4AZhUTm7Ljt0ggmoyQVDRx16ZTuXXEAlTSNDoILohALHu
pIIikKFSJ+9kwG78QfEIlg9IZIx80wK9zvlOAjaoDEUT2oLX90Mm1b4oFIcgDP/A+OLpHphNYMbE
sDn7ro1hrlfJzFDrjNsKmCwTXoGJBorH6+qwZBdBBoXEFd5BTWDecPOZqTT0Rs5OmQWeAqvLkCSa
dOpQo6ePddhMZA5L2ZYzaSA6cMNdGfUmT9cHsRCwWUiTM9JseE88J56vaRSMVQYoIUBEloivlcek
SglAn/vheQynFYu5YFXOZHEGUw2iXp0myBKsnVX7WtQeQWeZGcJKeL0oBykRhDqIry9oRpMeZ3AO
sa5xJJv3k4w3Qk0AmpSlA/dg1rXi+foaLjgbYKMhHwZNx1HiGSCKMY3Rn4x5WWC3HRSUQQ5rN/sF
Q3kmgk35JOboWyD0TcAGtgdQpSWgv7akyWn7NVb4ZTFIKiGOgu/kQ4IwNqVyYqqv1u91jo7i4DER
fl1frQWcWQYl91sIpwZ5GGlNwtSAGt+JCvQIjelbIW4l6VnJfA2QKFWPV7ybDoVVa7qxcPWCcESl
AElBFRrfWDhHQlak34DVegPmt83Q5MDNv0n1nR45Dfrrr092IQy2AN4uoiMSrOJY1fN9y3sw9041
U/lq2AaJ6kvj+BPPAPsy7A+qWtjirG41ZXi5LvYbp4HzNJDLCnMR8qOPg5M7CC0DB4O+FEBKMctn
OCMAcObebM2bxpSIMqGvP4nfQ+1LpO2jOckkkpNXmF4n14AXg8qTov6ZgtJdbYZNBZS8TO5XUrpL
yoYEPkJPhpKHVsXztclQ5ytSDWsjt/F+wKN6WY670Xi9vhRLO3AqhTs58WwWHXqucTibarhRgUYK
yFMzVRoi6vG8FYsmfUhFyw+NILercbi7Ln7JNoAaVEXfLNBJYOTPJ1kFoYBGIpyoZGz8Vi5vFO0P
Lgvo6/otgguisj7JFZ0dWk2M73sxf0iiwWb1X9dnsrRdODesrxSxi8bD46hTk85GV+BOUluooJk9
uZq3Vj6tiDGWTihjbsY9Dm2LCr9i1Aj6WlZL8MJEEi1JZuHoABlDGxwxT2vN6yNN98yejo9mV/U3
VZalTgbIOPwjAYMksRi3EzHEqJFJMrbA7wE2cemIWi1Mdh0l6R3Yd5UjwCMaNEMCr7VqhhBYH6I4
HoLemHdqEuRAu5aTkFAroK9tYAFeK5LylrR6Gx+Gpp7vLXWonprEmnc9Hsqdvq1mk8S5DliPEvRU
IVGqKklshNYopwXuTf+haFnYu6VclhuhkCwnHKPgzhxkCg8vG4MH/tUCsLVq7yt0tBIiN2aNbFB0
V/dAiRYlGmyFItimpSBvDUFzpWpWvKIyJm8eKgtv3NZ0C3jh2Vc1QT1oFDcTEmVdCaK+IkUh3oja
eaCgqcpmmpv5Zap1KSeDkVR3yozkOgEaSBuQCeA9Lno5+6cxGyW/o3n6QwhjCUAHsY4HSwF8wis2
cjEOMkE+LcHlgOSWv6zJltAUmYFLFErjjAOopqubDqQdWxXpnxe8iwfASCq60amE0byRzC4pAFMx
/XuiGwVPwr9HwbmlDPnHatAwisGaD2NqAIqp868foSVbZOpAA0VvIXjqeWLyAeF0o/Y1rLIpgbAu
wrW7CmGNKk/IyvdSLNH3Zm4rfS2ruRTkmQBnBdGvjMph/q3IsgASqTRIjhTSQY7tUghRI1og67ip
xLVc01LwdSqLS13kXTLmRo9lrAwKwJcuyz0guj21Ga0fGkv4AzoDbNvJ3DhPF+OcC10JedGcjSTO
WtRMTsLBjONfaZQdJyOqHCB4FK5YAC2FGkP9dX1Tl+wivgEwY1BXqCEtdG7hywnwMVmLAUi0x2VI
sUo3mIb3QGjWilGXLCNAvJBVQ9KYdfKeS1JHWiYIBOHK1OC1yPretigKcFsFD90aqCJElITXGnBP
rk9wSXtOxXI7mpRVGSgstUZrg2VaY8NRU8QIBRI4ayzRzFfxccupLG43i7putETAYgKUj2QFNrTa
XJ/N8nb9s4g8RSFacoUmgRw7Nm90oLgPw75O36/LWDoDJ7PgUbTMTrTmoMWKhcVXXAsE9xAUX4S3
Le1XWr/WJHFGC6gGQNJm69Wi96+celsdHhXTnZqVMGZFB3habVh9ZRpzzMisQ9eYvdJKnXl26PAI
PKkVf7A2J6YjJ3edAnVVfZtih8Q8Jp01kqgCnKZLm5X796IcoJ2h2hq9pip/FehCq1VkZhWVNnLK
wqm1Y6WaxJBWNG5ZDnLgSLHiGsBrA+0nABJVLAGFRHjffdUAqVI1dwy+/kDr2GP5/8rhdKEu0ZCi
GFg3Sc48S6cHUQtekszcwaGtQf6szYkLa8OcTk1mIHesWcG7juQPCVEK0tSZSYbSePj/TYxTiAkN
VLQZMDEBWpeHpNZTt5KfgmjNdy35Z5AE/rOCvCmXpzTrVAhKx4IY3egCXJWI1susTHYTp3d5XQE5
nq7kc9eksrU+0XdcQyINveGwr8luyESn0g/ggyWTBHSVHHGkF7W5d31FF4/zyUQ5TyJGgyGCHw33
/F52cLsjsdQ9pgVFlCzYbbnWc7+mLZwHibu6RwMcxGXaRJRgq/cAFgOpzBov4qIcYLqDiAoVwBcc
GsNUFtI0ISOvW+U+ClCjglYiARktvVhj/VxcwRNR3JRyPbV6gAeyFxpEc3/p4walHeAaKOxa/4Ni
dAuZSLxyAuUdcDWcU+xkc6jyAoZKU0B0PZV/GVG2o7IMPC24x1odVwzW0svGqUC+xlkzhK7oRXgV
XKy3YqXu9LjZN6G4Lbo3MCne6ppOpAhqmos4Jtn2unIuemhcgyWQ/EoWnjjOzwMdsxIswtjFTKic
hCqAYXwPtGAlqlnUlRMp3AaWuVx2bQIpIgMY7vqtGCVel+LCqZUrB3zxgoPyD+BZ4VKLnBNnV0xk
HuowhyyhdeU+c1I5RvDtyEDvq1Vihs4YKkT9gy5mC8lyXKEBVsky2efrKHc6zbMB70R0CrxRHyoi
geFLF9qVPM6i/foth+dcmSJhCHKBPeKkFrjDfiJRPRQd6U0/CXpbqz80S3WvqwjbnIsw8UQkl7Ue
TbnQBAUiM2yYFTmIfvvcbujPRCqQ11nZvzVpnGOdzYph3WIhVVZS+RgKD7p1jNTHCB276goMwtpi
co510AtdLUTI0nvqzoIzFV47I7R/AdoLBbxjutqBvCaR865pJbCKMkiUpsRrtd5JrNAdZskJcbKD
MX/O4vFW79boM9m3vbaF3JmQ0I7VmyXEhiDDymmGlydtJZBcqhm1ENsBFBDt73hf4RZTLgxYlxhZ
0Fg4RP1LTd/aZq+EjiRvkhI5BZDnevOckSC5N8WI6IAz1/ZGt1Uq8MTG9nWdXTRrJ4Ph1rmO86af
Mky41x/ybnKrdI8c9YqQxVU9EcKtaqYMiTZQzDhNd0o9AnfkD8Ds8Hgpo19IRbX+BeGdga3K2h7Z
RgFLKPWfjRoQsSAAzVnZvcX1OhHEDPhJWJSqCqqkKQShbomUaLwMlRdJX7Fdl0JUoHeKSEDLSJaD
EuZcSI1+NYBiMUOiDrbQx37ZqbjcSP96W87FcBYEb9ChkirYe1OWe7cwxcCd4jZzrmvYpUs7l8Kp
u4ACICDCYDLmLDt58lJnMaHB+6D9/BM5AN1mtcd4x+HkmGOlJZmO2EdtweJuqpvaMiqiDK0PyL41
Uu1L84RJAesDlSPAZwSpwvkOyQw8eVSRv++gBtH0qKAD13AigCIA/ho3eZzaFcW7PEPnErnNyiNF
T8NMhD/T5xvccUhrhffXV3BR7b7B+HRw3WgWp9u9MZYG6M9xiJTsvSgG9RXtL4EfpNYa4M1lnAo+
KhX1jKx2G09BXDCVVcI8SpOK94e03AHCq29RZoHMOP2Bt53rk7p0kxAFpihTA/aULsucgZtF2nTd
qMHaSru6fpX0JynZghx5UmCNVhZwIaQ6F8YZuliUw1KYIUzOHEk9KhrAM2Iiml5fo7visQ7ceY0z
anEpT+bHbdo0gAk9jnWE4VlPlC4mMyC2EX/0wWYVMnRpLRUd3S0WHkJ0nScpQplD0JeCgW0rySgo
ZLSQmu8pIFx6p6v3+ev1rVuI+Fkd5W95nM4XsaFWiQF5RfrcqiQTb/LqJ24YtlUehYmMo2d2dmOt
GKyls43sLQr3EJ3ipZJTzrEahSjNAK6HCCNIgCdvgfHHlSKLpNVGFp9NdXt9nkvnDtBlgEsGBgnq
3tiATnwKqD7mdKIQ2KJJu/5plC9j8HldxMLztiqeyOATjFSTK7mtBfaGXj/Oxex03V+g7v6psszF
JN1JlbqvNJDcm4NP0RuVzq+oM1xxOAtVT+ej4MxmksURhoGZDkNlV9o7DYr7fCw9KSjsGIR4Q4hw
+SAIsV/3HfDFs5UimqXDcroKnEKlpaTlaAxicazl0qois/o6SwctuTPGldzkkhadiuLcUYmEITUa
TFVEfrquahIajtJ9Ko2HgC5tNkb/J8bnVCJn6UpNSYxmhsR0ekqoD+TvsMyJAFqItn9ujNCNRLsW
/31u/HxLOZM31nB6M5M6Gs8lMm7qml9fW0jOwJm5pDUN43RpijkigCUFI2hPmiI+9ErpKkrwUqB6
cy60h+tHZsnYnS4nZwaEJqgqlPTCDCg90cZHNW2J0QJZOvqVJNv439/82TriHm5IKBZGmdC5EZhb
mjToC8PNI/8a2h4XflJYTi49X5/Vsq35LYZTErxI95LBTkA7J5ugmY5qq7qiTFci2KWg73Q2nFYA
BiIUGwVixOahGJhTYq/CtpHom+vz+S8m5feEOPVQaDAlwOVGqRgS8mPWulr8qs+ObPjKgK4wj10T
NXuOHDzyroQWi/4JWOBozUCJGiOXOd8zc2ykclZDgE5m2vArT9XR19M52eL928QrYx70D0KlNq9z
r1Knr7typ+I1162TXPCuL8OiYcOjM0C7AIEFut7zkQhRlaZmipEI4i8QRQ21Vwn7EokwcS2eWpPE
KRAr0EqiHJJMK7RLwy2qp1J8C2nkllW64i8Wj/7JrDgtCpEEULsqQi4z89AHhR5zqk4oHqpIrsVo
OX+V4pfr67gYwaHu8J+F5NQJ3lkwZh3qpBk+eBiFzhVBFpDodlA7fXdvTbijd2t6xHbnPOuAs38i
lDM1Fg3iDgQdwLOq7g1UA4raPmtes1lyGyn0irpFcwLSLvcoc62tXbpWAbm2pcwSnsQfSqZ3sVFj
mXNwOkfJEwOJwTVGVV0jXnkZ/G5/vjZVLtYJRq2P0wZTNerOiYcZMiFsTp5pqtu19SNXQJBRDftW
S30q6z8McCOIANbux+Eg9l8CCudhO7eZ+GFJkY03GF8ZBT+JgwdaJ/u2Ke3MWiNM/c6EXg6a4RUi
OAPZD6eHVJmAX9uCbEmTDnB49gD+GDXazMkNjjkITU0UN/fjA3iK9eFpsHa6+Gp0a1AEi/4I5H3/
GQSnJBKd+xobBXR7QQefzPATl9MYRDCT04kUGKiNM3aasaKai+7iRCi3XbGcp2UWQWhaE4Vi5niT
rNbI4WAqFw/AP3Pjr9MduO3NXoOYqksNUBdFagpehbhBUXwkgbSrHp/Bvyo9SNFQDLYxRO2u6eKo
IUked79UKVFVkgaT9S6CdnYPAHvrKLa52ZKwsNTpfh6D9kfZp/Qg9U2ApjZDax4ALNR5E/jHIk8e
UsspLdyc2ngUOtJWldVhFDQA84uZ0V2YaO0GBSTKvjQoMktUkO5HIKk+lnUXI+EE0qxNEFXma94M
wS6tQxSgl0PQOVNXIWunDPNNYViZnwij5TdFAxIjAVR7g9kVhzxpDAcJstqZ0OL3DC6iYRfoFgin
wM+ALKBlFscMJUK3oEY3/gL2n3nMu7nqSGOYMhr2y97QvUBTi50SjamnBYboFKj5BHEg+viHqlF+
xG3a3ZWNFOeOhW51vKXNhTO3efQkJL1Osig379qsnwyiqDWg+/R5ljagqtYKVEFO+oeIBdxHNGQ9
vEYnopzYqkC6TK1o3JgWns5Qu2YA9JRR3HSWVb+Ycz89gWuA3pnjGN02aMrcmX0qbSm6cdxs6MWv
mMr9fVnW4g+QXVlb8F3gOwZmnXvVZNDJniep3dZIqO/CFIhtwIMMFQcZdvMZCBLtMaKTXgEAUyw+
A5D1eEGkd4EdosJiI5l5lcPxZbW665JJ0okctVbhpeaEbtA6CDSA0gVpNxKktOWJmIksPUxjE96r
gRyxro8suGnAtXWHiyDYXXVq5j+NOgwaUiZhFWPha8EEKLdhbUS1UO/EIG13YKEVjpbeMtga0Uxc
oBFMX3qjq3Y5g1nev+6nFj0jqDxVHVDRaNng/P2UQa8B3QG64LZUSTvRo67Opht0w195Yn6kdXcw
CoxaK6ftdcnLQY+FdMp3WRqwLM69RUwVsCuNORoQpcYLlCa1S9MCCy9VvVrpQ3SPCjDMeBQnYgbQ
CUHCTb0si5WbHPPDFyb5ZBS8n27r0hSRvLaRWL4BxJmvCts592kyONfnu+gcTwRxZrcH6q+ADDmA
uWnXkaJLe1IlwUEThR9dbJJ+XqNFXAxBUJutsMot00R+8XyBhSy1ALSUAPl02CvSN5RPbTxKME5t
iNjR6cdjYrj/fpaMVIJR/OGTb7hQ0XDTZRNkivU7I4EbtFcdrIxm96qtPYcvzw+pDrDEm0AP4m86
YQQyMdRkgJhIfApHAFTstewIs+uYqN8yVC8Gh5AkrUxwyZEBoxkFyeBOkC7Ir3srDqu+LUA0MRdE
A4Rt1MZuhfvP9XVcFIPyWUBMiBDEVySF3ZTTPkB4U86bOgUBmHCU26/rMliEzau+diKDi8BxuVAs
RYaM0KioJ9VoBKdgc1tZsKUDdiqFzfQkKAymSemoBCn9UAM2kIJbN7UH2anHcCXKX1YIBbdevHsh
f8/3wsV6USWCAFHaULvzoJEBRtSks02bcqvRVicFEhlRbTpgRFo7bt9b8ns58QRn4rUAsDnIvaG3
XhYZCt7JRAEkX4KPOc9tL3nMjxW5sTf7+73zZTmbtUqeb7P8W5YpS8D/ghCU3SMyBdM2F06NhlAO
NIarrJzBblxwiDujIxCBoNbFLe3IAbe1reMT10W7dUd7cCQ7IAkRSWULzkAC13A0p1vZgW9EtYtx
yRreedD2L108ZwhZKA6CaQ2EumxcvdM7qP+2G4xrJr/HZdixjTDTnrzB+XtUqVPYoRPYhmPa1Yrl
vUA0wqVaRMMU2pqBpXRZOCMNcMRI/4zEnLZxRqTQqS0CG6U/Np50E2yEfK+TDiv0HJHHz7VFkfkT
wIvnrkW9mPQlGD9GIkQExEHyvWnYxfbnbWkjrlSAuEribeBVm4/ezkhBoDkT+QJqgr32WgJ8OO7I
A4WbVWjLCF+QdcUV+1xHaQ4aS4UmOnEcZ+84R2d/xO889uF5xNtuCcEvR8/z8DuyJX5Ltr5PHnx8
+c8P3JqLd/JAfPz1Fr8+4N/h37rs7/HFZh82fjjsi20Tx76/dzb42G8gy2Ff8Gnjg/0T9k/ZH5zP
/cv9y/5zXzkV/rTf4+Nzz/4XjHO/ohHfTY5neooOY1FExRG0QZEli98SLSrEMctNopGS/PxbOZXb
1jHI5MYk9nsPhetObv8aPGqbihs8zrvMH/YD6chL5Yjk69O0Q89wpp2wMjbpQl1wchjPCbj+RKDC
6ZzBzOSxzkshi+z9W05SErKl/ni1Xft+pUL0AvsUZxRgCSrUQUerN2Sda0ME1IZAK3BDkP3awab7
/qFxMoL9uO5ovrH4z5f7XBDnaQZFHtMpDoDzS/JvkwVMU2i37ir4k4JJss8cP/dvb87Rco+3HtmO
bOL+3YdKDiqhjuZWruZ+kDuEqQRvOOTVdx/tzf3n536NhevCkbDLOXDGFZQ0gewZS3S+MN2IrnC5
QRqq+khUG31suJv1u+lteB9/ZCue/mIXoH7QRQulHNh0bAS338CgkfpZKCP7zXv3tr/uPtybx3DV
NF9Wi7AqHlB94R0KLMzGxZubUCldNOex/aIR7DUhB6wusd3NilZ9v+6ebjabD+IjEH+BYJnh+J4v
nhzIWSnjemPDvBy9t+PfPzxYlSOMC/v421AwY8Eshs/sxxb/nX1+/3Bd4hbkcLBhNu43X/cbZ38P
4/D5srmulxeOAUMFEbrOiItYN63IudGctpoalB04GO3GhtGLvy2WvVnrk/x+FePWBPhiaAwFUhKy
E7y/FocyT/MJi8+sGWwtJu2SlVO2tMMArZOQAgS9EGIC7oZRK1ae0xgcjCnZ71/2zvGn57/i+Ly6
K1sssZvDxXROJHHmUyxCKbAiSNofj9g22KY/2Bh0HEuI7MGRDAr0cx2KS6tMmnhmAhzn7ej9Ij7U
wd6s2NpLyAIowKkcbiJSn5dRWkLO8efP96enpxBhyhMMDwtWZvwef4Jo9+Dam8evyn78ehwI+/k1
kYlE7JeVx7fvald+aVFggKoJEwZZ5mEfazQogrFTgqaw47K9hUuGj4Sj3GzgKK8v82US9Xv6v4Ux
V3QSsg4GvKBGmTC4fzj+B3h5THXDHPR1URcugB01gHmbAH7/djbcZVREWmRqLdCdsqiDRRtbduzZ
+WchwHc4sCZzeS1PZMrn0wutdOwa2kImCs0JvgD8Dl9fMNsUEegv/9W/O9wdDu7KJl7mebnJco61
o70ciSkEwwKWxPOe/B/2zZpRWTzvp0vKGVojlOSqjtn0nKNBLFjPOx+a+rymJpdPY9x0OA+lx1kt
oe0Ugt4cb+vjZrOiHRf3mW/t0BGio0oDlTx8C5+SlIWQTn/v1N4gb2Agdx0Pzr9yP75Npb1hZ2Cl
8nX5+J+I5Y5/qgR5PksQy/QjJW+d/fYC5EK4g8luHXZ/QUToPRB4ShZ1tIg6iP8K2NfvO1VGcKHE
T6z/imP6Riy7sAInA+Mckwkq4hnADn+fFiiRc/z+goPDDg/zqHCV7LCyL/iKHwf8+n2YvoNvrBaO
8coZZuflyqj4UmiBBrQTz0bFRoYB/e292SjYWNglwP32pGsjUJhK8yMA0gDqsIB7gTiGW5eytDJN
rdHkyQR/31PYVYXdQl4x+xt7x8ykc++tBTXfeaszwWgs1QC2YeFui4JKhbOUbVIISWQqcEgluQ1J
SHI7t3vyC7+byYivIYumXIyBYCj+4c5+2D74W9fFkL6+7j8RcW092B5ccva4C92/vOzvNx35CnEX
/1yNXy9yjTLiAGDwAIkW4T1qkM4NHxV0LekEMQWVGJnfgq+GKJv5PXsPt+U2eahI7adPkzO8r9Fe
XDoUtExYYAlH7QGa6ZEAPBcsZOiYH9GqyrzXLfzp0xNzKViDx4kgqtqs7ctlYIWYCqEmxAGhBPgk
nMAgUlu0jcoC0f35I95kW2/e/FJ8YVe9xPY7+DZsneAZwwZQ1Vrczoz4mUqwcA5OGtEW0BQRpJzP
ddAjXdB7A6KfZf+td9KXbDsMvuSn28JvNnTFJlzcC2VOHqeCtNA6Ua4gr/ekR+mtf5Pth9QOGke+
OwwH+WA4om+sHPn/IhQV8ui1YBkULqlVq52QDCGEZplthM7P+H4+9JuPBiwmX8UeFtDDO8szXQsw
+Tvw33P9LZaLFuLAisEFBbGWbE8P9/mXaAN22o7F/fDjdXLy7TNKWlYL6pn1uNhRbCoSV0DtQAvy
+Y52Is7MzCY7W4TutA/Zn3zzSL9a5+kuych0G2GNkTwiybO4193r1vXi0vk95xPpXLRCrWamKqC3
yaSRGVUQL3A4wKgKXMGXX9fAh7/bjC7niucB3HVl5LE57S3zGCUnACciyYF+0RcZ5izb61vJHx/K
t3EHPC2bgoOQrJmIRcEIbHFwcIFA9pkT3KRB31UCBOe5i6IIF7001C/22kNGhsPkmZ51P2xGP3FX
s19MV/kpn0rmrKJgBIEcqGx7MTci7ypPvWsJCQ9N6OjEJM/NpvDvla12t7a33822Z6KB9QGebQ3E
jkg6AXXrXLN6MAwBHD1HTmdEgjPcWLcKQQORE3gAQPTifeq2+/xetUOkagFu/nI3+ECWh/UqSH7X
3EIH9oGr3tzMfmGXW5mEznO2cueS2fT5MX6fctxTUft+UUs9N02mlB3IFB39ZSSGC5pSV7n5WSEG
Qgmg3x7iXW/n24gkN9p99mBtcwdmwBeeSlfbrhyGi1ADNAIw7CjrZjX4uAWeL5iFJgKxrFQ8XnuG
TOKGyG7gVG4T+pNMBKzh/Lki8cKccxI57QgtFGFl4CWxa8GLXwQUINrULvbhgeI4qB/a/yEvzZwT
t+Jnk+SimRYcNSjIhshuVwjHKofAX5Y92uJbnIMmi0i5gxYp//pEL29FKtiB4ZwtBUurYcfPl1YR
9LkvRj2ye4fehMQg5s64zR8ARmAPXvKlOyg5QGY6PRQ3X4o7kJvMFol5k5O/BhK+Xx/MZQaGGwzn
1PBM32htCX7qCflAjTW7qRMBvOQB7GfvrRt4AEOhdomXAZnoJQn+dRkRJ5/bdbQNyLSZsRgTcpE5
aW5qT3azJ0DJPLQbaTP7zwAd8DICqhWnvQFi167bFLa1UuV4aRQxDBO4Q3gNR87jormgDhF0xi0S
Ue1Ho5EeheLbeB+65jZ6n2/EW80P7TxyXWsrrR00ttucDp5JvtAG1E/QHpIbF0Ui/Zv61fnzLUpn
JFs7Cj/poYlxytcM4mXchnBNkoBHgyQ3eG15JRSnXk8E0JbZyUFxkm3uDq7lYusFBNKKn3yFT8ax
N20gHTnjR2d3LbmueAun4HwAnOLFlp4rATqN2dXPEzZzTKSD+dUe3j5Nb9qNTrgf9+qX7KoEBVjF
Pn1Sgbdki7ubFs+JAQFk99qILtwTloQFsWjnw7k0RG5EWTZXadcjzooUe3DRGy9kMMXDXzMxnRac
kWTyEvKSPiESCe1PEaypKyO4CH/YABhgLtDroILft+WTbJBqjkJqaBhAH+MIMhug3oZ3A1mNPS7t
3rkgbqZUTbJMBvWmrT1mBwOcC4RmpNrH29x+lT9kz7RIsOLdLlMy3OQ4h5Lm/8PZd/S4zjPN/iIB
ymGraMnZnrwRJipZOevX3+IAH45NC6P7PpuzOcC0STWbze7qqgyMwzJsogHxwHqsIb622M9vdR8Z
FSp66Ue2ZHJuP8Fmg/kWZDkkyboNtEpTMkXHIlWW34Y9Jl1KtJVw33erwFE09D8ny+rNEV6VmkvO
NBNXOUHC6wSTUeRjytTVosrVwEVqczGSVdzqwzmzNQOoO6sG36nBoC2sfU+yMW0De5j0er3U85zd
7iv79LuBjaNCEAfYh5zTUXHlCtepak5G7vSWOxH4H2ec/z7SM0H0Zs009iQaurgNRfI0yXUA6/XE
U14gOfyRGOXngMWboTVY/nOxXcos74dicGZBW4RkBTNoEsLZ7ZduIh6DJ1OAftFG+Krs6SX1RFfY
VrjSLOBQMr1d/b3Wmfh5Y5He37ipcYiAhjPY0RDf8tVgxvtxG5y61UVPt4OB6G1kR9aOHiH7pHiL
uil3FYbbFdN7ncWcz0Yy7Icus9fOAd6+5VNsJhv1YQysaaUkemaUD/xuYhai1P2TlDJNostVmBq4
MEl8gSzd6TZsvMJbzYi+R01vMb++783B49d4RZjCw997/ssLcXtVgssWD0MF7XNoXtDn+eK3MsNf
qsQQnehZxN2ENW7yrYCn0pqxIB/japvBFBG0Af8wJ91/eAGrsTt40YP/Un6JCz4wc8bwewhXMFGc
Rs5OhTQQ4kySdAFuzj+KJ87OvcDqNKAqeBv5gp2YRa8bS6+E+26lyCMrR1MU9TA0KX6L0le7X4Ge
kOu0LDGEM5izR0cCtEN8zR1tB0rw+KnegKtvIUm7L3QTmzyYjFAQAJTj9/hd2Yz9UOHqoUwQTDqT
fRwivdNFAFtUHQ6+Ufcsoiizbmx06Jec7f5VANOgsyP6HETjhMoP8ywRwUqMPUZtRY9WgcW/+pvW
1hzM058wan/428fusCLo+kPWC/St6NLiq6r8rXML4mWo+oQhuTBiiV29NO4eIkuqITvxQTYVI8Qz
+aXxZF1zip/MKAztEXo+QBhFS0i3+4IEfgtmb1D3JKy/d4RsdVwLNRf//hbewFCoFOjZCkB1yF/s
o4+/F37fY6CMUSE0r0Bon6cwFgKLvqq+Ui8xFEP8ZM3YGpwlTuNZl0LOjcQTpQ90GKmzI7JlGfgM
ggh/rJCBXtyPyAi2GMxK8QziD75du+CTVHfBfmnC5j4rILv6zzLlUVo1hYEvh4lRXWwQ9/8EG/az
eoodZeFN8TvcT4WrG0PUjmZaEvlVCENgntDO+ZM9OaihIb8Wdfkr3UonvC2MagemRHlXPS7pnc/c
xlgnoGBkBg36mzTtZa0wFS8W+KDb/NTs1YNYoOJRGoJvaEZgxG/5YVz3row63vOCK5EdvFv4lWXq
DElamGshcaXmRZX0PTPpnCObgqLnn5DnGO1Kj8x6HX3ETpcZiw8q8tf/sk4iylWwihjo04XoFhjl
EwCPwWrPgervqTcLj3EiezHRmgtQwBPgvYAUE4V3yp064QKyqwaxUT6m73jP76YVA+Rfa2O2sTWK
9yWyzdkL4Nog5VbJRVIDPoXB3uCgYXmYVodujamJg+CgKMtuFkPw/bsI6wJ7u4hXETovLGUwvqSS
3KW4dv1jvAfqH2Go86A1xlvCl39a8B3y9KC/ngx+XoI6gI4BHe9HORcHPka8bw1IEoSp0e4yG5yA
VmnK+9aFIu5P9NCe1aUr7v5JxON6+2eXWmQ3KSFTRLCbAX62aw7oaAxerH+xGx41IA5xfrFJNHdM
rkzSszJ+7zdJqGFfL+60EdaCWRraTjMKK3LrT/aT15XNuJJwak/Twi03l7lcr5YmiIjrXqyh2ZAY
yZO2EY+Dqdk+8uX+tVn79sXrTqO+ZJNs4P2HhRSBRgBVPB3wuVaOBunSJsb00u9KI9kkh8kTjGgp
+JCL484OSRSAwyGyXtTbtouVRApj2KlR3Z7OKOXbkVc8Z4UVYC5tPbrlOX6EBBIyNvdv36UAyHBX
XKG/6C5FAMjijocr9TV+ypoBuYrRO9HpYko2KBVW8pMNhSKj28ovkR3CqVS73jyOer0y/v4Bc5n5
zQ+g1j5IkZrLAX7AYG4BQP6M1pX7nWxkN94JKNrKme4tsYAt2qTin8BHQyOXPeLfNux0tKi0fWzL
TnTMnqUt6oqMg1lyzoqA1VxYLekG0V9aIaTDUEYgarvUkRXlQKoZstpSIfVKSzbTDfMtef1Du14s
mczdKiiDI/CCNBzveqo1lQx4Yo7lhHzFqzoD1Nwm/1WpRoeMN2h0LjYre2F5c5FQUSDyhGwUAl50
ot9XBTfyipAYp4umS3vU319rvclW7Fo4pmZl8ScYXy0d09m0Afh2QL9AigMdKmpXMzEJpygn18tR
s0UnP00rQijqNtZmNBVkxfoGZDmYT15Kl2bWqwiA5pGOroyckKrWFEOXJmwsJSgQtcblq9hEp9F7
YNAVG1aSXaE6pXh43u55PdsFNrM+klfHUu7ya+XWqVAqQkMZCn3ImTDzBqe7yh5ksCywQyeTSgLc
2H3jUaA3S8t/q53RwjCa/rTlPcGWLMTLSX9O4QadF5gN2ldMrIM97d23AiPcjs4Sy+XMcwD8z8Tb
IXgmg9CESqsgL8KAVoBBeHkqeCt4FD7Y19Hk5a0Y4B244H334RoAdRWNCqiyohRJN9eVlBkrP5dJ
ua5+at/B8v4hmOFXjjlEoOUrwKK/QEX/3GzV9ZIw3kwjDLpahD4U3IL4FTIJ8VffACVQrcSIVGKs
8RFQs0M7wBm9yq1Rj9cM5jEyUBfdgGB8x7xVem4VTrxBjRyDlFawEGTuBiqwdgAUwa2IgQoI6dFI
Dq4mlRYfv0XYv0WG8FJbZ5S2nNZ6+CTQjuj0mdYWivekZgsGKdGMNoV+8fJzYE+WYCmHzFGthW9z
f1KufxNQmrf7w45c0Pek9tNDVkfvLdDoWM3HhdUPo1kAqR1hJ9bMaing8vc5EsqZhPgUDEyAFdO6
kkOJGbdciy5G9ZK8i0aVAY7VPWGI1A42wk4ve0PUw3evxV7VHkTffn7Yt8X6BwkDtwcUP0KBpBDc
E8yTdJgYQUOlDm18MTjIjGB621E99h3l6+Qpdy7rLDQmb/gZapvXF3b9PtHHeCbpHiMoo5ZNQ2Lj
TIgUtUHrOt9x69SBlJbJMoCkSRhcxzjPFOvDwmjkTJHx1iR9t3JKCzIRmOSdzI1OD5kbYJLnmUwV
FT/41k64447cm4CJogrDR19/r3jevEYmnAg52p3oYZWppXiZevQH9mxoBCfCEYmN3mnWtIuMyA0e
NAeMWL1JKrv+Lnf/QxUdG3D1C6horDBsygwxVKEHm7Olc/gQQgvDFL3SKdZlDJSGoXhG8Mq+VLq2
fAPf3/mgdcSjDresAKSRQs7hVRyKQnAQ8hXWz6z8bf7O1PpwEisLSrumhHloPV2sY98nr7AILBUL
OR842m/T7Mpiyo1TX3P44OxRPnIuEir+WH+nwCis5HOjmMyjD7ybAUZZczGqzB0sHC0kzUTVB9C1
29WGKdkBUbogcc5e4HD7sLNBDmIGjYkPbbIx1COM/GPxAT27Zg1qPHhlEio5KuEQi1GYQoGsOV0r
dvcCsTedhXRFrI+HTK8PkiOfW/Md491L6fLc98VkpEzuOKyXhlNmUhSoeYj+FwSarEEXAt1HvX5y
Wjv5QmUiWfy8SwapwC1DXy5gMxiMN+1P5vpet24CHbru0w8LyQx9qdTFzxlUMGWGojkS1zsYv5hr
baWVPPqYIOGylbOmR5Bg0eVQP2z05+fJ0AGtt2R9tTyNOXdZXJumPmuc9iB6HWBa2LepWZ8Yg9mh
7+UEW/KWL93CsPTBCs69mT2KmwCIkr+j10wiizTy39ppbe9MBVP2xHAXQ33jzsEuf+JMXNDx+Zt5
qw/c0YNouV5tlxrrM4VNuDBRPBWAZyHN3NtjlAe9H2Q+Wseoo5YYqfph9hFa2YWdrXk8dzeK1cP6
ZMm70FtE7ZA/Tl+OoGKG2B44Q/AEpjad6/NaLesgNTDN1Gk61rxJtlBRSNzEjJ020P/e47kbArko
po1kcJVD74zK1FL5UnWo5ELjzJhsVBKMwAu+q1X4HByLD7i2cFILnf/iETsQtwCdytzk+e/fMFPL
wJNBxDQlZp2g9UkzKAiRBGITFb9h9Nhv8bUkDV5MqxnJg2S0azBVWJClXBqqnvMuJIUoL0Dnjcwy
Uq+VMGaajOEBGRrs0eLf/TfempARprkdfGc7oDL3GmqtbnxcCiL3VSNRQ+sLtxKiNNQlqE9c+cEk
lKSxi54EO+qVostusAFvu7rwcWeWKKF3LstItNBxQtHm1pObS8aVl6ZEwjPq0gOafSb7lHr+RtmC
FxOV+m36lRnp+uItJpr3bgzLSDoIYg9vbrriyPlQ5RIrNJJjl3/z3zGkuAFO8qyhmeeb+UuHg7vq
eyD/vXQv7sLvxbh5v8lQpkURCSTxGgoMd6U5JsULTMTNX+7qI4vB4UcNAKXe+bpsJXMLDaDQVJxn
bqUHLmjPMQxZoBuZGSoa/JhvX6wU3l/NyDsVFDmQeiLxpGmECyizamKOqzluYQGhZJVvQFRbrP1V
wKMRhSJh5iDILR2t+5QXmT7a6hrpcqItRnlAlBZAyoDuxuCP7ROc2xKg42ey7uTlNvQ82Yd6tXCY
75MBIq8NlUsA2AGCpOHkXd+X0N7yL8booKl90XkjPynry94/AJr1kwV6Euk8YCOMuQR5nrkriWnC
1YHBBlBDUYsVhaTxkwSBmztLZ9ETLcaKP8Tjh7TrUPA2Ehdz4u1qTHVkvoIB+jCnX4qnvwDn2/h9
+xuofDdmI5AnafgN0qcADJCP65p0WiNeZ0Or/ZCXqt4zfn6zZnKJX+WbYXQJuzjEfRG67TbHNI3p
b6DwhmTBy3TuyDjjcwt8zJPw0LwufOn7/OB2qVQAZSCSdxF5LLV6Ac+eG6lm94wxY3AwkQ9tNKfE
XnKumWMEYDlL9DvQUkXv/na1DRS1qzGCO1cga/Dd4mPCRFqpQ1VAD/aSUWzZ08BgQm1hpTOn6MYs
+QhXmxwzQowZWBUwJAf57WqwA12v1oPRvpTncr3YdrzP+QAL+LdKOmxzTDlMJY8ks9YDBzg6rA9t
mx3OTaynjo/7+AXCEGZ4OgteZVxik3DGx0uXx5xnXf8K8iuvFp0PbdH4IfZ6Qt1ET7bQBTXCs2Z9
8y7IhjAAU5R6u14PS241v9mA0MnkEaXR7TgIC6hJBUVlDJx0prRqd6nBvKd4sfk6KZcupkCzR5aI
AP+fQeo+bjEwytcciZEOd7F9Z3gIjgDwTwaHwZf/AqPD1wXNCXktsRiRoHy4BTVsMPoIkK0xfDb4
jqmu2HBinT9HwHUVx8FYErKa6Tje2qQcWM3A+y4HOKqDLf4k694CkMzJN5dd6QKKYEvu0oVH9owO
g9eLpPb0IjWVrHQwyDrBKX2MNok7WIXBnv4+mbM++m8vf7PbKx+ViiiU+wpmOlux21ivbQnL6RZc
cskKda/EWThyQkl273Myg6O/4XNcX4L791oWtuz3drtaC1rCfnPpYSXe+A6IXp5rE1J69lJ0mSlC
3/jCbw/syk7LiU0QD7AjHjkEs2ZdWaAOfwHy5/j3gma87jfBBRgbVXhAKKkLwue0pgg7FQ1DDq8o
tTDSHw0g1VogUznKG7OVz4mZr/62OpMFwCohREMaoKIoQH0tUncOo9JHU8nKHlB6NlI7RvFN21zc
WgYuP1sJ2ZPiFMax1zVUp7XN4iPu/lNi5h5L1iRIzisYx70NnWzNa1DWSZEE6OkpeeI6PbBizkAi
oEde5PhgCBEA4Nh2VmCnZ0i5/r0FMw+qW/vk91194hKqtbUmAKnbepPNmRdbfOV2o83rl0d1+6U4
718LBu9j9o1B+hy27FSB6w4G/TeJ03uwaj91a07XLGnbovD3g77K0hrv80yi3Y6nMotGA0HH3K4x
ZkemkgZ85spkzvGh3HXnWDHlDbh1On1ytDfOSMzSNwRpMerMlNHBMYLPCxl0lDZRT7+13aVlGQZN
i7LiuUPivnnJDWUCaFQE/cGuW0egRZJQkCrN9pB+hJYKF0RtSFjagvsuAn4Ged6A+BiCnypV3RR6
f8jVBg9JzbelVue3o/GRGnhP8gctM4Vj6UYblFXdpag7UyFBhRHXF1IwDbSHdHun06Qq7AsUdVt0
6JWVdv7G4M0ntqBCOgbwmcOu+rW2Kl56zVy6WeacG1Q7YFoEWRhUwen4FZepyjEaNj961x4gQyDr
00Y28dQMUJlBltRh0ka1l9B193O5pCaDoWDUGsmbnTYrt0MAXkkUOdXOHC1xG5q8K5jZerQvJoFl
q2YI4KieZ1BxNDPHfPcM1VqYtp/BpN/+CCrbj5RCqkR2JI8rPCRxsj60tW/W2whTydpW1cuv5HvD
68m+MNWFq/Z3gbdX+q1t2tvKSgXvK2zD4cAOKL69ob36+il56h6poS4fMd32lh7zh2Y3fcgR6OEN
zvLfFyLN/aPj9ldQoRWyKxmkRfArAAl7LSHcN+jFR/q46Z6YH3UlnpoEHbu/bfIzoQaju5iXx3FD
nvgLoLgKp0IUQUJ1YlFGgZTIvoSKt9OAKk7ZP8SK/snq4Y/88FzpjGZUFngvTTRYgZJr4YPyrl3H
S/DtGVgiKsHwfODVOCAvFSq8y42kJKEvpnjU9yD01IeN6lqJkziYOQKrCsY/GfhDr0+t/sg4i3Mg
958A5lEixYGAvBPCz230E6NulFNOxpGX1klvAsFmd/pwjLbTsbnoJWO/84uj2zOoXlL9RmsDRdEZ
LORUSHkjlRI4A/Rabz10cZtYh3wRHrotIJl7sOQBQF2sBJDRVSPazKkB9CuU1ZEPLs6R3yeEtz+G
v92BZILO56XGj0HUBYIv7vBKCBDpmkNs4/uzL8oJWFjQ8kXGbuGqnUlvbm1T916rZhGXZLDdvSQ/
o2dygVXq4qF9/VS/JmfAI61Z9RtZ0eOj4uTkMb74HL5/hd/+BCoKtZg+KiryLXJLOwsvHaYHhK3k
YLjcGCxme+SPxRJTwD2CETUsICYg1oYyNSp7tzveAkDUB1WO0k7jjGTUsN4i9O7r2koOw5KxmfUB
pgH5F3g47nn6evd90AdluQK9wF3thM8iuB43fKuz50PyElpBvELuXC9d5jM+dWOUCq88E6aZmsIo
iLScYMXpKpRCV/Vr8axs+RW/l6BxDwaGdM2Rku3fEW7mXkG/AfFEJfNOPMBYt9uraNNQ+KmaYvDC
d8pt7KpeAM3wD/4QGMMxe4pMyY1ek+foHDtLdaQ5j8aAFyTW0C7lAJanHsQDpjb7uihxcRrZA7i1
MYkjcWZ7QemsjjFES2ZYk03gqCCwu1gI88+Zs5hL3WewuNTRcgG2EVBgzFPe7kDXVJesYfAjSusS
WvEhfVQ3rMtDbMgjkwoc9Gn+Qwp7a5O+y9CbyBkJNquNcgaFIJnwkk4iJulTsHri+Weoe8XLDPZ/
LxreGqY+NxjCI20IK5S7j5dDZ5IO26u05lGhVV3FwviTrT1xT93WNyRzwdNmDrLCIoarqJcBREoP
omBUmVCQQAXXf2S94iwTc7xdqpgAGpe8etYW7inQ2aLBBST97TeN0m4EvciIUiSE59CTZt61zgTo
CHX+xXXNxAwU2P/ZovyHmZIYhOWwBfRxuku36ldoEww5b/N7A92GLfvBLqjszbyvSVH/n03q4HB5
OfI9B5u5FaK7k+NmDE1CyyVsw12je+pidXtplZTHMixHJgTRBlRw736yT0mANtLoAglramD45IyL
17pLzaSZ2cCbddJqw3naSXIzYJ0QF6ottMwgWWGI52wdmwflWIPq8W8nvR9Tk8BgQiYvMOKPmES/
b+qLOMW8FuXIsCWb2X0MZvpe6xU63GWtO+Nn9XwiZzNbb5I9aD6ezsxD6BVv4DJ1/v4l958YvwQA
UrDZATFFGiq3Lpx0hVYW1QXo4xXTOOqRBTUx/9pIumyK4HDpnORzIcG4HyOCSVRNsHrC2wk8563J
RuuTQR2gRD/tw81gdy4UJwzuLd+InyA/XgpFJFW6eVVQ1qhzA4JZHx4Ma42NnHoF2LHDrav1tMM4
84DsbmE/7xyYmNNkkkmCJg3QoNvFKXhAtWxa5obAgSCgAQHQpP9iwGQo5246bzLe8bBc6vjeP5hh
FuUoXG94qeN2oT6jL1W8Xw09ik9uvFe3D/IX72Lcz2NRAMMMXm0aOFNMtODH98juX7MAJKEbR17M
4u1qxyxQwqro4D17dIA7MyC8FOoDcpnEUbb5pnqSV+Vac5eYQO6pASjDlA9JBdNnRdrCV523AYan
fbbp4b62cM715LvYlIhUaMo1SGxivXxmPKsFZPh9BCBYchfzdXKf0U5GtBn+bx8oJ5MhGhSwMn5O
U1vSSjkD67mWwYXCn4vcrO3BwsTlqtxE++TZgLTYgs/NWAdtNhrwaMGDO1akMvY4VAI5hfS8IT+q
b8qGUCTXhn/QIh03BJpI5uTxnM5sVRuDZAu2Z/z9xjblAWVcjWVbwjYYxH/Sp2pzOQhroNFULFsr
jMkQSr14ZJ8XzJI/S204uIlkYErgeKiBUscMClgo/RYwy6xlsN5wG2U9rTWL+a7NEYoCOrte7Dvf
rxRQHYIoBSETIAcydTWFXB8NSpcXpItjt160y3f5I77tCmUppLIJxqvalfKwsFDy1r1dKLEKnmmO
5VETolMMP2wu3AXqhUaBlxYadK/ZGqXtLebUTMghff1t7f7hjwLUtTUqjCTNUIMEqUQfZVylFgi9
ngjfkbLrvGqVuNojyL6szmowJic41Skyi8XKMjkpd+sl4wxELx4jXtTbX47zPBLTpkChF1TspN4j
u+W2WgXAObow68WDzr3G7uLnvT9EeJagyosPjO4vZLnxw65qMN0FTYYOwcwYjxI44I/gNMk9OQbe
L3WzZ7RJvcwZzcT1Ad1eih/3ICmCHUcaiaFTlJuBFbo1nhVsyl6SFKJ5+zzCXMHgJs54KF9EWz7L
+nvxg0KXlVtAtzuYS1pqDP12BKlNRwsSiwcLBcSA6Y7ohb3UmSjAtVuPMAWMR6TseiJC6wjIEdb1
V6OZWfGj+vy/I/Cw8CvLKhW6pkSbgoBYlvbp7rJvbMAPrUNmD40+YayCHKr6o9tWpS4tvchmPjge
pDzQwxhbB4iF+uCXlOlqHtLOEPSDijha4Nm7YLUobi7Ws0gworYX6Y6KwRWg/cAEQH7JlWslkSxf
8pArDHE7esFp3EVI8Rg3cFNYa5ceJfehEcoO/6zRyaySQ68pZNjCuGxCTD0Um9COtnhr2oEzOZJT
Lb6vZxI6WARzMOae0JLFIPrt+lRmUnpITZKjM5nj7oJp5a/KGm3/OXxj7EXyffLn6O1UQaWARUIs
AtizW3NBE1/4/tIWUMuxOAx+4g0fPbIHySeP902xxBFzX5eWgG8HchCXK0AhPG0PAtZ1Bska+Kgt
rEA7a4kG5KTWzCNYn/pXzDUY/AMU07aF41tJpScf6U+y6EMzX/X6R9zhrCp5SFsZcXEIUHuMLBag
slWGiScwaoi8Ue6ZhwF0Io25cCPM+C7JKyCYyaqkQE1dtBjBKS/JBLsKum2rPsWY2Rt/QI554Hal
GT+zLuQIyFAL5hUx5ZaVerlexNot/Qgq2wv9POPiFl+gsbkNZ/sJkMq81f+kBiSgZJcgDXx0mbMn
1j4GH7X3tLAJ5NqjPO56E36pgK8O8CgoBRTjYD/eQO3H4U4RRmqGg5roFfr1qExmKII+87Z/ip/l
Z1bvV/yuNTTzUXBSM130hZkDgEwPZWrA7QGKpwcNUzmr0yEd0e4+1U819EggHLUpDwyawQdxVy8+
ymfu5Bt7VJDGrZmpfQ57zEo9jha7jTwhNy/PBUarODd2Yi85SMYSflaYSbjQC4PwBWjwwLhBw1in
Me4koQXyDORfIphbOPBdIdGyPjkTVTO7PQaW4CmgFUGBR9VjL3aR6VvpCnq67rAercyBLqt15jfl
OcPk198+MfNwxm/69+sU6mAU6aTIaYlfJx+r0OLWPCAvnQFN9twe7WznW6z587fJuSzhxiSJEVdu
KEq5XNQ9TCrnl8iaXPDZvvFGuN9wBhnx9/U01MVNZAvo+v9tenG11AmUJq2qSx6m2x/lYXrp9h9I
wxxos3iH1BmMZInnbOZBi+2FShlh5sKM391QHUcwh2KCtQZm+ACIeBzql5/RKq095u6fezM4c6jT
uFAThAzPQoH+dwKcOvAYn0TbH5ca2u90tFU0PwgruUWB3roAQAIyIesX57DpeEDHJful1zlb2Ue6
tmP02mk7AI1z4zW0BHC0qvqw5iwwDO9Us8/1VfMy4qN0T5Pj68fC9LehtRCg7svrAHsTlRyVI1O5
KK3cekYSBxEgN/i9yRPKSJNZfWB+Ao+v79ZJwMXphhvpAJiA1a7k3f9eBYVxYNxBF0umQZE/3hoX
kpipUgk4d8xAvUFRc/gYZFOqbFz9mS4c/vbE+2I+rGH6FwTfhBYGLfpba4osZ2EcdOgFVTjtCkFn
Knr3+pI7hDdF/sodRcEMGliVmM1keNLXuFqa4p/JHGUF0jMkcwTSjqZGELsh44MOmuvVS4pyR4hX
Wez5pxHDQdbCasneUY6oAg0A0kEQWoGjhUodo0sStFHlY3LBEI3u3Iug5NVHCLQ9RevGFewUBaXs
pIHuHo3Rg+ZqTpthzk3WIelbAwD098+ZCwPXP4cemJFzP8kqRkuNbKM6MropgZVs/RVqC+Fa8KLz
IhBkJu25MUillkE/lkUeY/0R2H/BF4dZs2OzUmBqePLBilE4XwtLvOvTSMid/+24TMX1qU99oUtg
sTcaKFrqYErwYvuASV00SngnMf+2NxfUb+xRl2vY9r2alrDXmM1G2EydoekJeu7ZXjTY9xzsr1Bn
NHf4xCHKOvC1/xDab34AdaCysMrlOv/9AfW25m34mGx/Bt4zLlVf0VkIUoO5639dNZJJDcGKhAs8
i2gKjihuIWWbIKMaDc6sntE6OX3gJGN4Hw+iENH04GFm49BCbG6pF3kfQYgIIM6SgpkgDTGLilec
hqnVXmkqODH/Rpg7I+vzNcZ8fmSBK88GbYKeIVI+9lAeO/7viiCwDkpVjK6g7I9/qBKLqDKhxPdt
ZdS4vkA+tAM9D8yi9RhsO0N4EnCWMbSbPqySxWG/+5cael+oI2EKCoNYZGTnNngGvTwwQl5XBr8F
dRlYhVU3MZ7zl9xN7KXYNW+MoEhAQ4dRbBrQNAh+K0YN9plBPXRaaQbJFFJ3stBPWi2Gprs3Alna
lTXKjcOLEkyyhqWVluwFHqOH+4sZRbq8fxXXWbxwbO9BrpQ5yokw8VJyHJq6ePNWZgGEAhQmlAtG
flAxMv4+LPftKcqWfPvVZC4GULGFrd5rrY9hnTiYC3gh2HHGHvaL1aC7O4cyR3koJ7bgsCJLa15a
a3xX1h3InAA7E0HsEZwbp3o8Lp7Ju04qZZMqrqL6pPZcDpvqMV2FJumFjUa4gWCOkIKuoAFF5+Ag
v2LtzFlKnu4iPrEtguKY9L8gxkFF4B6TZPVYwTb3qX0l77a/5dF0bO0B5Wsvdxc/591rkrJHeaoU
tWxSkM8pbhkAi3qkKoQHrQR/O2pehB6zMS5b1cicv/3oLm2h7FIu2/SjljIl7IJzzFZj/eMkOez/
x/zB/PpI8o4pKSg0UP5zgeRRyGkdIpzHO+13ugUrCNBsKQiOKqt7j9z30GvXmJL6e3n3ycnv+v7Z
pXxIywQhFmOMqhDuCZmoMvqb6qOyOICGsov+eFyaSxdmYw56AZwMyiq4D/UluwkY1ixCLCfZmbap
rT3njsb+9OJDNYDM1Sg73t1Gj9+yPr6CAUEPbCdcR2Df1B4eF2upJAzc5IpYP6SWCZ4IyCKJFqVk
8pjLk0ysQEOOQddoNSEvFXXpiFHuvEcLsNywIKqZDi27FKDmTi+mWzAnBmYAFAIpzwpFtIDqka3Q
zu7UVXFAVmhY8h5NCnYhW5ld45Ul8v9XT+CIhSZGOsBSaXVQW8dbK9MWVnOfkZF9REoEYD0hfPtF
Cl7ZSNRUrH1FRvz7HKCBiSeGowDcIbvqBsyeE9ofob7r9RyMD4rLL6TY89aRIEiISZjOpsu30LpK
y3bAVxw9PjU7wSjwgDM4Bx586h3wakh6yFgwb4WE7VzDaLG5OJt13wgiewDoNQCYPAbFaI6jNotC
LskxxCtv63f1FKQAvkeocIyfio3h7Xdh0oW3ygoeWGDVis/I1rqFzzB360EBE9roxKmIzuftpy74
AHXJNqqNFPV5u9hjsNeWtuxXgw5UAfokXvsPd/qNRcq5FH5stTqDxd9XPyhG+4MGLGgDGrZqqftw
PxRGFH6vlke97NJikEG8EEKF3ZGPodlasclcQDZ+Hh3layEyzpxPsGVxwPKiko0dpW64Ka0vbAW1
RtxwWA/EVVIdvjxgxE7eTq8LxmaCIp6qgA/DFNp4NLxjiOSyCMB5jMeStmetCXSBYCyEIM97rMcO
ju6CPRLWqbB3Y4+6bhJfzCaBTwHZATD6KDqEWdzGjALKU2ar6Y0lHMnFU+j5JvqRHhaskxD/l3Xq
0hmCvpSnDNZbIycPiN1HZ7Novqsme86/KiP8XjA4c4ujIgrGG/BNAXBAqzLwDF9ODJ9DGXsL4Hfv
yY5k7Q979AOKFUTOnIvuYRS4RSniPwwyEhniK9vUAZmqSuEbDbbzY6ejH2D4+8TprJ9W0ZdaonNf
9doU9VUhcs9f+rCowZyebcJ9s2K2zHGp6TsX5rAgCMuyqDBi5Jey0igND7BzSaxMYLJpQCuDXj6Y
Xtxq9Rra+Yu25R/C07iOkcwkH8m44Lz3PGa/O/rvB1BRoEqndtBY8gOAiR2PMrBJqjNA5In9AvhK
r6zQBvQd+FTOAyWurUBbKHSGvaY/gbDfWnAtslral1FgVtBSAIkAymy3ETeponKK2ArgFSQviLuo
qLW7EIE3IFwG4ioyW5AJss7St557KYJG8J9h6hBlDMSv6gGGMf0yuSwudxawKcJhhQMcFf9B3YJs
+z+DNANLF9QxBN9h8C3w6lL/znQe330CjnI0WdQ7wNy0sLdzIfjaIokjV0mFNJRpK3GwGG9Yo/32
Hy5r5g00OzthqV95D8qiFked0ouM+UupIbtphy5Qv15mpo4GLBQWl2C0GlIaK/5ZPP29wt/n/L33
YGIKfHjoldKtfAl9wkZW4MraWfaUtfAMNggMmB8wg4i9Ze3CeIYrGxfk4+yKNbnXpTbhbMYA10V5
A/VSoHSoay7Uhgvbqli47KAIYMRfIXDVu+jAmBcL06fuEoxz9g6/Nkh91DZWwXuPzggZw0RZttef
X3m9Po+rHGTv/2V7rxZHpUN1iZS18mErt1jfkjEXl+gsGtGg3XwmfE2k+XPwD5/FKbAavNQT9KXZ
/70VCMAqskIAriCiAawhdVIHP+SggTMhO3V8J/2Z7Gb9MSE/VSzgys/BoXDEAGnF32u/n8iDVUki
nxTMn0BQ0GWrTJl8LhEqIEZzUNpY6bZ3Bji0pGcQYMPkPouaN87sEuHHPTCGGAarCppA4Ou9w3wJ
ZTLUXYangMIbw7r0uBNjRJbsgsRzOrZu56UQNBheua8l0au5QwwUqaqBV5Nl0QIjWdZVvBiqnNCf
jCQBH+wYWnPB6oJjLDaGvxLPgCR5oYh0ql18RRM/oo4xwNAa+FUAKMV+U34m4n0VjROHV7SpgL7y
/5F2Xb1x69z2FwmQRNVXtWmeca8vQmwn6p2qv/5b8sU51tDCEDcHAZIgBrJEcnOT3GUt57rZRLpr
ycQtj75rwC3PxMjc6/DKPQqV0IiIgsYWsUn20WVoAzX8FLDkHuR9qae/ENPx7xtvsscdbm5eMzoc
q1o57qDgANZCCIPOmu+MnywmSUxMARdScdPczbw86CjGyZtbyta/QirXER3xgBcex1GuWjNurKgn
A6scyo8YrzFOyOpndJjjP9ML6tzJe4xI3ina02dtR2/LOy2wpN/cspmViyPam1Azqcvq3InCnO5Q
5O31sdQRRTyapx6s+s/JttxGx3qfPkp2A1WvXXDju/5vs90m71zn/KNoAVtpCc94DtKEjWjO8J1X
nNB7A27G/B2HIAoZm21Y8C5Ws68/N2MCPRBc6/CCntnHmIvV2EvTkHWkwTNawL1cxu8NLlfkJO9N
D/e8YtMQHEox6oT3+g4hmcZGYIbnQL4Srz8+A2VKJspURcTAmUnXOtGgQoL/XET3amUjhuCRTYdP
AVfRtkVJVggy92STw2ELUNFQdyK4YJXjX9gc6uxRJzvTkeFbWPFuZZz8XhyMxg6e6g/NldBdca1t
kHb5rbv5NgYPt7QfOXTNK+fxOSiz5JFqghJ7BqUfI5oEdWva1lcRTqzGAyvvadxyNvRP13WGx5I1
tqU8CwUC76ncGZBbz24FS0KA8+rZRMKQHqXj7WXEn1vqHJBx0mNWQK80BaB+T54pWiZAfPyQ82VC
fl4ez3GYi80gTjRuR+DEuxplwFcd+iU8kC48wIrcYjd6yFYZbv71+vMjjxdZXHmlnOMzHivQAl9p
5oXsXR9ReeVEvfg1c+GxDgPkrObrhg4rFnfR7vRnuJGvZQinRe8+lpgXc12Jj51/C3M+FWIeE5/i
W4Kn1kVkGRzc6IiCdhpIV+P35qV8Ejbx6T489na84XF/rFwIztGZM8NUR1VN5pUY95rrb4zUMlFp
JKGbcm6LNz6SV+HW2HIjU7MhMW4E7aK4DODdj4CkyXgzIRtGQaZwI9pb7lDQbFzXz9KpdLNd8Vnh
Xs9Lz/501mCzxT1LwjmFJCV7zRtNuRLUzJwvm8OLDh2lzD1QXKoVewJN5Uw/4XvgQniEO7XGwqr3
OScMujbRiy9ADvH8/mP2FRmSCV8gbFFkXrnHzKXv6GrYpKBcLz78h+amf67fuI00K+cGcJGUJqhM
RhCWcdiqrrR1LmCBkZt9g0YatIbeoLMZ7O4r8K9us8Tmnow/7yHzZH9DMm6SBNPUJz6GKtrdTtoG
raPddBSV9pItvGqgHIj38km4EbdcPt/ZWlmzApUNfs0tqejQPZ9kWS3HkFAf0YfNcCU/oo4wdsAe
s8VxtEFwGUQE9/WmPzz9v70mxvuNyuzgyeiGMQ6EBl2peWh1h/gP+n/RLGJJn5eBVuIK88x+IzG7
Nc+1JokUjC9DWe6JvuSIYQtugaY7iMTSDZdndPaDl+aTWcna8Etd6oAHebmTiudZ5b50UATY+fei
96vZcpVMVg6GswEyfkHRhqjrdACSDzAFZMdJtOXeal+ah2Diiuut5LzBe4jnF/oUcI38kdBH/SEy
0RUWbkwd+tJs5FdcH47GtYoqK87KrVmmjh5JXFTnWgU2lwVds8qcsoCCdTC4I/edg6JyehW/QG33
TlHcFuqB9BeolXhXCB4uYzFRrpEkSIArfSRu+JQ7ETSXZZB66yhps+WT8oagq7iZ2+T/ZsSoZgcD
yMxKZzJv3FCTW2NMdZyx+/JK+mwgjQkXJD6ivCz4fSUcp18pGKAJj+tj7ZKGOkcsK7oHkWdhq2zz
uOpFkFzDhK4HL7QrlNOdxBtIKX1Unrlrt1wJ25U8LcwI9XNo0Ia+Nchbz72OkKqd0lfQOG1/Ga1b
de6wB28m2aT7CJTlyGWBAAfc2uSVM8Nrrn2Jy6ytlNexpNUz7r7f6NfCHY63Y9Ha9EhdatNXngDo
yhseA535RFCqjbpMtk6b1FKvi21EbfNjVCzzObyX7rJjMkv0DXYPvlABaSzxUDiibnHGunIVntn4
0YwBThl0ozJzLMZh09cVoBsd7D3i3s9Rxja54w14ybbGfXokpZVdc58Za/cGkJKhKB1hdbRNMP6I
FHmVqBOmmIKqE3Fky78Pdq/h0eSL0My+lPW1CyiFuSDEvWEG/oQRlqhSQcDvpL4nv4vjeA2u9NFT
PPUm8cS34DXkV1GtGtL3KH+s69iTop1HObdJIcoJUQn9lG9fH327OPDXctUnLeCYV4bUTTSFIiEm
Fd1REqTc7OgIGSWb3M0q0/pVesz+gnJ/1p9HFBcpcLQ7IkpxvknlekBNsRxTpPRBUQ1h5K1qDc5w
6CUQk+IVr7610A8BwfLtcMOx3bX70BKaeW2Ug5nmELWguJWoH7KbF4hCJbP0+DW688xbSL1vAlSR
+W7OdYYrBzi87yzhgeAXAgjMtpHksJcHCdDjHlcG/yh5DYgWcNLdIP2u7pVtehtvLg/3q2CZMWRg
onMKcrWo22Br8kxpSKQuAiZ9mJPABXqWS9z8Aohc4v7pzi0kg5t5yILstRN+cBVa/YHc8Ns85s15
6UMYO6sSlGD1KT5EvU7tp+SQhlam2TJ1DOjVoFJz+wt6tZUlPOSPZBfymMdWPNbZNDCrXgx1YvbF
PA0ehHlBdPDSDHa3jR3zTrqjbmjpCDnbl+f+Z928gfJEFBeg2gFE6aDzPrfyyCgTSGilMLV9fnXE
edvdxDcQ0niAjYP6ywIbv9d+Cs5tjOfeX2BL2GMQMQIxvaEyx1Gv5aIcjxm1qxpS7skWbQR/IghD
Zlf1Nt/mhn0j3xtztBUseNvx7jL6V8qfXew5S/J1kUOfLeOpM30MgjGkeF/lVmiLe22vYatrIwR0
Z0LpZKcee+8U719voBIHHuJ7CJA76UHdVF4OrkUwi3NJglYKc1Gf8P1NrEsvxb6uidYgcXX9IrjB
noA7tLhNn9FaB76G+Bnste5tIlrqTXUIHJTbo+Pt8rSs3U2++BZn+TY00rObManLnGQmtMvAAaXs
CciRw5ltrUOcBUxBN8SScfe7jLkW0TjDZPbdmPpdrRnAfA9ACXw1PIs34434UjmvoEFBGSQ8rhPu
lQNmfctlEl05XM7AmR3QmyQ2zbybAxpzn0vh+qOdbAQINvWQVZGsCBy+BjeitLrxZl7Lf+aZ2e0B
WCz8MgGssJ2gnaZaxT5JkPFtPq6qB+UaSmmOdtQRgZe52eZVh7vEZpw8HXHjHQnmm1xL3oRMOi6+
73caKj41R9qLN+K1aZONAqaI5PkeIq3WX9B1wO8sP4HZ+11O617z8QnykUgwMereTdbgCfbX1su9
7KXc6HsC2ojLtrY+7xCngvClBplu9sU/dMrYBB3mHfRtMK0GfrW1uhcCbhQdcZ3yEEOkAC9/EIr6
9t8dMRDGQgoC0HPF4Lm/lfK0jyNx+IquSE61HeH63jHrh4/8qbR+IwPxMFogmrfTJ4Obu1w736AJ
hqYDCDaZKFA6B9e6uk6qCeBk5hYyLaRtr7Nf0Auw1Vuc7jV4jTq7eK2h3j2Lpu84U792wC3hGZPv
qyjKtGEeOyhIPoaX5Bija7i0A6gkQLgo+TWL1GfXn5dhV52qDkGImRdkLmZkYhJ6RHoQ+CMRUoNj
/bZDpFK/zkErWu6SbQ+aH4IUuZrAw6GLGk01sQuOkPBR4ZKU/HQ0YDYAkyxUEwgINNkcbtsUMior
kUqV4dFePPF+gHBVAYvTHDNBiXf/EtjtO2jQLo//6yA7P+jOcRnvKjVRYowaVle3Hox9ejXdNO50
3Xm34JLCv7WQxWjxzzpI8K0H1cWd47nZCCh1VN3apdv4SbJRaY8zsLgqsE/7Zy7pxvwFl76QsUuj
KOq2JPMXXoeb8AF8fJDrM8B3hS84lCgJBBfC3rDkO4iZhCCm63in3lcWiv0ChHRw0YeQyUzSd74z
lGRsy15G4aN+fa29ovB+Uzug2LBqVEPZ9FCqFlLsu8L+wCXU+gMdOdFLHMFL4Z945YMr9qogcff9
LYy9pkGAokgJ34L8M8L6KOH4/WZCmsD/hJuEb8LtF39qVj0Tb6o7gR+gWCnrPvsEtt270LoqTlV8
AhLDGTqBZIiya7v32sneVYt8jqBEKZ99Ye4cQh4efCgoa+lfyd0H+rC9YpfavZM4vIbjrw1yYZFM
xpCVCRsrEfFV8jG6Q2fzG8jJkr3vfORWtJGvCyQxn3vkq0cPT17eNlq5pJzPCWOkWdgUZjcvi7F5
b2GD2/AeOeTpFpVTrxM6S+NbhGz0K/3aP+nzIvFYmX86b1QGEBDtIV+vI7TBmOgkmUlb9SGowoQr
hY4OGZMX9AM9xkL6JvmY+BTtKZSbDvgZYAUsXmYzpcbsuphrspq0YlVqqJwt661PrETadJC8BamX
bGsTCk7gTVH5c9ll/TwogDmn6EUka+EqmRSE0o5CLs+VwSa5U2WnzkZ4ac5ptIoxs2cgjItfIrOc
Q1ZNZlFiXKkWHCp5I3fltix/Xx7ISn0URrJAYY68mBp1SnugRDOx6og+hCK5q/zhulEMW/LrDoH5
2lFmechafUBfHq/o4Wco4fwD5mlYVNH4JULMRQarpcn4oqGhZ5iiD4GUW7GtrJoWnJVbO+OW42WM
VM2kru98jDcPN7R7ioZnGj113Ljiz9DXPKpZespE/yLygsyosjCTijbBO6lNPifR+Mzk0QVls0Wa
4KpTPjq8KKMWNUotifaKjGLvDKTpedVAj0ALY/DefZaGdIzQHafQnKNIyvk4g4nL5bpGo8DHlPeT
VUWHydiAFs1UkbsWoYDNK3Zct2NUq8Ij6BCfZOxYNmnjB/NU5MZolTl6SYVip+Q5p5Rh1fvg1voP
DGPIgyL1KJUCTNw90/K6nXB5VjwjNewRrYyTrceNe3nv8AbGWO5IJb8KOyCK2WRTAzpXxijZBR0q
js3ygBibDUKtVKRmnkH9MVFPKGi3yphX3rU6f8ga4VknzdFExmIVPSkjqUGVvA9G7SZ57uNTMMZO
4/+aoo2KDHaj8UikV/ciungMyBaA14olJUrLttX8uU4+Uj2jMjZ9A5X549hK3l8slIG0DdrAwGus
MwuV0FGeigQ4ajPak7ILJ8lthcS9jLLqyBYozCplhlLrMfo4QIleXuXNmHoBFV51ino8WW5viyDm
xad4iMwpVBBf7oYyR8lB63tF+1qpqIEXceFpg70cJ7vL41v1GovxMbc+9EzHWlsBrat2gvQY13u1
D2+nuncKqLwSI9pcxuONjjHIPJu6OKqBlzaDl+nkptQaSzFSN6LxaSjklLPL1q3xXythvaJB5VTX
I1hJJ6GCc3iomz+V/jkId5eHtX7ifs8jS1yCGsooLnPgUFN+axKQptRxLhygBn4lZxmaNoZBc3Ow
r9pimaGkQu7+CLTkkRrwRiufH1BNBF8lzaOtBU82nBLVs20KGQGdF89YXUY0y2HfoTIYHE3nQKas
ZbI5YhnD8phV3pDcSiXitvVz6G8vz+yqgS6QmBOgF3QznwYgmfITFTGPXo4oQl5bbWJYoKn4G3uZ
e0pnjhO0czJeRRH6lEbdvI4VkCLJySBsSCf5qKU9J/O8ulgLKMa1xHVSiiVIAWzULtwbcv8aq6Od
99quVk3OqFbPmgUU41OaWMghFIZJVALkcUwNTfPtu2Jw1ch+piFxQVrgMN4kViCv+9U8lIMianJy
vFTksHRy2EaVPlDI5dCbybBV6lw2Et5UMl4l0cOhLWpMZUUUi8pmYaU1qHCh19LnKs+lrNQRz6NE
8/HcZj3/9dz4q6woIcwJNDUefqfIGYlycG0MwY5m0YufZ+glb9o/MfSSEhM9VAZ0ROLGiSvfgSjv
s4JQzOXRz3jsA3XxPSw5TCfoedm3aNnKEUKSUFdtKKDiCjVXLTxBc1LTBXvVX8w4CAdV0AGizFch
jEUJRaqSIa+BKaLHGcLZrlKMzlSCSltWOIH6lfoXRVyCMWaVdkKB2iV0uGTVgXQHUbOV6KrPnEJ/
BD1NigR/xLvFrARszzGZRcY7jULifm4Qk/Z5dJ1RTGTp0Pg+IZbWOkpxDMRtErvIXfn0OBpbqd+H
9E6P3Fo7RAEvDrC2gxdTwKZoBGEkIUnxOY0avPVJ86nJyaYcfE42cPamrCkhBAQ+D2g0gqGFcX9S
GRQkKgAT6+1m0PJXyZhuL1vr2tGxhGDcnhkQBOBRL2wrcWM1yqHB4T8JN1Ly5Iu//hsUY6SaSQ2d
StgYdSNZYXbbCJVX6gdVyO2m4Mzc+gJ9zxxjo7QJ/SyFwLcNR2SL4CAQUKGpcJ5D6yCzRA/El9FS
wAwoGUwjagTsuqRBt2Qc2lngH0qSc5Zo7czVQBH0DwwzljpKC7+a5nxgfhzqB01oXpr8VKTU0yC4
HILch3M+rV6flojMbpuIkosxBWKbD3ZYbM3fGBw5jaW1jwR7Gu22y72/MA50ZKAC8/+as8+9OMU9
lLZz76MYoMANPbuC3rspPZnSAyU8MvzVfbUAm3++iIeUaZAHCGziUVQSd+gjWKNgg//f9kuvCyRL
6lxFeirM26pGiOSpBYc97720PseLb2D2dpBP6WDWGLCmWab/Nih3YYID2VUEnGCl6/e1ZSjXjf56
eZ65uMyGL3U91PsGuPWUWFASFLvbAhRysldC5UtIM6vUkOhVHAk3g8vQq9tlMWJmu+RZJ8T5COSy
dVMRGgDasOl4L5r1pZ11k3Bxgi75fCdaLK3QT2IhBHNKcRKdhkLNh9D25fJAVooFcRpBLuIfEOZi
35s11c0BVQOSeQ2ZYCo/m+amFq4y5dRFkLZ5NuVNQ09G8UF5tByrzmABzVz1hSpRhA7hHpugXKNV
RWuKHoQQZWy1aGuQAhR0leMN1u4zCB2gDhzlkfqPEgm1zGMxmOYSifJh7I7UtPTI80sUZBAIE9Ot
Ubic6V2LNi8Q2dO1M+S0GXMgdvqGyq5W3IzJZPkd9P5CahG8NprSElNeHfiqfYLhF8Xtc+su+9gg
kol8vApYU3zKo9qNRFS+BN2WM7pVC13AMBtwoGbSawVyz4bwQVur0q/gwi3Dr2wB/Nvg9671e1Dd
ibErh29BNVhqoXNOxxnix71i8QnMThxImKZxOKe/q8wRQ9VLlLtRGW7qlnN0rU+pCY1WBcTuPwJe
cW1AQm1ATq8QrprhNvGPebC7PJ/r0/kvBEtLHbR5VbQtIKocOXO9dPr0b2KDUDP5ZxRsm3wm+ZAL
nkehokOxTgonGA8hl9Fi1eqhcACWGZCjGwqzs8VASiPBAEqahK/4+0aqjW2tl27sT8dcJZteu80h
ooO3RME5EFedygKaOQ8hKptNUYeXUCo9lUNomWln9VG7a/1X0r811cTZA6suZYE3m83CSVehpMZ9
N0+oOW3INGzkXnTLQrYys7sOKm0z5yWiVHIumwpvmMzOy4ZuIOIMK5vCk+C/d2kVWpSMXkHepC5z
e7nkBBVWH6eQQwEtLXJMyCozi9qGSmbSCTMbydAFlodHaSqPkVRuDAOlXNJjJI3bIcBn6CMIHnxo
Klum8IyGXMtooE6t9d7lKVjdLVBYEFF9AIUctoNKGaKxjVUDLeTVsEnl9m4IeTm12Xn8cC7/QoCh
9nxxuxJv/CkEBOpLevWE92CcbAzFI8PfeLEFEHvUt6qemQOKcH3NtyMfKkY0tMpk2uYhL+686scW
UMyBLxtpEYnzMnZ022m3Rv9MJd45u/6uXoAwtpJrdBJHivHoWYAAKbF6VB4laAfwqR3nLtVdeY4o
NLx0HReY2f65D1b/UJp7kkVoAPqBNaHLXdl2qH+qB2vUtqQ6VfrfHA2L0TI+wOiKxIgFgOayowuK
5Qcbvek4d5fVdfuSe0RQFGXyDAjJ02ww5nXLE2M7RKBlGDVXl4h9eVetmvwChnEslayNRqwBBtIQ
Vlu+1wVo92aKhtjz/YEDtnp4L8CYwxti73pRjwCrxtwa01MJBrgx+NUUE8dd8oBmd7rw0log1Xh2
AijKb+J+A1Y9S0emL+JkSnlrNB8WCxi1xAGQxDAEEV0/WZDdh+LoZVVzf3mN1mFA2Ql6cCRI2ZJW
8CeHGbqiQW9JIFtARqQG7gdZ+iuD+0ZhHEWelHWAvAQoAKm6lczwYayiTZybnMjD6kkGasN/BsO4
ijbS06A1TPhYhFKmcKP4uatGW4oXehU4Ey8gwJs7xkEYtd8rbQG4oDiFMqj4Okju8kpbeGNi9iri
X6GpDZi6DMFep0bpB0rxpuxXlBogGxQTxKeqrCcuSaf24bJtrD+KcVShqw+ChKAUObdBpRVC2vc+
2D6oq0IVr3VpiBqn4lQWe5M6kJ9uUUwQDLwxzxP346z8xv0qN1rYfh5M1dglGPMkoZsZpQr+wLuB
rF4rFxDMKTl2Ak1TCRAQNHYEjKLUtxocrRzbyZDYI8p9Ia0e8BSseCNjNoKeQ8wp7WAyqqDvhrJ9
mup0c3nVVq1yMTJmE6ha1DZig0Uzi2Od5aiuedBhnZdBVq+qCxDG9EFnYQjjiHEgqm8pwq6BF6xl
YjVYMG2ADPp+EraXIXlTx2yEtBezvJUBmfs+gurpHrovb5chVl37YlTMgaURH2lYAz63QplvXh9z
v9i02jGCbsffABHQjMtEJeiuPN9YsRb2vkIEkLzo/Y2UxYEt52huHKATYSjPl7FWT2HwyPyDxSxV
XTUp1UzYQ6YeEDYYpNoh1CFo6wCfzmWodav4hmKWqElRBpOXgJJIe0WC0Y6VuyEDAYPYBu9dne7Q
ze72pS9zpnPd5L9xmXVTxAS6sAmmU4aPb0HQpwWPwdBzMjyrnngxkcwNg6ADySfz6AzFoeldqUSo
WoOoo+qVtekGoXd5MteN8XtQ8+csnODUdq0pZRhUGrgdMmRduSHNm6LxSkd5OIyTl9K+MyoRw5JR
aTPMb78qQlYuuW+LmOd1Z6/607H/MyYwgJ6PKTeEzI8MYJnhY9TvQMZJEnAWtvbUQzkvuZ/MP4P4
UCiU4ztWCCMQmvx37dBuew48CFqqTRmAowbcm/GfxjcDzxhEi+JCUiXCJivvu260zA6qLHhylp3v
yR0UFQk0FTr9blCqmzETeSnvyyYFNt3zz8qprjRdijWm8SPtDqpxS4twH6dPmvaW1Bpnm6xvT/CG
SRCag/os43WINJYQ88WZV6ciiBPtrkD7OmmgELUb8l8jiq/MkOMRVo1LRwebLiGCg6fG+QCHxJfl
qIbTRuTS0kO3oa8N+V1pnDfveuh5gTN/x2KzCO0Yx42PoenVrsx3WQTKqo+03mbd7ShtJBln7Wfd
Plbp7aj4zuWNurqIC2zGLyhGJVNtPtNJtU011KJDZgdJ/dbw2sAR2/4/TinjFyDyJMUSBVyQ/a6i
k1LaFbSgVc6gVk/bxaAYr9CYsZaWBChdMu1Utf2UWplzW79sG8jknq9ZKsZmmUeAiCq0sMGvCQjy
Cjdp5V1en9XTAdwF4KwWoekhMzZomJ1M4yxA7mMojoJCjlomPmm1fncZZv22vMBhbJCGZdL6BD6G
9M/IDkrEjaG2JYGIMHDF2hEgr+RbYStydvW67S9wGfuTR6Fp2gm4NarU6q7a+xOx8Hh0/BxKhAlY
Ys1fTR5+lDGomCq0TbTNla6j3vry+FeXc/EZjF0Sf8pJT2dflrb7UikPDerksgGNPMLEgVq90iyg
GOPMTLXs8fqCVkH2qcJw6hiPu9Jr+mfQNW7/07BYxvWkSfyczG/KoPaCMLKBZY62qHCunqtOBBpZ
GiSL0f5nMIuoKIMW6z2MtBo3SvMbxU9lkTmR6Kj0sRYbzu5ePQkWaMxama2eUH3AWon9m1w/at1B
Np96P0SZ7yEvvZG2nD3IA2RWLGl8QSmKeXh5bAXQhhKOUi1bdXHKiKtqLuGFg1b91/cI2S4dNQxR
bCyjTQIpBWtEpGGK6cNly1ivvllgMJcKv0EFVT5gUGIq3ppRj6bBtOisIpNB/ZAOp6qPr0XafNSk
RxG4Mj02/rQT5pRWHV1HtRTadZ3GbpES3847ZLug0p1ZsekLnCNj3QP+a1xsc5APxlY1rPChsTjt
BWQx0lI5BRUklS7PCA+HuWCA1SUuYx1mhZjilviFW+mNBUEIDsz6XtHnKCnSr6BPZA4OTSlQt4bh
6Npjp01WkzktBecFqNaGW1Hjqpiv3lrBAADOBzABgDPyHC/o9cFPFNhSmtipPlpFe5UhyTuEDwOI
5PKtiSJkAe0iOa/1btWIF8Dzzxe3miAyhbSYW81GvdoIQ7/peS0wq057gcCcjWmYqTjYMZUDyOry
ySs130n0baHwOGdWXfZXkykm0MCj93woehybQ9HDNPLwTq3cCBUVIu5Iiht1vINo1QoXUMys+YPc
iXk+Q1W3aM2wtEa0siDmeDQeCjNzWRCCI2B+cwrRlYnMf4RyzpzX7LXqNlG9DKZSsMD/KPQNexSD
oW0HFRUSQufR1RjbBWibSXNtpm6cgCeVcM6hFVoiBVSk6GebJU7AtstsrjLtkizRAUlzKzmqd+ON
9tCc5BvfA+HtC9hzcMXYBX9wxbjsO9Y29QKXPWflOslj6SskMu0MEEajMja+kYNDKzljfHsZa7Vb
cgnGeG4QeSUdrmVzD6dpQcI+gBwQ2Ast7SbbZ5vyYE4WhHrTx8oLnAT6xT6IVS5/wtp+WH6BfL4f
kNIkkabAfKbBa+PDOCJG8mDUjib9ugy0msZaIjE7D0SNudwHQJLjA1xyO7YOEQ+qitIRsq01rwKN
S8ULXvxUaMW5uERlNqFhdIHcCZjhxiqOEy6d92JsDYGFUHz4TB/9uwOdO9oj55fvBrxcK+EZE7M5
5SmJxA4sV1BLDD3/QbuJnxtHdyNQVI6bAAt6GzuGo9j1Tr2rHOENLcO7DdhBYd2l3WxxiIMxHHyq
W/Jae+KtcIh4t/Y1166jgxPUPlBHV1jK3VQbpyTO0AyoDyc/GuyRe2ytOSgdKltz/4MqQXnp3MLq
PKOpOOLwyH1LHVHElm18bifC6uNjicKsc41OaPQeAwWNriJI1vX0CK1XJfwkLTL7qeCZkluJj5O4
6U1PHUWXY93zPmEjSkt8ZqVTX6BipgM/JagBbYKNiAIwNS3KrRyLKMVO9mFHN0qZ2CVemULc71Bp
9DfpreVHzKfs4pxWkOlEfSQ+QipuewFEzqhSzHJe4nH1gbmEYd8INBNIlsCq8SSvDa9prqb+SRM0
tDe/NPGjWGzValdNd5eneO2KsERl3gpCOaCsfO6SVSphn0z6oU//CFL63IzC52UknsUyR0/diUWe
GxifPt6o0uPY3VP/z3+CYJ8FcZu2uR5gMHIy2XIk2z6ZvCnNncswvKVi+RonwwzVtp8nTfEEvMhx
3WmNXS1fd6rbS5+xdCgkR9Sy3WVczgyyF/0gHDpJDAEbqC818maddKvKz5cx1n3rv36FvQ2rRtyU
WYlVinrUrHYVwh3Ci2H0h1qV32PjvjGi7WXEdV/5jcj4mNFM6lTxgVhXR1/ERRtEIbyb1ioGihvB
xwgK9B8VSXljNOjinQ2jDU+F2SM8YipF+3F5JKtzJ32pCaHOS2XnTkQFUJ/OVBpypTmjYI3i0U9H
RxaIU2nXAbJ1/w2PmbksmMYknlvsk+quVq79xEvGq9h4zfzbQas5N7hV41sMjnHFuhjFiTizIYzd
hPr7XZ00VphwavJWvdEChHG1SdD1SHkDxO8rF13fthiZeH8b1yj04Jgdb7EYd6sFeSwnIqAKVPmb
KFlx6fQ+DvdEPgiUk1tanTt55nnTQbHyIzSv02YsUx/XJQjaq2O/l8AeUvH4ydevvQsUxhxyRS4F
lFGixvYYXtfbaYvs1S47lqDpiC0kbqFR5pBdbgvHzBMzCzKjrsxZvxUhIFwMF9/AWAltFUGpE2yB
7uOa4N79hJq+z5cHWQWpTeV0trrRIU0/PkOO3ib7SQXjn8L5htXyw+U3MEaE2OiQNQHmoQWflZP1
tno3HJoN+ATfq4/wlrhJCeqrSnIv78b1S/Fi7IxFpbk8ak0FXFBmGgJkvIcD3cqf/ic4U5BbEj3Z
qt6RJb0GqTnR3b9gET6f+9niF/cUX1GSxIyAr94fzQwXcf+qRz11DOTRMu7ag38nn/zJCt4vD3x1
0y7GzRzssdaUqjZLJ8agS0OUBtImgtvwkkAclK+H0GJ0eoK2B9Rw42Cq32P/oKZ2EnfWVHFeyPPH
/rhxfg/m6+hfwMhq44MVb57EILPTUP9N8JIxpdASyZ8pFPG4EhG35ZXMrjqjBep8D16gQsWwDrsR
qG35KfiKkyZbH3qjo/GgIW4YNd7lFVslWlpska97/wIvKDNTaOf46WhXtq7jday/4A/0yeontYFu
4qv4Tm3xTrjKN/RRie30VrgaN5e/guMVv/gYFx9BQZMHjwW7qSTslV7yCsWGFNPfnFuLqWU8UgHi
6y6c7aaqc8vXKluFXEfCuxLyFpDxOWmdz2UKQBHjj0Zym9apwg81cceksmKuAPlayHK5fIynUYWh
zvTZywpdY406mplvRN2JutZpGydE4E0tPZ0+oQWU4+N4S8a4GLmtRGhDYJi03SDgMKS/UUrNWTDe
VDLuBKXpBWRwgWHKVj+99NkumzYGav0gQOlNGidSw9nvbDGaOtZR280Llxmu0LoRlJ9ybMF4N8md
PZqHQeBYPe+Y/vr5wuxLAzYf1Vi8dIfybXkPidvyih5MN7WiY+PFVkPsu9F7TDfdvrdUyDZf3nar
d+HvDfHlGxb46D7wkcvEiIWEuoGuIxTIcS+z+f30oapsgrwfxIMsMU/XCipRZFytjOKpDXe6eaDV
U5i6OuEMhQfE3HjUQaiKbOZcKkevCkGHtEfrZto77V+V0YCQ4d8hMV5E6/osHNAtbIvFB5rNcTNN
kWsteB2862tj6MgQgpcYjWfn58AYE1FKtZlrCCWumZGgGGl3efXXd9c3ArODRzGUJ0OD9U1SbI1R
hdOlsH1dueoKwUoD1Wl6nXOkfkX/f9rDNyazo405XVfN7HVRXj0nso4nXppD59NMs63elAqxKkUg
k5UaivwRtUqGLrGqPmQZms2tPBLIu9xOzUc7oKGqVozhSuyH8k2hYXqH7koFZFagH7JQCRBts6lB
5WqJVrKqpcYflBX6T+0oju/QroTcVjWA2jUhgmmPFPUIiRYE24DqvpdRleDWVprJUe+C7qiPY7BD
LxxIMSk9NjRSZ7EbZXAqk0QfnTFCZSox1e2kN8rvUKxiaG8kGWJDgurGZLgXSz3bJJV6TwbB3CqF
DD5H4X+kXdlu3bqy/CIBEiVK1KuGNXh27HjIi2A7ieZ51tffUnDPthbNs4idg7zFwCqRbDabze6q
+K60Y0WyoOJkBAzm/22Gp5eZg8VCaQBmF4QXCor9p8XJkx7H3EsNaUTlaim/4+3MHmQE2uKz4BOX
y7IXc6QRFJGtGcgFnCiKE2Smm/7d8f2JwkVGipUVoFjCjqhBc0Z7Nxh2UfDr/J4QT6EO9jYVcgkr
g87ptgtr20iLGSB98hAue3X8vtB9iqAP/Rl5vFPa92ataPubg26DysUMxqrk3ExADdq3uH6KtQR0
eJfKcNTTh5TKUiDC5dqgca4ls2IKzmugKcprrH8Y6LZaLP9/nEjeu0xlEgY2QJLqPuhviX0zqaXT
lxdz5LXIzBelO+LNpZI9gQsPAt1eOQ1BBwKasdMFrCI7y5YOFFlWE+yXaXLzOLrpx/CmseY3q83/
5oDbwHErB4pGq+kJuGxC7dWonVmJHUt3jPRqks6oqJId7cf/jIxbNrMZbaYoGJmdkKOpJE7EDpX9
qiAm16zLNEJPsOFj451fSFFUhATWKoAKumj1jyjcJkaoQSCoFCvn3TzlTtNmu7lI3bHswQtU7KMw
Ocx5i0Zz9fk8rGgZ2arJjYJCkDrxJYwF9IwgdQf5+KDFAWvdDzRJ4ZRbXPjsaxWPpOfhRFtiC8eF
D0FkUUWdAJeq92PW+i37nnQyNyk6cLcgnGlaDbOXcgBIWP6CnEWcekMGigWwK5SXJDAlEZG2+kP+
rEWrDx53TW1VFuDg4mwZq8kG34iZRk4WvI3MQf2ypwegInrscea1UBdD07A9d06gvf/FhIJce0UH
TwCfAM0Uo0pYiWZyi/yEn3Xj5bmTXdCF87nB4BatzqnepCtnRhoRtMrsxxCtdAmi9lfS/zRkdFJC
E2Ggl0RNg2GixPXUsTA9LUM6YqcXOpI4ESiG3idaSu4goqgPien/gPAneDqCfldZaQTrsn2KCror
UHH+NyvzCcEd1ma1KEWvYBxtFfsRslP13Lnm8PM8inD/2irRoCgHUkTe+Gy9s+M4wdoM2lOXusRM
YAJ4iwWJtDVkElMXGsIGjHPCyMsspEwBZg8PgXmnMXTB03c0rXrUOkbdXzTswQvbqDKHZAgEck4N
IeiLygq0VTiAVPvQapxkon6RSjbQ+s387t2irLt743dBk0pL2mIDlfZNgNIE09qn5C7JJDAi976F
4R6P+3FaZmNltwiX4pB1xr4dUGaps12VEqcHh3Mx3aqajCFNtJe2qNzOtdMgtMd+RSWvdv+bdBfE
fjxvgLL5470fVF5aogGi7yakz2y881SMvE4FOJ60b+exhMNZ22sNtvIXqNzJXFhZ3g0G+CRGWIKq
sYvRoK8NeHXPwwiHhKeOP+4HPIccTNWVyaz1gKG4uqGQy77rK+O3HpZ7VN/uz2MJ9i94TMlq44gF
oRN9an5NEhs1SorRv8YOtwSKS+Nwo8cy8rp1nTkjP0HhNm4xGyW4EFq0vjSHaumcRnZECMwbAJA/
U0EYTqCwczqM2ZzjOQ0AQNPWy9HHuGgGaEwflwa6jIHyEbW507JA8sgj8EfguCU2CsNA6KTyxFh2
EJl62HRoL7PgwdXAmUzj3qoiJymuuquKysqcBIZxgrd+z8ZXzCHKQlAfgRK1YQfWgaQtD1l+XNpU
Mq4/edgv67UZGHcGFpFpZm0EIA3dF8aRErcz92nrp/aTNe5IXaC35zAle7r0TtczBKSyinDBVtsO
lac7QZBGx4rgC+b5OkMxFWGHtDict31RJdUJCOfh87W3eFnXL1VmP5hQ5pLYTjy1V62d416boLYq
ciJtfCgRfkk2+X8BR48vKNUIRfH76WKi8GKZR9KjuwCXaYp2S4Xtsvi5MB5apXQC6wgtKQfyk+fH
LNwoKNj8DyrnW5QqI6NqDeir6Xda6BXERaC6U+t9WDpVjudkGae+eCE/ATmbRYddkSsLhtm01+hr
sSe3niTBlHAqUXMFYkwTurZfaq9mwwqqsBphrmrc3Ux2NHlqPUPcXtOhpmajoxW8+z2aofAyRo3F
BO9XKeNGEI1TWyXoKUgxTYRDp8uZm92spOOCtgKE2kFI0Lp4E5Vv51dP5K23IJzNKBnKw5ZhXith
Q3dKXzKyVyHYZbljIzkXRA122haKM5ROBWlbkGE85uSjvn+q7mP6HFUPU7e30R8+Vn6WXkfZu67u
l/4wZi4KSOPYIzIiN5HP234HZz9dzFQGPUT4PLCFVPpToc4ecg6oqp8kW0O4glDVWLWgUS/LX2VS
PBuhqJ5gxDoF0ftuJopblbvzKygqx0VVyicKFxJFdhVlRgaUhOae1nrT/M7Ui0G9jOp9QC8HC1JM
5CpOrzXLnfpXmv4OlvdWVs65zhrv4LdfwVnrXKnq2PXoF9Zj30It4Vi6fU2dLrJAp4y8ZSfJLgjn
Fvq+YB2A2gvaa053h8msIFMs4C2LXXlZS/G+Y5E32lFZ9lAXxRrQmqWr1uyqcstBZUkdpVWECaYQ
kqz9yaMOXszcFJLQqYNHHqiLj9Cy7xMn+90c5l18lTz/grb6LbmJPW2Pw+w5g+q9epCRu4rn4J8P
4wuikdep+2nEh9XsIQ0iR1+OqS65s4gcBHpBoaCsWuttjFvXRR/nLCt09IY3T7UKH5GALOOCLr5G
ZL0honneQnG+KJ4hZbnoGE7X+ireLVKwBZzfKzIEzgXldZeN6QKEEpoorVY7qew1SXhybAfBeZdk
mvLYGAARJ0cQYkSGP+ZvkXpIIDqtXATtlSZjcxJZAfQJ/og+mwxZm9OdALn5fE601QqMncr8Gs0G
Mog/L5j87iYgIlgFChAS8w2SgRHh5pDACiDketHu2r1te+1HvH+evX4HJWAvcANQcDi55aA22peV
wotc9haeswylzGk2r0OMQTWqwk8jMraMi3iRnPtCHMT6kH3QmA57P51KZo4o5ooxzHm6jU3PSN7N
8paSh/NWKFywDQrnsFWijCuXKxw2WPFM5WCGqCiXtdOJyq4RkoE6woL6EIVo3ulYRpL11lAiZ2iz
/EZR9w36LNlTED71i6PT8jK173LgG2yHRhFbttNE8ATSMgx5PFyhwEx7Cp/NZhhp5Yw6xlWtZ/Qm
696Knun0QYpHpXaixUN1D8Om0G+JjJdLsM3X9BFDVTty+RrldkRr4f4JdU5Ug6rKT1bVXthSGUGW
CGMlTYcyHu66uLCdjq9Ph7abbRP5tmqoHG2mOwjo3J83FMGZSsia0UPogEyozY1DHTUzbQYIN9OI
ga7UX8Bd0bDffey3EKmO2e48nMD6T+A412VGoC+IV51oZQT9lsKudWVCKw9iejodzkP9OZo4hwIB
SwSXpg6tZKQ+TqcvArV7E9goxB8vSjRgjC4IWxwK2S+vvyj3Q4JOm9J/R72fQ78NLlj+IC8Yeh+5
l17prupYaLo4/0Wiud58EH+WKnZmjIuBD1p6VH3/mq3Ig8uOwPIyhNdVM//FhRgTYKAcAO2l0AXj
tucQUnTQFcDTVglwqPYaHkb90b5EBzt1XsfcKS0nnd3zo/yjUfl13j9hOd9DmgHpSdC9uE+5D26L
EES0e8grOcHRuIuvloO9Gy4zZ3Js3/6Bp8vcebOPb+0B1Ha6E+7a9xuQpXW72Q388x8mimIxHxao
J3B11aEbfmoQYReDODvAhwXflV11FXrdB6gsmRdchb4G7qW1q8zNj3/BtnQCS05hgzBTtGVlBA5b
CFnqg8Oezw9MVM16gsAttK6OdKgtIEwfg6cf0M54U94kL+332A0eKHLATvhgvFQIJ1GO4F1Efur8
/h8/gVv0vEppmIVQioZgqwOGrnftyvDK73f59cdrdU3343PgYqUVjznUmy9l9NWiaqWTKeBiSJuE
Id55MAXK4Xq6zX8zF30o5oEdP17KPZq+gsJRfhgP7MHeW/ez8/P88EUXzxP41e9tklxTgzoiI8bw
6e0tc8398K55E0prw3sILlZQZtZdsDXKiGwEpzzkvtBbhaoQnEa8h7OhWFXlSwqu6cBvqx0lMbLj
mTuZHh5p1O5aCS9QUqEmLkOR5I848ifZQ4DwDNYtA+9oBLoTeIg9HfhcWZVpQQjGXTpcrvXOSVXD
gVNGn85e14+lfctaJwRJe17cLOymkt1/RQcKKmoNjJ/qaGXj9rQyQdnK6IE/0kuWeGFyLOwQ+eCn
8wssg+H28GiiKbtVsb4BGm2XurxCR/iH0kTftE6mKyFSOiU6M5gJhhwLVfjckCLwaGt0tSXwl7ud
F+2De+Znx+mRPWp7/TBcTt+U6+L3A/2JqGOHo2TXQgd6cttn2a4Se8zNp3DDbpIWbBAKZjeFHrA3
4A6Mq2myy90abZTuhG5OZ9iru+XCOp6fb9EdZ415NBSSgSQIyYtTu5pmdBBpRoJJ6CBZZk17hdhu
B0HVccrR1xHPt0iwvqF/1SetjNtGFHchNW7ArnAT//KUASYkva5nbCsSotPn1xB8Oz840bY1IY4I
5ilTxWWKj7lmaoNjA7NKonmenLAqrXA3aWEG9bI8rP3zaOuv8cfxFo0LuZKwbud6AlrWdccCrbZd
q/szG9w0BidF9HoeTTh3GBqqAlUwiPCvTa0FGa9+LDu4nBglbO3VpGaSG5Qo0Q+NaFDGogLqTwb1
1DbCpJyhFlp1blnODhSonAWyp3bD/DQoL4eiuAhGSFQY8cFqDGdpe7fUoHfb6C6h9OL8cInIMaAG
EtT7cEEgHOSOXjLkoT70TQcuEeZXU+cadnCZz9l+CqaDlpFdUWQ7a3zQStPNVX2f9fMRROFOzaAK
QJMrSPa5EfQgezA09cGPpHhL8ahF+wqsuNn1HLMRpA4ZHlgtSZgm3GFgr0B8rFMDJwi3w1KDREqo
4su1+sUarzTbId1rBSnM6I5WzlRcmqpUYHv1F7wtbjHX2dwck2ZAG1VtgRm2qRPjdbrQFTcc/VxX
dmp5O9nXWpY5do+Kml3/F+lDsgXntl2UBWRKZoD3o/K9a5MLkz22WucnaIucgtox5vfzxiGMCraI
/NYrGG2nbh0uVL0YckFR8ZoicWkanhmazlh7OjRMQO+pgz+r7ZxM3UPCpch+jfOlZf+SfM1qiucm
n7sP4f0kC9UJXwMlUM+erv5UllKPTP4SpL4V3NXFi6rkIGt6rrNfCnuQ4AtKxIiFJJ8Jh27g0Zbb
KjTVmjoiPeafPDaIhozoCbd0Qo4UStnWzk5RHyN7wxVdubaYXFhqxJpWTcbQuW32EA07Fl/MCiRd
9B10I50ylHgmgau1mYWrNB7oNLyucVuKWmpUWCrK0fI2czrFfqgbBm1P6KLGP4ZK9uC5rhe3nido
3GZqAq0xw3gtuStCGM11DrL1wPJK81s6tk7aXhu65FQWIyLHDSGztQqVGx9KtYwibRFbWnEGNS+k
5IznBC33fa4/jP1vtA6CqE1WvyBy9zaubLjGo64FZX6c3SRGMnQmRU0QZClbekNAvE5I4RiNr45H
kvnKkrmGgrrNN9qXkIA41vrhvOkKDrWTL+CsKJpHXQltzLRulS9FW1VHuyON5CgRGs9mmNzkGvGo
hOVawhUP4TEMY9ek940Zu3hJ2nXGXxT1Ykh49kObMQ4ug3cGSWfl04KltGPVt8jisvhZi+PHrmS7
OYHVapXEeNbv/2Kun4iUI9pD2KYlQ79Wj6G2sCLZIWhDN5XqgYjXCvU76G/G1eiPT94cMYppsLFM
UFio4ErmVMryQ5VppQmcCubuE4Jz6wHRq5GsdXBqUhyQGAXX8G4tOyhCbwI3G1Fezpuf0DJsAoUf
GzRTcJ2np6Y+xSggW5XmlMIZFH3XBrdNvGeZqxezdx5KvNk2WJypD4UNEagRWNZSqndzV13bsXnf
L/a+GlCpqRPlgRgx+LSQUXamNpvvIJGu+zWNLvosT247luffJd+0ju+L5Wy+idsZ9lCNgx3jm4I8
eYIK6I9crW6yLP0IxqccD4ApqJhHJdjTNHEWA9RuQfhBTMhRn/8OQahns81ncP62LGmfsLVkFQJv
g00vNAjLBdOTJdNOF+NQlOZAmcdifFvS0hYl3qmAE4cuU/dWmB5L9F1Jq8NF4QkG9AnErbVBhynW
e8zrwD7UqN+bc4eUaGB9D6PioGevpg2pRrCp6HPn5e1zS4a7ntrP0JxytCK9SWa0mNoy8gjh5tp8
FLfYJR7wJzXCR6nUIdaVgTixZfvcQt8BOlWmWbKoQq+0geMWVVGUXmkIJrufkfvuvGnwStTT/I3l
YDVXbTBIgHKR56hC/nNKUO5XVy5UkHbgDHcoiq9STXKGiCfvE4jzTGViBsOcQDsvLX4adLmz4nsQ
wNLC6+cPPRglHl1sqJ9o3BnSjFEbo9QUG0LXcXN1VLvdK1pzY6sSr7T+0FcH8A8Qf3SUOSj4aI4S
2ih+bZE1z1Qv73JwXj/XkWex9BKkdOdXTNScj6MR8SpD6AHBMW7J0gCVi38KkZd8OkwQ+tJQzlCA
kzkzypsURJGKWe0Y/dn3v2nxi6B9FjdBiLvantnnko8R2ej2W7hVXSip0yLHedOOSeE0qB/wxlqP
PCOO0sP5cYuWdAvFLWlFy4wlBqDSMTxmgwa6t/4IUXcQhMnI+yWj4jta576ayITWIpdqynVZI+Ov
k4NpSd63hAfaZkR8GyusJiutADCBku372HhWSlR8085XQlB/dcRNNVSyjeZ+FSuah8S3YrwbGoYT
jzINO9HuhFeHVh8YNpAq5RJ7TB17paYw4zYc3QzCjmZnua1Nr8buPdamhxGykxLPs5opv3NArIjK
CoZM2hdhlRFRShOtUqv6rH+3G0gItGWSAbSovVonsxeGMiEv8bp+QpLTaCWoAvRWrfK7FqstN1QW
5jfxCC3UgcoeuNYJ+zI6zcT7loWNqvInZa6NSmzpmFBwQ13H4U8bnL9E7fcqNKaS9LdFE0SBkEQk
/bFUB4n3W0/HL+BI+5omip7X5PPpOJmW6PpYA7yak12c0G/psEgS/MKp3EBwG58kU6KWCxxsb6Y7
lPUf1CzzykjWLS9KBYFP9HMo3K7XC6xStjryJLvSo+9jFKEo+L4lXlpfmBFYFdQXBV1xf+FqdOTs
CTTY1mvI6fwVtZ3bbYtD0exx18mDXZH0ews6cwqLJAVGQq+2geJMsqcm2mQNQEXM9CfEEMk84tXZ
voVk9935UQn3ON5kdJzzKFHnWzRT6Mbi3RVTqWQuolX0rBfgPkBM1eTvlIV/NYefaFz00oRpa2Rr
YBFo1ybDE2ZytKPYSWVpTqEb2YyKs3VIIqpWNmNUc5jvpwj8KdVvW20vpuh5gCTu+SkUr9bnoDir
L6OyJtnanaV0YGi1r1PrvQvG21Zm9qKowt4MirN6UsRdSiBT4w5zbHt1GKR4jO7uO2t8Ccl4089j
7IboP7nMzMSQrZwQHLUdeDqzjbUb9NT6B5QiqVoOcAoqB6XypulDaY92Hjtl+5BVv6VMscJZ/QTk
le+rUEfDXQ3AUtuP9VvfeXb6nKuyXkURHbVtb3C4bY1X2DpQW5CydR62QOjHh8DrUYrrGA7dvynX
s9feLn7uhQ/Klemftxyhv9xgc/t8sIdktsoVG4rvNEt2FrGPuS47VMXB4QaHu5AvFIKURQ+c9M3w
zQviG8yn3yp/3hXfalCL4rDbg9xUEgWLXuNOppa7r4UjLnOsWmGfSj+LPOUQ+Mb1+GT8yvfFYc6g
F+U2vyHFRSVOTTivf5QyDZQBfym0QrNZXAYBgBm5tjU0ZNbebDWy4a2r8+VA3aBwq6eQLta11XKS
Zk/bWwrlnhxF4kvrQbegCks/nPc17mY4kOzh8bzlCHfHBptb0SK3hrhSgB12xuWcAUStr0CAsm9i
83AeSuhLN1DcKoJSAvzkIaAKZdwr4IwhcwLxNBQsmBkqDun383CytVv/vsmHTVVQ9VkBOM1+rbT7
cq2bljkz2eytf99g0AxJIyRJMXtNjKPhPu8OoXXB/qK9BgVqePhTddRz4cnrFKbt9C5iqYpTqLjM
FK+pPiIpKZvgkQKNJhTvYShoxD8Oo+6GKmcEUR3tnjXWX4xj1Xjj8roo7TUa0f1hqV4K7TEtyofz
6yQMHDbA3KkXtwV+cw0cYiT47NotFziSLnBG1EWZCYSGTfoXrxXboXJHUE5ZPJtsDVVUNL5OxNqB
k3EKhnutXmvFVAnf3WrXX7b35wD5Aygq1Cga1lgl6dCi0Idvw4xGrPOTKMPgDp8CSgY26IxBeIpV
w80gcNRZlaWMhNa+GQjnp+aso0bfAqTvK5BZqdQNCPMXS0P4VcqCIVGBDQxy7bpGFR+KXbn9W7e1
NpMZ01Ynh3LZx+VdEryixtsIHzsdCcj5mdBjn9xV0bGVPeaLCEdOwLmNPY5dWcRrK6yR+Sm9NMh1
aD5T0CpMToYHtfpKow4bJKeNMDQCH7VmEJUgsuRGvNSV1ZYxQAslf54idDcksTcS4lfUcNrWhEhi
4qq5sjtvO+LBbnC5wU5txCZzjTsXlPjMMZ5pzdAJ2OxP5RO4OVxtfiogElayJ5rKMlxScM7v9G2m
W+AEQuiSDqhduC6LG4t+QE/Ki62L3trXgRc2h0CWHhHa8mbMnNdRwiW0QU0NH0D8NmH3dW86NKh3
mvV0fnaFx9AGiHM2KlXHposAFFnRccZlkinFbiV3OQ8jGc+fm+7mJEo6mkwVXWEmO3DqcXqOQNik
4HVf63vJPUW2Zn/+vgGLUgPv+jXAEvJbq/xJd4PwGOA5v16Jm8ad2u+mFuzHMuURcSCIjm6KvmET
RK2cmyvzHGRQIWL5rhmdEIxJ6RSik0DZMz139KY8kGzG/zdHQ018AxOtLNZDhga4zH6a9V9V3h/P
T/t/mYrPL+J8YtWgXXJu0P09VPdgnxiH2yFDv190QUG1b+l7BW8lZufboSSYEhV5Q8rjE5gL3Fpo
yNCCYSqW+rUJ9X1nEmeazFtzNtCBY/mVEjpact/l88XAJrzYqUca5UddfdCz6MKmwWNtvo/stWiJ
q/YEZhJdDBYekkYS7btS+9VmjR+GqVOXmuoMLd4+VsaQsZYJdwnDws1AuLCQmHZKZ4qBZMPd0B3D
5KNGmZCheuE0S1ZL7GA/54xzsE1QDXaw3j1rAi3OhzaY9mp1r3W3Bu4UioVnl8fz5iHe/J+AnGcN
GzUzjRHWURkB6IfsQ6tqaNGc/PMwUivknWiBDtlhWPdFfgv1jpqBzCZ3QhXFX8c0dfO+90AKPWrS
14LVyk5jGwp9YgpSLrSxIbfLzWhlo5qPqAiAq/iqDeJ9YFyYsHhcX/rkPUVaa0rcobiacq/pBwfP
lpKBf51g4GtrqyLKJVWLf2BSzEFv8SiNALwGbU6L/NYuVS+NmHhBzbyczq5V3jUqJBcLd2m/UTB9
Z9GtOv97RsXT7+COE4I2/z6q8R1Rt1Q7JFdG8I+AjdYomtugTGIHjFTz7vzghWOH2DZydSpF0MB5
gHEhaZhSHeGYfZMZh7B+TGWU1etnf1lelMEyauCGrfKyaMPS4hl0RiNOYFZ4I4C8A4WECTPQlBMR
zw6uWvS1SE4y0bBQfqqvKuJI3/O1RAqxYFAGhjXNNyYoYfN5F06/zk/d13AZJ8gGg9uXk2mHqJs3
cKGKQGUIs5HWX8lGwe3IeK6zYFoXJ4/cATn6+abOXs4PYv1IfnG2g+BsrkdmwFYUQFjFrWL1IJPy
zfCqa/91Dvl0rrgAZsR6aOs2c6f6Wp9+lmhoyO+ZLnnSEK8IigyQZQE1gMmh5LM5hnOGFenJ6HTh
Lu0kSy6erX8AeIqKIJ7ZrKYAqOaHplnf1aPggQyBxHq/HjGYLci1gyCNgd2Lr9kKLcgK2etsBUMI
wkqUu8PxLlVAf5pJXzyHVEl/Qiyxe1yCBGLubZYGkluEcKB/up80VUfXFTeTRWKMamlgoCSM0CZ+
zFWntVInlxGVCi2cAgDiWEgZWFwsNll1Preg10QD3Q82oLknAKGPeX/exr8GB5jODQgXXpmRpdTd
CmJkexbfLeNDNjzh0HH6vpWsnNACN1CcOy3DQMsWA1AsuDLRtln0uXt+MELb2CCsX7AJm1GFa1bK
AITReMnjwwQVwvlGq7635sFIXspR8ogmct4aOorhv7GjvjAkdFPbQKjPRmBVPhY6GEvQ8t1EP6Pq
w7B+xMXx/OCE07dB4weHhsMR4T9eteZDnb0rlSRpI5w8dPOtLKqA4fNTqZ6GYzgoMLfhuQuvdPUm
rRBa26+W8ZKAJX38OD8eoXmvMs3IuIEuj7+MF4M652wJOzcZDAgpak5bJSjXlgUOMhjuJGqs3M7H
CjAZPRo2OgF1OAXZkUqEi7MZDHcaLYlJ2LwOptmVN2CuOIY/aOi0FE1/fvZE3cI1by6Xn/qD5Y0v
DO2AidtcgTH2/JQKShKwm22DrSygCBn5PkS91hdUz8XoFcg8cjF58Q/zFS3uh8DJr1IIOPr2o1JJ
QMVD/8TkPAhTBiOqbTTeIkI1h0fy76s5TsfEuY2mUxItCfD7kX7VVAfT/m7L6OTFNvI5BG5r5bE9
KgYDhMluFHoMWepIeRSFp4bNcJib+poD5k6NgcULxGOAkdcrKc4bMk4rb0v77/ugKRrm4JZA/2Wu
5+SpD1TTfsLBt3buDSZc+pIOD1nAIvSAsJ68T2lU/vuG9VNEzgCWWg+VMEdDVTE+D9WFan8/b9Wi
mduOiDOAJdWqfCD4fa09VMPvUYeO+7wfclmKV3QUElxzgAVeli/VkbOmJeiqggNUJ08bI4eSw6Ae
2dgi8DucH5LI4LZQnMEpUQHBpxruotKRxllST4+eaxZ7/xvK+hWb41AZzC5MOqCAUSfXBhfPsia4
tP4GBNwq5krig3qZU5ClJ7bZ2etQIPQCKQ0D5GiRrNFZaAJo1fsPCBeJNyGKccIIIDE6lhY99kw0
pKapBrnxx/PDESJZaLdCn5dqgu/0dDikQlYv0bB9LGPVxbxNpkOg+oNMuEpQGIPQFfHrSvQL4dM/
yfnN2kzpHJMYeVl3sAy3ptZTAklaQ18aBx3uDhTb3DlHb3MQ7sxWVvW9Whd/r9lic9bH5k4vRzyl
u6RY3J42d4utSW4bomACzA8MRyJyiRZPcBRGS1TAXtayjhDnbV8MntGCpzbpbVROleAn7Zog9Qhr
wPA29pIHIdH2whEIgwHpiwGHe7qIg0UCa4kRKlkQyGEhKLcrdhWw7i8uAjpuUmt/HjgQeGrcPlNs
AyEnIrLAJ+guC4fS68DKZde780YpHM8nEE+PW8/lGFUmgHS1heCv1gTdQ5FXo4rLHFQwJTtabJsb
OO4IQSqynPMSYbQZTw6URp0sUQ9sQoSbWRBziQu3s1EdO9321SK7JIhiaiRc0D6ChAvIt7ml0wst
0KaY4XqHfJNhf6uqCNyO9VWUEs/Qfnag6Tk/tyKvj9oDdACpuM6pfO+YZfeT0RWr16dj46hdFEJc
MC4OpAbt7IBXovrlfwPkdx8zU71rAGhnJZLCv0NTdZISQaI1ONSYns+jifY6OjChxArdNdDJcGEH
ivPqUe9xWTUm8KUyE+8GMv1w4QyCBwQ1aRZiT36vW4ua6PlqnRqZvML0Z5o6DdryQbHfPZwfzZ8o
iXdd6AHG0x3idPAKcqap4o6QZW2HYPBoH7oXcq2D/c6ZXsab1AWHGPlgx3G33JjO9+LavJ3v5ttX
1N4e7IMFChC09frnv0c0u9vP4UKfelzUJarwOesiTkGJR+Gn8wgC+gmK8tPPEXMbIi5znUBNuXP1
Hb0JrkE5cdd51sG6yS/6V8UbLqpr04FSDkaZXxV+JwtVRAfiFp8z1460NQrKgG+AkzPLrlh8E5SK
V+Kp4vxIBcTt60gZNF/wHL2u76nXTjKUcrYjOiqxTV8UnIDpXHjmBKYsM9hnOe7wfQcZP3SVoYkU
NSGeWvay0lGh77NQlA/WXDDz4cHl9COyQFtqo8UNKkn7i4DGx9xkTtL0u56ACSELnWG+SyJQFUY/
zw9f5OO3wFyIg8f4Gvc5AE9h4fTxoUAHazcdz4OIFtOCc9VMpH/xrMBNsVrZTWqaCKUVa78EYC/Z
M/OdLhIPJ6gsWM98UE0gQwcJaJ66I+1Hw+jBiONq4Z0JIVp01btxmh0GrT0OaXeI6fxgVq9o23WX
sECbuHZBikjSsSIcq42oFNWy4PDiE56KQoiC4mPwd3SZi+rcpAydvPEhPXh+TkUnlvWJw+c9p0Jt
GSpsYDFF8k2PE7/Wqh9LoHoDCZ2q/jnHsnI9UXDFsAlUA20kKHDmfLqx5OifmMBSEMQ6FFP0JT80
JZKDyRTc6Xp5PY1D5JJSCVyiEZlAk8jboyB+FcVYE4f8AQ05jDZpZtAw6PQ9Ge+G/NcyulO7m/59
H+naWqBDQstCFbDOp1nRtqCEKYHjMdlz1R6T5LWNP9LqtVc/ZLQZguc9YBnguqEoDsYVhXOyyVj0
M45/zChSyv2wm/GmNe606FajO6btGIFyEnkmsnylMF+zxeWc65RCiUkFF5urGrufk3uvHNpmx358
U55Y48et3zxJvIxw9Sj4LdZ+T/zj3Ju5ZHiNWTvlWYbGXHplqI6uvanJ90jGuijafmyDxPmzjI4l
i1ck3H8cCNlV6tuYuoaMc1zoa7Y43GYIJ0uf2IpTdKiU1Q6DkznFhX7fIf3m1Xd14NLH8xteMrI/
R8jm6haMyf/PYbz24qNjtnwuUwhN5d/O4wi6KGGVSEVAzQccc4TP5i2tVYKZecLRuzdd7aA97koX
UmHsVvsRPixusq/vQOYxOsvreWDRUbTF5aKabhWdL9kIq2zfw+EICrnQ3p2HIOtv8IHcFoPbcYOa
6WWqAGPYZcQhT9AQ96YjO7Ze8FA+aqNXuDqo8qgXvmXuJfoP3L9J92y/gNt7WWIpupJhdhdC7tJF
3YHwyjVR0LGwu6FujpIByyaVO3pnanWzOWHA1oO5L33tQ4FcNWRHwxu0Vcyjp3mZF++Rb+qdZXaM
l3C/XKB59iN6YjtZYui/zP4asINiE5363Ox3sRWaSwQnru7prtwH+2Pumppj7bSb2m1B6uYbXnul
/9KO6HUu9sne/G7+xR0dRFT/fAI3/dMSQHiS4tjskwtUvxLzyGSk3cKNCh0luHXVgAwj5+zy1tBq
tVxHWf3sm9+2MUAu58Ecfp9fWqFP3cBwni6d6go13YBBcXc7vIM6IiivSzJB/VwanoqxwApqo38b
rECcFaVLOi1RAKwQcgNZj5fO/yPtu5Yr15Fsf6XjvKOHBP3E9DzQbS/vSi8MlUoFWhB0oPn6u3hu
T/cWtUOce+5LR9dRlZJwiUTmyrVMAG3eWmZ4Zg/QgNl7SFTgXZl9tGbiW6M8OUbjT7V+Iqkdkvxm
YNmKP7wYM2Mn/euj5nU4c4h6U0SRVCpcKhB17qCLQArPGXcjxLbNl6na2sqVtpanm7fHF/8BKigN
WE5MxhK8qtTOWGoUN2dhK7dZYd7jPP+FwA4tuv8ysRiWFmdkGCsEBZRrQZ16vbpRMnTUsN1I9jFf
80cXHcSZucVubTqnJfHMYKQh49JL9HPnSARCXO0v7NYzM4vd2ptCHboIE2dm6pY1YZkqPrIjHhl8
sdbIeHFISOLAyyDSdP7k8zzbGAxxaCoFNobagAq1Ml29Df6KQBxUDpCZBymYThEXLybO5HXeIipF
7U39HWt+g0ycpodJ5BHw5hapF5tgddl+P4uXtp+jzuUc9OOpX3CS1jSYlW1gsUQBDsZau8r7esVB
XvJe5yYWtzCpQK5bJRgWSZAyja/z1OWgdtLE4/dDueRSzu0s7oKkAl8XFOYQQAHEYDfXvAmmgbtx
GbRrSp1rphY+v6KlmjU6TGWU+2AFFjVFG69Xt8c8ef9+VBcrsufDWnjKmmcmGIHxfCDbbnRb6tqn
dqcHjkevxQHyiH7uZp4aTJu9fR3fPabeI/PXHmrzWVo6qfNvWHiQou76TmnnndnxoOBBP5Vh3zmu
oR4IAyDy1/djvnTczs0tDkIF0o2xtGEObOsPZGbeAXMomCH6NVd1cWuCGBR5IRWHYJkkUftq0kiH
mFuvwkk7Cv1ks7dpbbdcnL0zKwtP5ThJXtAO+aCk2PS23BJiuEl0GJoiEPYNW+Ucn18KX1brzN7i
JcErtAdEEqMC95/920K24EXzlVvtGUqkTLqCeeRp9JUtvarCNoxO7P4vLB/SXtYMKwLH0GLHSg2q
5vGI8RJULTLQNCW6Z67J+V10XGdGFluSjWZM/pzUqEx8hT4n4Cn+fhgX83gQuDEtdJ/O0LWFQ5ky
6JMM0fwiI9dVecMZ4NPAqb4n+q9aXptgxxMnRjaZ8vC94Yvb/8zuwrtEVJ2yeD7xzcQgJYICroWI
aO1VdnGXnFlZrBKpZSEnJGS9il/p5Yc+HmlXuNBDYoKDGi0PSvP1+3FdPG1nFhdLNpSicriY90Wz
d9IfiTyx5oexdldfsALWUOASAHUF4/2yDiIVoUwthRURES+1tDDvSzezr6WarDyFLjS5wsSZqcVC
sQyiSxbHU2gAe/i9Kt1pm5ymDTnpN3XtFjvmjQfnh7pSrbvgTmbBFfT5obY/c5N9jlJFQzqN9UhK
gnnKRhkJCtlTF7u6OivyBlDo/X7VLuzGT+YWg2y1Prf6DOYEPRbkTk23Krn73oS6NqTFXgTarber
Oc9aG3c9Om1qv5CnLvfBVIrcYKDK360e1vZBsW9reTD4TZNcN8zv4Njildm99KTEeNFOhnIomhuX
qWW1UQwy9SicC59dadeQl7ov33TvLjnKY7uN77qwgED2NjtyVGf28WOzpqx1Ibj49AGLY8IjiHkZ
GT5giMJoCEXsx84P6VyJeK1SsTrWxUVbV0qSJwZMacxH8xz4pJir/4rDj+z4nobpc6n6yY7d9C4/
dm7yIDZva8nRtcEu7kbbLgEPdbDyXeH3uq+zxq2LIGGvWvr0/SZbs7S4FXOrHFtuYqz66MnoUOX7
Mb9rxvsoWbs45hOxuH/PF3DZxgkggaanNSzVFCL3r222ElBfyvKqUHPW8VQwbMTui6E0uqCRPqsk
QCDFiK7RzTDkYaWFEz+Mg4/BAWPiTbqxciHqF44pONRxKMDkqwLOuyhaxqxpRI4qMxinNb+Gf4M8
N0ovaQti3D7I7chNM4855rYQByZPJD6AFWo0DqZ21RsvZn+b8MSlIxiq2SaL/LSUAeruvXLIprAv
fWvCy0dzR32X2tGhi8BcbA+BBPgQdW2vGZ4keF3a9o12cxXNs6AeJLLDWF9brRIOMerQgC5ASXjN
A17YORTc6SqY7RAK0OWNgoRMWZLJQBwAD8igvgPCjcxzUL4z1jr8L83wuamFsy17aLnmdDaVHCF9
08Se1qduAk0A5ptixbNfNIbuUVNFDylFi9jni4RNPfgINRjLpeOCfDJUQPzaqi+kP5bdVSra8PsT
eOFmng39y97CsXXNyBO8QfFqIk+KBWZf+sAaM5y64Hs7a+NaeDVoaWqiMedxGcCLghTQpu+lsdGm
eCMse2evUkhdMKipaLsHxRKeLV/YJwmN7Qh03J2ngnCViV0yvY6QFuDVdaIGayrkF2YR6DTbRtHK
AFPn8vovuFVNDnNAam9E3igex2hCZiDs+cruuHDvf7Kz2IpC1WK9UazO4871kJ1y9SFZkwy44Cg/
mVhsQG3SnESrMG9tpHtU6z3zL7QeaIgBQT+FzCmKxYutQCfNZDzGZOlx99zyyZcivuPpSsxwcRxn
Vub9cZYekqpNzESBlQz+TWshGrPWXnVxMc4sLDx+SmKHigkWquJDVIEGXkkVadLvz82KkaX4jm6U
GsMB6bwBwJfW2PW2Ds+7gs5fmaulIpVdVNLSS4xE6YzrWFIfGgD+9+O4VG86X3WNfl6PukbLMSp6
HVgwplNiHo0x83oQSraj5ouEH2eoGY97PMYVFz0jKHRzD130fixBOtkrm6i/b7O1OsG8RIuo4NNH
LcJ2LlPeOgSzW3SPdnlfjVeMHfLmgKqUmgWyu/1+Ei66iX/vmD/lFM/2ZBopkqd03pNJv5EJxI2S
Z8iKRtlK09faei7OcCcduxHOfIaz9Karq0PBH74fyZqFxbVRVsyxBwUW0AwT8Q1t1ZV9fynv/2lp
Fl7CTPIJWmWYq9xQHuw0TV176m23c8abQZLAyexwSEq3be4ctDl/P7pV4wvnEbNJNew+woFQHoqo
BhLYq7rrYrqBMtuQOl5PDpzQFasXNyOyXrj6UXP4UnVoattkOomlV8BjRTxIdLRzA/Q8oDnwzbxT
/kJPnQbdThC/A2BKv6gj2oPeCOj3SnSgyt9FXT4MyIV1KvcVgDFXJpReOGjnthYT2rc2LaoskZ56
bNBNzNzsKN6sU3T/SO/q93Kld+oC0wAgXmdDW7hmOwK9nMphTr4rV8mTdZ9djR+V44qDNXpa4Bu7
J+OWrbk45ftBGvPPz463sGgOfRRYxes06H/LwjVO+i7O3RgUKyvGLrmSsxF+IeVURanwAbZQ6PR5
WnkTIG3pna1vvl+5S/fPuZ15Yc/GFBtpnrUp7BSaszNz/RCDXq4f1xJEa2YWjrhT41or2tmMoXh2
v0+RXVvL2l9Cc5zvCmN2amdjQQupNXazEbJFMWJTv6QP/Kj6/FC+6Pep6SYrbvjinXc+eQs/jE4q
RWbzIjX8ib1B7ve19RuXBAkQla3hkg9xoA8SqPzb/On/b9kW/hl+M6+TGpY17b23n6jWuJXy+L2N
1eEtXLQcM5Uo894wTxrQTa+q2x6S/Uzb3GNI5cu0H24yH6osdGOvPbdXHIqxcCi4tc14qGAbdfGq
cNVrHYV415zVMYIfCmAF1kqMdAFONePSIMGHhkIIoC4726MRnVyiVQF2Fgne9tdFvs9SaIf5tGj8
JL0fqxOPtl23qUafVFdptnISL2QY5g8A7SK6DlCYXuIqpgGkNzkH2toBljyTuV8IaGcDYwXJ5QiK
qbsxNqGJEhRrjJOqNc/m5zjps+nFySltBriVhb7ozDwwCzXJAjS526zfQTubONdFeayrl1Lb1NaT
Y7gS/TOkDDTlQ1XfTLxRDFcZslvAQ12HKYEGfsz+ZFfRdpKZZ4kHZEkgPlCUte8AQNkI6bb1K/gX
vLa9ZhMkM8RWozEKlDupNyEkWMbm2EwZCjWv9kQC0upgGwhVuk2nQBQ7o9qXhAdVv+NkE6U7k09u
W+wmG0zxm1reZ8Mp0sDTx12WMr/gv1hyYGCwNBFVFKXvTDd5es0p2oBCqL8LsR34dQp9xTFUWsSr
/Amkd0q0Ta2t7TyV4hb0bpA0OOTjLehrLDXz7XprVfd2GxaZ5gp5NMx9ym7N8kjkY2w9Oyj4T8es
PpQQvauynVXeFdmGN29R/4C6CXfuLbktTdcaN9Cs5jg/igSZWvLe6CCouO6nED0oQQJKkuJFaX6U
VgKa6wgSC0FmnmJI2KmPPL0n5Zs2QjAnApcFJMhMhukaUVPT9w3xneSdloansx/KeAX5AyISr0Mh
hcp0W9ghtp+Xlo9RtQW/7dT+bisvdY5KdI00lmwe7exnDwYf8GjJap6QAzSvuTN4mQyZHjRKsyNo
qmjBe2jQ61zrXaW0N3b2ArRQWCQB+HPX7vuvodPckjpLu+gKykLLdt/CYFFtxN0MxvHUnbWrw9bv
gsTNj43bKq5yo51AZRtgh90rDA2yK47wgnkTuSjdcVTI6kIJ/fPFUuVG2dUzTDA9ojXW673M49e1
4kbu870JwU6+f0fh6LkJqpWBX5DQRNXhzPLiYJrlaFo1LrU/4UFoFNpX7vQM6dICoat3ZwXWSQTN
cdzGO8sXfrqBbC2oefy1m+CCf/j0GYuLLpZN2bIen0E9MI3BdOSbGzjjPixfHsH97jq+dczcF+fX
9zP/NQr6PPzFNQdxItBCWKiXgUgqLl4F2MCEcDttbXzz9y/836fxLW46JSvAnGSgflW4xZXuaYc4
zDDOypebNogOzbbz1lJKFwpZn8e2uOGKWKNOa2NOiycocO14WEHiOED+0X9rT1f5xvDWKAfWRrmI
mnMNPDt/4nctZ68Zm2i40sj2+wW7dIuezaSjLGLkeBRoUarno2Kyn4qxnRS+E+B+bfo3VJx8Jx/e
2p66VhaD1thGew1a0vpE3s79mN9/ygUNvPMJ/sLk7Tg5Fc5ckkcweOtAJCbku9TPriL/Z7YZ/OkO
t5qLMovbhLYrvT4E2t/fG6l7//2HfNnEjgZ0OMC4GroJAH5fHJ6exGOu0Ahh1FiH1K68Cs61sU50
vPve0Jf1hSE0hgJaYYLSDg1wn92Uk0+5MCHYhMQb6MpNDpmhQKPh90a+rvDCyuJMUqlN+dDACkhV
we09IT5zyxRMv8De7jSPQ18WxatixROujW1xQrnoC4tVaY/+z9s2fRBG2K9xWs6/4pMTWAxscSCR
sSSN0mFgJFWUXZ5VxTMlmpmCaHEsT1aX5r9Jlw4recxLuwOtSxba7UG3bS8felkKmIyc8h7lwI3S
oAmMPvX1gWovK8u2ZmcOuM8eR5NOQSU8YgIdxHW+OoTmhu3pD1ACsqN9z+/EwThlO8Nr1pCQX59l
87xSaKShimPMlCefLTNrcnonyaAtscOp21mK+1y7MtA26MsI5n4lb2Wo83X8ZSHPDC4WsmNVl9Qd
DJqn9pggM7xxPOPWeu3DYRPv7avVdMSXxMBihAvHSoyR91YMg5URDn7pSZeqkKv39JBDVGPFr30t
3H+29mdy62wlO56XEmRJaJzx1Wt7I9/L3G3GgHrz+2zamNcNAqPYa9+wm8bt2r118SDiLQDKVwAn
v3SBjWpZcjoVPYBVgLTKbT9nsQxzbZAXt6sGFVB9bg3Vl0UEs7Ut4WBaEWx1vyGd4ZkBOVZ78TO6
sYIa6ZCr4oaF7ZrG7uXNCkUklC7mUG8p/9DZU8dMG3ZRWHrXbwGsDyM//0kfJs/wquvu58penY/d
l716Zm/++dliGoTmbRyXvWdRIFlaiG26mpds0J/o94rb4fW3MrNf8Qfz9jmzuAhmrS7KzYJghPYr
G90KeeoQTJzSTUPTV0e3uR59a0N2aBDZ/h4861XsyTFd6fCfw9YvowZXtgrCGcz0EgNY56KxS212
RvlRV3/b3cf303p5kGcGFi4AyLIeZKTw5e1gAuVdupWeeqli3/EO8NROOMC7oJRfo+9t1JGCjiGZ
hiJ3H2+ZSD2QD7jUjFxnqq570e8yW3PVvr63DYlUH0nWHhhfw/x5Tc4+d+FAZGZnlULn283cma/9
G/TOzDC+F9s74TZb+70Ip95P99p+8FTTH7zRv/9/RsB8/gRnEbhpRB/q3MCMFdOuUl5Jd2snnmM/
c3TYfL84FxcfCRaISuJcf9FiTqVRJWkD/zWh1sUncTUMyuZ7E18TxPNowBwBmjc04hr2YpMP3MLz
dPbI4PI20E5+1V2FxgE0tOOP1mUPxr4Fhb6XhHX4veGLbuvM7uK9lkZ1pkG/Axs7oTtdTEdUqcH2
OQZx/P69pcuz+O8RLoI9SEoYU8tgyXaek+RJT4Lvf/98QpZHFCgXQF4AHkDQusCdWI2IQelVYUsy
Y9Mg6RHdOMNdzzcqz6+KNbjHpdGcW1u4wcIUU9zksDY6zx0Ly3YN87RmYLEhTCsxBnU2YNr3MxWE
3H4/XZeCx5k5C9UdA0CdJZ2HSkew/cm6ByXLz8bwy3bTJCG6WRzmfW/oYvx9ZsleHNRyQFutlcFS
oinS43GMjHOWngr2C1IxIaMawKV563PpPPcJRx8cb58UiW4Gwy6vorxZ2fFfEbs4aiA51aEuDJzp
F74UKBhVmuT4nuy36qqO3wJU1Ljl8QogJSREWmXlJXDpiDk2AEBQhnKAoFmEk3qigW2ranqPRR30
Po5CK9BdE5SN/+dE/8f78J/so7z5v3u9+e//wp/fS4EyCgPP9+c//ve1+OB/u8nf3j+a/5r/4b/+
4uLvbT7Kq7fi61/69G/wy/9pHC/4t09/CHibtONt91GPdx9Nl7d//n585vw3/7c//NvHn7/lYRQf
//jjvex4O/82lpT8j3/+aPfrH3/8yUT7H+e//58/nAfwjz/uETy+Zcnbl3/y8da0//iD0r+DCAQg
c7xYsOTA+v7xt/5j/olq/h0N13jgQp4ClETg7vnjb7wEefo//tCdv6OT3sZ/Qys2AroZzNWAXmH+
kfV3qJQhIQ3WhlmAWzH/+J9P+7RC/16xv4HZ8aZMeNvApmrN5/jfbguqXfg14CGcIxwTnb3W7AfO
4qmmGbM6z4X0orqg8Y8oLi3IuTuKVAIigfEGorZWGxeAuSTxas3If9kppCymTvUtyABv+yRDUnh0
IhQCSE5tMB1o6esowcgY9bT6UfYtUJmF6rywAiqrUHXQvFqZHgxoFLpgNO78ZhDFw0RqEDBJJE1H
HNaPvBXpQepZ/NJbcrpL69TntmRHcBiSrVJlQ2DVkr9THW1vPR/kkwACz7Urg9xGoiVHkVpgH7St
pgoNqy+2VAE17liZ9R70Mz9r5UliDBl7zWMLmm/6OwQZb5zsJtafRAQ+2HKSVWBohdxNbBY26/Vf
EF4q7sFVMVz3ePN2fl3S9soSqvGTjZLedVY53VppbL5wPDXApIH67oYyBzwhaW/epjkzd440232q
IIbCBdzuhWZ7luEgoTIQC0iT1N5GJXRSK5GbYc0UM3C6str2vRG9OJLqV5FeqSBm95tiAFpCt5Ww
GFMkc6k9XfEpfewshFouqVguA1OJh6OGbpRDQZEgL0EE4Xc6i4+d0USbyMzR7GC8q5nR+W2vDjfc
MoaT1Ap+jDKqepFOcrfUkxtbE6rfasoQKhAEvO0z54kmUewNtWIfuqLBEPIud02gLvdlVKOtTW32
ZlEIiP3ov4iNYSc1fKlt8gdiEOPkxKJ2u7IdNiDgBpU2FcIztJQ99xPP3d40aq8yG/MxTYwflcKM
G9JGaC6rLO1YslhsogQ0Sb0NYV3X5o2+GXn1HqXoBujHQttmxkT2NC6iQKu18q0rnsxGAMtppPWt
STp66jU8gaTT/hYOHYmbi069LkaQY3FIRpwGfFdAqq7xUSNRDtNggO621Nv8zmYckCMpi62VMb6R
U1e7EKPDerRD+6T2Vv80SEyczEblWWumR0PJ5UGxCnaQvME7jIPogBqk91leooYCDu2ionNpF1lM
gd620YOKZr+P+pKGJlBtr0Lrqw0IqR0/roVymuJqQKUomTYSumqBPpqgSyvt6gRcS9q6bZUW3Cfp
8IPTYdwaat5dl9zSc1CoDKov2/FZwT9BYSRhDFpawH81mqJvo7G1tnmiQvEdvGjXtQPpDKBknPKJ
69Po4docXW4XeC1PNAaHPYWKBUqNHhGTgB5kEj0Wgs2vgmY8UEmrMCNO/d7qHEgUoU5+VTP1UWda
vYuiREHTs2HzPZ4z6k5Vai1kafajBzLW5S1PvSKvlCBn6d0A0U3pKqJ3fmH3vDkpydxmGrp93Jel
rzU2Xl8jJNbBrF16jZj4JgbjktcoJQuHyXyd7DjtAmUkTjD2RMURSeOwkBWAPxZzdj2EP9CvUhWt
O01m5oMnFx4oQ8dTH0/oyYNW0H2RJHKvWGXhxSXKmjSRwPSrenGIqJ5WIJ93Hsy0r4BiromLrlYL
00RG6poRJbuup8SlpaBb3nf6W8yn2Cs1lN2cAdDcXG1EaMR5dbCpoPckgSYKy/UjncoTaJiSH4Bp
3jVl9oMkTReIMqNXlg4G2jhm8Y5kYCMYpzEARdl1zIvEsy3Qiuc40sA3D5oLPpLOz5sMYIvKbv16
RKMhIdCKomWJFSz77Bgh+eopTLd+6tk4Pg7NkChgVLbuedNkk1sr7BBFkRGkXd+7FS6iY104Os5E
ywqcM3jfUoCscTSVG6amPxO61XXSBKNFQ9Lpr4xsTbOIfbOk6KDMrHAQ1U+EzXoZFnF/HOMu28ZV
AXEGThJyR9tsutZsCEz0QtuBpiAALE4Ejqw7MISx1gdMRgRxrUahFFAAqHPagBy/fyaZkQaKUngJ
BEK5EhmGm0+2V7P0xtQgU6daBPDdTB6YSvmuM/Fo7VpOt87U3Ot2cj2qZuKVhkSRRMvw4smIvOm7
hD0rUSuCjpLXpppad2CGfdMVqRbWJkBIMnrhYNSraN9u65E6+153tsDA7hWDtvfWlILJBFIBpLd2
VoveNUaUg+Xg/0UjGwWgt+gUZ2NVhqwn+0FzfmtpemPQLEOWhkTuOLA3xWEiIGqvXqVJJfa6mVS+
VRidW9f29N7KKvXtBuc0NUXr0rhymWlkR5KBT82lkWmADQzicdUoftc0+xELCYYBUqBLkdcsBBeE
l7VD/5HobHAdS423Uo/y7USJ8SMxE/uIl4wVENMCMUKlH6RgdlBGsgJLNXwV0BvGvsRVDvy7VYVs
yqqjLbrTMNbj3iocxAjqLQ5ZqJoxKEhoArV5a7pS7Sy97nIUvM2qRfCJrPhunHqOogZTUU+Qdr4Z
JHiMQlPEqpvkZfzbkZF8NFRNbHO97zfWBJbkss9fy4ZqG6Ywa2c2vbYz4/q3jPM8tGOnhpi9U9r3
mQBYlyMj5zVVwg7Ebsimaa1GdxXosPsRiYy7ajL0K2CUxc1Mq+Sylo+b0Y6LO6PNlE1fOOa+m9ro
VKANJ6yqTuymMS8PsRqNO5L0zBv6pgXJUUoeFRlTzyj7PhzHFLddO0FtyVUSfXp0WJKWro2e3w8d
pMUzm2pF/brqoeWAe+JnFhmWa6Fkv3d46Xg5J+1TOnUd6PASiLC1Y/+LC7B3uBPR2SFVcnYq0swO
TAJagl4egbHSQh18XUanKGGeK9VOaUcRWrSDlEx8b4hS/5X1OiYWV/YuV7TiKLVWBl2jD0GkcCRe
MfkW2MZMM1A0El0PeCpvKwRZProX7a3MbfbakAmhnr0DCeVhoOPBtEBWqJPQrJQQTeKeJozKy5Ro
n0Foukr5tnbSQwctLK+a4Lx7osVhnOYnQ+AdxkZtX0rwXRNzaHwNkJEk6/JjaRd6WDV8A1bd/eRE
4naUEJLuIrMIh6IvQ5ON70Qhu0gM7gRmPWUA5xwgNmCfUctkowFUZqXsx5A1WmAM5UlJ+JXNhslr
yHhoDZJ6JTbyBiScz2o2naQFKEVZGK6p1ICM9ODHQo4L2qFvTjZSj2SSbCjYq9USoEMl3xZE3+Xj
xH3bUvzKcd5j4O39OMUmxhkJkwJxH6k7ZxPbaHHL+p8VeW0FB+MIjdXhZOMq88E5WkD6e7wbR+PO
jurQHDCTQ6OiBTDVj2mXPWaOmoexI4vAthBxsfJgj7nYJPzaGWM0dkxILzBoDY5lUXtp0yaADCuF
z5n8Vau097W+FZ5CuHC1vHJHzfaZhfjb1XixIzR6L6XzBATGSLtTgbDb5ZqaBkQp7urIxPfLg1al
rmwxx1HeajgwcDKxhbsxV0GxpaFUJhzA+Uc92egMEnrE2qqpIXwIHI/XoI7+FffDYYhb6WdjYQZI
9D+1uhZkSveqQW6vbPNfsma/o6wKeiXdxhyi60LWyC8hWhkzwJ81I7mFTmXnTaIojkSBRDv0YITf
ye44jq3jq0qx1xkN4w6toFXcJUHTI7bOsfCumRn2vYO1xmtAesLU8MaXkI8SxBWqWj1NIwtlnFwx
g+GypAkkVWwTt3P+yEsAp0ZRPTGL7lP0KA3wp6MBLdmBpX6ksl3b6eVerdLhmkysf6az2ySAN4qf
pNUe5ASlMzdWkyPBSbYR6Aiwu4xDt63rChW4hAZqa0MCJDG8Ic3TK27wek9UbmzHmCHfil3nvIiK
125TEPo7n1LjNQeSZSiJB2WSPaJ9LGrZBhVDqUIzqZcP4irDNsTbYoh9I9chzRIzE924lVV/SM2Z
QtZVuVdW2OVU10OtsqZgVFKJ4I2Tq75OhN+a6k+Mbp8Tcipka/qW2chrIPXsx9Y2JT5mUK6s2ogQ
FEEFvCJm7WX4tX5t14abQYHoWU2RX7AceV2onRrGU15uZFuRAzFqxUM9qzhVDjMBlFEKF4GL2NDS
AuWBuBu1AZ/twNHZvgGGuiZFbxQFuWTavkkg4HPH9nssIei8x6ONboJmBJmGTq/KKNmLpCptl/Fk
39jJBqLvP8a6La+hHkbdMpP7jM+eaZRZmKHptO3tqwSyO4dGl1UY15V6QkwCnbS+V3EIUODLy9No
da+ZIs1QH6ZT40S48BRd28k0b7fN1Ke7rrJvcAWgXjxFhxbCekFeVsOzHql4V1T9B0fFE68dprh6
G+1lD+hyURPU7JkEP0ZVD5sy1k5x0ty1FZRt8Yo0cZyFjnOSvOTSwt1RoARWmDXQRUprvjRjw/A4
Bw27RfQmiEn7M08SE/QvDOOC3FzomCxshvJBz4snrmRw5Y75W6rOPS2zO9yGPk8S3cU53dnmVLo1
NZXHHPvc7Qod5zgfRy/qC1y6OrTWph7fCeZCze3b6bbo+8y1eP5GWQbYYjwSP0tNBBB2mwRKMtF3
0BJvOF7xbQI9+p4bG4VHe56VuU+grhswW7CAGaJ4Vk0nQM+eum8MwzcyaC5GBLV9K7WeqIr++9wx
9llpe1XuHGMUFtzO0YadAK4X8QOc6hSTO4mG+mAyjFMOWSg4sMhvCAhHRuThwcVp/Yiw+3DXmPmp
Ls0xkAl9b2n3hMDouisUVMKm6ZYaCZpz9R80rXQ/54h+CoP6th1FiEpSdROryrOeWbab6xxxuU2j
APgDgInr8ql0kB4f4lg5aWYC3BQu3w1CTvFhJxAma8D+ikkEAYYwcgACDaP71aWqjV08iAEMaU5u
70ZOII5h2+3JsBooSlU5A83llGLHi9F648VEN7WpgwO7yLN8T9MieiGT1J6nsRldw0zIIUlR+GCx
gQoH60oXDTHTZowLZ1fXk3ikHc5YVDRah204ZAwOHAHmKFW06KZj4g1OYTwXJO/1sHOSlzhtkRSY
4KXdWeK9wP+OUCqqtBHRNuePZqW/dmCBgJJZWeyrkhpeJmzqQ/WzRfwua8+G+JBHYwtwvkTXd7xr
Ld9qS+uWKjNHa1YqO3i95IEbZhrihUeunGnErWv9H+7OqzluJF3Tvwgd8Anc7AUK5UiKFClRonST
0XLwLhMmgV+/T6n7nBWpHin6XO1uTMxETM9IVQWT+eVrR/KNA+nr29Fz6WOLbOvPRVbj/TTGhB77
Y/DNajjzVdvqvIrL2LwddNae7KyGbAoCdJADL2kyB+XwvpiNfRrtrTrzMs7YrnsX/WsoGes2yMlE
+4184wTSQn/Y6W4f9u3wsFAo8nHSoc3JSwWnIHdLnjJtPXTxsF1HHAV2ruZMr/o22HuNj4u9ktEh
s6VNlyWqwbEr6gNZVaVMevD4+9itGRxViO/SOB3dttrstKfDT6r3xLUz6fiKq0jATC5Eu/P1zIdu
mhdx9rx6Pw0b27hpfSSBSBOll1hRb7jHrjkssacOw7RE11VlInvXzDjQtSWKjZZq7G9jUEFt57iu
ZhFZVtJKPV/jmg4/XHJZXqkMSdg6B3Uqhmq4qrKY2t2GfFC3NYL9qJIHKOXyMfSzPwewu3sj1j9x
mKPp8oV1pHBCnQOZ0TYWexhjc5aramj9yy3090FsM/l1aZhN6eA1rxomlLSwgejkdob8BiLZdi7R
QE24HarmovTO3/pRTHdklae9mZwvwSSiK4b8OLVEQD6BNUSnoO/7I8FP9hlTqPehHSYyP2UNPN8A
4GceUyVYmvW61fkYE7jc5FeWrYuTsvz4c2d3/SmelPWpn9biMHbYcUOV9/l+RHbxWJVkWDnay5LS
ilmuxGySts28h80GSZqBZ3aLUdlrS4IvsN1bqdMgYh2EmV8bAlnufbcX71le6vfxHBRvs1yKW9s2
+bFztfcgp4xFoHYskEusLeetcOp37RDeun5m8RVMu2xps+DgqmqfkQ5S34qZr1zT0iNfNrfkjXrv
vSB3XploaPKkgDMAj5O0Hvrt4NwZz1/E3s/WiqKRSYld6VvlUQiSNDPbdA8+kA2YQFBPH5bOt6pd
UQTZ08K+hXWeNeFNHpZBtQsiy3bAmLzM3eNBHK9rD9X//4wVeDOqr1/HV3/2L3mB/wshfw9u8D8j
/slUZ3+q54j/5U/8DfhHf4Q21nPytxzUt2Q0/BfgDxVwiZuB93H970H9/C//Bfj7fxDd4qL18WH4
/yoe/C/A3/nj4g39zhZd6oPJFP8XgD+xwM/xfte/hD3HGOM9yAgf5fxzvN9fCgZrOaMTybLybvZI
egeWZQ6IVGezHeWGobmSgrpBfOZfqzrq6CX1poaUBVuX78NoCJ393AfVrfILSeeAP5VtWmyNg+be
HbcnHubC2wWqQ1bjVLN7qZvHwEi5aeCCLbpGxee+lsPD5rVxjPQ688dURr1bJnnuRPeTFQgrcYx7
qe1V3TrRNlhn2JTizPkyONycsgnMuzJf5c0oNz52zkwlE9X3wj6LoAa4qORX16mKZKqyPkM8OeQH
9vD3c9McKGO6c73mLg9GNlaG6yV6ZQX5TcXcFuNcWBgXCSbaBYO1dzOOyG6zz3uKKTjmudo58f8r
GIK8eV+bwD4PUbYR8Bx442sT296nwH2nYkClxM7dV2WkkK8XpLwoDnMhfZn9n8MobiU4cBuV12TN
PNqVuV+jsEusctxjs5uTSSwscOiUAcQdA1JnliLR3YDWpBuY/QW5LXlkL3PirfwRf0tlThW3ihMx
eU+Z6A4rR70xinvnYA19MkYb7Vz+ynEblHlwrK/gh9nOMc27IisPY6Xui7D7lA02jhzO59lSo0Fl
NgvrhgFsYZ1+62/DoZj8HJNFfq/J7xzr+hz0871fFTsu75MK35WgiJ31IYu8Q6m7K3tzU8TugE3h
K0sqLhKn9riDofCW7Am7gzoEmqi6KLPf5OKhyNfH2V1AjPJj1q6kRzIiAgOBdU20KlVVDAA5Hbpq
TEK8DkVA+Y2cSVOg/bRby3Oz+q99Ge8lETMR7H5HUTDRN0lXhA+hXV8L9I9lwViL55YrV3AOIzmR
AwTNzMuNp5lLHfKqg8NWvrNBk2gJ3JsGemhyH6esv9ajf8Rv4j2M1sewE6+6vsqP1fBZRcsdEeBJ
JjfW6X5fCP1aZ2pviIkpTftt8sEVjH7nizrxta7TaJ0Z5eu94/d3bZ+lIL28OE1iyvDsN/FlsPXO
tblld0kolXyIRpqPp4A8kAe5WLtKt9nNIurX8WxXj/mihsRAbtWcRcNqPgXNBspu93vXtq5CckM+
qOHVZK9eoo0Mkq1S7wA2Tq7FwLdKPJwdZE693ojIf1s3s53aUXmXFfPR3RisCU5TEFoghDYulHrQ
/r5ZNuCWsCX6rzk4BcM0qb/LNOi9VEAdcwf5VQvaeduTQ3qSK/uU1s0INCy6XfyBl7V4VUnnZPf1
VR6NkDlj+Fr05qzGKu2oKQNCtwHP1jixh4u3BwHymp/d2TqZMPhmSp1GzXKYeUJcqznbC6mmtbp1
w2W4q6wxfu1tKGr1dDM3V8YhFZy0B6bV/E0VboyDUX9frMu1N8kF1mKxT5aVJzAYX0NEciW+IRfJ
0livabzaXZJZ1YcVJitRU5mU/lqnZWgjgJ6q3bTKU47uaavVjs6kpFPFYan6I2NE0k4Lo5J/txC5
N1It6nbcpFolTkGPEhOnlTCHvSmd8E3DubeQ7mNQESJUqWMt+elRdiWc5lQGmlQNMAlPO8W1p9rX
psluVw6mXpff2JPZGytO2wHoMYzPudPvtO+f3Bh1fMUgv3gzIgcWBs5EvLjfTM+ZDIIwjMaTgz+5
2pDsNfdBAX2gBpBJv8uf1nq59uV6RxHBFVmPuziX5J3YQFBZ2hHN1vrlOYNqsNcqPCk9wj+sQ5RE
45q2tb2vvHlKPNJJk6gLPm2Ksw+CHrps7ZAadvXKRhxlyuJKWM4r2xmuPBVzUKq+qirs3/eeClm5
s4Or8elo70ba5UeffqimyM9NgJzQ37CrjK9yP9uRpmASlRmyR67WueNxaoedPwWH2g9xP6l7cO5v
W9QdaGNuUnY1c1pD705rqiN0tI8C815U4wGDE25EWAkxhbRJj+mFAdp1iyBJm9+m4+goLXE1ium+
84eby3JkJEhLNbhn43+1ZLybAxklnvhi9JDaLTGwxevANsSac0JBt5Uojjm9KgEMrG9Gvhobc+Vv
4jRF5U3prTlvjDpPAbfdM7eLnR9mt6nujFw/XrDHcsth6nTxGmpnl/nTsu+2h6J/aobefBa5Ofnd
G1AYDgjFtazsV8NoNamWjYQicZo1uhKmgxmLkGQzBS4Dy54Y4dl3spPdF8R+41MOXvjeVWJqT4uS
2YZyz4vvvboEFhk7zdZCHr/6ojiCvDNbXL+3+7HuEzkHAc5z+huSDefxxy5v9HvFwe7T2vLRCQoS
yPm21O0N/K6dJ0M18jY29hDcSQnEvOudNv7sNcvK7pa78eMaN7OzaxpRb0CPuf6ks22KQL6ypdij
FHO7fY7PvjjUVLvNu6KPlxsfM+6yRxBXfdW+4FDk9kbd6MWX9q7WEz+d5kPWlLrnvb7par/5KgBJ
PwtP2fktt7hTn6qS0rNdvoA8D/aCZ64SVj+B4vr1cBCE/UcnMWSOn7ZrNfop/5aKYMTVexrDkd/I
XIQWdZABaKuhfDEpwqo1qVhmfIB1M5XFubLbUJ+7UVTRK6dtqCgMaFq7ryecH6msCt3t3NCKfIBW
veDnG6vVOnlWljk3WxkV4XExI8cehyV2xfMW2/J202MXpo2yLX8PPpnLVGaFHFO3dDnD+Bl8bTI5
wEC7BVlplUDs9nGaWZODgyaPvRDdwZLlt5nDQJFyqQaRLFp7p9IbdH3lO739gUB0u94PUVOUV2J1
BasetOhwAoTL3wyUMTm73O01yo8utLMU5LXPd8BXDnwdOwZBSMRzxOdGAGYNFJWpREKKrKd6bciA
YswLu33sK9s7RTAmHXEhoxmuTRvFn51tVDNfq+f443MYdndmbDXvZ+1sBubL5mQWkPrm3lhTCDnR
T3J0kMe2ML2dicVT3MXxdsrnlQIztURSw+HQ5HB2bah9aLJ8gBeNL25CnHRWc+WtJL1whJTtQoAS
ovG9DKb2mE06ml6bWnu3a7dqmzQbNWb7GlqpO4XLYi+JcYRjHdQwlmYfORLTFeyWdI5EQ2uQxXjD
uSlDk5eHySyiv+GL5V+3IYR0sCrkCXci7JrwRqAfAN2K+vJszzzRO/AzEaQi6yN/781xGByC1sQ+
BSnVMp4XE7R/xqqeb+SwIFNw43q6arI69FhtvZLDedbPzmGddd0mmxnn6x4qqKTqKeTt1PZYmItv
dQjOVmxPNXTHJqg6D82aJaNV+R8V3bvZvsxmu05te1UxaBnN5145h9eT6em2W6wqvFl0UJepLXM5
JZwsiP22nKmCVJ8NiEnmKpKMvIneW462fc6GzvDLP6F7tE8HI0Zz8CJamUEVVNSn/ubNHUiZpz+u
k8DmGfcSWs0pSkHidSkrkbIFOf5e+iuDzhwWeZwaL6cfPuQa14noQL6h07fuS6OH+dPkmYBY1mnC
3uNpGdwUMH5f9ZB5HPSp+1h3RTsjjPOzIdWO+2ZAdLV3mjzMUrvM7TdUknOWh15sThMQJZFiHtMS
6P/y3vebLErcEZOGo8su1eXifoJvA3/L5FIsab84xdVcZfq6npn89mEr2/rYdGgLjmiyrPvVbbbi
MGdd9iEQ77Kgynd5409fGqPW+jaaffNYzcrDUp3VzFbAyvFnXwrQ3HAb17t1tUb0CagN3pUs0ZLq
MMEebdVTRqaU14ZvRO97n2EMOqCsJRintLWX/nPURlrt5aBwKDcygJVdbOkxlDiRfUZnorddY5rx
abWtXuwYl8I4iUcnRO0Xed8CuXhffJGJEVu38T66iwcPPxKhPqXYL2c/Qbe1sArayCXSOoycbxmi
cJ8w5dldD3EQVAztWxcacOZRMCoEQ9swmXbioYOUJKZyq/RnqrMmPL/LxO0bh3Ae6e2yuUnQHmxM
NnF8eLXWgsZzB62JqOsHTw1Ds0PNRkBJN8SwdrnYgCC1iNl+h5WSIXCoBWhat2ZgY94c/2ruvTVK
grbLwt0QVTC4pAsVu3CWZHQvXjfc57Kw0EBPZf6Rdzb+ssEDQFZsoZRJsEYIOcssJ7TAC5e5PPRu
bh5q22/vx4KyD+p6Ol7IrWUL26AXHfiESK6EPs+4smul5sS0uWPtuqY3MG5diZhGNPMKBwQ97O83
u4N1j/XmfooKjMYj/wnzKwWasbpRRZ4AjxX+7t+jNq+Kzwos9Nv4ErF5puu8KD7/X8J2BPLf/4zt
7Nk02+fQzuUP/De0416iVG07pMhB0Fv139CO88dF3Ykg07bjAJn+/4F2ArScOLFJGObtoSFWALj8
De0E4g8sQZfwYRdZbmT74t9AOy90zhRMUb1A9xLvD5piX7w0JGxoiUZVlOR3TLZ7TdvlU5+F+mg5
W3Azbmt8VThNex17cXyMnFocPYY1yB1RAxHkm4jToJPTFTBo+fjDJfxbdfqjyvS5APn7F7vU7vDF
wJ1oVnkhwBaytMql9uHMEQJdt+PUcCjTC1+0UhTGWBwSfv2Bz7Xrlw+krkmAcV1qEgLhA879qGn1
bWhNbWo3Ff0lsgia8kp56Cp+/Snc02fKWdz57qXWi3hL4dLF9xJJmyTLf684v3mTfWPk5mFGGgr7
AnC4j63rZo/ZNLiv+3XJ/3o9nymtf7yiL1xXgjoqYuIwGRD1719+6YtfKCNvmDthsj0V1NXHrOnq
K73SRJHNDGWJqr322IzhAjVYsh9QmYXSLZ/cY4Og+LYWOrwbvTb68OsL8sKh/de3YgukZhUfGCTs
BXv8QUvMZpPFnsyYRI1nHQJuzWlwOkQyrdVCijEIgYgsd8Uw6WvIrirJV9RHYTjb76sWfIdCxXtr
ajhfKU806jdPxQvh/d9fL/QiGi+RVdOR8PzrRZugAV21VN8Q1gXsFRM4XvrqT9NN5iQIb3nvNxb4
VFiAhNJPTIQoIQrYvsPuutfA47++XC9fC+4hcZ0XETebAN6eF1cr3Bi1qKDI90EZ8SLSc4fYT+XR
XvS29ZQH8fq7+J3L3/ij1vvyiZxuQofqSPKtXr4XLmRjWeRDsY+Hrj6gp8RDV3XKfqPUuuzyls00
a5fl28AtSPJSj7crOC+0qIOnDYzx0V4g3H59FZ77QL7fFB5lFI0uTLHtuS+eZKN1MLh1WOylQOuj
qBzdK9ulwDaT5kRiFbWyiA9/c+lfLhBA8xxJ3YBVifeHBfP5k+BOvTfFkva4TsjsGHl6Pm5B3f3m
ev/Dp5B/65KBQRAmLauXB+CH16ENLYWNV1Z7BElc0HAsw109eb/LSP/pCjpuQIkjNcqCdjru8IuP
KVgmqrIMUzoYaqpwcjjYUNZTUk2jPG4Tp8fSasLXv75v3xv9nj1MfOzFwsK+5ZAi5b/4dUh844Bo
Zj/tUBHJk5UH1jffMXl76Fbg9mZx0C2sHml16WKplXmz7Rq9U9sCyBtFlupSi71xxgKjxjeVNeSw
Zx7AS7R2Jbbq4KIBUP7aPyhBnGgi/M08lGWA+xrf9F25lM79EHg62PejsCPmO6lvss1zOB1OwVon
PYw/8S+yM8eJ5eCo7dLtbrmM6ETnOTf7sfX6w2C5kH/KuNTDZ7G+pMvnzvgOxD+8ta1maRELUevH
c1JmiRExEEPl5x5it6LqlsSdRP0G9UltJ5Ez0LmM4Jdml9qdw/bezG126sOujo6eszLHVttcfxzh
ruU+9tb6nYkR0++iyrLm1ClRDqVAn9hzPNSjnyy3VCq1GrtMwmk4E2Ao38DeDO9qv2Qqb1T7t4Pn
P24r//QksRyRuMfbcckSfv4k1brckI+6nDndhtLRopbHS2faPhwIvibFYL7N66jd//pBurzgPz1H
6Gxgpvi7sMQ8/9BFyoyo+D5IG+C//eY28X5o+z51rfZ3Jul/+H3MBDGf5PAvGLfnH6U1FYehF/NR
vBXXzqrsg8xzLC5e71/xnK+HMLTq3a9/3z99KI3HITaMMMYg/fKiZtkszVbhFe7i8VVFGrbMRU29
slSpLZhPwlHZ//6ahg7rOxEJKGriCzv548rT+V5uZavPD0X5c4i54bu+iFrUX5k4/frn/bSLOaze
HiMIQY2+zyD0/KN06TedM3VBqkPAAXYtdQYEBa+z4+2V0zTmN5/3ws3PhuHQzSei8OKMYq6+eKN+
/G21CIZuqnKRNuHIgNNE8TeCMOtPRb4Vb6eqcZ/8CPz9aHcK/0EDsv1A01P1Pohz1l+b87xAVxh1
x3CpqBDnJbNfg+6RYO+3ej3r1kI1/+tr9A+PeMQCSVgFmSZswJeN4oeNQOq4Xyj5A7oY2vhmmgp4
px6AMuy1+R98FEMpNlcH6tn2Xjzi8zzreGgzQWUuCoAlsopzaVnRrmZp/s2d+IcHOxLB5bUVgqgW
/8VYv+aujsq5FKneAomECMh5Y3DFl6OLEFanLq/hyX/nG/2Ha3lxwF/qNH3yP+wX1xLsrDC5tYl0
ElW7r3I6d5SLMmrCm3L89W37+dHmGEFBKRBljB3vZdV2bjZRr3oO09aL/LT0JcLLbVJHv6xJNq7G
+l+Z/C9PNq3ovsCpeem48uwXT7bMcSHEYROmXUguBprl8SZmm/3NE/JPvwprLRKEyxIfui/Wo6EY
rT72sdwW4Yqr3ymmo9fk0y0+wY6asiH6zefxV/J4P1/hWWBw+nqX++Uy8j5//OsqjjmMtTZC09ny
0rIwUHat48+YBEYTt0nbecDXes37K20G6MUJThAOQDuQfEjnywcho1jtdQSRmxrMJeTCEVWcrpYn
SU2u0Z532jBLzMPo4e8Yt7eM7mSxybWvPxeyW4954S3fNHj/XTaRXn8YxMT2XXv5Aqe8sMEmOgqy
bI9WoLg1W6M+mtJmdrGEj72yV3GWtIGuP6AGMlSr2dmEeMhW09e86wriWfqsLqDc3OWT7JjBgDk7
oK18K4drTmr2Z1+B7+y49c2jnqbhseJuf6tyLW+la2J4U3puyF1Soz0kxWC1Day6APuOtENgCIRS
9ynAiSavYlGDQpaFXF8HVnHRkYUgXgddFWuVrE2ubn1LAYSW1iQgcKqt5gRIByWUZ4WNAAeS+eqO
g+DQn4XNn1hIhmZvpt59y4lhfl/jCMp2Vb042c1Ue8gW43U1n+SsYP00UDTREPDvfoK0dXyfo6Hv
D+OGZxOVstvUh6oYgA+dfN2qY2FEwPxkPGTkfCkWJCITms8oGa2HvorLMu0GyRfBj8UlnNQa+gdZ
Z/wT5sLgc6Nk/i10ZySoa1VQQaVwXTzUay17ZAxLf6dCq3/H/EYKiCWLAP4dCXaEXnlwN0IwLXS0
S2Wh8ipQdhroM2fmukCcWOjbDQBw6LW2uKk3CpTwB0XjYw0QDwYLWIxEYFjbq5E6whKqNIofYq8d
4iOsx3JtO3WLfsDxYWP6ONZc1gKSDrqvRRRsD8bZMYJS6bNumAKSNbOQdHBv+T9iGS1ok5XedDtF
3TjtYkuJt6XdWn1adFUUvVqipjtbQZt/cTs3ro5l58nzNi4IWqtyaM+F10J1zp6d3c/h5r7lg+x6
ZzT61MW02wPPNTnQEtvP16Ej+PRYdYZv6zZscnAdcrgLVSHq34wcl8SNn15yMsNIA7VDwppfJHIU
JnBq+svcdMjt4Dhgp0zZh91XkDPLntkDFttellTIRYFP/C5C/2dAhImOcoPIAZ4jxEK8SF9oXWcY
3KZz07618pYiqg15eu1uqC3g9pox6A+TfxFbhFab9lrFd7HfiTuXG55GwbTc9I71u5SSn7cqXmfS
Fy+jCuNY8GKrgomNFqshf2SIOGL4vlO9RvFM/Fce178JUv8J/GPvYPa6/PjYEUK8HDHiqvMmX9B4
Aga5nA2BR+ladu0NGi7/mipc/WceiDadS+B5RxXWnlNIt1sjIXmd8fOKaWWhivz28Os99OfHwg9A
RC9nYFRx4ffcmR9Gn6IOF+2UrcAO3I1oFhb8zl7YW4cuuthKqpazWCGdXTHUzs4a5+U3j+XPoI/j
s/Pw8axemJNebndb2dtFkC8wpXLObvuCpR9UsL/IlEF6ZDgdNhwCSWhV4rUoRnGutwneHZ5Sf8Tk
2jz9+np433NAnr0o4MciAppkvwcSfnlcd5Qxljd7GbPEPF0hzNiCA+oHBGCDJ4kdxdRUIAEX00T2
fsnpxO15kBLJbHWV8TR/mVcg1B2UgjibyiHgs6lz3J4edjbaXhST5k4GlerPnKBZ9dpYmis4xBjP
ujPU/Q4ne/Cuwi12csNqcdmJB6pVGu2oEzbZjJxp2dUUs5cOG6p0WS7Jtw7C9zkJsQzQ6+po9A+u
J3mtpuK2dl0SNeAuO8h9DB7kATdW+LlvDcvN2AyLOXthjbJDBGp5REThuYm2cKrven/Jzg734cnr
PYqCkIURSqGGJiI2Nih083nIOr/eN+tkIw9ekSlVCGIiB1m1IJykw85SCPcuoEnlMdyWbTw4m0fm
FCuwt5PYWrKDX672lhYmVG+1AFnA1mka57RErrWlY2CjVsbV+XpmdcHpSb25s+tyu343TJm3yw3l
ZkfkuuBfOTR3mw5w9B6SsnHA/oeuINh504DyrxuDL7ixyddlh6ybrxA49vi22Bj6Hrc4D9zTsCKQ
SLJVlQT+tr2YrtjC9Xlb5HBrdB/ON4MoYx+ppdyqdK1NR8PQMg4Kaf9YFQfSNpVz71bRdLBy3xvS
SUU26sUiIpcnmPqh33W1zu+g5+Mw6VFFvLUzE0TAGfAP3M0sHNIVRfTI1++dIUWdb7sH5dn6c47Z
6p4tO/sseIgKqLgi+MT4e6GS4xZTMxri/gk/LVtmmxOxy/FyAssqlUTL3hWDPEfrUiDM08sMdNdU
AAcxjpCkqDTyhGXIx7dah5dNwKz1cbwUZ+6XthFvuwFGPNWqpkOsKDocesKb8P1qiSF2tAyG0I1C
LHwVuuq9JPdncYeLIXJ3mH/pVlJyzElQcEf9jvlB26goY0hZxFjNmm68fc5B1UXzOHqd1eyhkgMG
PWvuvy5r3OWn3u8nEpxax512qDZQEyLJqNVxqPPgptxUjNKpwANyE7eXzxGrpU+toaclCbrVxSDr
6/DYyxEabsQ5M6U8hKa/MVraj7nT8gBCi1ifwqUUGMSRl4pUbTqoTgQ95E9ZYJaT1cTYBQsZGzsV
Tu09be0afpjGiXiCEe8jpTMV3EK6asWAOJqisC/nV2vYrau94v1dW/NxoW4PiMbU5mmzNneg4Ion
DWOj3x3xHF1mnCx6sjrLoInVVUynQewPE2Orth8nPZJyUfBQXZnNL78GQlv3mbZnMHvS+z/h5MXF
heTQ/lANsfV2NoUoLvOldd+M3uLR8+02b3jVUZ8s4Vx/qMoofJrp9XgbOGX1bZnDGQtCj7XLQu5g
sJoTkODGffapHgVa38mepmZXIqwx6IZzVEK8Z1OzJ86uq5FaOBFbRW+GlXytYFQXXwvCHilXtDaL
MNjHLrzTHnU9ugNMeU7Ba1k7d2iIMAwMuMSaIzZM7+Pc5BW0aTWsV9G89LwWQVa6Z8sa5naPNxy3
jAu/+lmbIFv29OtV5lrUwp8PG2fM19IMy5NpWkyHbthGj9WUBVd6GBwI+no2cMz5RlHKLEvizyrh
rJiZlqhGB6CxozhVI4Yr3a5ecGJjUTl1LwvG9Kw2dnHuJ4HguJqb4rZp1UBa6MhZcOdFdeTsVZht
ODydUN73fde9c7AgEc8f+8W2d91Zf/Esi/UsykrrbmaVzED4CZzYjVxYmjpUSdyEZSr73TJaMWI1
3kp1jIlP57a7fv7Oli7R2/Gm2njXmX49dgW0M4F6FWxWFnVVdScITglTXBtmPW5xnH3z1gEJ4NJN
1nvutBqgCbym5xIsDNwBOpR5l1NnWSVzRPjLxGkh6QfyHvZldLEx1k2JlyuupvBxlpied1iZ6i+F
Q/4t8Keo3o+Q/fe4hWCDnKltb4a12DyU1JfKOD35Ru5G38+pVfVHS+0X3K1zomjq+5SFbnfRhgbt
k3SG7ZPKLTmf8q5lFx0RvLcpN3O6Mf7QQTmhF6dfp7NWgdJ7ThehPIQW42VOm7rJeWrU2CtMqvgj
aHBtZhrhZLH4ZN1YmCkMnbn9X4Dh31FGr/+aBV4EJ734r//r/1PuHQjpP3PvhwIfYfvlxyAlwR/4
i3v3nD8Y4QTjLbx7DGrBoPlXjpJr/wGB4wHVYJ+gaNBnzP7bViHsP+yYkZjJD/zmu3fiv7n3+A8B
HEGdsm9fUpioePoXtoqXkz7GONiX7yQ/blAaCZ4jHJ4HrYaULN+HpiAYJqhp7BjDLH+MO288/3BR
/n46fuR+L/jMj/OjDfEbXSZqDhRch5e0IQQIBSQjCCtTpv+JhVOHvEyhn2LhRCMVWG232zaBnjdo
6+o3ENU/fjhYTsBlhiXwXhxpbD8byzZDpjZg8qDyB72zigcv9WfZ4Sjjo8dINlfsd+Y3POFPg/z3
331h2hnj6Tp+OTfD0VmDBVC0771i3ZUAV3sUphbH4365NUsvGOKN317rbMiPa0PZbFYJ94wHNtxN
iEx/V6D5on4CkPVyI2LY90sHhs83e37TLUfZlZNF+Z5D/3xTo56+wrA9nngkt4Pchu5bE7sKbbRN
nlBXVBX5P1V8H1E9+O+qOL5/FcC8C4EKHEuU9Yvnb5OOajZwqP24WuWrsm3DeAfRS0GNnZPONFk5
GJYcTUApJn/LvnMs9xy0GTAOLQdEfWP6VDcQX3acljRJtb+7eRcs+MVDS8ijD7wJ+cwr9wIrNlAQ
eg1X8u2ipXjw0Tfut4Z8oVBFwV61uT7WelXXXq3agx6sImXy17+rSLlgAC+/BLg45Yc+0DirxfMb
FkFRMulGJdpUZe6GovcvcQz1bTFp64wMRqRrQM4ZcI3CV0eIC7UmAEF/irD+HSj684JBC6MHeE4o
H4+O/wItiVFcxi101L7F8P4FPKQ6GBSOxzFT8l+i2DymP37UTyVMCDOzISgqDCGDnvEsW9MVQTPy
Y9Cs62vGJPGbI/8//LbL1WWtDkVIfswLgHlEKD66yLL37ojUOOrq6fi/OTuzHcdtYA0/kQBRu25t
yW139yyZzH4jzORMtO+7nv587HNx2rJgoXMxQZABQpMii8WqfwGHVJ6chrTzfizkOlh/UY4L7Seb
ijbruRqqMHNNUTuVbTVWgdelekXoM0nLydkO5Iq/7NSwd8a8QbmwoAxKF5FigqwtrLZRosxKTBE1
8a0cBkyfp/PHpCUk5pnS/SSpjk5mNRUQalXEcKhHawcApvCOUtX+mFKiehAAAUg0e9f8sgwTSg73
F+V2/QkDsI7x3RWQ/KzVohCtQCGRTPlt2WkPRV053pThr6fXRrAzlIwr1ydKdv8Jfwj2Cyl7en2i
6NN3kKiNxNcjtDYwTcGnjR/2OQRp7S22He4gKramRoOElpNLrevG9jqfSh5Plpv4qdFFJxi1mDL0
6nSxKtX1376KwKsM5sZ1S/pwPbU+RZJNKcPMdwYoWVTvM5DPUXaaxmnP4folPK+XkStElyAgSoWO
3OavimSp0dqxCh7d11KXGJ0byow+DgDvg5sFzjEZK0iQDhWJ96Js5ufStMSJym4XH/Nyti/w8tyP
NTDd71mrVX6pQOvwjbzXd8xWb08b+16V9FTuPkipqwvPHjXUMwLwLEElyhMtGvsg+hDdJVpanmrh
b4y61p7A+NYnx0LagLRqAm5c68QuaQ6hD+KFD0eCej7hUupTzHb0PtV15ffbP/qrwdZIxdrRFhCe
fepHNN6eYmf4K4sy66ws8Nf+w0gaH0rKfDK31fZyLOBmAf/woa6WXmbQeVKGYT4Zdb3nmLoRsGSQ
/P+xVpfNaFZxI5wm9dMAQ/GoViga6GF8FqEqfEdPcPyo7RIjUoe3XGUGspEyTTDVbIoUj2qU1n8p
E7C5EmjLsznO9sf7a7EVRUALckvRsgZZu6rdD3YMJRKVPX8gtT3rPbDGCuGZv/vILb+Noxac7493
UywHigESDhAvaoP0ddfWqyUEJmspMDRdkMn53dFq/jMPdqUdUfwxrePYuuP3boiKj8VoOn85ndFP
0OskgzZz04XGmRaov+BcWCpYQcPcg+FsrYdLMJDnxtFIVq7DwRi67LcI8RSz78a/UUlD0MEsa+Ur
QTZ9Kqy53HlSbBxsklib6jwLQst7ldXTbdVt6ig5ZA+R5MdccG9gb8Yb3ObfOqQ3EJoaCnenaSH3
3SrsCYB4wKVBRvNntS/RLRKIdna5n7LpDqgnorQCDusEYLeEUhs7h0UT2VHoIYTO0BY722AjsjA8
L4mXkAY94XqZtXqu8d0uc19zCsQKXbXBQK5Kj5k+TzsYoK2hABqy4wRJCjfK9VBmSVKcdSNXsl0q
EH6H9inpWpQ3qhHtsvu7e+tjAv/mGgEb7Jju6mNiV2CVPaVM30WOFY1U4aASBBRo4d3giTgADdeP
5tsnaPLuBWoNNoMbeDXoAFUhGKo4RKaxjz61gR148bjMT32q7inGy8+y2jXgI1hLpNYdhNZX0SKl
Sy9GjXgZ9Il+mYQxQhZE7M6MIvDXrRNR7ZfudlH67/2F3RoYi4uXfAchbfN2u44B8VzxECaYvmci
ar8XkRY96CQ/VKR6jcqWk37BqiHZez9tRAQHsAEqAkQuA9WG6/2TGUZjULXnjjDc6ENWh/8uYGxO
/YwbDO3hvabZ1nCMRkmDaEAev1piHtk8UAKhoFXrRu9CMdvf0mWpvtZRkX0SQaDtrOzmeEBDVPSp
uQbWT5TaUmgKKaPiVVPXPhdcVgeYzHjdDEvkq3m38xC8/ZCutCoBt0TM43vKn/Mq3YIjFQ5RP8C1
o9Eln77dY5dCz1oyFd3OqPmYwvsqIrPeSSm124DHwHASgCBq4ILXAB8pEDj1rhr5tESpNSKv0H9I
p8pCCzmZMAjV6dPD5eRUg3pR4hKuvzKnT5VtTRc7IfUDFatGT5o6hWiBRmrzPxmayyU0pcT9aie6
+wEeHKgXK8gtFOVLscBcqwvVPEypqX6cR5fOmQF2QfHiUFd/AvZUIPIqfXOqQOuqB1G5obETjzbS
D9d00Rsh0EKY0N3VcjeQsrVigf9Ud+AUsmqqfGEbaDtME+5iECaPw4IeZaGC7RnmROe/IaOn0Pk7
adT+ISbm81OkCAxtNKXZCVwbVRx+Gzsd1g4+hYa9+nVaPCbx6EZILi1oeHbmon0Cz4iikSbMsypQ
FwNQn6AIQG9OG8f+Ye4n5ViklrtTWru9I6BR0yyHWAQFR1s/K3MQwpSzzdC3BCDokDbDsSsXtJqH
yjjfj2Rbn4RXMxVRpqzTFl4d8Nbtsg5qcOi386BAK5715nHQKxsdztiEf6d1yReznVSwCnU4/INE
AtyWEaUUz7IW5xEJ1/qYLbl6GmzTPiXwT+KdXXN7i1HkpaIq8Qk06V5k61+d0WGpsqjqwsjPEj4L
iteph2hj81yZleNrShihO9jsZQSbg8pVIVkGQqHr14EhRFdaNcYA8c6JE0rZrIrOqQqGH6pgkX4f
HY7kktt7X15G7+sbTRa0/3/YVXS3FGgVSpQS6gC1XzJHl1ioYj7d/+hbkwMMTIYHPQ2todX1FRpa
SQ+b4BOXunWBft4c0SgdfCeIzGOTIHEG53j37SGLIeu5oYWkYXjBA8RZH35tQQtSlEbkD7lb/qXN
YXWmOwbIHnWxT+6Afhrk3+CcQur1wCmhF8fzeG+7y+92+yMo0euSGAYL5vq7ZnFVNlpH6djIRf3T
MKbwXNJku3R5unzl0w7f7GaMHk0izaWLw/xSYmD6PKYFCiq6pr2zszz+9/7X2LgKuHmg/JF1w5ha
X7HC4q3ZoL2M4q6B0s/UFE+Ka4+neHJszNGr7rlL8vwBRybH7ynMeveH36imuxYweEk/5CakfH29
JL2YwkEJGL+16vaEaMt8yiGSPrtNhAeQok1o6oxw0EORJb9bYM3viqVFJ2AJIoMKQ6Xv3Mlb0c/g
ZuQHCVwt1vgt0Bf1UDeQobowns9i6PGeC52vTmjuRZbNlXct2jXUJgHZrjYDz7xcn5Fq86nII7za
GMYPR0QIsrtWizmukgZ4MYz6me599D4YJu3H/aXfyD5oFLmOQPnNxOBjFXuFHldWlJF9ZIb0m6uD
P+D5+s9TM/Znu4qSi2ahEDg2Tfjr/sBbYcbUUPxyJE6Od8/1J88XlALHhSXOENZ/KAoXTaSAGvj9
UeTyrc8a7TjgVrJRB7P1ehSrpGMFQify+6pQ/VjFNy1qTZysSzv8jIbNns/lVlgDLU1WDAFBUj6v
x1MWtHGGnPGWWJsfzQUxCdQPa0gzFViFL0HiZCc1TxDfuT/PrQ0Lus+C2GGalrNeTfzkS4sHT4Ku
V2cilD2rH6wx/teYp/+QrlpcDobD05FJvhCxXl2FkQL4OSTf940FUzNnCSwS1NnuPTBX1jc3suyj
pqCb1ubN7mHZnKXMlimE6qBlVjdibDtFartp7DtJkXt9XupeWTbRGSqasRMBtjaO9Wqo1S1YFNmU
Dz3al4pDJ9+xGhSvQGUdu7zoTq2wrZ2NurVx0Hego0zpic7y6jhQYVFiV0CGDLIE04AF5G0FDOKI
EEp3jJEyP+SIIT28fdcwlIw8POYoNV7v1jrlomumAnWytp69EK7qqS1xf+qHYQ+Qu3XcCafEUlh0
4AxX65n2SeqSLdETpL520kKaknPFfr0/oRs6jqrR5nFkURj2IdW7VVoBRKZGDydLfDuPG0TFm+BE
05rWmYJ1wRnp+OdBTZofMHqqT7ZRipNbV9JAfekf0Jiqz+R+SJajwuCn6IY81loQewaiQD70zWon
9G59cluig3n5CQrYq91sA8aGtVEniKyoMZ4yhelVjYn7PNpkx6EqlweE9PW/d1ZoIwVC11GT5C94
YMb6dTtPdgnRvcHnXXOLZ03rv0kbl69zoCAcOLPDBQrd5wbXiKOzdJfB0sad/vDGvOlSgxcwYOkg
/ri6cpS2y3A3IP/R4qL3DXVaPMwL47OLiaEHTyR+UJdy2lnsrZcVFRqMQWn6wjm+YYbppRlGDY+M
3qw6PDVC3lKDHdlHaq8dLSl0FhHgyN+Jrhveo4KO08yC0eEppkm7Z+K5Ecf4LaYLmwcftJsHT29o
CJqEyNkUKHOfDFEiujOgZ6uD/d3pUckNv7oAaUzBTYLZLR3XVke8z3K3VfQy9Klrq7WfA1D8oedW
Lvya5grycFH6R4my5LGCcK2QCGvznqHv1vemAMiXI7eDgrwObQDdu6kvI186Sj4VfalfYLjElywU
/9aKqR+GaOhP97f5RvimJsa8eeBr2g08Q0w8i0Er06cB8/WAodOASUbvXGzVys49Wolf74+3kUa5
XPuqQzdWtvPXZ3kyAmSZC8YDuuCHGKCdrA4dlchr/+krY3pOQZLtXBkbu4jLghNEUYzs2ZXr/uom
Bsk5oehII4XbGGyfMZoPma7GJySG0r/uT+9mOXmoqNz49LUhd/N8uh6qpsO28HoHLacYvXyZtRAa
CZeFoSieEqj1ztRuTyt7lZsJ/0+qt3AJVnmbQJkvr7NU8SKjby/UIEw/1KXpfJIM7oc4FfOlg1vr
t2pRnOFDRd+ixM39Os+znQO0MXXa15rK/Qg9H1jX9dRbILoI31OjKtWlOhpqW/h1dsKx0Cmb/HR/
mW8uSTlr6POw82UJyFmdlKQmbIVwbzy44gP1LyufLRS+cLnYSRe3BwLoIQeCXS0n/WrrIMbRmNnY
K55D3LkEAsR9kQEQvT8dqUBzHXx40LBB2ZpQcWxKjNfDlKoAN0yP1jP6pnowpaKWORvaczSEwc+6
pWOLZFd/AdQdfgUp1n0wwLj/yFXs4cN2gBpRuDBVMAH0dcDKDuoQSvlnwIlpZ3vfnF75O8mBUE+h
86OtI5QbAtqF7KB4AWTAR1zjo99tGgbfnABhp2NlNs2Pci4q32lyZWeNbg6xHBqqOaI8sFI0dbXR
zbyGuQbvxSuxHjg3k2t9mTphXHq02D7f/xwbHx1sIUkYIG+Hft7qoyOWmFqjocjO6Rw+9hlsDKrq
8de3j0L36qV3Z8tHwvU3X7CMMyCpsbUCrby4S90/9RUyvm8ehaYSDRcNgS121irPW6o+WRR7Djyl
r63zzPvn0IM0ubx9lJf6FA/0F+rt9VxisPt8mzHw3LBzzkWtJFhDFc3OU2NjC/Ca4ins8hBnOqsV
A7jeU63qZI8qxtgg6vTTYILTbqRU6v0J3QxF4Ru0ouxqoPXEw/t6QhZiYjnlHxPLrwlNYEOPv6XR
UlBwy8N/7g91c6ZA81PdI3DyuqBFthpqNCq1zcKRoZpEPDbCCPwmNSNycOj/bQQ3ZA7Mz/nYad79
gTfmiGElbxpe9hxqZKyuYlvT9aC9AEF6Y4qrWlYEoQetwvFRk3B29sfGUAgp4P7HslJUXGPLKly/
nLDFNNdUJ4Ax3VAS4HgMP/Vuks7+/XltLCj9PBp94PSwClvDBAbLqkOoY67nQFjGljJxpqcmAKsD
jaG1f/VFW30zwzQ59kYW7slGbM2UChGSGCqomhuASBpAEspFGnhN5/xEsz1C2xFKixMASnn7NC2T
mjChCtWmdSxe0IqEiIDPZILken9oQfh71OOiT0YPaQQlwMh4RJe6+BYGVfLj/thbs+QRDuiDuh/v
E/n3r67F2Bzg6yDD6GU5OX/e2DZKl9RTdIHAw/2hboKxpfLK57VKJ58+vKtfDxWAMtWLLHC9dnTF
ZVKX4bFXrHZnQjKkX2X/spkExlSnqIDUvrUaxZlEiHMcnluumxePVgaXepr14j3ILO0cTq21E5Y3
FtAmzQczDPVW6n1cz8oEQdBQ3EatH3HNgx21iU93XDm7ZWXu3DNbUwNfDxqOrvAtIi4dYy1Sld7B
2Ed1H7syQaGa5iy+FNhJap4xdkN8vv/Nbmi94M14sMtmKaUhSJPu9fT6gnqYBAN6dkcF6DDgebYc
YIDjIDiHwyfItaN5SDBl8+Zad5CXzRXnUXEXAY8uNXzXKnXfatX4y/3ftbXqLltIqpzptDVXoXZQ
Gr1l/g4Xe1T8VLniBw+dF+kfOC076KiNsej5y3WnbKwx5vUSQPoP5qkIXXpzJTiDUkf5pMiDQ6Tn
2un+tDYC3gvCD2YE6FFYy9dDNREqR3kXOF7TDjl2faKHLQ+x8+ioRXqM9Gb46vTLXy2i2X/uj7w5
Sb4lWFLwTsTa65F7+PlY3jDJJUEisx6C+lwB7j2YKWrD94cSN/UYym4qGTifjieys54l5DSEc0KL
I5oDpqyNVlwaIx8fMEkUF+wt8tOsD8FDbQC61OxkPoWuUbz9HkOGjkgkxSRtx5Tr8SruJQsMrqoT
jjfDZcT+aTQes0IIzywG4/v9+W59VOAylOZ42aE/tPqoIYxrRKqR9dCw8vkwxLNz7OkznwIjkRK3
iclrVkMwOknTNyORWWkTZBlqNPKYrGkx9NwAlrkoJAZ59Sdf7PEh1BmZnsqyU+Ha2j/k8hRWAQYB
E5XB/9V61oZbz+h6OCQeUDYXi5bikJbwLkd358vdRkEpoCcLuIRbAIur58MIEA/qceJ4SQ5gsESA
wzNHDAIc+gHP3TzsZcS3M2M8dJVkqCHhWaPUeqtMUZxWbGy62z9N4GTnoY8/TLUxPdzfJ1sDUUqx
0MMj+SbSXC9hWWMB3lUmOlUgX3DZIqYWYDK82t67SDZH4u31cthVmgvXIxWzq0/IeFsAYIR2YC+a
57DOJ9zjGuU/TIo7i0e+TbqINsL1UImokllAPvciaJEX2gspcMYBx+DO3Su6bc2KhFReCNzHlG2u
h4KCJUuhleXpQRJ5aWvgq6EoLbAFzfLf/KkgD/Aaw6mPV8y6eVthjyXEklmeWScN9NkeO41KK8oP
/WyOv++PtbHfZZmN3r2cFhC062n12Cq3EIIsrxrs70Blpw9DKHoP28uC3jVU1vvD3WZpoEFfdIKg
r8m2wvVwmV2EdSGQa3DtNkBEbHD9xM7it5aYCPx8qv9DYnGyVpNyc0OfqTpblB/oT+aQzflMTXsJ
kq48Q3egfXF/Wjd1mdWAq2kZSIvxHdmHIsXxQRiK41PkqBHmWYz38ahjYOoW1c5ayhN7nYsSdrle
oOKo8kSvMgdUbQK8lljLvsitd4gwofqBhcnZmSI8FCif4s072RcoR8YlL+bx6/05b+0caJnUPUgl
VG2NKuYZ2NdJbOApOy04xIgUG1Kjy085X/UMxle8FUDFGusofNDioBoC4v1664wlovuJPnMA1cb8
kQSdYh2UejQfndwp9+p5cofcrC0iqoC1ZE99XTiseaCmesvkpiKjjTOG0yWzy/kMbDLZESvd2juc
CZu2GXxD6KzX8yrsfsyjpba8UY07WEYQikgYWk/NnOYTF3jyMYPJ/PZrTtJs5MXDvUOB9HpQXMsH
qe6Gds3cpmfaQ52HchS2LFMjjkOXqG9+x6AeyDAmPUTKMuss13CIzVrMJKsur07YPtdgHQ3l4qpl
tPPevS11s1GoZaG9IUVYgCtfz63QYeU3MRvFMhR3Og6iz4xjg/7Wo0FHH4XQWvkyNSRGKgiN8ySa
DrNcy3jASnkPfrgV7tg8/BxgbqgWrfJe3qtpMAw6067mhCYtnp6lHek72dHWDjI5ExLhyLPFXZ0M
pW4jgBGD6WV26Hi8qNID8mPDwcBm62QFJj4bcWHvXL23eadEM9IQpjlD8rmGLRi10wDrt3jLV1OO
Zp4GIn2cLOy16NLgUD56YToMFzfCpu3tgUe+JBCJBHVGwf36+845d2NT67jM4ub+IU2KGrWyWWpW
0FjGR8CiypjujLn1IXmi0uflrYbW3SoBLY1ZwXJ1liqm+EvPGo7NdtapOwysrajzepTVvRWAxI6b
GHvNsFB7HzESrOYHd8FRfdjD8WwNRXke7ACJBhZZq0My6rWKJ4swPbXTgX2pOH5HIQD/Ah9r//73
2niRvYgR8uqUAk1ijeFZpiwLnU41vcaKetWbplTD1hlbpe8pPm3JZU6M7F+tM4tPM/A+tPJSe/zh
SIrj/R+y9RHpfEGul6oAZAjXGycu9L4UggqqqcOQGLrOfhflzvLt/ihb17LMEOmWgocmM70eJeKm
TiHSW94wQis8ENvNdzDqUDseu1GJjgaG5r+nos6KY4Ko5uOgYHK0UwHfigikBZLBD5/eXfOxuRaz
KpWitJmLHlrRTcvJsoex8YBYVQ+tJuJ/TasAp3l/6lspAcggHqM8ZQAerxZYT8yyCx2q4dO0qITc
BgeyyK0pXA34b1canhv/YURAaACIVa5PQB/Xi12U2hRbcY+GZ6laH1tVUQ9jSRgPjT7wuxiG586A
W3tI4ochjaFvz+v3ekCUnIO+iTFR55WbYI4Zlu9Hdwp+3l/IrdOJLKnFAxugMt/wehRMow171rku
gS/qiLuGjj9keQ7bOnU/3x9q65tRsERZXMAQIm++HkrXylwfRuK4FQUQb02UA9Bvw665AqrfTPlu
D1Pjf7hOrV4PKP/+1Vse8UxkPxEX97o6HZ4ESiye3hv50eodxHzqGrNfTAFPqmidd3WV/nRGdKMt
N8ATDj2ynVvsFigrxVih3MBANShGWqvTajUKojgWb62lLuqfMXhYnCybShmPsWLmf8oRXWwft6AU
hlUqcoVdHOfPaFQo1CEQdcR2bunaN+NZ5K8ypdaDTEHF2nuibPUeU0VS+xkmo4+506e8a6zneSrt
t8fEq5FWB6hODFgiDSMJRXyrmrR4mBbF2nmpbGxnBiFDkd1gJrS6bMQs1e2yifcYXfKz0cxkm1kw
em0Y72Vcm0MBM9TgE/OIXgslLjj9DH2v8j2LpDukNFkeq7T+vOjIdr354BDg6azY8qXOK+F6H4+J
W0KQpyBgN0Z3ykbNPqkA3c6OU+DnZSbJzngbMR38DR0O4hyddWP1pfpEcSodoAEaRrBr4tbWj7Mo
1HOUODX+oIg4fbHVCIj9f5gmRDGHCgvcgnXpVox4OE1IlmEfszjP4Fnmj1QneFumS/DeaMxl50Ru
XJ90G+ncy4KOQ4vselmTem4K3O14eYlkpMRSLr7Z9KjucCKKI9Lf+UMTzsioxkZ7RGmz3xl/c5lf
jS832KvwlAx9Vy0ERG80jOWspUrqt5nmPHYN8H0d1PjRnHF9vL/IG8k0XV3oE2QndB3WOYODlF9h
TJntJWVbnbGPR/+uVIETYM1+boM2u+giRQGwL7Sd8781XXIi0nhCDReA/PtX052TqsnwkLQ9uODR
AzdRgJsb/s7xXDbvl7Svzz2UM+/+dLcOKekJ9TLan3zs1RUAfiPlkuaQJg51Qd4Kudfh7PdMIH2z
WgmRlAqJBOVQquA1fz2/fMYsZ5gpey4WuoHLYHbHGbGe00ATYWcpN27Sq6FWUW4eLDHgTo2+98JS
OnUizpkIxGGu0JQ0SYRO91fxluYlUQAsliGvU4qgqwhkh5G0/rF4XQaB8qceLePRTRvXt+uAYkyA
tWiFO1Jr9xjfDsNTqSsQvNI5DtGJHRtfiY3mWxpivKoD/vhbHxX7+/1fKM/q6qpnW6mIpMp6jb3G
KDtoyKHRK2wvzIP+ucmDf8awrndKGRubiWuFK/ylCEXJ/voLG2rdV/bY214wQuQLTCV5mFLcjKvY
3uMm3yoLUCd9PdaqbBLP6Jn3AUpC1tzYJf5Biy08xSrmf7TIbf/ENVCjD0os7Bzpuzj9gTouXrZV
WKcYO0c4gB5sugu2n089YnWVYjVvvmml5hC9IMrUXIDrQGK7itoHgGI8K1G6R4xZJsyTY+FHY+3s
PFZvPy6vC24kyE0Udcj5r9dd6ZcUL+nM9AbF1N6PibVcsIDq3hwZKTKTNcjHvkxUVumpYsHrWpSE
dypJ2smZqvJCNkZZJ82mGX5jVXxux1EKNApr5xF1u7Hk0DL9ojNLJ3F1vJoORgqNPNMLOm6CVmgV
EkT1dJq7LH1zQGQoemWEf15tPC6u1zKog0xPshpnFrfI3qVRop6XAM1MXjBf7x/JzUnxopDkJEcO
ej2SRGBPSK3w1VylAy7dS12llrR2Evrx/lC3Vwv/f/IjcgYylhvqgFqWAMezwEAUvEjOYRv/IJ51
J3tCGB6xetT563SPr3Abg6/GNFbfrJ4VJDxaxhxNPHdw2o6PAO7rYzxV0SlOx3xnjluH4NUc19tz
mdxupJXDeIjX+Yut1aeQCsDOqd6cFbe0LLTz7lxL0S2NvehFYALmRyz/OLo1hh/VYB3KdJnOiuWE
D/e/3OZ4lGpgsZHXwqW73iTjiLon6kuGF6kJigBz65wcDbmiOqeAGZroZ98fT4bo63uCr0ZXkpoM
OSbw6+vx+i5Hh3bQ2Smpk59UE6n9IMJJBzJ5dNQ0TKIVxcoetEZPdi6PrZlKoiY5Fw2wm5eJ1WDq
2qLLjOJ1F56bZOIdqnQFuFG1uYhZ+XF/ohulMEiqdMy5sokoPIauZ1o3g1aDKTc9DdXSC2ib8jEw
uwUU9ogAlZn1foDAIWrgkfLb0YvvglLSTqzZmjKYVUmRsaTI2Spuc5POjbAn3t+Vnfq1mdgYKDiK
eWnRm7jMSrqH8tkKOZS+ycNoqPNAWM25x8c7oqFten3LyV8cyN2dVc1+E5S/7i/v5tRYYKpBUm1o
/USqs9jq64paBvphla8OuKEPNnpePc7BT6XQwp3ds9FqYDTe6ZjHELqRt7j+nLrWTGOJagpxWyKz
8FI+5bmFaHbYawfNjatLpmA8K+bR+ICuWfuQu5hF6xZmiPdnLgdanyBuKhrGsJ/AZ8k49SqN18CG
djQbTTJqO+AJGvKPThXeUEt8Tw19+wxfR+l2ht3ez2hTwtqWHgDr9DpL+ywNtZ5v23QudeSm1T6N
pp5dOsok/+ALrfyPOSOokGFq/FHDDuthGhVsn+/PfnOHAW6QZDikFdacWytu9WmRHmMTgsPnvEyj
Hxjk/Y1LtDj9h5FkeQHkmgN9YfXB4aJSDQhIR/LO0T8Fc4/fk6Gg806BY2dttyZFUi9PKOVGmuXX
n7RWrXBWVIbSZizVY3QDcHFImtMcZ3s39eZQMvqCESVRXxPow0ox2jEmKiW8wnBVrrTvS5omXmAN
8T/3F1BuxPVGlfgTcg9wL+j6Xs8qyzqnWUxheKHrNr+0PuZ+MaI98udGIEBFB7AraFAJUVqtHc7P
nehpyXsJtuO+1Tf2D2dqhmfF0j51fTjvTGpj/VB/kkBeKGhUbFfDadk4DUIxDC+bKyhgqWXDAwmc
X0rZj3vdr82x4H+A52XIG/0no21HIy9itgUUEF+Umv3YmcZvHVPtL/c/1catzH3M840HugQmrj5V
V9A+tG1yqayvdOPUm3r4F54LKQjNfml0BImdGNSiqzzC5h13dv9WZMEki8ctsHf+rHMQRPS1qp3J
CUbVTk4jRq7v2rgzPMVRus9ZmiGeYCetNHUU5mORDJUPBT39dn8JthZbHgp2kbSdWYOKpzLAAHwi
W+4Uo1OPtRZXj4kDxwQQQtXuxJatTSt1Vf+vuked9Ppo0JfW8GnPeeqkLmlWQm/hMJpjd2qgD6c4
ktdvtrAht+Np9f9Dyi3w6tqYonlwuhmzMNcYuksrclwzReR8CES8p4K5uZug9CHjigUn6c/1UPpU
qlFW81ycygIbFJ5b9cMERck3U8dWDhS60y/BZDdfFWsUO2nX1thoFjiyQSQv7NU06XCMuKwTDso8
Fs+uiyxKqIn86FqN7lPbHP0+zH/FYZXtfNKt/cPm4WqizUp1zb2e9IRT2UB91vCKxlYf7DjKDkOm
Gw/lNC/+27cqfHJYYS8kZGu1voWBvMliUY62yu5/Cjs1P+ZW1j7AezF3JrW1T7GXw4mcrhH6sKs3
lkJtG8G7Essdgqs3tIPxcZgaaIuzKqV17N/3J7aVZCE/S58fZjet23WBZwI5nGQSIOPUQfQLA4/q
EtWJ+TQFWvHbpVj7eYaW52HtjO6VMpp/5XM4oTYTtzuwso3yD3RbwqEs+cvJryJi7A5abzXklw6v
hYPSKPNzVYJeXxrxo6qWitK8FT/VRhNeigBMp6vmKpvMqqhxpgiChRkNUVPfgyZuJH+ESMgIcJDA
1q15aEFpmn0wcn2nCroqYESwY1JD/dCG5AzDBDcNxck9ue2Ni/xq0FW0qjJUDgNqvJKqM2DrorUP
WDybO9fA1l6TIB5cQaWr9bqCmAfYOI9jbHlxpX3t7dh8WDo3O5pq8iwCtfjr/laTx3GVnMgSk6yE
MyDlnevjOivaCENOWJ4alEI6w2iHJrfG97EY8nOoVpMfJqN60CNqf2OQxx/vD78VLUws7XUgQ1A9
1lhg000GG/gMoKwYxcqgjRGOaLTwaMZR8fBfhgIGAWKcvGX9XliQ9GoNidGtymg6I5xe+Lz46w+J
MPaS881PCKmEipP7Qsu8XlQzSKsciVF62WNMQ6cItQ91PwoPXb7Msyo8C//D1F6Nt9qYqDVW7Yga
vedWCi7okE+OPOEW31WcvbbN5tTonEuBJTqO69eP48zx1FLQ88J2DJ6oU2TTIamrLDxkRT28w2vp
zUqjXNgU0yDiEYZgzMgt9OrCxj20D6KOkj9kbvuY97F2qAO8NN0keDN3ejWUnPyroerWjXumBNJh
GTGjEX3vtXUx7FSRt44cBSa671SRqYrIMPNqlLYdRJNwoDxdcVt0xl0HY/NAuI+ZFqoPZkQCmOGM
/VTGS/VLc6d2z6B+8wdILKSs8yI8urrNWmyG2giZdQ/pEGc8JCmAC30Y3D85rlh4P3DeLX1QTooS
Zp5w4j0lgK1Dj98GzTCuUlR4VndKaSCDTIJnebxLlPEA6KtH1jVy9L+nJU6C4/3DsTlbSTRitSVE
Z/VRYY5mhRkwmtaK6YBbY/9hQUnTizrkqaw4ztFkVMJnuxLWu8Wc9no1W4kYnQJK3fStKAithqcd
KIreJJwLN8qTgzoWP3o1Uf4WZtCdtJGPmw5Vd2zytt0JeJvvCanqT+WLx5O2rjFOdturzQRSyBX9
8s9gTN2JQnx5dsrBPdfopT3bStkcZKnjiKCVgeEXuiY7sWnr0pReBnxpvrm15gXpSgsvfqa5TA3r
Q50FCGGGwb53yVZcouWJxKtUsYBden2osgRxEMxr6dmr7b9G1opTVFXJYcqMzqdSsUe535zVy0UC
OpJezXoLF5kTBx3gyNZokuMy0Xmylnmv9LK1dWUGQK0NXjfJ4PWklLB106nn4Vtr4aRjJtnM75oM
QcvTjOxZfGhbLax8DjryqjyRRej1djb9BzAj1zNwd5o0iP6g4XH9M9AAxuJEUGkLxBJ+V7lpDsM4
Fo9Kiet7GU42piJ9dVKdElPcPCvPetUHO1D4re/7+jesg6aa1DjvAd6MZzrNyhI1z6LNtXPai/Sg
goc/348aWx+YCGXDaIOmdENWtvrJsGzcBj2jLMdzaXba2cWP4O/7o2xFQkoNSPfCsmGc1cU9RlQt
aTiamOxV8T9BVxv5wcmzIT64QzDs4Vq2QpFjyFo8JBt0jFZrKHq7m4uF/FXRkwaSqelqj1U8ZtHR
iXQ8lzoRwyoorC4JDx160XsV283ZkjegQ0owQK3weh8ZzThkSttQWjBH51Tl7XxewCzBZpjGnXeL
XLh1Wsu2lGwiZDFAlF0PlY6zVSz0brzFVPMQ67rOPdrKXHgdWE4/RoLVS3GW3ol1m6O+dIY1+is3
m6YuUCnKZec2tbLyUlrp5xLS2YOKJsOTgjnkUxFyUt++hSjCUQiWqA/i3/VMS4PH6EtxLCqnHk9C
dfkihrg7QzjdNYjaOhQyoaXsrgvqcOsPqMFyC200xrImKU9lpabvRkxSd47e1jaVLzawUFJFdj2j
IWuMHuVgJAjx3/vXLNpi9Bq05h/muDAw+RTxY4faGnChbNwhpmztUEItGHv+cPBWl7XRh1pkwnvz
pj4aLm2UaYeA1XgMm3BPfWR7KBgMZECoaq3Nv1xRg9tDQMxDPQ5fSLv71U7BgGvm2O0kQBsj8Z7E
Iko6Kkt49PUOacYJ/6gUvKfdx8YRqZjgcRgdMzsYVq8/vHk3IrNO9xsiMMXDdYhpQzFMepmQ2s1h
7HWGUJBjdeZ3Ucrr8v5QGzcCQ4FxYovQZ1tTcS0DPpSeUCMJMWz8k2DucNAx7v3ZN7UNqDbfA6hu
XMa0u2T8RN2WtEpu21dpuy3GNFYtQoqQrrgfxlxRP1eBm2GhMbbViPltlTmnyWkMSIuLnWFPOc7f
78954wC+OCBRCQcdwgvs+jc4WahXVU7lpzes5Mvg9ovfwtL8c3+UrQ1DYR92J4UVWgqr+75ZeL3+
L2dntiM10m3hJ7Lkebi105k1URQ00A031k9De7bD8/D05wukI1W6rLQAtbhB6p0Rjtixh7XXgvWQ
4EaLkMTrp/TfZlAQYCcMOciF9kwxJkTdgVwZH7bZ1KL2OpQGZxMZzqS9M9zGfqliIhtbPaRz2zXF
i+DCk0sXa1vJWlSqyzPzYSdnFGsYe1Fyn6M4TMgUpwfBys5nkn0KD254LgLoqevPZNvtwDQpEkKj
kc7nJC2cC6rO8cG93jmQBGO4fjpYkvRnk8aZgwukRL42pMh9OInaDZcJLVpnztEeGafyX0/pvptR
bt0PVvT7KEMgLsgbUOFg9IFw4nqNresUUU2lFZ6TTrxHJQkCXm+YQl2bjuKWve2EgER2tlDK0rao
JN6i3tJWek1pq2t3bjMOYYPQ38F27lsxITDwCFFIT68XFDV5L+jomgQGdXVHhKI/uczR3f323ZLg
dkm4B4KRrPDaSu71aKw1tFditNXOSjquJPuj+m50sv/9viXmYPD5vNaQ4m/WU0l5ejhoKMR3pvms
Inp9Ny9JGuQ2Dc/bpvZOIoR+sBTAiE4MsjFVVuj4Oh2BZaUVmm/EArHgSEnulMT5x1CKxPRRU1Hv
2mFOL6PVEd7etr9ztWkN0jQjzebR3qJCCbkYw6oI1pkKVi8MdCLKXlPJTIx1+XLb1N4pwQbyq8wN
UUzc1EvVqMrLEgKBk9m0nSSZXyCaaDy9OFjS3pa+tqNvzonQp4axOC730g1fnd5I79fFbZh3zIpz
46z9ZSyFFSZKjWL61B0Je+zuqEx9ACxTht76lj4T9tR3PAHrVBVPaLQrfzkq2htWpH26vaF7llDP
lFEloyhvyOvmdaWJkur044Y8v0MG1/uYdCTtsObaB3sq79YmKWA9kIYQWkokoPy2r17w2ZuRbuxo
/cE/UfzwBlN9sHo1/18MvuEBrrPy2ZqN8Q8uPD0K2rke/Qpr2w/rQE0UGXSapyXLUXvv6ZGMVdTf
eQAPTre3Urrc7fokoJ1CC8SPHNHN+gxNtKvB3GTTz+Q2eTT0l7Sui8fEcKJz21viBap45T9PzY+q
PDvBmM1jR58IjBWDyBvTra6LUUkSWp25rl9KiMSDyllznzfCCCHYbA/izL2lEvVR2pAzacwaXy9V
Se1+sYnVwfDr1v0Iz4+vz1F7qoy4k61G3a/7qg3TpB/C25u85wCYdaQpIlnbIOC9tjwyntCsXL0T
9prAm+ek9FWvag68954ZQltZuqP+9obbqynNLC2FbMPnpfm/GmGFi4Bd8yBQ2bsRRBCSk5VmBSu6
XkybMFcSR7CTrWbzUpe5dRFdqVwcoVSAty0RZJFSH1yI3ZXxHHFOoe55I6zVCwPp+JSV0SQsTpPO
LPq4ej9uf6W9hfEYwf4GyTvlue1XqpXEo7EEx4yu0oGpp96HsrMLCNc7Py1QdR/qdDjwLzsrk4+f
BP8yhv+GwBfma7VWF4VpCGsYRt9BFP6xndP5AKS9b0aii8kAABhu1pYmsdIoBeV7V+uUn2Kxis+a
cI6a67tWaCIDA8edAGG4PhpJadCjyJnjd4St3NmxsmR+MwzmwQnceecg8pZafRTZQJdtFmOWY61m
A105y8nM50pTvkdw+cJbbzwUALTe9+34TZ0RdtBH96hcs/P0wPBIa0ny1kNMuFmiJsBIlFEsqdhi
77HqGrhlzdye/VabTefgcOwag45XjnnxBm0brQ1s1a2Zyq5PuXgvatQ7oW6VdI/VQdRzePv47xpj
N/l6DO4SAV5/vLGL4wXIpXOqG/ET59j8heooagdrepQG7B0TjVkBhFdgCYTv7NqS2SkVRAkR7Y2y
ac8wlEyrv6xiOWpx7vDmGXhCeDRkLVzyL1wbKiaVUl7Dx1Jb+CvFoidPo6i6MF2c8a6oGec7FdNq
nBo7RWFxHmP9ZYSh/5xSqo+DdioaZiNtWLxPt7d69wADLaaugsYLFYbr36VB+a+sAwM/Ok/rt7xN
hgcyZjH4zTxEZ/bD9SCqgZnObww1TwM7L0VzEH/vfW4qjoBuZGGX6ffr31BnDdPveQv6gkTgHZP+
w1PW2vO5nfTDWHvHswLLh0UFmCZlsm2sraVWNBjUNyjiJu593dfKZbGGNrA5cn/DHTgHepx2f3Ce
SdklJo1I/g3zhprZnaOUYAzzzl6+6BPitZ5WDN9KEpo/uKeUpynIuWi2gZy63ssWzHMBjzROQYed
24/0yPkv14uyugxNq5rn26dn7/pA18t8q1TOAZtwbW004yWLY05PAlY7fylcAW+12TjLH0xtkHBC
zQCeiAOy9QgDZDAKGRQjY6t477Sa+28D2c9/t1cjf+0mAEXdjLElmAhlOXqzmri3vTaK8HEqpeFH
qOy1l4jpwCBJ9aHypzk9ypL2Dr5JmVHWHyjdbFmvUG6OPTCEcCF4rX02SlB1Wd4P56GK8j+4YzSR
+erQ68j6wPWXEkM1akhpgOmwhX5flWt1GuM4OtducgRu2nMpr01trrPRmk7dNh4UbwbjCr1N28Ke
+689WprwO8+eP63aGiZm2/tl5oiD1snekQS7BzMa8EAc7iaZr/vM0i26XyezM60POQMo53Iq+4Mo
cO/LkYsRKlHJ5BNKN/M6FyvIoacMqEW+xO3dEi2IrYNYfIJcfDrfPpV7GDagdJSpaLHJlHbz6bK4
BkLfxPapU+FYDfRmit57NG/nO3pDw39KT5s8GJsYHz3HVJSf7TVGPgV9jbrx7cXWvgLyny961Uw/
pt5U6oMfuLfjjLmDD2DUiSxq87075poKzZCtALMUn5ca2Ae43z/A0aDiQRkN9JPMEY3rHY8TEbm5
xjD90GpR6Jjd/2q1Ue5ibf0TFyqnJAkeASVRMb+2RFQ+W5MOWhJGYuQs7LKF86BQNaRJc1v3DkgC
dk8S5TpNg2qLzGzjsPWxmoWWSyI6q0m+eZQK77JC1T/lUWEfVKv33j7JgEL1AE4CyFavF6YyapH0
pQTOMFwa6mS9J5Rnug9z675MzjQ/KHaifL59euX/c+tTJe8ToiBS529bltSWKjEZreE6tn3yNFvC
8fGuovIbr1NPohuPcHK7BglIyJ1+gUY2+xmhtuCW9QzJHWrqUIJo3vfGYdRn7AwUMmrjqGW0u6m/
qJA5GNLu9aZCmaN4i0rPLS76/rkweuuzppTDeVyNAhaUJlWDHha8o4By99K9MrtxChazrj26TTjZ
SdWDNi0ErTFxNOa3v5k8TwBgaHNsOwGlYSt6IqkdKnINkk5LWyiiQTodMOySjgHpIYTot0/M3oWQ
9Nnar7QNh3K9oXmbdyO4H5qYiWk/d0tphPFkOu9y100PHsW9TQQdyqAAsRLd2o2pWEVjZKYhdbKG
NE/8UgXZ5cOecJiq7R0SSlsILxHCMh60MbTQf6q0kon3bqyR/Kjtfj1H2tSIcNYruh2F54be0PT/
3N7KvZfYARVLVAOEiiT1eisHUD5xTnp1ShhuuWRu3/9vbTPQGUlqPFqGYp9tkBQBJPMtk7Cmd+Bv
dpMeh1BKUpVSMtkm4ZC62RW5OQh3fRosshqtfrGSVUoBTr3WnmxjsD+BHlJW3xwmoJgTYPnJF4Nr
VoE9WmnrI5YyANxW9fLgBd/7JDyreCYZ8qE6d703sGjznQsZe9WF8QTYOz6TQOcnr1erzF+dRjtB
GVQfbMmuVYAd/MEZgkC9tsoI/jgNPSFmZqiyvlgbP7N8zh4hd1yf65RiHLOXR7Sje3h83K8mafBU
OfW4OQf0pdCYgm/vlAAHO8Pg1gVd1SYvUMM4QQKw+KsHgO+p4tlDI0K1iRqi9G+3g5vr9oHcu3By
NolDAR7L3IYKupPYowoN6Kkak+hC5gB9nWoc5ZP7VpjLh1+Y4up2DEqZC3C9A0m9Pa3ZvaFPxZOd
WcqBn5IedvuySbYbzhDddAAf159yzhTDaGW24E1FRw3Gti/ZnM+XKdPX+35war+OoMW3M6Febu/i
DgWW7J8zYUWmAn5vm8Q6gwZLrchdrObDi+4qahAV5fIFrvhpCBVGwYdLnhu68EfLnZ4QOM0heJMf
vJytF7PRsiNM7t65JnEiqSaCoaq3CS3qqIHzoXMcopho+W7Mqp6CBHNRb9EFtLcPtb06KEfr+h/c
JxJCaqSUs+n5b24xUsGaEa9SAiEqh+xZEV1xyuJOec67rPsXkpXBeVGT2PyT9cocQ1ep50j1yOuP
T5SVWt3Eeqco8qx3hVk6lzHT7e6jCSvbiz136EhajXGQ3Oy8x6D/cVggcuX0rjz5r9IOUJOOEHHl
nlAorB+jKupO2lqWP7pW+ZvZZf3A3M77gdIBySnaGZpkDb42t+R13lCO4pwNhv1SLG10mpk6/WZH
lbEEy+iZj9DZaJ+8SirFr8oR9/TecinU/JpC4JhvOTyXoo0VvTBd2ZiNhK+McBr4OeXUb2s7eDK6
ctcfB3dL5oeba00uDjhAcp9Zb+5WWy6wsbS9c5o7kXzpmlG/OFMevzCaY/9I86H0F7sXtZ9ayndj
MfoTtP36gZvccS38BpA6EP0C/d72vjs7Q3lhXqh/OtV6IWOHeIBhtbtodRDqtpnLY1TdKc95W2YH
Xm0n+iKRo8MviR2Y6t0c7KG0bFDUmF7KdPnY9ML9Qu/avddWz/3vYKvlaX2z1QCr6W/I7s0WPVMa
FEASmE9OoyeyZyIC76ejl0xgeImO4myUaXpNYJC3z84UK8Jf1ErVz2nM7/MrNevqEB1xC7bFrkxw
da0ujj7E/i/kJFBI4OHc9pFtZUjKIU+h6I2cpUAOpy+fqCUbB7HInhmKZxIfwn/oGFzfs8aqS7VO
OXNalCT1aUlroHRNsRZ/3d7xvfvEbgP/AmtAwrmJPqyhznrPgLQMLFgeB9qQNZ/UTo/8nrwF0pf4
4217u+ti7gV6B9St8ZfX69KMvFpcl/g6dZfqH7AH6g/HHo6QL7urkqgokMisacuM3YnKVBcHiqdy
Xadns87ogEDPfWoUp/8Al8XRFdl56yAuMLmXFDwAUWyuSO3SAcyy2TkJ5AOLwCwoG5+tws6SIFmH
Mr7UGsj20FTT5O/b+7lrmao1qa0j/9q8drZwrcXrSCNcJc8+LWYUf+Kt4GDqwubdLzXqh7WynG5b
3fNGdH0krwxdwTelw2auCzPF/TH6ZTfzJXbnJT1TKeDtyQylOaepkfxM2tRLgiqC7+DAGe55JMpf
1LhAkoN722y3vWoV/N8Uz81Oa+g6qVX81atyb/HNuTmattk7S9SywAKBoEVbYXNDOs8aiN+IrPoi
yc8Ib+Z+ZC/NUxVH31fS+oOt3fugsH5RcSZqog21eWBdY5p0ursus6/G0xoZ7V01qO+tpWou3gKY
vR2aIxzovkkyXmgCSAW2Ay1RodglVUIkhaAdA+g0NUzJ9+4Ce+PqfavtrHxEOMk6QCbvWZVsQWAr
2Fau6bUn0AsXNbhEpc1kUKQolUQJFSvu7+M1877biJwEyEUdkr3sfc1XVrdxsg3VMCRntCeUpVNf
PJjBzq07uhDUcgICop5J94dBp5php/azog/muYHP8aT102pD2AT60U5U4zPb2P0VZ/XyjLZA/3L7
eu05STi3pAASKoE899dbYyhL3NV0I07JHK+X2quiZwbKxOW2lb1bBJ23vMcur8w2J2qXSM0tmkEn
hBFANpeVGai5rZ4I3/rz75tiSoMyI302CuTyq7wKUjUV8SavR4tL80ZkpZXM9DPqYBdIqdKD+7O3
d2AVJOQRotM3ghqlTXxW5S5Q36zIz6hUKedCd8aDw7u3d3Iw6xeCEyiB/BWvFjRnOdLYhqy1lctP
kHnxnd6u3ygIH2FL9gyRSRJQ6VJreCu+J1RtEEUDbE1p6aBFuTEFZgXPUx6Tp//2R0K7iCkFenek
TdteV7XmWTFKzGPNsOgjRPl5qINHDxhh/AMHTnhHZMMWkrRseQ5MPTeZbQdUv6ZpBF39kJ9r6uvf
V2jlf/+toLzmAo6jE0GvYPOl4hE2gYkBXwIcR1yo7iehk8J20GXaUd13r7hF6ifncySIBYKc61NB
CpRoeSacU5Gp9UXTGyVIUZ0MlzEe/IpKczDnThN27rj40RIzZldqzSVZ58pP1GG57yqrOIDW7Pg7
Ol+Im0pqcLrAm+dkcaui1SuWrw5pc+qpoJ2mWiM01u00sKbhiIp21x7cIDRLbYamt3ErTza6aQ04
jWRSlMqXPE9hDoPGl8WIjLsoafWDAHbngjBWQ5kBWXOmt7e6GUNnQIc4EgApk5h+Zlkd309EAuFU
es0BsudXm2eTnVA/MmVpWJNJ8GYz86mIQO/xZClaPdpB3bO1z4rWdrBz0WT/kOWK/V+qd+1wUnCn
kb8SVMMCA5dVwxxhNo/+YpErnpBRYSR56hzxkTBYc8JkbUvV7yxvfRETYMdArPr4OWM6ovLXuGDy
nTmepPULwvgkKE2les4KyUSiqkOv+3GMesiPWptVy48L+C3OCfF8zCBuM1LOa5r2Q7GK4ac+t4Xi
98KG3mxZKrUJ1Lavl8BImvzDtNaDuECxZ6hhJjpdOdlt2f6VZbr179rU9sekjL2PbRK166mDhuyo
syBvx/XuykaeRpoKMIK/ZcDwyqeaA6QkljaCU3B18U/XLAjppFZ/aSyrungOfJ3CI7Dts0jjOVQ/
3fZ+bw+utM7rRAgkCVg2T9SAElIkcnl3uyh+N3ui73wyUeudbY2dGUyJ7v74A4tAjNAGg9WYF/h6
vfnCudEchpldHPKzDRwkWGyjftGcRISd6N0DT/g24KLESo5icjt/Qfqu7dWelejLSK+vR/YNbpOk
Pxu62wc1mgEkz9pyzpinOtjWt9cTo/SJYB5n7Be8xrVRL8/i0sDrnezOLr70a6pThhyt5wgI8cGb
LD359vxIgW1qjtSRgYBem4qzQZmWiNQy4TIGZapE7+NMtQ7Ki3vn5LUV+StendJ0Mea0simcC6S2
H4qmGp6gdCoCdJ1hLjbgRfqTz0YnClwfAzg8m9cGI1crlAkPT/La92Gtr0UAwny+FFkL8JPp1/sM
gcrfjgX4bBKNKVFwslN0bZSpTsNi1IfuVJ90H20zjfwhGsuXqTmcUtk7IVCEMWwBVSmFiE0yVzdD
3ykW134wK1hMzLEJ4Ji0fVhjjtiO924AAsqSMAWGJZ7q61WRWUhCDJBecY+UcjVaXkDsEH2Gul28
s9fJ8m23PBp53zswv6bNKZjSGNiGVenaGO2qs5UpKMLpMmtp+2EsXD2EQ6Dpg8ao4Cm47Vl21ynZ
RXgVYepyN55Uheej71yQhU2T6vcIw44nZhibp3Jh+sdAmOMCX0F9+ROjpORycJcy6eb6mb2bwo0E
/qUr1Jqh/v7b4BF3J4rSB8qST0FeaUcL3e4t09ByQobQjglw3Pbm7EA+w+Rinq8hRdjq1OUxquZR
lQSiFPNJL731oCq3faJ+2SNoZSaAejCx6/UBivLOU5cxXcMp79sPst10yfJp+JZHS/MAiNC9iCxW
P3hNHQW61sD9c3uP99bLknkdJRPPG2/qiCGpdHtmvU7yzcna+UPKuLlvm9N9aSTTz9vW9lZLfQeZ
TPw3qOLN7gpS0zWhrxTGkW6i6NwkD5mo1OosuqX5S1VEH2ra0n6Nhrl46mdX/3bb/u5q6RQzd8uM
HBH89W6jCKiMbTeuIQUKF0oKKz+ZSV+8swdN85VlOBrdfEMvIj8vRIHwlFHDozkvf9Ar3z6hvjhG
JrOUeV9pd+u0Oj9kUnbphl4LzaWcTopQ9HBYGvXR1PLkrwTw2kFUsHWH/AbujgMsAPpb8KibB3Om
odHxkdfQLLzlNAGmCDIrK4KMYaXw9v7umuIkkR8A06Jkf73cdYpLvaZfEsKZMjybSaGe+0oVn8e5
Ohp43DHFdeGSkl/SbN7CGtc+tdyuQwYEfKP90TZKZsymPHssc+Vg/7a+j/2jYgJTFW8J6KKtmuwY
ZwogjlgN9cJOToq6wgs4L8r3mLD+OYOC0vArs+wOooK99dkk6YSm/OHZvN5KQzAkVCFDFjqd6gQR
7DR+RAP0vskO5Qj3Tim4Iu4FGAqGE7crjHqWaGnKGo6eHPuYnXmhMJDZdyU9j6+LkRf/ru7iQNJr
6WdtFa4KSQ5MjQe+aGejJU+qHNcFKfNmaANFkMFte0UN+3z6osSm8mBVaNpkU7Wck3WkN8P06VGT
dWefiV9lEQmCRAZT5L+/uqFraRW6WsRaSHqiXbQ4Vs6JNacfZzLfg/dsx/uRTNFCAC1A7Xc7W1dW
FN01O9fCSGvc0OWvi6tBRp2W+hI2hhiePBfqRAQ6qlM9zPlB4v52pZJwg/FBhM6lH9hcTkOpZ1Wx
Ki1s0Tw5zWWc/BN7RXta4nW9v+0H3vpZOfZM0iXVJqhbbNxeWrZZi7aIFpaAkgKnLIaHQdXXByE8
4Rtt13++be/tzmoqwgU6BU4O8g7jWstYIQTq4cxAmN+q03jXOf2/xiDyF0urxaPSedqDypf2V1EV
p9vWdzZW0l4SbTKjT7l786rpURHFtTlOIYzx1aOSJv+VVhO/OF2unm9b2lkn0QksVSYJlWwhXB/W
xR4Wd3FxRXOrz2GNpOBHSPmX+9iqKHgvffdYxwheKnpWn8xs8g7KFb8GNV4nRPS+8LWQtnBSAa5u
4ShDQ1O+q8YltHM9MS6GHeWqT8anQ2Zux8m7jmKEFyDfpf/rCq2bzrIbmAWp2mcfClKn8n2LSGfm
J3rsiaC3UnR+5NjJ8tgTq4vHwS57aliQWKX3RZdFrd80LpWu3BmiS1FOlTj4dG9dDs0JmsN0sFgb
3YrrDaUx3mhxX3P7I7e+mK07h5pQ5eZRNylikeINo9r+efsz7lvlBuqSZvGN0FHZFnBdq1hNy0G/
MG43XfplmJ+9per/a2fS9nKskv/dNrpzSgEcu5ILFIZtChPXS7UnpfIWVBZCq4h6H6EN496xqjmc
O9c+OKa7phxaaS50hCqVy2tToPyM1u4dNUw7YV4EMOgAH6wE8EuWBx9w2zeUJ5LomZwEO2BzNqYg
YC6rOsnVsLTdPDDSbLnYkZv6quLa773IU0I7bR+p37fh728n8RzRHRC7t2OhE+pqiwDyF1bwnQYo
OhUXLXEQe9Os+ODa7bzP3DYeaPlE0b/ZajMIPDq4mYwIhOmae5B1X5fVa89lRa8jV+fmrm/79mE2
gMb7VZs1AajL/mC9Oy6dG0/2DjCevGgLs0yd2GaesuX4qEhfZ0M5PKRjlvzbggZ7qhtIXw6igR2D
kl1FEvyCDQIpf32IDDeOdaNplnAw5/pTXGdUuOO4uk9RiAsVUtADe28vpRxxpKFE5EKvdKvBkdvU
42i6q6Frp/GjUrkDSDYjgpchsbtzXczjp6Vz9E+3j9Hb80uwI0X0HOIeOpfS478KP8yhN9ykZlsH
sEaBLGwhTK9UX5KqrR6ZLvle1RJ4ZikHDcG3VxRfQJeJzeVzkn5e2zVygrql5cXUrc77kPc5Ddo8
LR7SvEgOrujOxl6Z2lzReB7MLK/xBp6blWDZYK8sYst9r7bGdF4jIQLNWPuDCGR3fSCMVMa2JdHY
BhXCEIvRJIKvqdVm9g/46/KHY/GeTEnpHdyMt6bIJ3Fyki+OoeZt9DwJO7b6bmnDgbgvWCgUvVv1
5KMpHOW3/SrQCI4L+G6uIZjl648Gk0Zqd+3a8lq1RVDC2HmuO9f0nVRRPt4+l28jDYnCwNdw5yW/
xea1EClUiQywYcrRh3sxjb2vOG151mYQKILz6C8Vonkw6DAFv/y+ACscRKoJly2VHxAwjOVdL3Ua
yrWG9LQL1TVt7vtqtr8ko2P4FIu051rvq4AgqburCjF84BFdzz0TlacRuEERxDMdjwPvsPeRQbhr
Mq6ViO6NN3IhfG4jmNPDUqwTzC2l+pnmCF0vzT0Sa3t7X1yNd5OUFqdAyXRzdO3Rjkpjjaowtowq
gODyx2QL7yEb+y6sR2P9mCz9EdPaWzckbRJZyvhVxpfX260WTtQUBHdhrkSxlIfWfVsZl3dLXgyn
VCoENsuin70uOVKafevmIcSAfp+vzYwbDdxryyvwxris9Dqsi8QictW0e5G580UZ0EhcCZQ+3D7Y
e7tLeomvJ2SQENdre0VWRXWvmXVolZMbpqqTB1CEpaG7duZd1uZ/U808arnvrZGiIlPmkioTx3tt
MydoJ+RT6zCqZz3InCYBZ5RwmdQ5C+LatX/b+XFzXtnb+InJcjqvTrU6nE2R+nojnHf10lcX1RX2
QWyyuzSKXGg38HCSG1wvrVbyTkTdVIdmY44+ZKAUESqhvM9hzfA94f1+BY+lkf5A1ksgwtDQtb2l
7oqEHIWtnPP4zs3rn2Neo07cQlnZDpZ3sJN79+IXqgCJCOLmrcftdLs1cneoQgjQrC8xHf/Ac9L0
VKMJduoazXlndW0e5JlRHrwqciHXqRZNOrj7WQzEb7QWrhdqMvBcFAzuhEmUdO8ZUl+e7HLMD6pM
bwAG+NlXZkCEXJuJhTAWbbGqkLZ+CstzH58Ms+2e3Cj+ECFZ/JA4ZRIm4KODNmY6K8nYbXMapif0
5XrC+tk8mFXcO1H0hwj9mCWCcn/zhVtXkGv3Dszz6zKFTdY34dohcq4263R2k/6oZrlrzyNEYEJa
lko3J7gbbCROmccJW93Nf5Tq6PwjdH1Sg3HpytxP0nr897YL2rdI0sILLguLGxdkZ11Pms6nnZvO
9Ftqe+GQRs1ZM5cYFLp7NNe+83bBNmTJshr8IaS519+4X0ygv7ZZhVrp6ifEkd3AXb3qXoimPzhP
e95Vlkl5TGgWwYR8bcod6hlGEpeP5ybeO3NaplNT1c5fUVdOT/CA4fOWAfDb7Q3dsQoBF20pGFcl
q9NmQ0eKkc48GnUIe253X8+jcleOfRzUBPzBUNtakNGtOjAqL+DmgkpCC/gLf3WotgyQGcDcbPWK
Juw1Z6SiYUbv8sr8YY3GcEJeZXpILD3+JWDz2E1acXBLdpYMoxMFJ14TMvoty2UHLdE6GXCaaVM0
BFXDyMDkxRCl62P+ybFbLUhN/UgA8s2MF680dESk3Ibktn2z0VVFZc02hHsCIyzskE4KI/59M1rf
iY3N+7g3oiUskZR7X85Ahh+XrI/+8eo4FafZVpSDt2e7B/LXSO8IzxQQQIA/14dtMWl3lrnuSu3J
5T7rhiFc2yYLrb7t6KfBbhrV5dFE1tYvY5TYG6VUKjdAArY8IrDEKlaSF9HJSZLqC7td/b20h+Ph
28P1ywoAJBC7lFDfgPS0yKMGNpYRTDil8aQrivm19LzuFBnxcI9kWXHuDGH5fZrWj9XoHjiorcOQ
1qloyhqxKQkI5Ma/SkqNYbCQjDe9UzyI9SmpjAcjVscHMVGsvn1z9ywREVG3AYggZ2GuLc1tbUyw
U7gnQdYz+VZFScp33ab5qlZrdQDn2DUGFkeOUP+ab9oYazxrWlcdZLu15l1gRnYbTHRGs8DQ1+XT
7ZXtnRM5hPv/xjbvd+etw6IMIMrbXgggz257cYDJXP7AiswGaY4QFm1bCpW9GFo0SsQtQzVnPe2s
u8TtnY+3rexuHIAQOtS8E5z/641zJoHuKrj5E3yH5Ydoij+DhxvOC0q9B+t5U+qSR0+yZILtIQF9
04qC8sLRM2EwuwpKlYKoUXxrzMoLeESGR9EmWtBEsGlDT9tdjHZ0XwiUfhe9/us3/MJzgG2iZrqJ
CCbRlKnbgc+HODJ9mPVc81Wtse8hvF5OWqysD0pvTgcv5zYowCjRF7MeANhx6dsx6t7OzERNM5yZ
LYZTqbbdFGQVnjSK9PaikNIefNQ9g4TQsrlI4RSqhuuPykRLlObQP9GBjhh1apgqZbv1k7vayoOW
HWqR7hwirAGjghGUUGtL0jDGhcgG04NMuNfqO0eU40NiLvbZIWo/2MtdU7xQVH9wLShyXi+tisbC
qybXPUX6VJ00Q6h+Qzn63JgM+P321aAeKom85YgZUM1rU91skwUUI6vKmuk+EfF3wTDAB60jEbpt
aedJYKYZdh1opaAN2gY5faaMGpow8Ai0hf1hGfX2b/rBKXNsVvWJNNZ+rKI1DtR4iqh5T/GB+R1/
htI0t5J2CWx0W1CVPsZpWmkgnZolyj4Z+dI9Tm5+FMntWaHHTu2D15V668bTJOgVOfOMP/NKxpob
U/G+6rknDh6CvaMPDI37xjivRBZdfzRhV7bVwsly6tup/Ktvy+Q+jbMxMLvBvdNo2wW//+lAgMoO
BePU8Hdc2xsQHXVWi6Zr0Y3DpXRt8aOxhP4CC7ye+ICe87M9utW7yB6avyuni4+kWN6kedK7SJJM
OebK5XtTZk4nz6bI652YvFfj82S1URA1Q/EdWLn6uU1Edc60eOpOvbDNGZGbrg8RQPT+opVbQpft
pc6X1IvHg0O1d1Ed0mrEBGQu9IYfIaK511erB/HrapyZnVl814is+4Zu4MFF3QkWuTpgYlGNo8+3
hY2asepm8FJ4p7WBcgAvJ7wPSzK4mm/F1vAsss4Ih8aav9/+9Ls7D9QJjLNs+4PmuP72+FjD7Zi1
PhV1kn7OGj25g7lKvGdMPX5oOzVffGPWpX66UGM/Vq3qc9qj4A7if1wp7apD/V21yugIP7OzH1w0
Cppgg3h5tpWNIjaLYYga7+S2Wu337Nvd2mEwWShyCq2vU79F6fV8ezt2Pjh+GdURWdyUFZzr3bBE
k8c5nfwTw5QrmYIBKbtljYgLz+vptqkdf0nhBGSHjXYM51/+lFdB7GSBVNdK3rcpVdoQ6W0wD3Yn
mKnO+6AnRbi3i+qz2ZRFWK4QWt62vuPIOGZMT+LHSEq33as67vrM9hLvBFjRuGvRdSdPnJIDx7K3
nQh7wvEh+WXICa7XaI72akQ5byoT8/+rrCr+HHMGH5FOPRqC2nGZgK0kRFAS4RKkXVtq0iaeq5I9
HEGtBXUDh00NxWrgrJ3U926yu9v7t2eP+Xgeb9JMplA376qaNmWrGp0HTqUvGVHPP3Vd3FyUpq4C
URRHbeRf3b3X2TwHBAlY2f2Dq5+i02Z93RjnfKTWOw0Vg7Zpko7wMjtd0Oi6eFg6Zb1LGnf0WyQm
fSn966cw574rDI6tN3X23WDZP2DZ04PZpoCOHt90sCF7nxr34XB3+AL0ZK4/gD6AS/W8wmOkMjU4
zrH9oS3Nwge0GIW39/7I1GYvCl7NrqwwNRVqeZ9pTknDzkhfLJ3p8dumdq4JcT7hLiOD9Hq3XiiJ
kyGbIPw4NWYeX8y1ot27KvXBNdk5TORH0EfCOgBf15ZIIwbu2wtEQ6F6Vfiu1erGvhN3WijMiZml
3rX/u72sbdlYuhuwD7+KbSowiE3yR9d1jWwb1qoI9d3PmkstyomKd4pIl38WSn/PcCz0frWmxcFK
dz4dERolvl/oHEaKNqektkvdmyxWKmUMXCgOfI9G+rMZN+VBBWp3jZJxCYNSNFBu+iv/miwLZVM9
jk4jXDs/Gb6Aby1R1KqBSrrJ/lmsWH92WiW6b5u+Pd/e391lIjIsx+JAmGwHXaTgjeFADUKAn+lf
mgWM0eJaUeF79Xg0RLRnC78ngRcQIIPjvV5nnTnGYs82nsEtdR91VPchy/MHd2W06fdXRdFFZoH0
kwnVri2hzjD/H2df1iOnrnb9i5CYwbdQ1NBjks58g9IZbMBgjCfg13+L/eqT0tWlLuXoSPtc7Oy4
APvxM6wBdeZYQwitkV6FVg9gicb2wpSss81y5Yq6VGsD8LCZhUDoZxNuermenzQwJ85ZvXNWoFVJ
+kR/S8PWwAUs9wtv7UDnqdPPq5YcBi19XA6DGq9s2AsBAL9hg1uAnr414V/+BlbTGCSwAc8MH50v
kH+Wn6Sark1vLyQ76OxjNIzG3X+8vper4OL0RCoyNO1s77dV3jMBVl2yqXUHuxiaQsneC1Twr16p
CANomGCPop2BjPNcdtEPRdc1sV/v1mBKviW+Sz+2jn78513zYpGzr0haNqxjgEXmSNWgm+CwhYLR
fS+d+/P2Uq80of7vgTZ+LeTbIX14Fl461dddFpktrtH+p8k0/xSG3foj8NLmZvHm7iBd1H6mYTuX
ANaN7Eblk+gL7QMCb+0irm2f7eHOrm2kCOiZoP0LJPj5aMNzLDLxGtQ7w4L2gMbtvIdl3mbDVMuC
y2saKpf20SYphup0m8+f1yv5EtgEDgNYLqSs7ooJRCNToDm22hPmZPm72aJH9QDghLqWoVwIQ4Dt
IWXHSUG/5tUMeYhnAn6Gt8vrGHAkKN8/NZJLWGh1S/zvucZ/03EoiG9ok/N+n+dl3LlIw7udB6JU
nfTRBG5k5YK+Ob29pS59wG0Q//+XOjv/ASj1uVDO27Ghj3Z8JmYPZVK7J57R5YDy7Mp6l14jPAA3
dAkkMYA6fBkJAiJrJ5PF2wW+mXcSGh8gu6zLQx+Y9PPbj3ap9Nu6XRgSbL5yr6DlNmNUByE+2ULE
8mONIA5aRP70w0hIE89hGj5tFTs0fTkroJeRnSB1EhfSByhWoYGE9mMsd2//pkuve8O5ogUXgZ16
7iUe1drjmed7O5URMLdAOLSPEmZtxQBZhxPYuuZfrdq3kJFtUB4Umij1z/EdCx+l5y/CQx+800ii
M9htGTtWcMN6WEnS/w/REI0O6A6hd4tG0tn3bUyNOULQ4p3nQ39sewM/mRy0l2azw377XV7aShnI
PTiUAA+/mnUiG+861yIYgitef+Kt+ArcCtkHGf1fNi2gl+BEYPiGVOss7AakXfsmnb3dOofZ18Wy
91M8uV3ThNc4y9vfdB5PAaoAhh5gIEBOt2f+K6lbMtaNC8H+6OZQ7cYuVkXtzdfe3KVdiA4wGEl4
cfkr/XhUlysaPDiEcbpMh1w59wWowLrwuO72tANP+u0vdfGp0AoG8wJY4ey8GPf8zCxuE2c0nfB3
c9bK92ZpgUN/e5nXGwI1DEAEQDKBw/WqpeKv0CccvJZWCUvFFz4BN1yOwyLed2wd1ZXE6cJiSJjA
f8JthP873xOzDme4cAparUG/lpEm5ODDwa60WeiuZPpb3vlyU0CUDO4LwGRs0u7nGJERKgMgXsQ4
Uy7KnkFao4dhdL4qYCNpTgzw3WMgE5MUaxKTuaijxV051a8/IH7BxpkBdeU/MtvLbQnLk5A5SRC1
Z8dvZ90HN+0A0fy3v9/rbbmtsjFrN0o7hl0vV4msXlQ7cQrIDe3LwGv6bxAS5W3F5Oh99IKhCXdv
r3jxIyIlhfbxBgU571HVywhbpk5TdKAmcmrXpoYEhIwrhtHGP9/peLi/ljp7OLNQJ0g80WoSHd/p
ZNB3Y42KKaRp/eHtp7r4tVJI1mPThEgkzvoHsBgI85YZWqk5hw91oNSTT8k1bd1L7w4DpS3Wb/2Q
czqTkTEZUgZxV9FM5MCS8Sftqd03Gfyh336eiyshcgB8jyTzFdZiqqM1iuaagqbZ0FMa1P6HYWx6
UfiNcP/DWgD4b0xc3Jq4w17uwSBvWn/WnreTqW92DFi6o1rUXKUA9P3zlAyCKlu9iW8EFYBzAci4
j0a2eJptXZD+uNKIHqdAwm4qma9hZS7tCFzIwPL+15s4N4DxU0cDYUJWgYmqK63mYNOvk/u3v9PF
VdDR3lr8wEmfs09Frps8YxOrapJq2Mg5ed9N+Xplle2gnEXDDTiKxjI6yxs39OUXsjNhDjP9psKA
n95pGOrsI89llex7fgAOKX33z08F6gf6Vxj7gX1xDs1tazukNUsZtkCXHsOhNU/MDNci0evKZmMj
wc0C5LkNunXWXow9j8poIk0lgjoqzRTZMgVMGBT71nsXtrSpGqTOVy6WC6/yxaJngYJ2vaSWZU2V
TkIATjDYd4NS5qSaSNIiH2d9hQJ5YYdATRlUC1xlmECf+3YYFyqMXRDRe6WiEp+SnCDleM3u6EJj
ZRPa22w7IESHLX+2RVqxKU1AcbvyIM4E2bAOOvPZVFcCkaRMWy882WGgB8hVNbcTiUFsCTtXvb1t
LgQt8L1Rd2RQWd28TV9uU/J/1ni0A4JSuBJqf+k+1159gG4z+frvS6G0RhzG3QwEw9ln5ApTN1AC
2qr2++k0zl5TrMG4lmrK8ytX9NZsOzt8m10XWpwglmJguP37v/JT8PjCXjAOwwybLzcZrs33MCDp
Dho36aP0t76DFbzB6+4hmPD2Y17YrVgbeCD8D6ZH518VUrlZQJO+qzzqpVW0zqKAnnxQRhIXeDi6
axKgl77g3+ttR/avZ5W07pckxnrgCKsyb50ocxpPt6GJ+JWq+MLpR1NnQ54AzYhULny5VO567fOI
tFW4Mv/H3GOuP8e8fS+bOBsKjgbgd1R2/eHtF3rxAVEcYhqIqPOKN2tw6JMWahuVTACXxJ/jR2BE
ghsiDbvygJeWQvzcZIowaEYJ9fIBfbUVIpLg27nG7WraNp9Db5KHCWLLV5a69C6R94BojZ44oFlb
DPrrs4mp55PCkLGCwwPkynIp9tSHFQpbbPy4uk4cUvATrqRcl/bm34tuz//XoplOIg9WIDgXmT/e
pJoG5dhwcSOMaW5yq6/p3uDyuficGyMGOTPe7LlgobJO0a6eIVsMXwEbFYhEAS3cCE+ZQrGgh1pL
7desrKN5USX6C0TuDJUi3nlzG+4oLDHmItLrnBay9eRTgM5EDRHHSIrCORefesDnJNReJR+LDFDe
P5OXgug5LDF9XjKAjMuMzKQvlCASpr8E+uTFGGcahmTwtnLl0ixygGYLa7BOw2Z3BJpxGLHbdPTd
8k72p9nWuduF2kS6NCP+JBbqIDLHekCVCjeN3dFPul6V/UjDrw1C6bTTmi0PIJXS9mCo8b4nS0KO
Q0o7VQRz0+QHiqeuQtMAMq/FbMISeSlTVUw0g/MDvLd2o9cqsCPUFGBuiFd48pWgfQGqM1SRHAFp
ulCQDblXDYv/tJBdm8oB4pC/MweD3FPXC/1Yx9TFuzheoo9Z37b+ycMgDcMei7hfLALFy6Fecv5k
aQD5oznzm9s1b4J4H4ee+onhardVAprfmFZn8e0o84YVLkytK+vYs6dujGTwkC+pf9elvotu2bzS
zwgH4Xu7Nu7H0Df8G2Qqpx8YoY0YqjV8gmR7kNzDJCoJUdmL8JtQXn8H68r43TAw9SvwMFMo/YYP
twuvawupOEQbFfjLI4BV03gwRrJ3rew8CjPsnjyPgGb4u1g3KS9taHu5sxJSlYUPTiQr1n7yfkoP
CVFhazUttwSExrH0oDTwTkeYKh7Xteau1NxEWTVH2YAGAPy0oF8czxj4KygG5AX48/pzwFT9ECyd
bnbTGOuvLfPmDfXSZbTMZ8vvJULV77Al4VI0I7CBRwtgx7NvHOtKKeYoug8NbeG1QTnkupK8G8wu
aET/xU6kFuVCVguwB9XjDkxEcbLRkMYwHKlBzxlXM3zilkJOQ8l61mWtJb4F5RIuJRiZxL9jOnBM
C8EgmorU0PlLCiP2+qbHYj+Bno36EoLQGDHiuqyTAjO35dlB1OG2G2T6C6IaAL10pF7Hqu+hLVR1
0Eroqigz4p0ikZcVyieTX9BUs71ClZsVbZ2YPyGKnl/MJ+7GJXXHD763hh911tOw9MSQKryT2i9H
ARsVmJrAIRevlTZLmY2cUCjeeo3aU2bnaef6Pmj2i28HAaHBsOtLCJuI5f3atGtacUfTHiIfIr2b
uDN5gVzU/0GdP6C/DmDNyUVhJ4pw7LqfVsKeq1j63oNfs6XP4HcvT4kOkVbF7bwEJUdlf6cURgAl
eDtN/NPPGpK9Wzpo/owowe0uzqQGgS8eZ1mu9Rq1A/yYxcj2C7BYDF8Dt245UIvhlzEprCIxIiPf
4tEL4vd1OEfQ/VYa+IBCZ87xkw2DEao9npJMF8CoJj96o0EDH7OUiz8YFgLUM4He6lejCMmjCVrj
D5DzZnVc4kfU4oZC7rErmkwz90C7YLUF5mHuLps6L4awogC4wHnT1H5NvBgDljkYBldOmZedwKaf
bGECX6kyw4FSH+0cR8tBTNR0hfPW5Desvug9dHhSFkHSMVje0Q5SCKV0CmcsH91MZZHxvvtBACWf
CqhImvZRQ/46nwohMxZ86HJkA+Wats2n0QQeKbK4sR3cfQKLyQf0BKBiMHoO0Ag1a7FjlEdRkS9s
aQ4ksuZLktA6LbKO5uFxXj0iik66jO37pZmD/bqCU7tfoHIb3i1g7/e/7RrQ+ima2KA+iFrETyuA
aZBzJrEWDwlQU829zqGQ9Yt7dTDcgtZI2EPmzzz8ChmbML/P7dgFOyTZ3odxZCNHQKBxCkiHingZ
pXMYlfHStc1BAXf3m/DM3CWuc/ooA8SYfTZCOe5IMiH7g2wMkxCokGIth7RN8REbT0HPOnX6ELHa
tfukG8E77evM/GZB40f3Lu37PzO8m1cAa1Mty64eTHjf9iv/NHqzrm9SCobTbkyb/ENm/KCv0Err
pz08iMSf1GRDitErWz7Bcs/y0lDnNXdMN3O6J/g90W41BIYz8RKM9MZPa5sXM5dec+ReDJFdk4On
D6EFpW6juEnoj0Vb0e6mIVnXXcz5OBa+Vl34QclmYO+wAWVXpjrinix7H9vtIetsCqnZJgPAlC88
JId07FJZtFMcabCVaJZ9wFjD82WZKtPD3VE33ryz0H+D9IjqpkXtOR5G3o+KAgvjN6bTfQn2qouK
ZjLpLSom2x+JXTOyb/wePrjcmw0S6RqWOnGVU9noX0200m86SlpV0kHmWSVMEn3ime+mu5aGOXwy
CRwbngDuStvdEKcQiId4oYmAXMxDZtYZIgVErUhJcoYr9N5mY+8BZAjLTUIhwcNm8ieIOPMfOQ98
+yXATJNVLV/BxJrRbUyifQoLy3w/qdTxDZaSThUE2UCNVRqCUNne9cEiv/oUsl5ewTCK7Pae8iyE
PIYYbrMH3bbdWMRA2rW/YVwAxTNczqt7lnDQkQf0op3+mHr+tJRqlAxREUJhwc5lgwA+jq0dLrpo
MQRHPhDRvs1NJjGkn6axEJjEuiJbs9H/Tpq8FcWmUhFBU3QeCUoFkMtKRK/BFZBdnMdyhgqyKmcY
TGSlH3aIANqHCQfcyODxeAcALIj5i63Zo7Fpv1TM1Au7D+dR3E4e5+2umSS/C0jn9cceip5+GThO
n22Lbwhxl7zjQNVhIFq2jQybSnNtSAHoR7LsmOnJfKNjBLliDalby5nP6usCIvOjHRYCrNSUzXVp
hsb4RQ308mmmW2qjukYjuNlQfzGWEQMR8ZRGRTvr5XGwOvEOYOiEtFwQUj8TN8GQAWr6/BFapwi5
PeajbBcgFHRFYuKweQcNGt9H3IfHc9FR3RB4qwcmkYhhOozLKQ7Xfq/hftnttOeGcL/U3MAOGcoh
fBdFy/Ko5mGKygAZdVMIls4xJE41tyXKzjTEZlwtfaAAybJfqm/1zEth6w5oNSTmQ5nwHFlw0EJR
q8CByNs9F3Oy3MFtQcUnFbMoPPIBRujHRAV6PFCv1vjtmCz1CwSzp56kH+W4pLJD3mNUTQBPkxkt
4jYZyL2MBdf3Y8tig982gtRShNm6xHmxxJknvyJHleOXTI6ifqx7QhEDfSTvDqZnSWfGW+vCFdVs
OGt9DOq0f6CY3NBdJjumT3GdKzrt8A+vgVE27RMUv4OyOwshqaFKvW7Cd2lzpGQIDn1c0ClA/xxU
YNUUC4F9aDFbk4tjhCatt4PibuQ+wD4x/hTgb1sPK0YztJi9cJqqHudg3If+kv+Am9NYF4EGbuMo
FYUysY5muCZHBKnjrYuJ+pitqHSqOHMZ8LMDhd5xmyg9PY6ae34xp9l/OD0NBfoMAYIVLU8UIpEH
rc77uWEehIhwtdhdMNXNz2TO8gXnpU2+h65OZOkyQt8r5CThDkOY+OilPjRIFk54VKKmYRpa40Ed
wtckVnfYf7WHjg64KwVBj+JRRUTMh0Hh3w05i7tdB7TUHyiiw7RqRKv0QxO7+Zt2ffsgeYRKsenA
mLvrRh4j/5A1TQpBnJFH5isKGKkAHyWsWW13adBFrIIWScwrMtrgU9KxbCp0vEgwIC0fHiHQDfaI
x+OJlIAuhu/kDGxjAYw10QfUXfLXuur+lpg8H49zz91XaAOR+3YhkNE3Fug1ZA8B/ovUkkUdmy7b
qy7yHod4MAjBLMpPBgZkvzpYuA3vc2fCR2zMaELpQL0njDsyuHT0vLvBxKP+FPder4oO9cSHuqsp
EvpmEh/xWDG7zdhAsUyT+4+zt5CgHLxA35N09kMkvGqtb1Mxx1+UjywWj1Iv+tguqYh2KkpA0UXJ
tn6BTjZOfETMEh9QBkz1SeaSZ8Xc4/vsclFPj+0ip6zoTEvBlRQWb9vHXXfru9D/OcS0wz0LFaZn
OHGEvzxBIQW1aNLez1riZsuN9ZuCW4SfCkch/trCJ32oJChxMMDVScLLhghIvS5Naw44dHotAtoE
p3wKqShDl1PInERclWT2bVhGsTZZ1UU2uBMN9ijENpO6L1rF176cbFYPR+LieADDEHqZVRK23g3q
CY/uUzGlP5nxMOZb7dQ3KKJX3uGGGXGHrNFA1AMyMdhI00ElwV7hBgCzDn2I33oRM6yFLOQPDl3S
1c96NS1qBdNGSQWkXpoWIsSkMkJxS4HxZeFUkMVLl6dI5QHyTVBsb8dQ4e/G0NvnUDwchrTs1oUf
VlO7uRiaPmo/GBv4P+HClJqSyqwb9n0y4/xPqJ9bnN8mVbgX0uBnlxFOdyIJkOR3dToEqOITDFPE
IMhc6pSHsFiLc9IVAWDzrmDzYOOSC+CMikzZDp7DzgGa5g0xALhSpT8sM9Nc4dqmChczl0EREF/G
BwGr5q4aZtnayiQZWM+N0KT0Blsv+MBQWTmyNhVtEUyTycs0pmx6mGs+PvRQxdAFGPIkv69R7h4t
76MvmMnWphBOCQUddRI9tQzopirxmnXH+HY3RCaEcZnvT0jrwxao43I2mfmQxgpkD5OyuL0ZJHqM
BShf8UfYMKnlqMaWfFmRP8KUngbfIf088Lu1geYI7tRVjqUbePQ+HOCV+q4d0vFHG3t82K/Ian/P
Ky7jkuMn/hGA0iKSwHr+3vVoOhXIEnVzXEJhOCrbtdflOAGGhVItSZBAJNN6n9BsxS5tYqQtw5p+
H4fZ0huuBpg3pS6PbQmYfYKmWZz0GSQdZoW9CtdP3GOp4uTBDG7J0MhBo+URym2dKYA0VO9D2tfr
3vmz+N13M6yr82QmSKnmOkE3KIjZ81aW4IZD2HZ71Lz2F26DoIHW0dBAXYYbvJU0n5t9ImdYis6L
W3c9FR65jTULH4GACp6Gkfis9O1iTuhsMpROWda+H+JkscUYQsGkSCEZGRd5wtWnoI6b5zCa4t96
1gQ96noUh1lDfqRE3YZ6PEYJnOAcEnnT5atVhR5yiGk1YuQ1gnqw/MYFkIuym4z7Hgnf4/gAhqL5
q7v8sd9kpTBOZf1PETvtDjAoUXKHdwox9JSm4Yd6FSHss+c16gtPQPL1EHEkBAXe8fRj9NvBFK1N
zVxgPiM+ZrnQdwnwgqIYsB0eJ9HyLw1UWH43LKmPSGc9B3G6vkUCotJT51b51VngRItREnQKhkj2
dUHhf4YObqa9HlljF9zohjfNIepDiq7atNZIAfpghoIGoYh1rZtcc0rhWTqWUjWSVUL7KAf8XoQP
us8WaP0zYyc8eBwc8TIGCuX+KB4r/B32CUY2Ca7ZPpLdji5OYOsTNs3IBfT4jK5L5iMhofOHFhn8
AEcBCBMUrUv9Xwla3LRgY8tzAJa5eu4BCE+LcZpQuM7TnD9M0yQgI9e3wVPk+cF3wpkLyhmGCT81
J+J9i12/lokM7U2+0DErPY005JQaiBGiK5mIG9jTkLz0Wh3v2YLiFlZvfuaKLsjntMrG2nnI0ly/
IEKNzVeQ9/kXSYLuq2p99B+Uv9Bkr+vRPSvLxAfSwv+5UCRV4S4Zk/RbzWb4I0t0nFY0mCP/uYm7
6M5hFO5Kn3lwyFgzS3/lTiApNCigEAzCxP+WRmxEM4taivzJSXWXQrnFQ7XerXchWDKstGTFbDYk
Iv0YqDY+hZ3tvg4J9DgqppL0N3KuBafRk+mTgq/4uGP+0n3BEKN9DniyGIDBhf0RgOQSorewIhFK
4ULLgMo0mPTCv1Q8LwFQWoXWZP4MEAfCBGjZKXYpLATCio4iQApV9yjgRjXbQ1/DQQ+CPUl8lFlD
/YJ3YkFjJDce23X1tIVtOOg9Sh7MFA2zJP85M6l+WwDDVTHkOSTfIz01QMVDpOADOCwZLxcl5U9f
IfRW2FbJ7wWx+TOgYuJzk6gQLYgmQRpRewJRlHM5TmXWdJ6r1iiAcYTIWvzqblJ+jk4E0KKQEiLW
280kldt9mI+n0TqEAmei5pF4FDJWaabdrrMQjSpt3OAmcqiKfgcamRRIHUNy6k0Ptz/UOvFn3WKA
95B0qA5L3No6w/HQPcRTNeMzdNsgTnXym2YO3w1xhj20WnhNlcy55FHpFTIUkWFNfpzQ50WJJ9KY
3UToNPJKs5bfjNFs7b73PU2KoPeTuTSpHYMyhyR2V41znNoiVGn2A0OYCb0QmBwj78RvgoAsmssH
0gYuKmm9zuDQd6y75fBG8e6jFqX+zkbEG4tcR2jeEJrEmHp0UYDU3OYC3XDVyidn/a7ZGRHPutA9
MewRXXv6XYcQ6gSMttPvdJ8EGkjJIX3sh5HTE8dV/0EIZoFYZKgAKjDbhCkUQOwKZLYZOesQiHgq
oRwcHLQyLa/kYvunSWeoV82cIaOvkXpMmNil5F5A/BJSYlq7B+D50SwioButRWhSXG4JTzBI7bwI
dsa9cnIsArQcn8LBeexIVNt+Q1KEYtCrxwxaogSdGRA8evWUenUTHyeWiM/t2IoTHSLxrcnj+pNZ
ZpdunWSow2rMJvLStShwylWp5CYbutGWPZUGKTZkM0UxI1/rD3Of5PNJoHH3DWYJ8XvqZV1TSlz+
pACBL+E73wWBgZ9kbe5pNGeQwEAvJihAPEbDbcgT79uMauORrYn+KO3SvRPdiFxryEX+EQcMn2vM
6+5WuBrFPm7qPPzgE89rTl1II6B19DhsZUZq8Wc8e6soZi5LwMHZVDpGiRijpmgtkrolQZG5q3OL
IT5cAse2JLxNDjG1IZwehi4WuCxT8R5xZHgnBj63uB+Ap95NdRJUUSKHCG0tG9wjm7M4VMBXJ/nd
NKJlejehhIMwEHQ9jomb7fvEBct3Mxjd3BCtEBCpUeFR9SnLSrfpn5eiTvLfnkyCR4qgg8M8Ut1V
PJvJJ7DtA7RlmyH7ttQSuANHdI6tVpvsqVPT0EKKOgVUf+inMSsaAtJ6kcNWhR0aF5pg7+doD+Ce
kxQYjIH3Ndp7Ce2KaMqM2rLa/MAFunm7uZXBRxPH/FNCTfwAT7oF9hoT9DNLQecF1uXoExZwT2hH
SIJ5BPIahLGvkza1OgIdQyGNT/jPpQFEspArkCbo4Gd+v8+nmvtVOpDkcdAGx4TNLQY5KY1n9DmR
evo7m7LxfYbR2J84lLaFDCFSIsR4tF2LnPaGlHylyTOPdfsMNxugH1aw5Y8URk7dnRgMCs8QlwEq
mTSbb9CJg9zmRDPVvB+iDe+eDJP4d9zJRjYHdSFDbwockZcjRR0GomcSXlPg+Ax3KCbFRxn1zRUI
yMUpIpAYAGVm4IGcw9pjBjuQrma8gsjnfd87AIMMOwDDlR5q6BuXguTXwEiXlgTQBXTcDXwCSOjL
B7Ph4qeSuKZaoFS0tcBIuJM6qXfQcEb2IoBlODRT/u9cTfi7BpjX4KWCnXUOH8DoknqYH6E9NihT
2Qle8B7J9J02ya9/n6tDwCUGzGWzes3OsDxei0lDW/tNBcnt5NjC/7Zs5shgVuOpw/+wFHRbAIQC
NPOVfktoahSsSBQrjtv8McGg6pT4yXJcbHSNOvwauwMQKiRpAOza9A/Ss89mcDxxk2ZtBTGL4R1k
c8RdrDHgffuBXg/S8dYicAMgxBFvfO2XmwPa9LY2m/gimlW7yXdmn+Y4nVT4z3JpoiurbWi+l3AW
EE5hwAwcI1IS2P++XE0F6wBHbag4ZQPDuGHl+X6k3mNiUOBmzLqjIppjFKjrQxTP1whgrw8CDjhI
PHAY2wRaz9k8zLjeBDNUJbsac0NO7HIDC3vxFBM0PutUok4TZHr/9gt+jcSAn10I3Dy0jeCac060
zbs2i4ecqAo4Slt2nVJo5HYebn7wEf55KQjJAUmJ9aANdm7OM9eEWY/YvoKgqrEoWilciKkaMIMK
06y9okb1GppENgaSD5Q5RmgAfpx9y228n04dvPnqSN44yFbsUF2hss4wf+3z4UNfR9EJRPcrT3lp
XRy8zUwcApooxV+uO0zQgUXxzauo7bN76/P20aVrusPg6In1oT4MLRyuwwVb+d9fbw62Ykhg0AMy
2NnCjT+tFi+WV3Sa3Cmw3XoKM2Na6DdxtNrfXuziU+ZAZ2cwyASmeDtJfwFc0PqVqVEzrxTuYHCe
TKDQCOr9fWeWR0wU5ceBYHCL2dU17YwLGxac8A2gDZQ9Lqqz7xrPNgSHx0ManvgAlvU2Okgk2qdh
8vsrW+jiUhB1g6gc4heOyNlDtgmiaKO2N5pH4NNBdzLxJvoYy3G4cgwvvU+IE6C9hbsdPOXzyCNb
pIOe4FWXQ2cVEqTqMHpWQFk4DD7baAwPS5iYHeTk7JX9+jrCAnK8RVgsDBjtuT947ctJQi8c+9XE
aO4Q5u9HXwVwrmTJx5aq+dPbO+cCGhMLxnCHyDcNTwibvXyrimuoGsDjAy6dw/IQ1WouO4XijCpY
dtVBh6kdepenniu3Y54le9O315Sb/6PMnUV6eDeBpwhY/KbqdnZ7IYnWEBBgPTDk9XQL2FOUbkOq
6EGx1tkdVNvRrGIUGtyFXRlKXKVRYO7Qzg0fodmCSfDbb+XCVgN3GwqUG4kEetLnL2WJFZARa1/5
FBJyACs55PxpckuHlV3JEV5f3Li1wfCPcbGiBXb+wRkwUZJTMlSEW1IYNrpb4Bz8K2fnwmW2MVKh
TYCLFJaL27b7K0CIHq80n3s8kJqQ9vcZ/y1WOX1M6hRc1BV+dpMn56d/f4uAOCQBkL6bB8H2lv9a
FBNph5wn76uVSVeKfI6OMRH1XjExXIEVXtzG/4UggheJHXT2gB6M0FZA6IcqZvTzaIQ9RNaqElie
4Q4GHPUxhFDiHmKX6rOI1qnkPBTXlEQvfcq/f8PZLqahRyOnCZ53hnAQeil8uGMeD/89OG0e7FBp
Br4QAirnaM0MVsgLpiEV1koLtAANLZIaU3G92vgZeAw0A9rOsm+4EK9pJ18KT3jDm3QfHJ+hQPvy
k4IWuSJWtEM18NjcNZkEknJhE9CEkPHTHjBkb2+hi+tBgycFehraKuEWqP/aQs0IYr7HJ8jP+nyp
MKwHWNvr0r1NgMcxmx7v2+tdYKWioEtwg+KWyRAWt2/814LgaFJ/SfhQ1T0f2en/cXZmy3UjWZb9
lbJ4bmRhHsoq8wG4uCNnUqSkFxgpUZhnBxyOr+91VVldQUoW7KyXsJBxAC/g8OGcvdcuFVeKWtNJ
LpR0i6thscTdOKLQaQi1IbBZIhyzSm11Q9Oe/Thta+dYT6X59Nd/12+HFlgzeJ5QyN2fctM//VlT
41h5AmAyJlm5/KpNuMo1GM8fbCN+e7dJ10bDzapHRf7th8+mRVD/NdkSrnQA8kBrr0tDIk6jxntJ
bPtHh77fzEpEvDDTQniiR/xeGp+5fe/MFARj0lCDgzlNYouyyaFxxoZNT4Rzu3pDO/+rn5JdKAYY
hrADQNl8zyhd+9KwqVQ18dh0yavnFOUjtih11RnLelA2ltwPVpNfJ6efV8RWTQwSu/r3vtGsXoIh
V1kbe44oIPA69oNdBXTP/NWLcpTeUVMxvJUSdO4MDxVljQ72r0fQL1ua898AKtXl6Muh5r3wWgyz
XRRKY2DrngvHavWPpX32us203JsqNbe+3vlR0VfTv8qT48o4c7jlQB74A96NKpQ0lkiKESg5cdv7
SfRpjBZ1DDslCYWa7Y/Y4L+M4vP1sGyRR8889cuOhiVUpWqtW0JvzOLZz9yu2ngUUV9WQKt9ZK7D
R3Eav4xjrng2H5+zUdBxv+csLHWADogSDdaqmSA6zx2v5wx9ak7+zgl1o3eFhNL7YEr4ZY9yvihi
eA8oE4fk90Hc+TQ3PiS4Np46vwmDYMUdiXiJTX710R7ld5/vvH5zlbNk8VfaumbaCCWaOPf0qg8d
re7rPcwwww+tVRc7ioXl14abu/vrMfvzxXizL+QzwhKm/sWLCjPo3dBpZ7SkKIK7WMM5dicoYtMR
C4gCrwppQUgDVPtIp6+I+y71nygmNBT+5yS9yBBko0pIqXpmnEfvs8xI/LAy0Tz9L2YTDFPnTSJF
nl/svxT9rDlzkzb2u7bZa7TSYooG3c4P6Pxkq5qv//qe/G50002lUMZ+7rwMv52j06AXtU2NP+5k
r3AuVdl20TL7BLCuBHxVfOSM/ZVqwjNgNTz73nRoy+8RfZ1bI4aqRRcn0qbprCfrDZuLdDklJFdd
e8pdRTyozPoiNNO7KvSmvnHNeUjCeljt226kYvWv33IQm0zfrFQUDd8vhrPo+nlski4m/raOg7Ht
9nRdshgql7H1EDx+MH//5k0zIHAEADEIobfeUxPoUFhNqktueWHl+2kQL45y09gHl7P964f7yzLP
fg5nPEcgqG7U8d5t7VY7yezURDBRsFseQ1fPrVcweR/RDX9dC87jBwQXj/Rcm3h3vEklgS2EfvVx
2XT6FpEvVGnL0o7+WsnQcpBo9olnHTgyfISm+vWkd67xcrJmJsEkBvPz7fAl+jxoPWn1sYUYiaNt
iSzT87KNAGY1x91kuwfRyik2M/Y5tgi666yfxs8ckT5K2/31qZKKaFGNMhyDN+k9XLuU1O91JJkg
Avxkry1y+RFQbr+RwumnD0bsb6/FvpIDNu1+8I5vPzXnVJ/iBdfye12E1WJB2zWKNVyUKuO/HkK/
uxTWyoAUcQPr0Xu4WjM5Xbv6Th/rarQ3DLHqYCb1p9Loiw9m518H6/kthHsARBha5fuZCKGEhdkl
4FEu5TqG9IRxhWRj2qUf3L1f6sCMGWDyBrePGDDWg7d3D89YL+2pIEJqUI+jcB80SpebdS7G2HEJ
nl4tWk7eWX7Ya335wSv5u/vJR6QsccbwsOC+vfjY6pbKVj6l1KpgO6DPOKBHzvflsHYfXOrXZfZn
HCCR5bz/7CXefU5KhkaHQHaIvcIR26rT3RvFzinWvaRDWssZyUFoEwwfNJl++056qGb++7rvanim
22d6SbYqInLmBNnP6aGufWNrNt24bYih3EA5HA51EQSsMGK4X+3Bf24Iq/5oZv/NkOKgh7qKPSHV
kPfl79VOoQ2XzUD2x+RGONH0Y1103gf3+bdXYWfowWp2earv7nNNIELG2XyIFWqqDR0+cWrpZn/9
l1/EM3rh7BzlQtRc3g4c2KMGS2M/xOR0NbtuVllMWp0ZLo2xfLBAufyqt9sk3MUcZji40flhdn17
qRZiXur3Ji9IXw2xX5HLmY5W87rwPoX+Ah7ngzfytxck9lnnM9CdeY+MyfzFQA3qDchLwDhK7NSb
qnS+oyXEcOiU1QcP7Dfv4HnehCkGOwZT07tlkQTmjNyXdgSQkFpR3jg6BY9KjxQ39YOX4XdjwyG6
lQ4hCwPs37e3ErOUt1QBCRkDd/vWkKR+bQIXzMAHj+x312FDzZEBZIvrv/eHkgnXZWWZgt4Vvh8H
ibjC+/lRVtrv7tvPZEzeKI/G4PmP+HPVgLOsliZyiGUWgIlFG7BNvWndOA2v+F+P9t/MXcR3nXMq
2FXwwd7NIaPhiHlYOhLgbOsc9QtiL8lHFK5zvlzCm3ejKZ//ZSQkw55+ALXFc/XVe59WRrxW1s2F
HGOj5tAeDHLYn+2UnRqND9a639xJ5gHdP8cns3V6zwsw6AY2MmjG2C+I+pAlsXYFvuFI+qht/vpO
/mZkcBvBAnlnOAGNwLcPbTx7vtk6jXFFgMsNohMvtIUzfzDOf/MGs6IZ7EnAdgbO+zxPt4H4taw2
47wqVVxkbbZvOnMgXwGVD2Xk/8UOiEYupWBoskyG7zvHZjJaRqUmEbcZlu9JX7ywb9gBFnW2/Fe9
4d+/Lf+RvrY3/zXxjf/4T/79re0UTZ9MvPvnPy7zb0M7tj/Ef55/7P9929sf+sd199rci+H1VVw+
d++/880P8vv/ef3Ns3h+84+4EblQt9ProO5eR2qOPy/CX3r+zv/fL/7b68/f8qC617//8a2dGnH+
bTQXmj/++aXD97//ca5G/vuff/0/v3b1XPNj2+G5+fb6/vtfn0fx9z+CvwGE4EFzRA3OJPlzYqR8
PX9Fc/5Gff7M/aB7fyadnsd20w4i+/sfjvG38/IIFZ/NF3798259bKfzl2zjb/TEKWlB/TlHw1PV
+e8/7M0T+p8n9m/NVN+0eSPGv//xdjSCUaQmRdsLFvn56APF+e2YL3vCR5Ou0UM365dyv7A3frRL
ki/o344XZTnpH4UO/HJFgktAEPxstnMgeQ/e02utE4jUz7zjoYmQM+A0WKU09Khd8JBtHTNfP6jb
/yyx/c8yzefiQAzWDRgABZvgl9Nd2zvI2XUk4IuLOxs1s0KCjKSzsDB/UQlcEOaCKHDZ8mEYTz9T
3MHkqlL7x2IN1YvszLmNUmBLTwEObv+DRfbtDH7+60BZnl1h9Ks54/rvZnCrnVwWWmsIUauynZ+b
0VWbZB3dawIFz9CSSvqbxmlRzP5plP5zMPz54b+ruXNlzH2MIYOSLOoUqtxvn34+ITfIBq1Fc+lA
t27Bx+0wyq5D2LXZpB/yVkerlrvmcD1h5jBOOD2DHjczfmxy93p08qqf8urOMUqhfTAdv6tB/fzr
ztIk6tO8JLwd73YERPi1tXTbNsQNikRYY0t0M9jjErYDPtlwIA7H22uD5jcbxx2Uu8Pf0/7A+M1Y
Kmtt/Do5Ir+tp6bULrMxTwHFuVrw0apBqsq7YxLHMPq0pJNy8AOCzqHs7W2s/dwNFoebUTiERORp
giHTMotTWVb63tOH721VrDHYweExw0P40jcF7iIb9fv1QL7hhSpS5ws2dzsPjWYeb7XFs6JCVaUZ
Tv5Awg8HA+ezhZI623R5ZqjNODvG8zQESkS0aasoKFWZ7foU9flm8TWx3kgVVMutHeTGy0pSvL3v
8IeAwOimoSlv1sJsUNgHrWXdFkG9mrE1YINpwrr1CzM08wx4RSjSYZm3lWGsxU3mynzZpV7TFNjp
ADBuBJMbbrBZoFe+9wanM3hQi//iQTrA1QEqejxMlSa2s3LqZifmriiBCGgeZynDO/eTaPRH2ira
4TBMlKuu1dwk6rAinklQwAptDKvBIYrU9WaiEhohl+fUy9B/I0/iZYCyZucXKndWaidrWcacOfiN
a6c46s/6bHdh0tXm7TDiHQLh6NRknI75pb169nDZ5JwwQxMjCExpbNqodEs3lUiqSgyO+oAXfiNa
dNW7PlhEGrar2eJEn/Ni2SlN119S10lyjoUr3wh/Z6Kz2Q1T6Mi0P3ZJCtNCrE1WPcyjGE/AJC0t
lGVWqOuJhhu+nravHuk1jv4mwNb4vcIdg0p6sLII6OuCeDtYvReden0VekTPoreyq+XGtQXz9Jro
zkmbxVLjUc5MHLk+DGTeWl//5oPuK7ccGZNLP/XtrasoyyOwny075tjlbwCTrNE6STHHiyK3zV61
lDFoTnokxdJQRy+m7HalivUdkJzE9JLT7VxHHOBjbRi3HIaIdU9gNogQ9W2woF6d2zNPoM2CLbhh
I6Kt3t84RDMMYU8o8pPGzDLvEyLL7zvKJMvB0WafinKdyltU9zDE54XmO2anIHfiZpjbQ+903U4r
hXG0Kv8ZtAJ5Ly52w+cV1675rXOTYUtMSfFdFQ52WRgsTFWDpRYjdqamj/O6mVA5uyfZifW7UWHj
7Scx7qzcnL85rVlc6kOhP3ho6+FUBmbD37AuYi/kYF2JxKkPKcqeJ2fA204bBb15brCVX+wsQhza
btl28/nVYioevJ/G6Zj1WHi1FkhwCagFdK3N2LU7YWwJi0iQTvjEaDVyNL6tqT9AasgT88loMkRu
RtkglG/nYtgPjjNBMGCd2FK0eMVJWjxohR38oMTiqEjw87gnx6p+aDtOiSHVhfxoDIsWKfI1NnZj
4fpax+4eK5aqQiyBxRN40RKztD+nFBlM7PAGj9ukD1SmOkoLJMWAx5i/VqnWo6cm595eC+clXxT+
nsVcIvqFSNSmxjvggW8v2tZ1gdroTnvqHJNZBeEMCulWlIXYugXa7W012d1W9Yb22vrBcNkTpBJP
RtctiPeS7EhFO4PHQN3jRzuuyNsTqwSWf9a5hKXUyptlSH0s5lhlN2M+rHc6QAN8yr59KtMR53Ex
atmlEtoUnMAMlJExVwa+bLG40WiSD04o4Eg8m87KpevrdRkQEx52yPg/k+LGYE2wTV6C/cNCOvXp
jd8Y+Q5+vl6GOJzHeHaEeVumq9ickWx7jzjzCBCC89gHXZtHuULwHWattm6DwZyNMDdNNtd94e+L
LCW7eZI25PGpVzu9rxxx0aaVfbAaHTl31ppd2AAnirKqme5Z+asXH0zAZWEMmC3qJUluhbEiebcC
H5BGv5r9XY0eethr6zTdKgs7E7iaxD05c+CXp1k0WTyrZb3RGuTy8NzzNfR1EDPwfaAhTOP61UpH
ewqbFuLEGnjn1Ycuun9bTiRR3taM9O5AFtMa7FmQyUaYeRXqjRwRiveMWN7t0r4aPZNQaunKeDZ1
uSncTIvMspg22uiMx6VybmZfHlCsPbSJb16Us1Jbshh2Zmnues/4VlfrHYiJ19Ho7ow2iN3SfFFp
ek1i6NZescITX3dwhrG/tq3BwE0z+hOuRXyaTmbcV2REC0PPt2M+h84CmWupe/6vhDPTe42Fl0Ea
scHb/CmRwbLtTcfdYsQr9gTmGhsK0daBlc7baGlevCadkcU2cMEdYxDXqyvFy2z3y2nmEh6rT0tu
s899RKHaP7bFkOgboWt72rfLuNVh6FahY4kmPw44mVQ0VKSBTQVqwxDBRBcNrTlVoV1Oz0W/kk7f
6PmlW5eT3BgayjIvl0OFUtDEePysOcs0RX7ia/ddnqZb5ucsPeTFuWdaWXXl7BPsyf4luWYOFQsn
Gx9anUmVQEKDO1yiR1n7KblreguWBs46GTIIOw6TRpIe62aEDLEI52JGH7j1QHaMO7YakmP74mSR
lcvlCmA0MZd+MEGxsFS3xPmsr11EflEx42OdewLvDXvekyrvXPVIcOdQ4a7zorbFTRGpxVN6qIt1
vSsS7jnTIA2AiAgF50s/eVkQ48LMorXXVwO3e3rmmbCP+sQ7218USlcSgzWMynAAKrkpVN3drExA
28LSFJm9Y1p9J9XZOt8jL1YD3OENlWcHi0+bFw8ee/sgxLI+2pGy6D3vfKnZt54GtrYqgvJHRzji
p37q8ikuq7w5jMTUACi2yyEqPcJ0grQ0Py2u5X8mLreejj1a+yYqRG63B5FbCSvHrOQu09t+bzcz
ZJ75bCPK++G6resm27OaVNe+FixfJrPu7oAfDEdV6/7tzJcvCdN+mv1iPHqlbV62VpU+InutkZyZ
wviKcME5YU0N9mlSGT/I+/I+pdO5DtYm0zfurPNFgHY98eAYMXy8ZIBNYWoiyitneHL71ihDF/Mm
RVXctKoZXhazXZBCGUVUWhOgVhP4SVh2NQV7sEx2XNmaBXUsrYyvHWyp0B/K4Gj0rYcdi9r+sZRW
02xLe4arQop5tLbZwvNelqNbj/Nu6mW5kV0705js8qfCY+e3dq5/1KnlGoCWFp7kFFhqa2vOxObK
KOUF+bync5jdsU4GN0xWnN2JLsE26zjo6eC6Md6kQ2IVxO34q3Ji5i551RrWSaqqvZsqMlIjlVrz
QS5LGvda599IRxgPJTmDp1oY/ZXyOnWjutoWHJmaYFvKFtGF4XK+1JeDpmb6WpaZRWMgl1sSkrUd
fQctifEprteZ1YhQ7woZ9jDrWlY0p//ekJ58gQ3IOA2DNn6yOKvj87f7I3wSQCSyTW9owJ/SYrz2
EOdfdGrSzQ0HgGPqaYemGMrPNKjls5NM7SdgWHJXkZGIp23HJk6FetaOOxtiTUhHs7oYJmeMOh03
YUbxd2v0xnS5ajXJiqtZsKBVcttWxKlWQyDiQtc4MPZ192BJzuitb1U71aguMn1wUXleGjupuguv
6ow4SMV0FZReE0EByk6mVw2R6H0/NKxlvLbKMjlIdyIEYJLqpMZOHPEkag9suYzN4DQaHI5szULs
ax3PvR+KTZ9l3kYBJ3lUaQ9e1urWkwQAtaEL9oJvtGYfMtHRCOo5rst83pWJ9drbQ4uKFY1RnCd2
cuq1FdJFNgZhkynzWqtV+wDxrLmsGx0OGtQu8GgZovWOCI9wnUpy1r1MnFQHYhssg9qXnuZArZvU
qbab8QE2zY9A+uP3WgYYfeGotgRgp37o5WdNyCSTHX7/alfpQmO7nzXAVpr2os7q7ypBHsneuznZ
LsgRD+s0XIDe+loSHR1htk+Zd8bxylscLWyrs8led/MoswowEQ07j2TlpD67BY84L3ejXa63EwSX
B8/Oiv3Sz822kj3WrK7pg8upGNewmQZYpEXPOLCGYku3q/sWsDN89YZqDbExss4Qsnqox0S7pLVZ
7ugr+p8CPHvA4wD8nrSqm+Jsrh59HP9h6Th1mFRNjjEXRpLRItOliXUUeJXmUFouRytjZumvep2+
RCDTC22YnfOuWI/zflkvks41tlKk9zwTGooWvhLIHuN2CuQjCLcmUmqpDovSb0ZQ+bEFi4NjTKO2
Ve3tIGvhTslFjdm4Y4hAa1IbxDtMLzV5fY3MmY5KjjEGa8tDTg8TzUabH3z2FxzoGutb5WJaqyd5
Z4nOwe48B9mTnms3VZqvW830X+nemUeethH7LC2HAMN40E0qJsnpSlWLPDEXcHSTWn3Pfm3dlxhZ
o8w0WUuX/MKcHEWgbG0TZE+O9RQHfaV2M2LzUA9Y3lNe7z2lr+SMXPtSexL/KqC1p7rwINko3HEO
eB0sbeu09eTEPFIGL2Pg35szltguKYao64wpMoyq3bqm2mu8QGEjbetiwfP4HaWZfJI1LoRwSZfl
4MshtNTa3FRFVdc040vy6FXXbWfh1RPJGzqbGidL9iCyPudOtm5H25o4jDkTPJg0reN+BiOGVsCd
DnjFAf/UCPkAmYmZR9ivWRsi8eNFAlN1tvOx+dCr5iURhAAsi/+9V6I48YP1tTdOmXsgeNO5BNpR
AJocBvtzivH26M7tfKVh134uYSXdSAPQAn5w1UOgdJ5tWqUiIkS6u5zpWj1Xtt7duIVeHMlItS8H
yBA39khEk95yvJCQyG45UDpHMMR05pqpO6ITgKKWapmBc6Gajlrjy0uRD8stPN3hqs8D/llLnLmT
Zt2LetEobdjy62DPxkstCeHDnTwNO6eRJSiVsVT7ADiSFY5UvA6O6438h5PAaPUyBpfofuq8Vf+e
QCWLg8lX3+GljTuJf3Y7eK0E+JEZ1alOQNs62tTtwEKxBQmSEvwnxVRDbM5a8oxVbcl7LN219YkO
L7qJpHXYdK4ieGrXysgjD7/066yN5MWQZ9nfjl1VPForV9oU3TzdJp6mjsvgUQgty+Fb0i/BvqTt
8rltJfS9xvmuQaQ82ioYIw3dwQPb9vsKUexFX3CiDV1rvZU4Q54yl61s1i3THh1i9lLafvnadQAn
M5MUY+o6u7bSx+NcrwFIrYY9kii7B3/u/VvdQ+BbMGj2QaHrG1mUAI86EmfxzJq7VqXaHUnFt4vq
so3tTLcToIhv1bikkVW38rKc5RcCICuyTAwwVmG7aN0LorJZ3zEjDVFbtqnYcErCvqjnS7KvJ637
vAxOj9W81E6pC3X0fMO7cNLTy9oYvY1baU0f5kXhHq1mkVAW6ppCDrtYe5v4FeNdLFMawVr390LB
TrjrKlUCvoQhpG3XYVl2namAD2A2intDFpdd2t7XVrK03zKx2HMVzqbTGLdp7c2Kqs7YXM9l5SQE
fvZncsOgG0djGnp250iufdo0i7Tj1CiX7BHyoAuk0e30FyPoXLWFqjB9BUgzldt56INdIibAlaW3
mifUqPbtXA6Ul3xVUztTNrHBJuAWokHJ+QOZmu8xA6fZlgoeu+NaVcBsnH6GEWsOpfKxmieBODQr
BZeLzkwppbVaMuP874HvbIBQaptC+JyyztizHSufgrIlg+mG6bQpn3shsfuOpZsX4XnQOp9lxlHo
itC2yv1BBa7sBv6OWSjOr4Vg8iTpBIv41qrZcoe4xjrj2narxGJimcdiCz2s/D4bVv1gciDAq1hN
d4jzluTk2bJ6hDtQPXJ6IvwJ4rb9dR1Kd9rluMvXK50ot3yXO4jFILzYV+RiVRzPC9PJNv1CitvZ
9bpepvAaxkNNLRFJiUjGm8GEE3L0TMSrQHhMMCx2U180tFcB1frZebvZVmBCYFnlbDXn9BYIiQeT
a6JGzNDKocw1gAF+BECWhg1Ae9f5RGKpqHbkMzCnZ4ZZYWwyOyqHRMOIPib2RSah0GyrvTL0pal4
ngN8n5XCZLm3epcOwmCafH+zrjxXiLD0T9axX27mdeb1Bqpiz3dZbgrzehlhKIYe204gApTyHpKO
4bk1Zl2tYSdHWsTlKgwBGjEDaeMlA2W8bB7YTBBEs4azZrj6tk3P1ZHC1JZLtyCzOUoNb3qi4SH3
c5lVzp0LfwbymgMt0cJZMrBu8FrdO43lX7Irzy6xdLNLtKalzmhH03qKxnOHMsrZfXpRkZayhDZj
o4wy/BJ1SSULquhzUDcJ0PRyncjAEnkXCXZgGzIfpHe7WvmZwu0nuXuw5tyiqNFZ8iZ1iIlu1qYX
Ye2uMEXcQpDJsrBpo+JUNMsDODiPXfIK0wiSl2IBAXOxuIe1kYkgOrFmzlja7ntmDwYMWQ7cX+SQ
ZDejZTXfhVdNj64pA2rg3Xhtg+AaQ7P1qjx01gVQc1MvcjeR1mzvHcC/4wGcDyjjdhio02aDDc1p
ls54MUIBCTO2VTckKSknQtVbPVrs35+UuaxXiOWCOur6LrBYUFvnk6MrvYqGYPFYm6fMe157GWDR
ylpW6aXxXbil6BKfcgEamj0PPqYfczBTsjcybyr3o7TZ8lN/buotZZgxuEhZb3eBM2SE//qJIiKO
+e55ngNHhJaW+Ix45eQxSApGn1Wa8jigrf0MEm948FNLXAFoTXfUGRgyuo/DayPYP6Z7IZy1PK2q
1PH+dGnub1pgQtUmt7F6QlurLXNXLzobK00zzBun92oL8nFTAWtzHbM6aCbAykibexgNepIu5BNS
jVcR9OzgtBCFYF77SmNiE+VYRZUSznHKhVWfuZ9OE3NWY3DLgv3+xnUm/WvunLedIDXlPYykBv5I
O/FW6BzceeemWjsosN0WzGOPLYWCy+q3OfCEjiO4G4+ZC7AvSIAN7tehLq9GXwTmNUFHuklBwmBr
BYCwBqgKeY5Xk7eSkIhO4xho/hzvup9mrwuEOxePktVcIecxrU030+X0R6NN4WAN7dfRkdYY9tIl
djoZRXVPPdd/zntRflVmny07EHrVo8mms+NlLa3HVacWEE7NolNc9+qS6uIyX/u8fnCVGm95AtyM
dW8MKK7AYJENB+sRS03o1ajF4ww0IlSnNClqwEqpfmUDQ31JZgrPteh5QaeU3JBNZiw64AHpdMAs
Z7bdXDGotY1lJw2VbmV1W5Lq2L0WPVBrepiq2wQEuFzZQc9Hm7C87qQYNPqbCfEAeEJSa5MTHJQx
4o1EHHTTHOUOJoq17HRnBSk1DhndlRmyWRW3EgBdVM+dbOOKjwP6Wa2VF0+12V8D52POYxGeNtQ5
lmTLAaduLiB+y4vRXuF89J7w1s+uXbffiClwxg3LuKlODuej5XYEssf2tJZmD2VnVXIz+G3/SQqv
a6O+bulzKK3w57ufXSxVG3V90AE8WUDdMuOlHWVwNRc+WoZxMVHi66yRdG2DLr0vC9yx+/PkGbu8
bF6oZVPwWNrw2TmP+uIuyKmbQMKTTUuCSPo6BmYeWZBDeOlyOzhkM+WicIX48eg42Go3wwQuGRRJ
TSp4ixIcNkpvy4ukN4Nu22He3jmaT5FfUOVv9vNosjJkMGJaID/NRWKYTUL+dVC73ydvzNRNEWDH
uBpcwcvr1MsqLvRl7nkDKZSYJyRexbpHhU8rkfMzUlInEMm66WFAjTygevgxtFoqaJ9p5WNn9bo6
yaU0ky/m6q59EJrwig7WaAziWc/1cn00k/PuAGae58dOOQcePFsQnPd2UgBpygx8xIYIpshtoUJu
qADlG2Da1H3mpGfNoImSZwdMjjnHS9mBzo3IMC+hpa1ZvqKnlUM93VCVL8bbus/NT+u0tl489oG1
bPV2TJ3IP2dxXU+aBvCvSfONP+ugwA3zbkqbcjtQGnzyqnL9luZ6cumsLQiVxHFOqFDWJ9tpc3bY
43jnpWu770jVDZ0Uc7AlXH9fsl26hvA6bMzO0LtNk6zeBZs5rmR2xBXRlfXubcsV38raSxk+Qe7t
9Czrb+hjV69GN8w/IPIuOW8VIZprNfd3OVye4CSn2j+5Xe8OG62UhDJDbwoimSbqydOXfD8WXSxM
aCkbstS8r4sdJF9GhLSfNLa+G08wFLwywxWopc5rnde+HQaWZ17OqhAHb2706+zs39xnaBfMo0xA
5oRV2w2bvC3EnsnA2XOsgqxLqaR9ARvtMoFPUlvAllsN61CfPVurXew1IirD0pfBCfv2cnRQb0Qu
WOyjymo6h0vpXWVBZ8auEoinQFAm5cbGDqXRCEmMXV1l632WgxKlj9XoZ1YqBS5/tZd9RYXw2RRj
FqFpKq95g4ClAkliU+ll4/RNWgFBCFjkofNYc3GBjc01I3DeK8KwMm9g4HDS3c7BOeaiJY30eqXe
esZvjbRWnVQ1oW10cxqafVLfr06V/aCXzWRnzJzYslrXi4iSMjpcFKpmlM2ZkNDaSjtmX9scpeis
cYM/OQsxUEGEYyhHxZwnBxXIKgT/On1xV6PaTP00XJjrmh6MtqI5ZiRP5Lk0rD1OohWRB+vbiVdA
c09KGj9gtBdX3TR/8hxDsRS2ZayoaF3QP1XXCwrCJdLsIb9rhXQ2HoQxUEwe7b4hAdMkFkQSrqVN
D5my/WdVyfbCQGJxQzGVgb/KvtnqzkDkn0NCRBGkuQnAGt1LxJ8GejhozeQAUtq2omTW5NZzO7fd
BLXeZy+1NWpHGm+RPw+wxrQiH3bZKkeBPkKbNrYvCzeUnI6jcnHu9cWvL1CStCCBdB+0HJ3Evck9
o1vNQf/GnojLDjtHtpdgB4MDB+TqkY5DvRElCRGL1mT06RM/B04ug+AEC7D9uuQzq5jEVvdJdr53
ReS8+hJ0vRkD9YAVSIH+iWg8SUVXsKTm7UDBwir1PNtOkkIW2M3qhJWpvFKN6abEkCB/k1r3Q/PM
ee80YHI3Z4lQ9H9A6SkeNaBCCO3URSdbmDG33cN/kw/s2VJA9UVOUWokCyqqfNnEfy2ReavN8Uz6
0iYZ1AA0MOKQm3JWM/1JyDkwX+o4XJhzizO2ELOGc1qTaf4mnf/L3Hktx41sXfqJ0AGXMLcFlKUR
rSTyBiFKFLxHJszTzwfqTJxmqUecnouJP/ridJyWClUAMnPvtZcxmbfppfspG00qyz9f9j1J6u2y
Aj4J1C8ddTQirPeXrWSKTfFM4GRXaTCJS4zLo7AA82ZLLT2aA7dS3gfXNPSV7vNfmhRXRZACLZYY
WjIN8eg5I9x0veMPZcH0eVD2imZmtc4cSmfz2sAgIsCZsBL5MEUDQ1yDmhoyhJcdGPrT8al8lSMl
BHO8zEXvKxoorK2PldtPzRdhDkI7OhqIOSEsWBSKF8bN1NCNsLOfZV7gJV0rD5aK0Cvqgzkzhu+u
j0fqDgdM7HetGtu1gyjq6jYD1tCCtlisa2U08tGjyx3xu6WsvcWH1oAGpMuGSFdZKrkdsnGet/lq
WxYakDnh6NAYtS/+bK8MEmzs2EVZdEBl6O8e/FQyQW2zQTvq0ZzjKjmi+ApcRy1HQTjG3WRlWGvn
9Aov4zRy1iWTBwZLaUXaGsVl0Ma2ZYdYti2UhVoZ9WBwju6ERIoY4uilukrCua/mo1Po9GwT6gt2
z65tTgZu9sxN6K+/QFnEQQhFm/ZaVh6CawQerrtnYpU+OUVlin2aKW/Y2pExfy8wI9UDrZtku8nV
1OtIOyeIAaR+OuHQgETTaNakQmmgY1qgZ5ZsjwW6spxuJgc49t2uu/CXnGPGw/S6gEHUQXiJ3XrG
9q3xO/oxLa32GNdBmKsREJTbzBmwrqnHpAAWMHKSNUxoM3gNF7I72Tgf+7t2mpdj48/69IsS/K9o
pg81/IbynDn6jnH6f8dE3b/WK4mzP/+o/4EkVGJi/7aLrCTXdyzU++Zb+o60+vbnf7FQ7b/gXBqe
D4sfTcQ7Fqrh/YVEmJWP24hNkNgqUvkPC9W2/nKZB0IzWbnsMKP5T/0vFqrp/kVsJ7sFexNqp5XG
/C9YqKiK3ivjwGFhXMN2wscGVyQ6tzOlAZytPs0L9VMKw1O3iWurZh3UDRySg9/jCVwuTBuceYZI
h9/iZQTtizmvab9GvlnET1EVSWvvdCWGYjUDxPxL7LbEFvRmRfmazyT8GMqy5DcJWRfn59ZweP+t
uUbt0rh4wapCSGdnpIvZ3TcaRvaZXVj1jUZssoXBYurg0zzZot8vKqJJmhhmY37ptIAC1VI6JT6G
UNtYGBi3E6fgYdBrNO0NCbG4uyamNhuh3mbwORKdsIDNkkXSDlv8Fx8Th0CoIC7TqNujxqt+WlWf
kGmBiLq9To20ffJoGI2LYZpBGPGtpbQbaQI3oFg1CURRhmkq9v+L3KZwNIoQQzXd3PIhl1EX2+a2
wAr5btQbDjCMHOYnzWRjD6deSe1+aSG87TKYJM4J68lxps3L0ocUkHNLZEfK2LuKZ5Y9ykVMGLW8
SsJ+mNrpmb/NISGbSY0PKCUd7dZvp0buMGrUYbIntX6Xla1B8lIal/POGnrGxmrB43TT9lH7NOiG
uaIMCEpRxavuB31G5N4njILKDcOFZjl4UlfkZbDTPuG+XBS7BNPOOGimOFlupGWgOfMg/0Cba40Y
b8LU8NPAHozkJEY1SFpl172OdeZ4d+7SqjSMSLqA1peZzVNN7exjTxyZtyO0TtivsN1PIOsL1v1K
JZTYiOVtNnQ1tddDYhFREo09HqweUuByawmls486K0HVgnVycs02BSnVC++rpMv1Q6XsiIwGIZMv
SeVG7qawSa7eiggo4KjFPaaoCriqfRrTMvuJUL2AZYjtu/GjFt10Q/LOktGk19qUbszK/oa3KA8J
afIY7UAoStIy6OnmLdGUWYspnIn9vl4TePHYiHx8MetMmpvaxFE+wMNdX8I0j5qBci7CGH/pMPg4
xZPBh9lp3YMBd3MV99uW5BLGTy0/jLurFie6qKe21wPaXaRpbz1/5be6QXM/Ku0eb0jPPnqawWIb
DPypMbkp+VDGdJRFENOmm8nU89mGl7UuxQFDBIr1LFN8RCOqfnqesOG0D4k2Lxlun4k1AVwMkAnL
H1gVF7A7aUwnDVvLPK1xRG9E4vufp6Rm5BWmUB8MeA1T80T+FYhrkZeK8Je31xXmVCS+SkNy3VKD
DBH8eum6MSn9nddAEg3NHrT8MqHjZXU4dDtB1nvfXAxJBe6fK+UWS0Tx1QSbcI6VPUKPjWf4uQ0R
MLfcEwu/Dsr8J2at+aVYOb2OMWrtpgDmfJm0ERiqiuof2coFNldWcLLygwEIxFGuRa7zVu8SQ6QO
cVn9jCXJVMtbXeysJbJbYNQW2G/VMzFvVNLqrapedDFuK+wUv2C6C0MKsvA2WwvxaS3Ja6rWR195
OaVDHNfPIwfyRTEzdA1woqCml2t5TxxdGZJ2CGr/VvyvbQDDRTqCcm0OsNShT8D01jrEiKdJLiCH
/bGgrfCSqTN4UilWybauhuHWM0cpQ/zYa8r72M1M7k9PmS4pZQ3MgDRu9Ftvg5EXfQ4FAz0P6R9t
2BjufJfXnZaE5tojOUZJt+Q1PIO1g5JrL9WvXdW89lfeW6vVrF1XjLD3jskUrRh5AvOnZe3PSJPO
t97as/nF8JjTgV/P5vxTX/s671eL99buIQyj9VOkcX4BGbyXSxcfh7VD5NcXofKkfJrW/jFdO8nc
Bx1v1u6yWftMZPC0nO7afVKR2XCl1pZUm+C91m+NKqpnVi5kMBrYZe1l9bWrlfVc3rNjlzE8ad+p
NtnaAetvzXCz9sXjW4s8tm23Iy2gBNB/a6LRqQkzoP3ILhefGIDAW9tu760DX966cQha0bd68a2D
UVbmM9hqnRBX5rYv6VtLH0X6fI8XnbPX07jVNoUw4Ue4b1CAb2fmto4d53opivxI5JO3ZyeRlyXz
1AC4Lj5hL9ISAuMuz2quhiCWpiyB+lYsItaBJTgaYUHkLY7+2QpbYBuBnGlhwrMZvMo2T0B2YBwF
9mX1BlwtyTfTkCsSLSb71UnUz0hfuqu4ADHBscN/nFcUxdNz91nzpjEN7b55GaqRALtshtLV6RHU
4dhVRpjyXnCp3HcvSDgBr9FX6MZeQRxwYfCczh+bV+jg/U/4V+0NO3wLNs/au6bZG74bxuDeS7C+
sHtDi+oVOJJkNzRhR9QDyU+md8u8xv1WdnN7mxHzcMeGWW5REyxfcOgRF4OXGOw2DWTrFbzqVxhL
gg/vzL4fbhEH+kFDaAeZPHMdlk4Tq6chSsHAGxex43VpJsvDUjZWFjRY3nXboe8adcgtIfwnDJ2x
UTYLLSMAKl8zKQxIvADnmZqvkjpynvJ8YbGbGB5uFosR+FbDtaGD0CaLnzRGNtFOY9N/9jqHs5/t
wCMTBLiO8wTT/02SDuYOh08lAxPYRnLS8hJtKqeySJGCNMFAO9XyL7kDKrkb8kVd2CgY3bBh6LuH
1o4ZbesqiCF1ix//LbbQPdOHEqgri+vTQlbatMFMDk5uYTjFsk8M14AGiNss7hEUY6AFE8/Ae1S+
MfcbDyGTnpEKUK8MB3ydv5otXzqYdJGJkMgOGsTItOMCxqkiupIiKMcdl8XFYA+MKKyjSnvF7BGG
5biGVoZxMfuKQb5JRCMs/t1IXPoSJI3CGLubG/ZuQ3NpVnV4e7D8el9e0nVJ4Lyo62XYt/Sad6Ob
Gn1Yg5liPcG52TPYMuDOARQbz2Q4ztONpM1hgGvbzR6pkaNxBuBODflDEVWAH2Ujb6DYQkIxIthw
rP/ZHE6xkNBsTLbz/NLP/P5rOtvNLSeyp07wM7Ffiqg6MoayKSfX3DXND8mshchDZlPmPp8gJO/c
yQIuKdDPHCySNuM96kh9Yye+2wRqgSezGUcBWbu3dKpW0F7HuC1am9lX6it1I0a3pG1kBM/MLPcv
ykb6HsERnPihrEb9MDNm8dlMUudijpp1YkiA9MEiqvbu13TFbmzxk+Lo2iEDoeUemq17MizUVRsX
X3ZFNIePtSEbvlbusM7KLsiatS7K3mvsvQ7pLweK6nMbJfjE+49SgCbd10YI8hC02ie3iSPCFwHN
rlc9jQjUVN9i11FmoS51H9Zao1N0TMqaGB5qlGKQq8kfDbx8ZrEX9D3bMu4p1hfKgG9dFQ/3yHFW
kmDfYa5lSOeVcWq/m7VkDhihTul2yhztOi/K5hl9t49gLCn4+/BjHIPAvwbuJiFgxGrmYIJAQ2gl
TQhgqTPjwkBix6FCbw7liqGoB7g/Am+X+tK2CJRiEgDkIrRLvcq8Nlyk0IwTjc/gBI0l088EpfZi
lU94X8eyi8NU2DNYW5J6n1tLT5C+9Ow9weD4zTFTiXUyG8KSyJ9gRB50TsXXTKza/Owxab30K8Iv
IG4OYh3uZu6lw8yr28a6tB+tIa+fkClDzSNS6NlOLYp5mEvTD0ip7S3xwEwro5Y8yKOEfnKsTKsf
j3pB/GWAQEF/jmDl9pvxrQlICFQwL6FhfM5iy4u2nb/AelbLWEPS8MYGcrZmwxZXUTQKaEDRT0uM
6QWTienI+e8dDcsbLv2+qkkN0QrZhGViLVYofU2v1uoPrvxiWsuXxOiWz9KYpb01HLncu6pz+y0a
a+uiEHn6w7Sieti0sJtu4AF6jKQL2wjAXDCsMDoL325b9Qfyj7p7ym+10Vj+0DPG9NBAFM0ZTJIH
xI3Pr7AbrCEKoztqcEk5wmn8IQht2TCAmo4sOqgiqD7UJsdulYc8aM4hSSM8O70muSXhMHvt7NL+
KRHW3ZV+2j37U+Lfx3MUbzHsskKTCAuCPSqmZIiNKvfGYfm+klhE/kZDy/J1YCyCQT3ESwuq8VgA
lnez+2R0tUXWFrEfG23tv7zRID2UqU07f1KmnwTEHQw7D7Ino4YCxVIxKeQRVoX+Rpl2dZohgDPL
hOg601N6hesS7WrFWrNx9OlGp/LYZ373JXXd+NHQTOfC7Gw2CxxPDks5Haje5k+21ppfRTM2ywaH
kOTCQMNhbSlOur0zm9WNqVldt+FtZz492ZOEM1j0pJsY6nEqDHfvxhTwrW7tMO1Tn/rBhHyKTtm/
ZLT4o54MiA+Yr6PiWrACvfCqNDsMamGNRLGECOGnpndK0QQeOX1ekzGOfzhaqw5zYlhbj00V5wAi
mYj4dTsrRPeY1sEgMnBEIgCTO3bJ4qpk7ryFvozMrWh4OznrfSRxFgrxHXHGzteasWAg+ziDam5Q
2uqWhySrRWyQqe6mTGE7JtaorsaleBUDf0uhRjl2jlVc2KR8ksTrYJggSxsWkla+eoyPt6mLuMEv
emehwqs7CO7YAYk9xhvDtc1067aKonwPn1o7dVqMx30P53ajwaB3oUPGOub6A4ZbeGIv1q6AMAu1
rC+SIPPq7KQPkbo1++rbEjfTifJiOOSz010W0oWCZHn2J7Psi8+qTFS7BeJLOZs56L+MGSEDsGZ6
ygtzGILO89NxZxUp7xLv5zFqOriaEyr8F7tK67uq1wcevhWRZdQlxXAB+yhC25a2us8wLFM/i66l
ccEagGDNATHUpmvgxI7Edr24o1186qGnyRNMHHXTuxqLKMEaLl1nXN0PfUo6CuZ8WChmB+tLR1rl
xu6kQUCY604vRBd6aAioOli9M7lLoKw0KLzGCzV5Z+P9NU6pvIflqR2ZGqEVSnQRBRY0sJETURfb
xqoSe9sjWtu1kflkt61xUWWoesrKGHawwDIHZy/tWZ90d28qaNNGlk0XgLzxcaL/gA+iNVi2zJyt
XUYaJOG/hLvNCb2BMVTzoXMt43Ea3LQI2BcINXYGvvPkGMYXHOOiIWBANAFH+flNPNXtM16tDvSM
vK8f5il6WAOZPxXEBHbHkZzLfoduQGYPXaVIV8AIVIdRCNH4JrWVFn2aBXFvCrLs50pfPUhIxYYo
TErPbkJr6tCt6DMUq6y4ox5EikJsMSbuhuhectIZvkmsMEDMWvV9Goe8CyXubnOqFXtVFvaeylPD
yITct9OksD7rS6VdcwC2L9JApJWImBzaSNW0YMtoXuHsWtZ7bc26G2G7HklezW5LImRct/CW0I3n
4mVJh2YOOHr9o5GUF7lFuiHRI8kBb0g2CrkkByhdHH8U66TiOdJ77UYslQLM9z0RDqs8LVCOBq9x
0p3l1l2U/Ioybj7g8dIPNzPUuV2dDM8cx+U9ng7T1svL4qack6Pk1+4l/tWEDKMXfLURM4nTkg2L
DmMfjea2hWAKcU20X71yuG4yLDlrwE8ySt30axpX+h2Rx2UAwcYEQNPTJz/vm4MWEyyaudp9HZF4
AiWhnA/UzD5yPUuj2qZPBn6HfH+p5JIfaServdVFzrNWEgWYx1ZylfGUhhoCeTgQngv7ehHVEaxn
QIVlzkeZ2Npdn3ESUfMIloJ1BwVMngD94iDhmNrhBW5fRTa5qXXqaiS9LwNESh85Cbo+Dy5K4AqZ
XuudbzxFksqOqLgu2koUixd+rSawuaZ6JtuPGq6YfxqQkdBQFelns7AkhVWUQi8S2WlNzrpCGedc
oyN4XFCUEgJf/XCRnj6InpDQXV/CqSzQE9nj1H8e7CpJLxFpD597W2intvKGJ6/S0c4KK6/Nm4w6
YnquhBcDwpI8zPAvkqjK6Icc4K4xjSG9oOrgNwL1oStNlxIw1S04eYiUavsHF6KZ2kCiHxfoHyBB
JKrp7Z4oboDLFu4TlLWh1rVNSv7m49zaMmwVEcybOFH2hVbp/AEae0yf7LFERZCgw3MqRjUMOOqY
wMsiBh5QNCNlCFmgJZlnQMQYopHPXDhkOaEdYjKmhimv9GG9DB3bzGS7NF08Uw/wKSnzj9xU/wkx
x9cAxyYMZgzE5+9nhLjWRCOe06/MD+eTV0pdHObFJvh9hnUb2LWMapI5u5nkZFi3f5ss/INzwHvF
+4rWY6mKOTDOBW8WZGfzSc9RfWvUyzevRq6R+pbcx7OR4Qw2yDA1WnlA5STvtCi30VxLTd/9+fLG
b9d3XDCDtfXAvsJ19bNpwejJLk5Iigb3UisVJ9bG5eBqOGEGsiGjhQYcxNIfZ+J9XUWKczgxwpNA
Bdicb0nOYYCdwYKQ3KG1JLYLWgRITanXbaHaw3ur2cSasNbdEj5VOSbe3b/9CR7ZD9xE9JCcvdiJ
vn98iSsSbXIAwxfdSLBQ1CsXDBR62fw9Km2hHpo3I4NE93mLJsb3L1mW2T0sdQDa7dhJICbaljYL
IQlO+TGSyH0vZB1H5l4kJhQxGzv56abGZc9ZBb+W9oGTzbmtBpRhLCPW0Bjsdfkf++wpaDDPweNt
WDYGWUj7BAvhaKNVlQlzVAEwbgcI7QXVXs4zSshXo/cojPXWa9P42e7JPN4vnTaRdPv2FLRWc4qb
D+7z+6E2ryr+KrhrCAo3lgnf8/19JiJZCjdiQu2gSlF78sec+qJUMd+L2uOWePv01Ucy0QRZvnCT
394Kv/Z5T8g7gjOYZHEKYuXCigMBFYv/gc+F9d7iSEAEx9EbQxRcWAQWR+euaE0G685PSFA2sYSw
DxYe495zEbeN2mozK/xbCVW1gCFBXO9VbJqxgVOImWTXMZGzyQV2J7E4YD4QMdAyk7TYMQvr4xCS
q71gKJCwe2brWAhIIBHBOMzmymmDJOx3hcPMt89ye4e6XE0rjQ/5jos2YK95dVnzgaX2k9Ypu8Mm
HNAVPiTY7rR42rcmGb3xdoSe+eBPlijI2iSn/aN3bF0G/+UkrDfHwrLF9PBvgRcPgeT942NwkTTR
Gj9ADouv7n5tquTu4cJgrHyoa84F0e/QTwsFTRUbkGM89Utx7VfJNKF/nwcD9GM1SgyLtmIt9ZPF
MkJvYSAbS1uLtOlhhEb2gfH/m7P/+2/OZB8fc4xVfP5NnC1w+GRGiU17jKFLMiXXWurRnZFFhl1w
StlXb7F0sa2rvsNcYNulKbyHxXfi/PSLA4G61v3EAKNH5FQxooVyIezmwDmQZxe6M+PsUDo6ajQm
u+bKgJJMn7wy5mPMCf4sRV6l+2PodUQUfcNMlhwUgKPsKzMKfX748yp7vx/DHHHgxsPPWF9jMi3e
mCV/o8n8l6dTrhQcmoA4yFdaTqmXzclZqToxCiDKoZXAM79xef78Bd4c1f57t/kG3GR4u0LHlwxK
yNt8+W/fYElILa+gH27gI/bor2LDpg5ePGCRX1MpbrNrH/3ITr6mWj2ssewr134yYvO7SASC36IR
qR2a4MvQkgvg1l2JsOe5yjjHaaCj6KipMWq3qzfuniykoglb+nWY+gKZJiGvZqRthQ3Wuv/gx53f
XibsFjE6qzoBUxUIoO8XgUjwxo+c4QfNVXsFWFQVwS/aNyCHf0UjLCP4cq51imAbEtlagYi6bpdH
W93zIgsdZjUYm1p3/E8z4G4I/TC7N6dpmBmLGeLel3N24ciKZQPnkmg7BlBVF+r6aFylk+cGoNog
/95sZTBCKnRbwJECyzm/6e7siH4u+PMvPnfGxGbZgqqA3T5SAGM1H3z/iwsNRr+oix/DG5HfgptH
G1T3K/wHK6EKsNJo1Y53rL4qFMzNvaiBjmkr6MyG1kqmD3hgZ/wEvgQWpLi1WSYMBTKx3LOKp7Tt
lHMGI5Vh5Dg/1rLR7rPMr1xsMYyoDSf0lY+qVQbD6KGI0u0oZi+69P0KxqzAeERuRmbt+L7Ewv9Z
JV6GhrfUnWuiiS1jJ5u8/NmlKBYuBMmDV6gR2uJeH72JFnGd0bLRNE9m04sHIRk5rCGxAJBv/6+m
RMO8QVeai0JapSqMNQ8rSHSjvOA1POONrno6UNHXCONEU1LvQqfuiW9mEh8HZCcipYRw3fNGqwrA
saCvSPjIkdD3kl1k+OpXNR9WvA1RzdIm+LVyZXuwHNvYeTAX6IVROUfb2qMpZ1KLZRPJT0Vbh5Vb
+vaxmrOVLaCZ+eWMJvmx92dAbVHTvm3yrEOyo0r/qtCRoAaViThoaw0lFbhAMY0DFHcXHxq8L//j
dP7/jUz0P5An5NMp/J/N6va47r03q1v//C+akOn/hU8d40lcmSmW7PW0/WVWZ/h/YU1mW5iUsdXy
Ryhi/jdLyPiLfERqQBoCes+3Yvw/LCHL/suD1sZ/crAvhwJs/juW0LtagDXo0eELFyompymF/1kp
NxYqrcBT4CyTHHyKMHP7RJZ6goU0gnggJHltQ0m4bWJL2w8QYg6pqsXhbzfrHzqf98Xar++wlrzs
BUzf4PK935gmJx2tsmvjAAzaONSL3oJ0ad1FM9sfETLXj/r7kbb+XM8DDXYMm9t6bis2YWEGx8TX
Np3buOHAXGVEdNCja/vzT3oztnx3IZ9OivqY4BGyFHiK739TPkTe6On8ppoU9C3E/engMfNN9wVz
v2smRJmN7WsL+a+tUm8I9Ll0NLBXOX8XYs6u1IS/RqwXDk5JiAbbwFsc/yGfjck4jKoSRtCOA+qJ
uEbevwGm7J0Nnl44dula6zubGRJFumlzp3maUlNs68atUkibzFxDK84GmOaVA/N1GuMKygw4WZAg
aca9a+bU3y6eBIs0Yqe56KoBjKvTyizCgidxGb7pS2Of6JkgsH9w284fDwJimMG4hZLLABfu7K5N
llmg4dWBX+LpO9RNfFdB2k9/vsiZCZ5rshBZjmsZTDHH6392lbaVo8kMlkjquDcAmuyROdyEiJfV
AsPD6raGJuZh42l1dvBjw/g0UgQGaVeaRIjTjpeWAe7t4dExKt6mD96d9dj7+6tDRKRO8adj0Qev
0PTPjsXOzAc6D77e0mPK0sDq1TeNpoOstp2+hR2qfVBpmusPPrsiW5SBjIHuGdvCs7J6KieBJQun
gVmr9NFAzbMivEt5iOui/R7nNkOJykaI55pJAzXLU/KFbA0n3RoZQrTAHUVyMsliLncqLx0RFJ0N
/z8rmvmbFy1mgn4YN72N3vdI0PSmab1/f8/o9/nmFi7HZDmdtc1yqRDbLhUvjl4+Ll0x7FO8LkI5
2FeN6f/48wt0vl/xgNbuA94zKR7CPU8Q0dKugirtangRWRH44GLvSWuYP1VaZH3Qq71ZNJ89mjUd
0HEZ1zEPEmc/jO4/1xwSrzeVSnVSYIrGT3eKFY7iyNDmQ+uRnryJfNLi4f7Y8esiOv9mimcqTBpP
Axu7ItbbHbBIxkwwSXLKhInRGLinCETeWiYmQyoXoQ43Mwl1fy6uK2VOr9AE3ZIZjdEdQd3SKRhT
htu1aDp7w2CYHF/0YAMWaRGDs2AsFSyYOq7MG8KpI5/BmencjrjOvEzCK+CCA/Cf6opkNphQOKOh
i6yBW+I00a97XpTkoJI2GT8q89cy/vz+rQcp74XNdizOjECRh7XItzqeFeSONjDMBtzEMycMXbxJ
iceqLrqvxVRo+3625u9LP4B0QYJPtpi6+Z+wg8x+TEUvKrxOrO4Ft5Xoa19Wzo3TZs4NJHYbwCwb
c3NXqHH+MdGiQnZvvfzbn9+5lZf82w9hZzShB9OwuPbZQT0UHRJzQUB6zUS33NGZqQsUrXUY+z3U
0Cqh3BO0lPtBtEPY2wbdGImSWH+3UbCoKqNvj5VzIidSPlpOYwF+cP6EJYBS8sFqPD9l1wXy9+96
toNFXmfYzrrBZrmFO1cWFQHMtWz7wS35fdsyqYTwCyFjZEUuz54tmRtwSouG0X2ZzC+tg75OJM18
bYskfqzh61SBZKvmLCwI/kbLA3vJ1IW8+fP3OO8k1/OEpsBmt+ar/NYmN+is42gVhhpN5AZ0kuNd
t3Lfmml0L0u4ClgPVHrYoBIFcfCc7oPr/35eUAZ6cNDxNEbech6H6MLH1KRNTaMl2KgkqGouRd02
G3uuUGLoFaOWP//gf7oguITHHkgXCY+dV/VvuMAEA0VZeh8H5pwMYQXf+zA46CxpdhjJDW75wfn0
++sEGMJp6FnsuWui2/vrDbw6CSydOGBiryA3qirowdL/9UvLVQTe0MLR2XLPK2HEfmB3+PIFSefb
SMv1bt383A9q3X/8LQ5e+di8G1iPrO/03+7d6FWuN/v8Ft9vUVxpeRuCQ3fhn5/QP10FixTKeUTq
5DacnRplxFaNAQCIEYZQod0u0VYMzL7/H67iCQoq0gVs4/yOibi0dQ+bDOzJZEFbOVjFYRzkdPfn
y9A6ne18KLZ4KjB5CVt2ziPudHOihy95MCNy0R2aamvX8Ef3eZY7R5bT/NnPbDyC8sr64Aeex0Wx
svEDZ1kL3Bsc0jXO3jxWsNV2ERsZagJrqw9L/TC0mtwVCQY2sENn/FgGjF8HWe2k/b0v/AcKoiiI
IugRf74L6/7+/iCDJ0GEt7P2kAwpzxadmMw+TWyJCU4jm28xznKwkAAvfXuePsi4M38/a0hsYg4B
9IiCBMOb9y+pk8bdpONsgG57YQaulN9vqkwqvAkb9CZwgzGr2KWYpJ1El+Pt6BUZpm5WjReCEcvk
M2RiN/pU8imgyxJBOnW40DCiSgjpk8xZ2JQZWiPwgEyAWFWhVYA4lCPt6uWEUYrRQYEO8AznPuI3
6Ox7vSNw1VMgy//2vq6B6PiE6yQiUAKb73/r1IG5z5GJpBbmOkGYeCwiApeHxXLKD1bl7/smsz1q
OZNXaXUCOXuEdA7FZBsD85yy0V/Heh4utSHOaUP9n3VbDR/UPr+/McyPbJBq+ggOpvMcYl+UJd5I
XA6Bj8d8qJngfQ2ZsdF6sO8PbuNv6CKbgI6ySXgOVpHoos7O/FK5EcOxDDzL7JiO6G51Gry+OS1N
gbRiqaCPFpaLENZDnd773VFHvhrmhsiPf36gv28XkD4AOdFWWZbJNPD9A7WUh6fDKix11dx8MeOx
36dQTOpN27V4fWFjshwLSI9bIy3FB+X677d83ddNZrmr+zzWVe+vjSIDQwXJLR9QpQRoB+wNTrtt
wFjyoxt+vsWvC5M5iE+OIZGJ/PP+UjIiW6jXMhmUmfxuVLYWRq4Z/8tXyOa32Az4aKvoRDnr31+E
CXnD5Fm1mHwv+XW8ZGo3T4l2qSxRf3Cptxbt7xscTwuEmqs4KxjFdOr9tbJc1GZZ603QLKXCDMz1
o/0cWUBT+PCi63GsXFgHVcx6etQcuOuBtCptxjh0MlAuZFCs0ClhbBJMvFkyaLqqvcRqBHf6ZJyU
e8u+IySm/wWM26HS0i+KKBdmxR2cyptYtnmzQ0mARcWf38ffHxS/izxYm8W/hlKc/y4IzHG5aJiH
9eVwgAQFp1rB4//zVX4b1nD7bEaecJEAFdft5f3tmxPwHFl0aJEq1T5NRQLHCwxKy2j9xPhJZQJx
k+4r3JHhhLKfK42tICmS/quFcnVk+uBBESwkCbmJyLY9k8OgGe0GqTR6KWTxUNuLVbFUilCrSowp
Gxl1OMxgITRs3G5E/Cq1crE+OPiM9bQ5ezEEym3AGjZojpezX+aP6bC0GVaAQ5E9GH7ZfetH6VDe
pu7J7m0O4kmYd1NTpg8RPLxLx2ysD3Iqf3+GLDeWGddnTMHifn9zZVlgJhpZgPuRKnZpRFwjqsaP
8pr/4SoUhWuFYxtc6HznihW8PPxVh8BoMfJuSKA5qkjp2z+/Kb/t1ACsLgmr1IboUAnYOrufSA4o
4I2pCygpxi84Ffk/ZeoWh7SNvAcmnnnYmT2jBj/1k5eoBBSodNOF9yQX+WHSw+8Pl82FE4NcMQH4
dG4G0Mz4O8Ua+m+k6UJeLrZYSqx+BBggnjm4fo+Jiqugc+1q3jYmJL3QkTCzb3QZmw9/vjP+21p8
/6ox8qSldNYYe57B2X4nS2kMuEDiiGdmPfh3tAiQF79Y8JsvRoyjKLm8W+aWiHNsVtdTNlS4muaY
pj6V6aw/DrI2v9iVk92X+Uzym18Vj4UkzyD0NTl+MfR+euDy0QPqvDIPrW42rrA6sPBHAghMN5Nt
aQ9M/7T4psZ3sdiMJdwKVp2VeQgwJ3GF1BcH1dTQfpbkqLSBMoUstr4XRZ+HGX8f7FmwlIcz5n+n
3ICuXSp7srYJxiPeJi5JpwgYmrs2nHYO8Y3jl9kL1ZF3ioCW581s1gZHJ9DBa2q24z1EPjva2nq8
mJuxFXWzsdJp+DpidbrsKjepnlvRw/rWMf8esRwsgApNBwvGndHO4nvrohkLZ89LZZiBw2AfLmYd
GLX2CxtynjfhmibYfi4npRfpEV9T8SySEZmYcJLqM3TMlesaOwRV+XGRtzgN4hmzybDxaSCSMvM7
ZK0Po33CF9APSkyL3BBvGv+xr3B7Q9SfNXfSqrvHSMbwQRamG8zi4E3jsI9Q4jqf0uGzxTprkKj1
2Dxi5fHsJXN2WUc9qj6Y/ZDNnHKpvuuTU23Nci7nI7TsNGZF1E4fdlmL1t+q4J/i9aG9toPW/i/O
zqQ3bmTLwn+l0XsCnIdFb8gclJqt0fKGsCyb8xAMDkH++v7o14tSSlCiGq8WDyiXmckkI27ce853
VNRl9fKk5VpphtaYaOZBQmwYNkVdjnFoytLPdv3YLFrIiuq9NoDWvs1THGBvGkiSRgNkjrTWhuFn
b/D8hA0pQiAi+678WYHzmDF7LstVXVRy2Y/IV685gdffU2Ldn0XbFEOUgAyBngoJTO5gVzGzN4h6
SMPaoh93QXBVHvWeFVdXJFIGaqOU6Q50/2KoMfNQVddBJaS/XWqLBVYvm6G7HgarmonGQ7kXaXOc
ExHjYWpBmykEEmdU07QS3SUwtmZDCCOENKihm0oO3u8Ge8aIfs6cKvpXRadA5Awu2nObzuUNXmo0
f24tDfts9Gsw1mrGlxo6osM6OtNaRYqR4xGSEykhoenHbE3DYjNON+vGul4TydebVy/bpjewt+eO
vgCcnzPc0UCM5YXWBLbY4f301E5Vcf/QZtpIu7vK0+9N1/ZeNEE4+1GhYfOJRlECrIrrxVdTTIl5
GS95+jiafdo9DaM+YzGw2infBkiIJVCtApu0lWK02paEijBPQhbvRmlhcDwclRt0FzQI28cso/OO
QtmE6kc6TPut9MCkrtvY/FuNvndRtNJEQYXB6aGo6g5EaUvBwsep6pd+NFLm5MqTlwnmlNV4jxbb
yBzvpUzS4TsOVQvsF9uUThs473mxQXNgZ1+C4mHQZ5eMB6iA0AKxD15CmwrSfVmsercsx0wA/Ad2
R9RLHdmLoQb10jgpZF+vHefbTEGghSzXDfZ525amfm7qVAwXepI4TKzyAc+B8q0cUkZR3+EjiJvD
1CLEI02mDqyLoA482Do6HPQwhm+Ny1n2wb7XCvLFK1W20066qhyiVFgjPMk2ba5AD9NaVlMe4MmQ
A9DsDF/uHuuQ4e3SvJ3myPfn9E0lAm957UNU1lxMUm4daJemRYcFU27cvlIhelyVXhbI4xE7G+1y
KonCr8xf0CFtL7JaTQMJVzPWZOlcF9i8RhWbOKkVCQULbZskhoI8nOAM3g2wGtuDnvaxgRFzrFoA
sVX22PemnZJEWNEb94jdADIktakIAaiiksMmtzCRq7KyConoAGdu90UtdoQXMYePTWFhj2oH+ZYF
egIy05ysjlgYt9fPlCh0sRX4EFe3/fwbyyhiNK/vre/IklMBrsdi85hkFqDUUGZQkbtQIMtqcMgh
PZshClL71vBnlmwsNgRd2sttTZ7N64B+fLp0AjY9DEW6xNPXY9PBw0YBHuYcK+JNPujNptBHvw9T
YAh/lsad7hXMzCk0gVLCWnFp7Rvzssoj9mM+iPtFhzADRPSKozvskni88DrJ4avSeU+zLeyHV631
XitH29cJbfY8RiLH607ajNriGglJdHioM+9W9fWDP/LMMNwBZn0DYO+ltIsDZfZ2KorfepajpiDd
YtQjDqQ3jeNex67OzCcosapWm4pnGQgBaEkV7KHM3ueiepZs7nYrL2Yjzu+bPLue5vHCccvX3EPM
0cFsMsAYPBSgoH3rl9FD3DS8g83fIOdsh9WFEBxrx87qETjhkwADUJO76nZAozsnTDEnKPB0sfUj
Sdm5MKLDVoh1GG0lLrqU7MW7uPZcyO9OoM5ozl7QeuLPIhH3CK7DhyL16jaJPQXaQuxxtzwMJHPr
K2h1qJqrGCu140GjDzzvm40cDKgq4GKFDbrrnqk3HqQGtNlHg/kD+Wt3ps/engy0H27qbAXKpsR0
Lvj97yyzeiSg7MzJQPZi8r/z2+Rb7noHp3j0kyvLqTAuUBOHFTvdBU9ZDy7/TyGSc48yMa5weFZJ
/2i0yZWdkr6Sq2nZW0t6kApXT5JN95WElw8vMGxt79Dp1mMs858GAXWiN51NSYBmPZm7mK48avB6
R3/7u9LMWyOlWZHSztYb/d7M+k0QxHXU+ij0cyhpfE0XW4u575v03kqHMMVMv4FSm4dVCp5YA9tr
Lbdu5XxHOPSsie+rryzR8l95X77JGKOhQmBt5uoyyYttMGH+DqqbuFTwuzTjkCeG9cPP+OGBVEeW
NqlzI6034OkupkXhmcs3k6m/NTxAW4hJb5n1Y2LAiTTpZkqc55L3KRxciGSufpYMjriDhOGPdADc
NSHHnJCPNW+2AYdRjddenewdIZyQkTznqb57MTXZrOGmt2XWnTUOT0WekEyzDK+8+DcogcpDMwNY
HPAiUW6ou6GbRBhbcPiGYhzCTFv5z0bVUSShr43Gpr6a+la/RILn7diY/Wd8rKj29Mm5spDG+rM8
02NlnfltR74M0znPvxSO3SCzJ8eitLRrkNIEWLkWs6dMncXUMftUFm91XmA8rrrfODoeJt94Qc6r
Iil/jlhJ2hAFm6cfJjh50Bh7W49JKWriS2iP6gnBnPbDZLT+VgGamSO0+PMQ6tQgpGphycBPj0n0
W+C3Joh4ziTUkBRYAQyzWdxhlxDBgXhzs4l0fZ490qNMA+wDKZo4XCXe3qgw++U7XFYjJgEJjP5m
jPHMRl06YqPyhWtsZ0ELAB8Ge4s0E7CpiMXd38EUuySh5M00EubS6Ps+T2w6vK1mYJo3sps4QNEY
VbwVIB4RK3jR4K8CjoDV4FUxCHzVyTSxSTqQi731K1ieIToCDFhNa0xkftSpoUW4DMTIyaIS57iB
43mLXR85IX0yfA8ozRosrZll/KwAon4TZqrubHca812BvQKgJTEYU2SURQylVi5EGYrO99+wTqQ/
ehuYRaisRnzzRl6ujSgLP8OBRtRD2fcaauXWmv1w5Oh83teYknl6lhrCDfTsISrSvsvDjOgN8jri
ogEUUZYxp51O4NNTbC53fk76B/tgGkHbktAYsskIwcNr7WYQLgEn/jQ4BEvZijIED0f3q5W24o9U
vnsXOAiGQ0bELkEobCeKxKymII5tbAneSSc6DljBfePPHNsWcUlmR5wCeRijjQaChIGNNZH0xjYy
Ud1OZlHhD6YvMF4Ib0FMgx3SusNnpzfXggW2iHRqNCIvJiu5CPIOZ5ClT7KCAT04f/Ja8PM1Ykie
7ZETauh4ZfpqBJrREqTUd09ab4yXDc4v/K8CiAecFwg3vI3Y9cJVMH3l+RVbOzhmDVpD4i1p1OTQ
NKNpjayDRyAIQluCVt4uTH0IUFPG8ljmqEk2TIjiJ0/I+tXRSLoKMf0YP804Dfi/g97e4Nzqr4rZ
MmDXjktFWWaVKCsysU5C0hpPzI5ic0zOG1EFAHSGJABViIUELnxg6Zdo+Hv/bMmptqPEDbK7YjKq
C02UzbNXtOO17q7P7qz13GUGN9raE5smH+e1TpqCb2qrxAjF4pPT1B51RhGbP1i8zSCKjYWd3R9G
yrdk8WkrNYXe1CHgpeSQA7D7Tkgdhlo4it4Y+ZWLEEmBv3jVCci6JSHO4sXGJh0CY6qepqKEP5OX
6zgMoYLD2DrmbQzLBL92HqByCJfZr5AS1+10kATvrhWSXl1kvQujzRqIvt44eZx90xI5BBuAnwy6
MnfIb2KX+C2oULNrEfjQjdedVfkJBsN6euWckSEEsJa+37Vj0VwZnkgFWUBa+gr62PruFhbyB134
cA5EEPg0FKvGp4aQEDc87nZ/a5AM8nMJSqYjIyrMnw3BNFdMiAcjChCOItmk8P5FSNrwLTOqhZOB
Vxn+nkylHOp17NOC6YjOxgmWm4Di/YmjGAGHg4Ez1dZLa6c1RNuGAXoEuW2XlVyatIi/bpn7dO3G
m5bhl0OTuN/4lRXck7RY3/LXji+l0XCUL9By3KcBZe7q/hoKXAmi/2OIOr4TTS5fesh+RLDIdW3K
aRpwCGrt1A1NjqHjVT716VnXkbYITHJOWrKTbCpaNy5ozgZBRttjniVk5CmzNQx65tLnWwLks2cj
SctnCGILq4an+HdzW3Q0/gnFwHpZgh6ySwpKrU1aEda0CjysaAtxSqhTp8sMak2xHWdGYNHYc2SP
rETxvoyUAQcSq0ic9PW2RlAiFv0NlGTmbUZH756b1m562khI8SMXmvj5UsQkM4AL6v2NhyGkIxJD
KbyBJm6mynMuclnRP+nGPEXbQiSPzimVTrfjo5kdsoEX1xh+ZWqs6xCjAG4MHkF5IXWNqMkSyyPQ
LVZSQsEs8++fLro72tIcAXyo6yteRA1PVLQakd52TJWVLI5iV0md9HaGC/WQ6K58bGSbsoElFYkI
dCx4JkAlsnEHin7HBkS41+9SgLVWNBkKf2dcFoQ2VqrFuDwVswwbhyg3tNq+fm706DLwUHrGFBEl
58sN8JHkNvVmoEhmPmv00vtiDkKyTjmLSDyKfrjYWn/BnHgNsao4jGzadPSudAzXydYwhPcigJeA
6XR9/efMembuxrbTXwa3W35DF2pf4yS25WFRwrvqJzf1Quwf8TesuwA1yrnr7zUqCWLXJP73KO7c
ttzktpeIPYfotcNFINpvsiQNHgb8ZzPmTLpP8L+c4bVk4UJOUzYzyBolgmwjk0Hq1BNDv7fKsSNe
Uy4DSeaQC+YtnUHiFwBHAo2GW5J/ox1g6+cwKyhmEWMuci+8YtkUIHhueoNu2NbXY4qblCRPDftx
XTo8V+xfm2ZIkluna3kYXIkgNiyCzMpIkF0AgA3asqJeOqP8XvWD82bobDLsTwPQ1cFq2cEBBbHm
Ldmytxe3+ZEX4BS2nhqraC61RZwN1Vz8sr3AvbJU0V830uWZgtXXYpMuu+mnPxXiikQ0mkxknv0d
oNpadUqL8LHhzGwXqSGRxahUMc+9b2unfZNlfOeVOw0nZIUKyznsvaK7t2kavniTHEnTVfKu9TJ1
Tb2nHlvlWtO+g8lEp5HxG7QELIkQdXx9OpOj37b7sWz1P2KEPxQvcenuCkBpyQ6jWPUj7saJGro0
SScNNAeGhoEV8ZEG8UiF18bttZ7o4I3HTsRXAMn7Z04GSRayqJcyAu+mrmBq2n6UqdmlQzyN5Usu
aUgeHKUrMohqMb7ikV9+Qd3IOJmyO9A+HIP6sUxoRvGTsyx/3TX+cBNdxi2s6h6TFxSIx3JNCoVa
M2Zm2USRiN+yLgPSukif+NdXMUHlIuYgmQSn5vop/qEbIc6qavOMaIAe1NElvT7ALKMcd19fxVwH
Ge8a4FyAqaIHsFZnjHps+aEWJaSBIHdIL2Ydtvg3dmjzujenMk2a4mlwBf/Ei5aO2K24bdwrAd8w
w6ZT2QXMaaXtXIL8NoUymj2MKM8nhVRbLugDpedl6cm9VL5zb7vztE2oZzZff/x1cvHh0zsI5hl3
I6I9tu9mjSlxQQN+hPBiI3kmdAN4CalSjjwlOD3K+fYwznGjcBfip0F7hoPo/Q+iZBrHs2fWEdtl
PQG5QUjPEwrROXSTbPgjPUcqrJEOlqZMz8wLFhEDHSbyAGDhlp5hGPTh7vcsGyem0J88kYhvQY8y
dmS0cuzkNfPFaKAyEiwq6/xCVZO6oul1QiTy2UWQxhhobbkG07H33x/SAuP0mq4TLaVs25UsgEXV
pCeG+cbHsTBWbKTQOnHlDr5k62gkY1PJ4e8jN8Tt6+otzQ2I2U0N/zMRmmNvkploW/QnqiORsy70
ty5IbHlZtVjfQ4u2Zho5SaLmbaW1/rNrEJZCh66THJ4rj9aarzeANlrc73RncptWU9yV6S8vI2eT
2X1tQ6XwbUkci0JrFTqzKF6sFCxpaGfFrK6KLKbdwdTH5qietUBPvbj3uQbpT95mKFotQ4Sl+qu0
94S9HYvJuzeGpYfyNYzEblvwunUA88Fa6FhUGWFv6pw1A1dPnoYhMP8sU0xjBvLhs8wEOa0Y+eUf
WS/yteIiwxkTM6U2NRlVIqq6yv2Nf8LIYeL7Smxsiqngeez6BjmC2TteFICzhLNQE6AVOgSQv/Rm
LV5YJ/vbgip33niOXT6nA9lFuN7zFo0OR0dzRzRE1l8u1szxkEwIxMNGSVN6E9eQWohrtsvvXVag
/4DBAl1RXyjdzia6FBqa+XTQomwZ+4Ns/eDN9rrmLpmRkRCQUC8vKkdoF5KwXpNPADgoBXMjRYw5
AbwoCZ5oOWafEUoIr0s867gQH027GTUGCjm9azG6hoAdaGjwoRgikqyrYCNgrJIlP0edGdc2EX7x
dq4XBQ+PHS+PxiGt74lNZMNLOexe8u3yP1k7cp7sZ4gcK8sk+6MNlTigaIO80ycqfQDFtOAUBoR2
AbBdEgDa0Zbv4pUp1wfC7lY8avlK6NYSZT2G86/Xt4+jW+o8dOC4guD5WpZ3pG2pDDEZghyEKFF0
7XcG7D7AWv7wB7daUx4yETCDWU9jwW6ZZ55gn9btsAXMr1200zpgPPGBPq64TJOxuiC3YULOWvN+
FQBKRPxPjeuty5P2akZVxgFM2s+1YgBkwrC6ACFo3Vg1ix5T23qrEbIN5Iz2PE2pc2EHDuhuSYfV
ppfx9Yf7/LPxsfCUuAj2j1YOVTd+Xa0+Ssz8BrTXLt05DZG+fn7KyWgca45Qd7AJoHoyMey6yAbf
3waUXLnZxQnQMIgvZTjLzvsTNBj9nAr8VmCNzQbWOyBWGN87l0Uu6sGmvIAR0MNEMh0PR6/XL2Vi
zRCRi/rc73XGTDm9/oa4rsevb8wR6mHdu2wLT9nq4McKgwnm/cdVCGlwv48NeQtpdZbl5Ep5XiB3
qpPmYchSqPSllpGp1+nnLh9+yxkeLooePwcVKb0FXYM7JkMJ/URLv/JlAoFtqeyULZcE1FIZ4kT1
s24m7zd2PjAWFT41Mj37WEPTTqUx9cBV0AY13q4h0RmeW8Mva7q/mkHPtidu0McyCOEc79fqksU6
oB/9noOu0U01VBO5Tjxe55yOto1tE75aOd3KK3J2Ylj0u8kziULLvGZjQU3bUz1Xt19/kk++OHoE
qnMPbYSD/vP9L6Ubc6VIvmsjxxj631ouY6xZU71zGXIcKlW7J1RYn7wzqJ/RrtFt59sf4ydUrDtp
N9PACoauvnFtWX+v3NG7nGwc8l9/tc8uhXaYdcPGkawfwzp8LaWxOzEZZI7Y2GFmwmAqYnZsoohA
f319sY/VCh1FhxvpwgVh7Ty6j7YzKIsc5BYTF14/YEL2Jq1YEL6+ymcvFsZMh7Mp9QrF15FOqCGW
ys8t0qw01cdOVAdO/OwjjIy35kjmIGQgizRT3k8lb42FRIrQcBAvER+rIYz1CqVxCG9HcW0uDCtJ
iq7cG3P23QeiAqVG8wW8CploRfK0jLo7nXjLPvlFWMoNhmb89vw01vuHTWuzjO5x2nIoW5wNXnbt
OquNNWlpcJ++vlMfn2vYHLQgqdOxsuJqeX8p4LqdMfsLaXBTMZ6lHSAFDbjZQVgIQgoInZt/f711
Ycb4iaH2w/VyoohbqMlE38Wzs5+GBEoqcpQtJBj/JluwvJ3YfNYH6v2KBfAXTexaHXMiOVbgj70x
eYbkVFjiJqANY8b3uemLK6+D1UdoBHMNwsjuZ+jeDK7qojxxBvjkBiNFCjhDMFg3UHu9v8EtkfE2
dWYVVVntXFtTnmxqU3TniaUzzLIonr6+wR9fMJyUXAoTHihozo7vr8esrtJJmm8jJZ9VwxQm+LdC
bV5gBIAW38XVMUhaR80KGiRgevQWkSftwFDFo38gOqvddf3in1iaPn4ZLrUGEfNtOBC7R6tFS+yB
1sFeRvZvJs9kJOqs/MG/1WevX2iVhfp/2RrYn9/fMlNUTErnjgAslZUPgnjau9nOmSqueOuvf52P
GsrVvWD6+AegI6GmXL/xP9oHizspGzR4FtE3Gc4VmpWoGxkqCIQgRItaevKjrLSJ4CTD2uW1mcKc
Mlv3BL/l4wLD5rKGcSFxWy1sx5+i1XhD+SFpexv9lpHfdLDz+inoUv3EPvbZL0hLxsCjiZWBBe39
98XrkjduxjkEQsJ0QE9JbIo6LU39WPcBHaaHxtfyfQS+R5dBbgNj3pNFVGiYNyI5ms03QXvL3GiD
qH5ZCtadOczdU9MXiUFTpdJfslb376uqTe9TgiQumbwsdHUcT6IZKleJiMOEq4dnTBRmQizev+8k
4X0H8oUSWce4dnxrZM4gC0XQenCXdHhXa5zXtP/HgCANJvnd3P5npfsvUJu3TVb38n/+e11f3q9/
XIWbQ1jk2o85/qkHPZDGzICHgflYXcaEN36DHSe39CHzxw5u0xoBquSJB+yTn91wTY62POyAgsyj
NcIXnkZ0Mk0JJx2cQyC8djN78Sl2zGdvk4lIHW08awSr3tFznBko1pgoEopWg3rnMFbkKkpskbM5
V2sy9my2qbkFAVthiGkWBKw+GUcXwRrJcuLV/uSdMq0AzxopeZbJmv/+SddAXBp/hbJUTfnGN2n7
IBad977ZpZuvV5FP7q6JrYJflCWY/x097UKZWVBlKWZOR8ktCkWy70BfnvhCfw9LR48OWBjE8iaK
F9b6o9ogCaCWVHgngH+LbiM1t/g5czzvwgp91IGpQrbtl7LdKsjXUS2IKBwxfKCsJ+KSaSfcel+q
qx7oRtSiBwPBLBP9Ehs0Cs8uaDcETfbnzBsAs2iN2ECLPbUZfvKbcLBi8/gPwenYsWahi1VGSmC5
KT1vV3eIJBFzXTCgnE/crM8eRcukT8u5iFMCL9r7nx8b5ujQWmJht2DUYvRFS4YNtb3ROCV9y0c7
OZjAF78V3eIePJJot5lWB9dfPxgfzQd/G9PemqpGb9r7S7X7x/bSugqREBlqESEEriSxql2unGa2
adFDMtpofvqnU6mFlK7Q90SWZd9Yg+w35YPIRChD2IgrSB9uyPlhlbEP3YK/z0AtI/bxaLHdI2NR
wGk9puF5WWbbUV8liZXIn9Rs1Cdu6idr118pOvZJ7BSQGN7f09gQnMdWuqfdWPMToxn/nqMSNExa
B1tDn4JHzO7piXv4yTODx1HHH0biDP8cPfVl06OSntihAS0gNRmM/FIOAu2fn+onakN4iB9XZ5ej
NBOfv23y4z4S0/IirdJcC5VAEhQ6BpGIYZrSOhvzEoUc0eKIACTmMozzVVE8ZMUSbPXEEt/qVAZo
GqzNHAzaZTcAkqbGrPR4UxtL/rC4eAmYz5UIUYdViLwV+VTKPdZOY00+biznPAEB8tMsGgOE2mK9
Qmwzqq0GQ+96RJiv0Zx0XOykMUNSXDyyguNgNICagc9Vj+QcVNSAbWO5oWeZ2m2fkkgfGUMAaMuu
3O/EKXkXTUFeT7jEurouxELDbPSFcY2iPek39miS1Ov1ov09uANRQ6oyGzThsyc7FMkaENN2yN2H
oXeMZ0BY7XeLQZNYvY/tfKd54IZ3Juv+sIHzr533U8sUlZUsPw+CdKYxzIz6rtQT1w5xZVuka6QT
GVV0DDTnpimARmwTuzeLcHQStDFM4c4ZKDI2FsksrlJOYSBa5NLGm3n2JW+TP00B5m6dT70eVXzG
Wpbm7aq4Qo4YVIi9IrzaqA3doKbd5ZhJroc6QvUYBISX3fiJ4yShnKVWAa+d5uvBnQtrN2sjevqS
iDyioMskf+riKpk3zNG7n25TQUjo2OPyrVdi/QnJyONvBX+/mBsKvO4SjZevbcql09OwimsSkQat
N7Mdefc0UXm6WgTbdkvYlK/6pYdKmaCFRI+/NEQYwbCboHDOm7b1x0d4G+jDNHoFYjOpvD2UJM5X
l5UaYRJVjLLDgl7EG+3oZYkEjOByU/RuejUOmdtsMSAMV6UIZnMvUZOh2lM6Om5UtP7vlKY+vy1f
7dJrdbMFSzoEPKuqkA5ay3FE56kIHCNtV2tQX9itsrezXvhvNEhUcd6Zc2dGTolyyBnaWdsgf1fO
1geO+kJm1qCIPxoJVMloqaF3qKmvwXJmqH5NhcQUXYRP329yguRG72eLh9iOSZnliZjRB4EWz7cw
5MpfrCicSUkIqLVwmdZb3bjG2O+1LOmrrVGYqt0t+NjEdiDiRpzFGIWIcKB3mkcMxokGqNzJbuk/
Azw+W5iwMhmQBhGvsHLR2/MgElpLvqh1sYzkeG8E+VE/us6Ix3PHbMFCa4W7hlD/nV3Wcdm2xJ8E
KWZVUQNg9roycCKRAsHez6PqXJx4RtNe+wOy/X2AFDw/K6p4QpHTakTRFySK1oelHVEkQ3Nr5m3e
+dN94jWJfcYuZXth1mXTZYMN4Hlkw/qZ0tfutgWbJNoxqPD6Bg1ra2y1xB2sm2AogCdlykzwe2TJ
W9br9QPBRJxZPGk4zaUtJxbKTh94WHKXicLWHwnzIN0ojl/teQaV7BUm4O1p8n4LCjQm16MsCHxC
Tns5GVmjv4w+bevQ0GmLYoKIgxe0lzEipDG/ddAEPWoU9HdpNZVkT0wkMyKAretI88sFbYjTG+f5
UHXWttDd5A1y4vCIlKN5+nqv/aQIw8rLMIyxGAec45m9g8XRqRaOwRgLfPiKqXldaXrx9vVVPu5G
zH89utmgHyktj8v3bE4Q3imuonlEvpMBBVpH5LuvL/Lxq2C5tjkGr+wxbJ9H+6zRWz39PvaPlqHt
1hMjj7hFXMzXV/nkq6B6wRbFTQtWtvP73TyXaM1SaCSc0cru4PSOvnMh0t7Ktmk2X1/qY9MHmBna
NU4vNA6QLry/FPB3ylooEqhPG/Q5Ccz+qB3d5nWKF/e8GhWODCzZ8kFoXTKdOUSanihdPhAL6G7y
q2HZReOnw0I6Og4g1qPXKSciDMcu1++YPFdE1Q2G0SDacmI75AVLbyemui9kq7rn2oijeR/Yidi2
GJ44FSZLdqK0OYIar/MGjzBbC3DBOnWgt/j+vjQpbGkF1ApRkrQfSQCs0So5unPhNjUkRQkJ8tc0
lGQblKgKdQbowApDM5tQQw26Vf10Un3+bgOknaN5TuufX/9sn8yYPSQwgc20SWfGeiyuQP0ye8aI
Mt0oHDJeGPgicIS7jgWrxMsnN4Xnj2+xH3tdKGbZvzkq9stt3WoOwQO5Nf7E/NbdjqNcVv20OdfU
MH2LHdVYln1pFlYVwXbC+OUJoMB7LUiLg+vHvgjTVmDLEINo5YmH8QMxiLsOwsFHnkBLjl/gqL9U
k7o44DdEoVAU6B+KvrCuoBiPb93cTbfUeW0cjZVJQL1tze2vWvZtBtqste+1VLk9KikL3uQU+NrB
MYrhLnXpJYa+AEgW1ZgM7O3XP8MnZxmgWrT3mPYySfSDdb34xymCvpcYVECTtlxHYPDElnvfqoZI
eHVxL0cCrAAiGr+WYsl+pBxyd3MxmtWJRemzT8Fpiva0SS0Oiu7oYR1amB8J0AoO91OgXXgDPZio
xGOXIoanGiBor5x/qL4pXALXFzVtCWcTP4k8LF5P3JCP7SUKdOgUNucCpqzHXLaxhChWoHaIHCI7
rvCpNURbKfciMcmjz63WOxi+0LdFnc23fZ6qR54I7C1God14sHU3E2bmLS34+YzavtgFRuzuGUzY
Vz3TlhOP23o+eX9qh71usJrjHqBHcOzSNjSkKBPwo2gsLHv11/cHtGVYFuelfLDN8tQZe30Yjq7H
5JLGOiG6DnPMo59pHPAMVrEqI5emxDWq1/ZM9LM6O/ETrHvQh8sAEKO3B4HNOz4pgZetAmDla8Zb
SbshVhLhG7xZIPNCaQsp3rwPNbFcPWYsEq3qOXQYo7wkCxzarz/Lxzvsr1o9+k2cPvk0R+/z4pVq
ZrSBb3MIhu+Z0fhbWfbzk7M41jlKx+zx6+t94CTa65mMuePfETHD7aPtTMRdY3U13U1vDLTfpcQt
zvZmfBM5pz3anPYVbGWBxN4eyX918kPse9PGKjFXkiOjVbeLUc5nIFU45C+xd6LX94lWDV4LR9C1
o82U5XiAGAw1Mg+LPlHd+TLecRZEOdIXmv4n96cF/H8XuL9cq61NTlp9d+tgS/jjws0vNhp1vhtK
301IcuimDtGOBRNhQQ3Kwt+sBiv69uJnUnbJN3uZvdducnW1HXDy/j9682iZWbj4WekAsFC/X/bm
vAvMJKWtJosGjacVp9p4ReCE6gE4eNafbNbknRym5Kmjk4iKvNPMK3J0G3WieFhfmffPOquNiQuV
uoEh6XHjTZo6CPiZjMZeBc5Zj2UJJ1NvX9A4P6XN+GRz8hms0IBgArxuueb7L21a2YyDAzCcXIgG
0pXfn9eLW947XpHdG6AshpAKK9mzHRAO5BvyprSc5EIaLrz2uhsPjHrr6yIgBrLIRHPQtJx0I04C
RfT1W/BxDfZXIR2kRzYFFrijIpWQ4kD0gPei2Zr0F0vJHjOe3l80OfgeTxKxSm58ewggV5zilH7y
wlNHUjL6FiJDitf392jQY6tbrIYhqdeNMws5BI5dgXqDIHm/8W5SBP4oqvOlR3fkieB1zMfpMQBM
rW9HZIU+brBaXmrSH2CXB94aUzrOiM7cpDOsE+v/x/UYBB1lnsUIh2r+eD325LiAiWehtEjEvORI
nWxco5v/H78GPTmWP8cxVjHI+1sSCM6LA8E6kZ80431ReXhXmQG9KSqW255sDk5m5DiHNZX4CQbI
J4pPdjXmdQw3QQiz+by/totgvNQmsjPjAD6UA2vkQrr5GPX4mP6gDMnBPTQx+Z4822T1oGUI89gS
j1gA3H1WyfibKJbuVLPys4/lgE2mviOhkun90ZuUmEHHXI3QctH6WO0mAOew/+qYg3EREIqXmvmr
3RHGbVYmC3FXGw9DoRdqCxDGO8SiarGzJfKUuPyTxYQQJ8BpjN+QQujrw/2PYk5TaGOKFKPLkhMq
WNEN2NK1cg6Fb1f/ft3iAAlNb1WiBcbfteYfl3Jnw0KCG8uoCaA4dDAPNmaWFVfN5J6qOv6yDd+v
kUhr/b+HmL+D6KO7ncYDOeup3UeqLe35Bp8dsatMAfNDaiTtNXZqwqOKtMX5RCIC04bOjXFgysB6
BslOt6CplvRBIABZAwCH9NbymwRdqce/3NieNmKfyxdx7nn5/Ew+I7jdgDrHwdhS6d61P/YWsbEM
RX6gRzKewZTIZ0Ko6ydDM36ZQas/9cao/+hcec5grtwtoyjG7RKMGfSPetFh1QmbjaUvRbJvck/q
uzjrrW8yWIMABhKdxrAXvAAYGDO8Oxh44JRoJdr2SGtHBmqjRtpdqNog/m1MOAz3RRkoY5cyHSIz
m0kgwfZ1FeB31Il5p7dcF0s0lmZP8xH90hNge1PgDErU6+Ry+8J8UkRH1Nm4PDuzgiNgVJic+M8z
jc24dwVajcn6X8rOa0duJUu7rzI49+yhN8B0X9CkKe9lboiSVKIng948/SxW9/9DmVmonDNAD7pa
KgVNMGLH3t9e3/Q7V1lQtriF0zBK53z+pEUYqp9Zxk5z/3xE7zx2SoirGP5w2tIvToOTTm6O5xnu
OTjrvo7j8UZkhrqD/BHRFDi1Z1a19531aFapaK6QDdHJI4MZOhw1G/FoaxtiKQcD6Q3C8eHKoM/8
bkllkzThZJl+Sysk8mNp2OHeZeMIlffbXCvU+0Z2lg1yWX2PRzi8CF2unauSFMGZ8POD1MK7pAmX
KEL81bbh8CI1IyyknqwuvqdSjuMmRsFkxtKghEv6PcE8+gYpk43Qmhy4Rkx6WxEEXuWDia1MHNJA
9/nG/I4GOnpogDSh1gNmotJ//KoyMcpqEq+qZyOtFJ9U2FD6Nt/eWz8K+oDqWje6IJ5k7WFGBP80
4+CiBrZSKpSlUAS/ZnUFZ4ZO98REQZ5AHHFElT7hOTovbg+zndh2UNprTRngk4QCOzhfMUBT0DvM
0ZOS22rfo9d94uzoc7dMj37OOfFs3Lt+JctIf+SSZeltM5vhz7Yr+34TOSZWn7paX5RJHOsc5zTp
resQyZ4JHj6Yx1R40HBxZKFb5LguiH47ApNSt56+SFizVVr3i8SP4jdFFLopBR8qK/E5ldXpXqSt
ZEMK71QSUfStLgh/LvoxeVs6To2JbMcDe5HXLe4Q4UXsna17rpPt8OWjN1rjDZIFKKyOU21jVMkx
aRq0ar70sOyMr+Rkt+Fu+Z1fjB2sjTNbzAfKvgN90zFur0rLoVd79E3+9/3D28N+v3UDbze6/v3o
nlEffbAaHIx1HGjMEU0F8jrW5eZpw0Db7fb34+X9mWE+qLOvw+jEtYDNUIgdvaxqlKMWMTzmVEH7
PF3V3nw37IzLfDN5UHq81p+2QHz28FMif7mTNs63zz/gD9Tsh0nmoyN8hfZxTBSSzIX748Hdf/OC
+/szQ5xGIYdDHEUhjbBwtVuHyFzLzf03OpaDNxrv3cdsk/gAq87Mk/dF53BeHg54FKCadgRtk0Sa
BxI9WPzOF15+re3BJPt4Dm/qa+dG2UoP2W7axRvg6RtnW23yQAmqjRHAknLL63lnB7Qrnlm+T54E
/qNIrqgtW6yWpLcOP82wTdB5g9bxGkxu96GVthe0nnK2ENa5c+Tp4Y4BqCyv5WzyM4RkR2NpNWU3
Nn7PLkGjBeEk1b8obClPSRin3yW953RnREDiQcKNjzTw4DtBOcO4xrRW+dWoym+z6WW3mLXlyait
+S022+6eAtLy5cz8ODm1UEFhESHnuB69EUseXilH8s5qRS08TUI9h8dhV49eP86jsdGVek6ulZSG
OF8oogTS0SxYB4fqNFIG50xF4QKc4+JVVIBmt0+TvrotBqGdS3ScnAMtci8kn2Rl1SQS4x5eZMn+
wNvT6OOf9ex1Inv8ezYKWoUc7LG+WMYCmNeazPlnJNL0ZVhkGF7QCTh/ANaydS9S6ET1ctw96c5R
sGrey4NAUz724BL3sCg5VzvvGZMOff2W+wPHE+mCBiagSdngg/ayRYCVHgVGW0JGunW0atHPhF6n
6wGkZdpaIC3YvAmEVYf3qVtdaY0ZerR2KPT9kCrU5bRa39ixNZD9zG2f5s8h6BUYdnFPJcGhM5zW
M8QIZ6bFOkEPvuL1ShAOsm+un/Pxat8R1mp5SRQY98U3m2K5qxrtNlaliyiJlK06TBtEX3trhoJZ
LwVl1/zcBv4eTp1eA01lyNbRoBy/9ZAoomqt9RrUdrwZI1Zr4Miq+c2MdBvLvahQPORFhPWWzOYX
QT0aZQXHFFQxd6v8yG9jrKbHMrR2bRTL145OnTokj33VjEa/ScqwhhM1Tdu8JmM7h2TaKbjKkCmy
PDArvcEgC0BAUTdwItqu3tgliI9K7kCWV7Z6aTdN9/L5gz9dpLhRSjA0X6wSxfcQ9I+TXJrSjNw6
BkcNXLqfFnkagq7qrQ3Q1/rh7w9F2omJpmoa6eOjhRo4U9Z0CZ0qvT4iSMjNaSM60AZ001W7z4d6
52UfvkpyIuRC15ICd/Yeyf5xW52Fq3Zdp4ST5QKwth5nTlE0BRSNMgR02ls+x6lad7W+xneaRH4w
4dEYjMqKv5Om2ZWtGic20sPfZZH3+wX3XH8Yq/qLqtFxmNi8SRt3vjs8caVbylDKXUQZDnJ2InZ6
PUSbKSv6HLBIKe81c673JcYiV/VciTPF1ndt1NGtEv0BaX3npZ+ky5QZoidJ+8LLrNl8k+MyL31Y
YtJdFiI12qDWHaStjAWJFoR0Gi30Iw7Eh2MuKC9zvqfhHcplrXtkYpTd1PURBuClYQh/GnV5JxSb
Zsd6tOICnk5uvKid0H5+/rpOQmeKuLjhUFNYPz1Sb4fLkOawzsdLBqcqHZIbpQ+nW9Fb495Z1AzR
skO6cknOLTkfDwqsg1bXtcf7KBbCi6NLdEyWEGiP3R1JldLHRq73OzDTr0s2LU96Z4szIeDpkY5b
xfWLwyBHT1p51yj7j4mZVGA8SWmXaGWyaof9gbITDQdsOkM5kWA1XHkL/4/jvgRWc1bBM41yDK+l
x76UmSqdq76d7sdrAZ39mElEQvw4a6Tp8FTHnK5qI2GsGhnIFhcK+cwH+dF98+WbyAJM1AcUrA7v
G1+LLKMcT5g7N/ZVmxTR86zWuUeXWbzvnNbww6zQbyqQe3ezjogXwtB0ZTZDuwFCNp8JhD9Y9bgO
tAkQBBAqHOP2+yUZRxB/hackffrNTAvA15EZfpcjh8jk88l9Wt5cdct/DHYUm81AJphmfKCRE05B
nJgXNP1sqHGMAHzaksJN8o03DPTLhi1S5Nsz469T6miBINriAjSKDQ52KYePXssz5MocEsmipt9S
W3K+pEYdBzqMIloS2GDEko5fZlQbtxOVvYfGIW0N5lR7akdjPhNafTDdWKxohyCJsE64o5Su1Ay1
Umpx6WUK2qfIlIwdBupnp9tHLxgyhEOkSZKHTvbDe7b0JVbjwUH/QCYH+yC7fVBntQHXimbWHUoY
LWnFdA0qzIK3tJpqCSZbXNY0ym3stlqW8ws64KyslKOUckmR18HnL+aDR/G+D9IhspY7jxU/cc+6
VFq8l8ggf97B5700s9rYfz7KB0+C4hKwZzjvKv/laG2l8Wi29ARjntkGDrYMCVZzeUqXgOkoZ4K4
j26ISJLTjr6y+I/TQ3blIIBwWErwHnAudbCKEQSkcnn8/I5Oe39JsrzrfSiXEjAeNwMYUSJKRwdQ
NWES8ggUokhdOUxt009RsVzM8Yg0rpjaedjE1RLDLhni0XJxDbSwyoqHR82ZknILD66PA6kXqDGX
yJ7J0pS6qrvmGHbgA2NBQeXzK//oAaELRfaDVJ3Ezfqu/lj8caMASdjRIlYtKKrtVncuwS6dc+D6
4I1TmaBcQ7sJ/WjH/QlVXKl2l1B+SJWoBG8ot4Em6UWNmHtRznzOpxXrtbUIuTO9snQXnhjANwY0
qxhhC7q4kYOCBEqYGKu8LQsYvXmlgL1ctMW3y8q6VjVsFrOqlLww0p1bKv2S38sDgXHjdPcTEsEz
KbmPro6GR5Z4mDsadYqj3VYRsxOTyyoB3TZh71ITl9/UJTJ/EMUr9vUcypa5T2kLvRGppldBl5fD
g6nZ6A4sPpUQOplctK5tTURJuOoWpdsgVT+nIftgXsB1QftOyR+0zfHBo4oS8vnomTwyi82+V+lz
XrRzG/1pqpDCL24+NosiFBWMqw5nH84u+PhOfeOVcgPaf5igPoul91W8A9FfJwluy5m4Sas2vqkA
Qec+ucX4GxzoL4siaT46OHEuLDg99tFEg0kr/cHMHY7ch9cEA7hB96wDBaus8V7o3cpXrLPfAMqX
jT7O/Q5xXyClxVvHITvQJ0dsR4UK0Ocf5gcThaScTnSCpIYT8fF+MdHv3tKAU8MIMWUU93keUG1O
7xoKNg9ltECmL4t5G8mY+Sp1agVmIWZPwqHusZFruvcRqgVmXS17JdPqM0HjaaSKIAROCw3CSA11
42gWg212cPbmnUkS+uiurexr2MDOZa5NmCDRobmV8tE+U3z9YFBeCGXl9YmQUTqKGhZRDq3RQxFr
w4XdCaTbNQSabltP1ezVoVT6VQxV4cx7OE28UH9XaYVeW1pUIvPD+TDEZqbCj6y9qSnabzFz5rFC
q/rVFqN+A7kUlhQ0Q+fVNGNgyaRZVIyWDSBuEFLC/MWMu/hHCzbhRqFXeJV+WvO3Xi3NL59f5weX
yTmFAxfKTwrvx2+kyvtW6mRBh4JVdJu+0uPLugFqOZat9p0Gh3MOOx/k9zR0tGBIcMZCL/K+Jf6x
c9Son+rUYEB9QITPPoKPYK7oy1eazqKCzVwtfgg9ne8UKZq+zEAcV9yOXth+KDojSOgZUXcVwU4a
NOxsF02YZm/QTAsYQukEFP3z53O6Ba27G/JOemBlgoGjaD+n9RIhGYU0RZJHQt0ovok6khq9DUDo
7w+FRR0FF75PVHBHK8hgEMGjUmUFAbATgAJ1XGGngztDaD5zVx98EiyceDSgR+AtmOsy/sdLiDMS
eZJMzdCqANzSy1DZPxZNjS4kR55XY3IZqdikNfI54NkHjxNNKeHbGleZDH44MFC6HGSnDPlCaeog
agfHL/Uycx19iM6Ei6fKXAvuBwOtMS+MiGOil12myOv0dawwK20o0FP8Vja0nq6Wp13nZpPGmRlu
++JsJis0xsBiRVp2IjfxhJAkUK4uASeus2btSBCaC2QCZmHHkQfXsVH3EW6GAOOjvg6cSK1DX4IA
/F2YQODdgU4LB58PjglnVpYP3h1iDRQsSPlpLz/uMBO1g4SpCIWXTUb8grNkf6mxIVwZ+A8+IO2S
/WJJ0/vP5+bpvk5MZCCzJ1yltn2MBbMjEnmg+GBg1FUYCBKgrpaO8rkYTOP1Hx7w3sEOq26VnkRQ
cofTY1L6MWsVBxJAMqt0tMzmvTktlOnoXVrcBJXEHjysQQ5a12+kihZpZG6gVgRhE21Dkr2fnKU9
q7I7nbWYEaJGUZhRJFiOPxcJJ5eZY2TjqbHNtply4vDxBjEcyCPK4nhpPNL1EWPtKrt6pFmbXunr
1RCpznNItaEVuWWbW99juchuk7DtAZ/2+cvnr+h0JddRmVIpphyBKd2xDsDOdcrIQqYNDfuQ72Ye
0zxT6bo/m2CT3S434+3nA34QhjG72NvIeKHDs6z1iv5YRVhzsR2SMC8tqloL4DSZQPURNaUgzr4T
CccpneiNjdGzXl8Y+TRumhazxWHSogfU5eYlkpCzwtN1lTycQrT88X2QmTGpWB1/9YVUKoCzVYAn
4BoFXbS29TMTcfotNsTyVmXoMDaO3oMIywStSMFQ9f0jKaqi2oShjfVHTsGEfmGAq1+kptN+0WbS
6r7dLorsTQsCfoUyw88zj/I0eqSqxopI7EyGhRd5+CjHGoGs3MgShLYBm5yhzSklzca0V1ELBLo2
6zS3xtNGaczxpnaszvAHWWi/YHmbm8+v5XSyG5qJ/IqEM7pY8piHlyJgSRNfQ1FtI/FKT7xy6fTa
T7rHujPB4OmawkDovdlUEXEiJz8cSIqtpGB6MVAzhp6iZCkSB6oTn9/OR6Os5xEdFSSChhNkgRqm
cd1x0MnamEkxlHYwVYDLPx/l9KGxNjLn6D5dl+TjDlx1qKi6m0rmJXHVeKsKeAPCNbpoVePX5yOd
3g8JA5MyFY9mrT8cPbWaM/HqmYAJbFaWlyQGSd+P7VmK1Qc3RCiCNIYIgYDdXi/jj2+7w7BLU+qQ
ruwxc64TMY1vEZlnv2nB3YxMzS9R3qUundn4EvcLzS5KP/hgg2svKhvqmuD8LvMowdAg660zW/vp
xXF2UOht4CzBKfBYKsIyrYRhntOCrNe/wixXQci12kNqZ933z5/2B3XFNc3BTks5z+ALPfowNXCD
LCGZ5AJQ7fj8FiVzU0VtLxBcp8GYTnjSS2wZHhJv1Q/NuH3q2yZ6IW5V/zaYBOwGhzvyUtw7AcDR
O0lLUgMj5SC2O1RHurxMe1ONsnMn2fVkcriCOlB/DBZPZg8Cj6NbjqR+DrMaXGypNtmzw97vJjal
GJjhaMd0OSX7gNdD1g39L62tRh+sz/Dj8+d++obJ5HN24v9gE4AIPJx+NLPT9coeSZORmWzimZMh
iYsec4n63FP9YBtbsUN4ERNyYyV7LAfCnY81t8Cf0I4rfKyMKl/TaEneKZcY+5RQpmPD+J1Xi5W4
JKv063kmHvBCWUe0qONBCzZRHih8LK2dWt7nD+Kjq8ONlEgPDiEH2GMexJKPQOJwWUQGaUNbHiDZ
bVU6wJ86dFRP+BE0F6k8yIkXaXQMIkWLtgDmH+zSpm9r5vyA49CCq+jnl3W6CpH646NQ1/4JpEBH
7wfHlDyWuqzw2qnP0ZTqxd6EI/93t6JVAUwXGklGTozO8b0rU9rJnFBLjwqU9EPkSXVJwXyhqG/I
ZxJsJzfEUNRAbZkOPsY7ngQAN3VRou/znBHTwiHVoi1H9L+dV4ZFa9AtyF5PkyU/HE7rMpSAT4+4
ENAVJHYIC4HON7blf/5y1jPpwQdMup1EFOkovmDU3UcfcJJbyxRCj/Ryu5ye6yzRnjUgqC+W1sp7
eg9MNzLlZjfhKwAbcKn+/lsjJbx6XvINy1zE4U0m4eBUpcnRCknKmkh1yq2we5yNKhzIPr/Tk7MQ
78teBf1rwX/9hA+HQuBJ0N+CrVHVCuFe4ZaqgrfaRUxornV/n9u8soHWfpt35SjorcPhWnBEjhhW
MJFtlvuC3TmozdGmwrmYvpqlwzare93D41FsaNDljGQjeFAo/rrsm0lg9sXw8PkTILV/+ra5KMoH
yASoQh3vUPbIxmPXGOyQJsCEZewhD3tk8mTEL6U6Op6RTRiyTIUW3XIBOELOtHq85g0pOteuNP1X
EqEP3sZGNL4unTZfUsHutzWcHdUrQCbRQ1OUbHuRMGawFG1fLYiDnKVjg8gReC+R0j8gujA7Oslq
2XjEn6XXXZqQkIiRh8XKLlbm5ikOgQh7ejSCQwm7Edyv1YxzcUEQimS7ZBH24ATABJIjCRvobsSD
KSg7PUv82KzUm1ZywhRKzdBe9mDP8JMoY/utiOdhZ4opl3AOSxecJdCY08Y/mM0NRSs7Be08Atl2
ml6LPYQE0mtqJeOlEyO7BdGQaMzRKMKwux8t6XsFKvpLZIUqBpPN/LW3Wu1XlFbSdyEnRoltuhFX
bq9mlsNe0Es3+PNKuLvrowCbTJRUXw0rsMoXQwetEUkWXOJMXiBxobJJpf0ix8l20mFobYvIjBe3
VgU8P7sSYCgwZJR9qVWd7wXmHdwgTaNfBZa7uiv3Ms5w0kw3520X6yxUCrBoJLrFhMdYn8+mGfRG
jXFbni7QWaGQ8pomMn7phgK0+DYUVaHiINAuiDO7dHpCxa/qvjXJzXNTjkXp906H+w9K/MZyKxpT
ap8mPkochjLDH2sdSxbuOIv+ZcEr9AlrAepRqai7cpMzSyLkwWKqAgdD0upiEWvnq1jKgvpDz+aG
4QfJfH+Apzu4zDLT8CHSU8drGhPLuKkUsAU5QauTb65tq7RNL/mvdGknPmxMIlQ3mmzlm6ZUTulG
joFlF+Kt/qV3ikUGsDwQaZJ7znAcnsbqF4nOfnp05L5+yWDJoSZEgMUM4SR6RUFAVrxOaemwSAii
YrRY2nAnd3CnvTK2mhXjQPkBDWEsVsP1DLwJ31PsRuFoPcOeSStPix37RizNcKXxNPnnrGh1aNQG
fQkWmp3x4K3p1veqfHX8YCJaq8ovs4O5qozJJTHMMvz5UvDBFkbSkdUQ8RkAs+PzFEqhhfq9DjNY
FvZtVebTY9vKzplRTgMSFkGUv5zcbHPdy452F7ILaiHHaeFJI6WFcdmEuoPXsPxkRMbGKo0XFDtX
qb2A4IJnP+NQCpxGvm2K4Uy26CRGBCaGoQE9h1QGOUQercaKKuxuVGnaC7U5/OFgJOKX1dJe1iae
WH/30fLGyQDZaMbZb5yjZP6o12NO6LdS8YW1FVoe/hat9bex+FTN1lMNYS/N0FS5D7cX3ZkNq6Vi
g9tql21GPdKfkqSNzhy7P3hshB+cuamHICs7rjnDj8WeQJAaacIhw9+lWTZY4q2Ec+vM4el0QtLo
sWJAkOTBTz2GVDYaJXMLv2vPsNkfs8SaN6FA8/r5uzkV5PBGKIwiklj3ZlJRh4+tN9q4TRNM0h0g
MDhslaRMvEXOFjvoQ7Zil47VEXsmQnfs1NJ5/JIbqUhx29KQ3oai7ve91ufDmQ/lg7snNqYiaHKo
ACZ5JNxo4zrXmwGreakpzYAeXDvIFNBLn9/9B6MAakCHhRqGEsXxzYfLlDZpRjnFiXCekeWO2NKh
9+rzUU7bCtZ2aYRVbJhgaUk8HD5jVVhWolarLdmYQP2e4uwxH1UTBx06RMJYz3dkA517ZdJwTikN
+k5VqYvBswvjzlLy9Hnqa3z9yMM7T1rumAhXmvHMRZ6GvTzqFblN5tigrKEeXqOObGLpcxIQSk1j
sJes0Ha+Vxb8JNHvl8mYn5EKghDDutgtqLftP39IH70KcBkrRIWAFKnO4fiZWrcYypIltnIFG0Sn
H2/kPFfOTPcPPl8q7KTgyZxxNjqWFxt9Zg5jqqy4PuCUY9qKDRlmOkcb69wh7zT5sTIxSPFSa1gF
Zsf9yyKsKrbNmoOENch3MW5HL+nizM99YsQ7FYOeu75XsvsojBL476r5RR8y46keOCh//mjfdZOH
RxquREPPTAXX4Xs9erexAJQcJghlTOByycUcLvLXOOu7HwgUE/RoICpad6zH0r4EC6e9KGOdxheD
mcy5V9id/hhSm3lWsgrTyjKjPyBXq34/d9YUBzls2590uyAcVcnvXubOLNrNsozyr6wbJw2sTUQG
PxVF8dsOx0b1q6gil5joi/n8+X2evlyVEguVFvSLK8326Da71JyEggrIo48n9Uk16kAqU/Ur7cz2
maFOv5Y1v6tTvaRlDM3k0fJkkD2m0Q7I9KxpiXqxyH0fWLXeRq5IK/2mLjBWDyqchL+SlRDIwEej
PofmPz2+QVpl/0Z5s+abjq/BbOqZjhessSaM01/KFMsNfIDajWbV2nc1zqaNHtbZy+fP+PS8xKJM
wwZvlCT3iW4PE46WuQRI2F5adKLhaBhfgLsZ122YLAQ12TkKwCkxcW2cYQfghVIlcY4LuxmHDDnX
aZrIMqV+LOwFi29lKTDpqyO71/ZzpEUNLoOa9BCrDv26dibyR8spewz1ujy+S8aQ40UlJABvCiqv
xwwzEV/raCxAXgCBeU+9qf5ZtWXzEC9jRQnQiJNv+I05oHKx3rpr4Q7gUlpSvsLMTeqRi0tpHoio
yrKrKcxMycXMtKZTsRcYltS2VCi+qaOW8Tn36L8la27LXYqbuY5qpIW9XDfY7CZLNn9tpMaKV+ll
2O+miIDFLVm3zrVsnnwaAN/58Ck+IpXgrLH++R8J6cbAUhf7TZz1lra9ImHW05mA/bdOU4L/+Qw5
KSGRt3iP8mjw4Ts8rrBGdDzacjL0JLat/DpTaVxdcW3NDmOHescRN6JbwlJvwioDFPn52CebCGOv
fiMsAKRN+c/hbdJ2KUV0MwMuomJygfqg9vgF7d9b1X8fIJbbf/0PP/+s8NhKorg7+vFf18lPPG2r
393/rL/2///a4S/961a8lY9d8/bWXb+K47958Iv8+/8Z33/tXg9+4JSedPN9/9bMD29tn3fvgwCD
Xv/m//UP/+vt/V95msXbP//CmaPs1n8twlDsr//80f7XP/8irkVLyVP77z/H+M9fuHkt+N1L7nqo
Pvylt9e2++dfqvIPLDMQ2xHxayh7V3jG+Pb+J/I/Vqk7/zMlRqqta3Wx5Cge//MvXfsHoA3i6bUv
klVt3aLaqn//I+UfpKaIgyHNvMf2yl//7+Lu/r3J/fvdfEzHpup8/C2878fkPAFKrHrs4xggT8O0
WEy6DFTyPA8Es8uF1LfRvm5IqoRLm/lVji1937oRJu6bQW3zF8sQv6Iq/z7M2oXad68pXnmBMRdL
IGaBh0s10HtvsA5Mi6XdTwPc4d5xSCeo7WuUULudAZhhDYpdLO6SkB3H2yhF2kay62W0Bp+UIkmc
triXFC3ZxfaMUXFNwkFEDi4dyi3n8btCpsN5GKrR1STl2uYk+diMF5WtXBDFRheNFD9PSfemklVw
Ya/3N6VKN7VUDiG9R63loifB6z1psGWPwx+KM+5is74pJ+NqsrKvVOcu9KHAcFyvNUjN/V4RRRQM
TnYVqqxHvSkeMHkotmw08Ff7Kd+NS36ztLW6D6X80rKqK3tOLilI6NdJYtz3s/5YLiGA1nnNmjlV
talpyUbEnweDhkaH7+uO9I90oduT1zfzLh0kY8sRvdw6KXDQrN1alaV4RIaDKyKNfIz50uFBuTQI
1rW2d1NLeCnGPy794I94jd3UApdPvXoAzxLUvdgl9RQ0S7NPJnjVQtvbcnQ1yFpgJ/3VSH5tqm03
XG19C07kzIQnpFAr2dp6dlrCJRzGXmiqqVb5ElhRE9xm0Tyrk7ox5lDadYtKz6iuc5CXpUBqmwTw
OBczRj8zmoNwt9oKgiQ/K2N1HwMJ8dN2oQEofEQa65aFsbh6Bhofv3ofwRidmXoTpDHc18Iisuhz
P7ezPW6nO4zCdrVhXie5vcHqa4svcOVHa24vytpLUUeXowhJcCGJc6WmiF3exldFEZaX0cPoSjB0
GwV9QWu90bLUurrAzWbIehfpATXGxNqGaf9z0JWr1MFSUmlnPDFVC+PdbIsrJ39PybeySlINo2Uw
oAM2Y9r8msvzd/pYtjNous3cl1dLXrxIbXZXmP1trXBqbQcM65EM6WBjpzJQ8AZnU+6CNlW2iUhR
paRi8kfd/lHnxXayM31jlqrkyQrAjnTEvzjtq4vRkneh0j1Mg7rnsHylVdTupGx0h3ktTQMqdMVK
pWP+vISldQPXn7pubz4oyJgwDauupKSOgrKpd8iWBMWnMpgXnBgStcQpCu/igtzqkuIZIPToUZTZ
JhIVHUfhl3GGNIal+Q/8UV2xxD8pub/MZVlfaBHqkEH/uVjWa0PgG6mY19E0gKmE8aQi+PmJGf2j
0YT7yVKuNGO+0orEzeZ6p0Y9fX0zwF0j2aamctuUYosFzT3GnEBIZueqyqdn8rH3Ua0GSaU9YoZx
LxTpISmZLU7jrroGzzHLJzXV8C7PlA19sFtT5uCm584XDbh6H2s3ehu+LjXTewEf3diVL8LuuhMC
c+o1KZqS3ZbknZIOqyG6scNW8pfV5fvU/oU3vOnKbfU4KtJFG2ZrklAnSdn0A3lxFglOD57Rmd0u
x9QZXZf+07ZgQ6HnLDZiesHW4hIzab8tCh5ww5xSS/WJH4CB9hbWx6TaF/UbUzT08gyQqqUXQVrX
hquw4NSSdKGY/SbU1Py2TpVybzbGxqz6p3ppn9WxuB0QM3nN1G7JJ9ZeJ3eFH5Lv2o6ORiVRxM9g
gn3sr70aE74k1cDzV9cDYm/fHpJdcTlC0DBfMCeN7efCnhbi+GojlHj2pVG7H5KOxX8ZruVwICOq
vmRNs+2AF7f2/JPGJa/TaQl1Zjpkk9ZJd203qfg5mF4HVtSYkhs5nXDp1Mve0xLzkmzgdYFNd8XJ
zyM6rwCvLD5tGs+GVd5ZBh9bv4aGId4F7hyS1lVbbW/0/bfEMh70fKFUUOwUzbxDE/uFjA1JA81A
qhQ1Dip7ljU6puJZoyt6GX61lSa27/4HWpXe99NAOjwyt4Bw1vdnPzdjee+IsWGkyvBMo3gdYxKu
etHcV7W8KRYyDYTGg2vNw5ex5yc8eytXLqtk10nOj3Et6vaTdjHK5R1LwURj8vjFzJTlcZjil1Yv
f5iReeWU9c9ZV++iIv/Kcr5vQnmfD7iC5/hhp0r/Ijf9Tu1b2Qv7Zm9V4NUQ2iMPm9XV+LR32TtG
1zBL2a0xQvPkebqAl/1DMiVw2/GAOTnIO5F317Nq/8yHqfQH2qoDp9FeStRLVD3yLghTcUv7IjtT
3nhK5PwekXVuZpWO27JWwNuUSRSklonZfB19p+nnK3YRF4tebBtkPC6bG5Ubx/q5TMNl1YvbhIyg
u9CNuwGvLVyHlcG1ovJLqaT1BvfROySoL4UsvWHQqLrO2O31WXnoZvz/GtPahY51P1rZNX7ZdzQS
vVYLm+qiWK5tDzcoxTzQP3QettMlRHowyZm1q0bFXLfzNigmZ9eBlYx70WGbjb4y1dRfVqre8Tqf
WbiaqywTu0yDVj6EuGML0T9Yoxh4QfLC586SMWNdVfXT2xQpj11IJr6ThktgSTdsHRniLap+NEME
DY1BRdea1FeqTSLN93mTTu7Y2vVGr7I75LcX+HzeJ4TwTN1ecZ0Brd6iA9FPxugHVrO5C7nwVtOz
n61qX8ROGLmYQKbXRDQZi42yItOtL6POSbJb2sKlMzeo4iZxRVI9JKL4qmiUQFIn3w1DmXqSkwkq
Aw0QmeGmWMOurr9S8/w5r9rfkqPtaBjMwX9rv4tqCqTGvgS+vewLQUtQP8pbQImDr0WweGGJKChy
vplwJPsFrrtZ+yBl9p0h32Sds427sfadbgHApCwsD+1mRPMGoh6rcAe3Y5iKwGqX74lp/8C6lBJ0
BO6tN+Tb2Uq3jli+VSHvCb9T/mlAgVht80qy1xbh0aU2T5dxyh6hOsODpgrqdGmx1YStMu9bpnOp
XSVAeXE0BskL0QotJ9YM27KOE88pjFeyDliTJ+N1DlEqGExjcDOt3Ra2STFrGGncXNJnwy72dET9
rAdT8Ronua6jSYHsTb2cxuudqZXjRqEM5qdG9gQB4ko1wnTLQtYH4aDT1j4lqIurKvFiucEXAkuf
TaPDlbLX/CC1/ivyGz1ei6waqXIxD03oxWH0BZVbv1nmWttqRqf6tTpgsNXhQB0bqI0okCL1gNWZ
6YCqutT2KM3dlJb6CuJBuA17waaduxvWuctBG65Yyckvq8k12P9XSPgRTD1ddke7xdF0Jt7qUr+X
YepIXSdtigxCLhJ2I0B7c2vOq6e6YT936vyAL8K3cZmv1SK5Atr+avVW5zZWx9UYELrUuM5co2tX
X4Wk9sxaEAqE+Uwq3MJ0IrLehNabAesivozZfDuy42I4s+v1+roWoey2w3grqVrq00p6300szEop
34yg3ztd6y5h8AN3l6RH3IC389RdFqp2EVVzRbZA+yXIH15a0/i4CPu51eGPSPbvcdEdCtIGfeRi
01UhNvSCSjGihA0JfD4tycIxni38f9k7s+W4kSxNv0tfN9KwOZZbxMbgLoqSKN3AJFGCY4djcSxP
3x+knh4xyFFYznWXWZWVZaYSAcDhfs5//gULM9Lpq3xadTPFtjNrNp15/Dzj9z+4QJoyHK8hNccE
MrDj943ept4ck+QRP4yzLiiSs44tM/uaT8O1ZaE/xFVk3C72eLv6Gm+6LGMiLztM7pPqIjddzm81
vGP1SYLA7Ode1R/iuDpm84DY3Nk12uk37rw8Mg9CR1eoxwqcYZfPzlVnz09EOND8OAQBttP8aMft
9ZQ5j2Xs3QX58tBVwxVrmFmyOT6S+KlQrolvXahvejMbN4kxXTpZcTGL8cqVzpGYB/xFcd/FKl3s
5oyCyq2He13gIdqWxg/yNW7KimJ4aZhU6Cy8S0Ds4PLqq7GqYT0sLMi5K7bmQOiegY08EFN8IYzw
3m7CY98lP2NHDgeYPLuCUyUzyDuJYSdeqnL8lAdJdiiS8stg5DvRhkfDrYJrM+jLQ9nnw2UuvVs3
BCXi6UXsRXswyZtGiQvKrp3TyKeaUPoj4pHhaBZlfwGRR+89wxwuVBOCrJlSHKVguw5rAgXmoaca
Z1tF1dibuz4uxkscYi8XMX2IlXs1Ox0pFmn4VRP9sZrTUuCGHUIucdkMhE9URWfs09U9zKJoxyiX
gU0fslS7PrycHDPfB66Zbs1xfuqKxqY1FvfSHaIBWd+O0RFdaN59cvry2q7Tj4GqrtI4wEigdvxd
Q0yQ0/A1ujWp4/6I5wG+bfypljJQC7IsqnafGR5pNFkZkSxU3Osl7SB7xszhCV55hx/WN8uWy5U7
iMtSwMbQii0RhcHBrZP2YGZDvIk92lE/MW8dWd5LKb72onUiksZue8MtItXWe0OoqF6vOIp3vg/J
bgluXarYKOv5l0Aybw21M4P6CRuClMYvAZmS2N5lApaNRzPjaWdDyMkHPtfvuNLcSaKNo7wtoXoQ
xR42a77kIt971ffZKT55RMPvWwR6LrU1HSyk9Xki16Ananef54v1RVproLts5I7p0MxCNJzNDDx5
jVIZ5/KGGs7iT2GDZoK7yPc9Chn2aIgNC54ruIGYW282aCDCHcnS1qZ0023jXc+B8ZTJdyWFYE/Q
L5zjX4nZjwuANG0IkSGQEJwEqauN4Vqqn4N6t5A7FmtKEOcYu/19o3P25iaykGBeSJ2jdrwL0Xxs
FPgNKdDttpy7Y9PMl26tLqFn1pFB+Cr0+wV3E+8qNMmtsez2qUpIqgAhYFMk3GTnGXbKie6+680n
+Bzx0W7cfUWTu5TO0auGPiIt+9OEXAc2yfJR+R5VzHwTs3vH5KPUndPuY9+5s0uBqaR/CKvyONXj
uyoH2bX79Hap66u0M2+wjL3pKcGkV33o6vaxbMR7RpjMLqyLTsoe+8PuYljcnZTzIzAC0sawu4cy
b1GZ2FRBeGbvCvtzjH8zhIKlpdkdnrLstuzUh7YU5jaRXX5he/Nzu7iXqqM1RXZI/MfaxmOCkTfD
EBHaam2IGCCopJk2RTumNMbVpQ6zMVq6lWzBdxw5cXrZ22NkxN8d+9PIhqgX9S7VszzopHi6Kr3w
pm7KG62tS3MiI9vU8Z1sdXEUQXyJex372exshCd/dL66bswAwmx5MBq6aVOoax/PdNc30DqlT0v5
VQ33ovmKQGQNhYJ5auh931CTmJm5gd/EQYrBYtnfdu1AYFBcP0xY7mEDWZZbMcn3s+MbV+Y49Nte
zPleaU2t75u3UFAe6zz44HR2FRHDQQXQttZFvqwl5a5w4I0sdhL51XJLBMlmsYfxMLTNBRzp24Zo
NgJPLry2e1xJ3vtq/ioy8dVXvn/Mp58ML44ZSEJZmXeqGZZbgZZgqI1nnMrkp5U1a5rBU6WW+oJ8
9Oc65i4CPetb2KQ4gbvexvYkvqtKYJ+Jxm1XhDBOcMq09n5eklUvQeuyIEKX7G7GejAOFjgfukl+
e82HElap/ZO0IMRJ5Psy8+7jA0nn2Y0WgXEpOj+78nrH2k0WMMCIrf8WcdJCvIN4/wtM/V9s+T88
BgX/b1j52P4ovlbPf+LK6x/4DSkb4p8QWB8SqwfHGIDaBdP9jSkblvmPh0kXBFR4UCYaVf7Uf4PK
QvyD3Ar5WrDOYFf7tf8BlYX1D44QzAoRZHmryZf4N6Dyy6EYJlHEPSBcsNbQAjQzrxj1id913dzi
52fbn4FZlz12lvYuW0rjICq/PDNhsV5O/n5fj1++5veSRMPI/OWYI7eDZaok1+uqHHm9EWMl0NiJ
vWdnq/a9R3oRK7+OfFCCrZSeeMLpw+UUdOsjhLj5ksHsw0Ry/WVKGh+JmdjrZAWJSGfGMS+R9l+/
E3OblRa+iu7xYXr5O8OwXhbgYnRvfvsFy095KR0VUr0rdYaA/PoNYBUWQmDgRTPqOk01tobOMpeO
81SHUh3GafIOdhb4O50F9RcfU/Uzd/b6DTCk8Fk4qGLgK5wOJVO7SMvWRqxi5yMwfba4G0kYBKVy
Pt8MIxLG1DGCM+/9jZv0GDXDUrPgakBDevk4C4JDusJNEe6zQ28oMpqo6diK2gFQ0amNn398gP89
OvkzSPQX5eP/0gbW18faQgzHh0Wtb55ynfquTRzMWREbLxVFBUxh/UGia18dgqvuKYO8QzLHYBnv
Hb+xwm28tN57VQTi2Yd4HkYjadKaIQo+EDuvkcLfSVw2sg33sEzbOHO9x8LSznc5VuYXBUF0jBp7
Cd5nJaDexd9v5q1nxwJxGEnCwYHt+/LZtamyCkHkC+JTM7hGRJ8fym5arsskr3fVYHu7v18Pujj/
xpOn53MoresDQjySwpdXXAQHhiqafNMZfncZQ4NdI1zs4T5NzUZuc6tLD/WA2yjeclNy9JzCeSKx
KLwCiSJwxcT8KLt154B6lkjOKqVwqhhv2IaXXhpZQq2V+h6vBUXr/MMplXiCPY3BJDitvJEdxuLR
hIi+OzSEfF/mXZI5u5bIxo9Da/dkDopATgdJn1YQoCrEDQGedbfzq96+bBzCF7I41H7U+R6EaBe2
KrbSNtUilXCdUTEszV3TafOrCiApRo1VtNQfYUuwejp34UO/iMreOX01Lzu77jFJ1yvTGs1Rrz6G
JNu2u5o0dWrIOtX7lS4NItQ2YR8xCadLcofG+B6nk/jInoYVN4tNPRFu2d3nQ4enifJT/wJvNqhJ
mTlmO/pG86IjBElcp3j0fK7rvqFqT031LS5APbGS9pdtKZNwOzrOZBAWFPfudhrEhJ50jM3vo6Ps
z245GsW9sqUDgDh3SMdJOluHcdXU2YTtUX1GSZkSdyG9FttuHbh8Ay0aT+geINVqZzUSgLdqRnnj
A25QSjaQV41Uj3OEtQ/RpKJy8nk3z6hPYBSL4MawCX/AkieXUIeLJEgvYHMbPsl2edruCKbOZtID
/eHDaDdsn3KSgLIDrmWfkT3SUOvGnDuMAhtNG9zp9ktpWpL+Kqk7NvgpzHZS+6AIC7M5uYpuAaAW
5lG3aDbIti/tiibfV+NorkblrrvvnL4f91nfDRgzB35S7OwG6vbWsFa6kOJ7/jimo062QZZl5dZr
wgFO2Fg7/H/XrD6FTbOM2zZsjc9FFQ4SuDiB6O8gdaOf9XPnmvkiVW0ATv6pbUaAhjoIFbyK2Rw/
497MKmrDbPrqN8KHNl316l6KbvZAXPsmwCI6oFHau65abmeyGLyd2SNf3mZMJQ9y8EAOVTzUeqP7
mh7JgwJ94c3L7O2HbOy6TYO1KTBF2ln3doFSapcDI4RRHMs5IYcPeC0di/ynXpisbfCgLj4Vnhjv
PWg+zAz14kDdnvPk1i6qId/MrOtxn8S4KoAjqeKuAeH5YI5sdrs5sJujxPQLGLkzh6jUY6j3oTeN
wEWAud/GSle3QRukYOrN2sdJjjHo2i0Z0dEsqvTZ14O1EMkhWw+xAC5K1khMVmQGhZfsgkICe0h/
jc4EnZ2OhIihnA/mSVS7FJMvhCOZNH/y+HHGxc5ULFsMx6yfcy5TkymqNvodfkRzuF38pSXRMXe8
YQPFyriSPYoeZnMxiMxUmeQ/ljIVpIPpii9eitS99gDQZKQHhuVbA24sASZlgYvLkJhGTwcJ+Ict
hzEyewNfGaOub+ZvmSNGZ23F0/veCDCg74du7CNwT3OMvKD2nmzyMdsoywuc+SsaNYIwFfyyVKvw
GXE4PzaWqfFY9fn8rhwb3zzoxqNzZqR70Zhm/LB+2+7Bmyvlbdil9GfDbcJP3cIHFVmQIuj4MBBN
CZ8JEU/MTRn+CAPabo5Sc7xSk0VTwRAeEygpVcoKHG1KrC5J6vdpPzAuw3C2NliudnedF7RJ1FBm
4dGAtd47FBPsDN5U5d2m7WT9gaFnjtk+KSfPol/6Lz2VQ30Y8VXp6cWzeGutXSLYP21j1Ps48W+y
vB4evCrFI5qkw2nYj3pVyhWARFg2jpOpjxLn+bvcTd2ODYD0+A3ZOSZxx2LdqnERyg6SbJ1+OxWJ
88ke2+CxAdrvD2K2hy/h4qvi6IB15ztrNNwn8ilt8jPzUrS7Elk+nasc1E0/t9ARK0gRP6Qvwxu+
yuaL1HP93cswR92Krkbh0lj+yLDaLvXVpNFYXlFayDszUEW+Mz3MHiK2Z/G8CAPvQrjG9pchbzGC
kIgI7rJeMfrW1RofivW/eWMNAegUZlJdvgfh7pyNP7tT8JPXOVYPY58Laxu7HkmaOAXOM4sqsZ+z
OCmWqGXdbMn68z90hlF8WaRvLltpWMSWTMU4mJcgVCRIFL0M86gvs/EpCJI85jRZxN0C5dVh5/bL
+iImtcEkJgKMdMNfhXSgwna6bvJgRJnVxOK7DlZwL575GKIc0ry9TRtbk30a0FTynZeJz1yubgUH
msH8czIBcpSusagZ1bQwWrFqp97IxrBlRJJMdZ15I/ExAM5EuShfumzsTNsXhlCVYazdaH6nECPN
W9Wm4OnhHMcfsCfwYbFVCmdI6J/FJw4wZqHeKJpdQ8Eo0ZjEyzfYLp3csULn9+WAr9JmKtt1ImPp
JtkvXu1M2EWYDHiHvghb/q5X95Euc+Vs8r5cJySk2R5x8PCWyC9z/1vgx7nDeTCSyRW7zN1Yce0C
26Sx7evakzbIYrHeAhVk+1G5qiatp/DzPAL1w3IiNGY+SgwQaNdxDXlyPLCxyHELs4zcmeilEn5u
h2NEg3i4Nhe2VsDL6jMeAEa2yYs6+G6FRDddL6PffNEQ+Eo2x9l9cBduAQjAya6ps2Bh2LG2vgMz
mD88o3K2vkkxxWRbxz8TTZQP7AD6oL1Hksx9a9q8C9dxGrEdyzy+TuEXPjvL2O8AvOsvJcLtu1hO
oSJdwGnvi5w4KHw0spZjr/jse8Z0H6QG7oEijXt0v5PZE1ECm6DM4IbkpiP3uZ/Ux7TOwOn9GlBb
ORXBI0ltDD/qJl0+CyHdR6N2xyvbJ22VjrJr5a7yh+7z2M2AYkqWw7Zk/uvduE7ldhfZIsZP42Jl
zYYHZ97U5L/MGysLhk+agunrNISdBf1kyR/jGlEypRTHzWY0i3kHL6OH4U0GypMLEIQIQFXd3ia4
hGdY5UUaJZqaNxqSlA/LzIvhsm185PPMQm3c3NZ/hiFROP+MhxKUtLScxtpkWpXrZEtb75d6jp2t
Kuflk6o9A0IARHKsxRQk9jafoCaQGJGHtKZT2D5MLsB8pOPaf1TMLSuSfDsPpNaXopabzkq6cJ9V
cT9t6SDir4PttM/d2OWPeBgir0JEb5NNjnHZh1KGzOXjrhVPLFr/UTZjc8k5t0I9hE6SJjEFiLYo
DUk/B/n2kNkUNfHP/hiAB5q26uWe4TE8GbwEEwy/ZZHKS7MI6qPqzCk9GJmBV6Rd2PYTsRsciF7J
zG6jjCX3OVFseW1L02kjHyn7NwSnzYAuqk3DHdaa2TcVTFidBu2MHajyBIT0tFTplTsD/+GrXYQP
iK+88MLt0A1Etik6xrX8wQ1B1zCxF4wNB1NDHOjcrPw818J+cIMgfG4giT1afj8vqHBTk3AXM80p
xRp/mWlEzPhzXGgN1cBEwBY5hUGqbxrCCOhSUl+2hV+GUG5M6dwp2blAm0GckWg9JuzvgU7GDykB
Ycgh5UzN1mcDGaI2hQAGWCI07tssoVzzlF0dNSxvlFuGkT+7uUnxt/Rz824mWR6PEMvWl03bzGbk
DzqADuCINDxMfraWbOUYqx1JhgHmRoxT7zMjbguqA795BkmUtCGWjbNCnHYLjJxEW8cg8bwLrybr
fMoDG0PTuco32pq9i7ofLN7MMOj7aZZU6rHuGtrXqXPzrWl3853hjVpvZhvZxztXWM4CA1COJSfJ
Yv1wKRd/YHwBms6I1gO7ThQYw0T+dwWBHbedrRhrOV7U5MjsOrdPp51XFAAz/qCGz22LNA4s1+SZ
xmymP1SQ+FvtDpaCJp4vZKb4ZWrgPWql3t7DhdLfJlUMoiPyamWZ2ASqA7LG9VdNMRRHbZzHENwc
dmai9yyMAotW+jcZ4LSz9/U0sQ94KfMP35xwpbPaKacpLyCGGLNpvnOJVxGRjwkRcDzx0RnJ6z3e
KKNS/Y1PXOSwkos4RqFtMVbmvKdC55+O4laMgPyGo39ggc7AJCnXjAHHKnmFEwS7CyD6FtJkC9Id
CQ0rNNKenh6zoByvg7bGxn2i7j/mVjOTvk7TfFQVsns+wMZ9GPQ0kuBuWZ+0ZSq6BT5Npt+9mr7E
NiZFNsRrtV8U9SBQS2PvO6F6BhRkPUHYMtzpXewbDDt7L/cfkXISpDRBiySBuh6WeGcBPHUbUbLn
bAzqArgkmZ4e3LliZ1tSF8vuehE/equnxFfkJDCxQqwQOn33PZdJMN1C22s+C2KlqQf9LJEHbrNv
N7UCtH83dKXzNLQzkHfgSteISGUgjBMHH4gb0iQReEtkypDvJGeu3FZOZqIN7ZrlU9e37nRltxPI
Hfl/zq1VVMTdmU7GTlz4hrpY2pnObmLZk5lY+BiXd9S8FudbWe7HoLWhdEwL1AysytuPxgytYMvL
t+6K1oJqJTTjezzqsmXbmJ24hHEL/G1nWnLjVSivwy5BpY9xA8A3/7qc2oSJ1WMupBfAiZvy76qw
wpspq/rrvqlHTbQPilPEX03xefTb6d2YxMaPLFBZinRYxPmlo/PR34yYCNWkUU3DzZKse8oYZ6O1
o04K7agjiQyyBoTIg6387nPoM568MOcqPfZONz2H4ezMByZuA+FL+PQSgtJYwAshOYTf3MExeWE1
/ECP6shZOZyrs0NhjXiEo+i6shVCMdrm1bjdzftKbfhNibPnRAzNLaiwke2ZfQYX0lVIu0k6yr8u
fMViOxtDeQ3TgKctJQ7ktqvdn1k7uz+61G6vgtT39QXFG93cNIbpR3vxxQe7StgvvLiM400jq+xu
plgI4fd1RQfJqJLHtk9rL/Iyz/2p8i4btq7fT8nnuRLuBDENoclWd615CU7B+KKtk4VUQaukdJzy
bD7Waspd2kfPFHtNksi0qdMuKw6crAVkkDHXNV1jkKKQ81vjanJT0mpphzL2nlTTMxsBxyUlXPO9
t2Wm8OhIxls4KcuXqe97TLhn44uaSuNLgV1zsHGnmiRKOYcVPAWl4EuSuscjNsamVZd5NszJno6x
+dpWfeyv3/9sb0jITYrNAGWYkSv8h/c4DfrzTgcjnDawUvO5n9b8uR5dRr6pHRk/EGuK+1WB/zMa
+daCt9KP7hMZx/7EdEq5P+Z0XB6UGzDEDAuX0I+2S7yGxWdBk6xFHIDFKDqQqACiucrZhPnLec2E
yhRleEjR79Rbpx7YUiRfAYpwi4ttRnfW+XF0dABJLSedrdVSHh0UWNbGdSWUYAKjnG8+duAwLWu3
q45YHQu99Zs2w7mmgpVTtUR2R1VdwEBW8UReR9Wjvdoz/abohTXRHwim8MrNkHmE4rWlqW7BkqUB
+FnO4qAgPX2M/a69U6lDVpSJyVYMGuRV7r5EAlZvqtJun1NYqk60UOzBpJnM4V25JOReekmeP7lW
QGeajj36hpaPmTOmtk2gkKHJ1SUsI0rJyG3pLyPRWSQ7zBw245a/G/R3Y1aLb6mFC3fU9LPBYVgN
2Sdb9tDaAbNbf+uVcAyiJJkNrDZro84PFqDfz5EpGjRfSdfJZ11+44ibrjur9CTevg1gADITIVn3
WSy2Fv+zS0xIfFu3r8swYluKfXhRbnwPDYDKJslwX7gES8muaCjmjqAEGsqN6lxvgbS7jMzLNZhC
lGMJ2G/CJkwp7ycdWvn7iXur9jAU3Y2l/S7CbsyjOXICTCQSB6vnnTfb+hvn79DvQ9+WN1MeJ+JY
4uUKY6VGuRbhq1WLnUzWRZl5RXKHv+L09J8Cywaz6lHFKhBFhuVqeRiDpL/9T9wQZxTqI6B4gYED
3BHpY98PRrL/O4D8xoSBjdoRaCF/ZSGcKMzmPKbXU4Dvjekll8h2xo0BEevK8ksQpaUPd4OPk+bf
L7pi0qeYtQNEB4uIsRhSwZeYtVOOsrH4BMD4KF0HTVkyZso7tKL6pmJr3nY+B1Sc+8UZuPxEhvxr
1uBjMIbOA94rIpQTfN40kKHbHfwDR9ujFSXFWEi4rU1/7DOqnTUB/sKYbNABDz1R27QDhAnfMzdq
CZrtYkAH/vujOHEX//2LUARb5E8L7G9P8XvRlaDWLc/CxIXjIe+mYmtr4IRxWn4MetTXaBe6NUQ3
jxaj10fttsVF6HYTIZRr7arTZl8Z/s9wks3VHDYxAHdM4EbtVOdM595YK2weDvMagbjTPn14nmox
5yWUhBmU4QIswcQ3DGfYdpmfo0U04vdx5p0zbTvJM/j1gIgKwuSK+ZCHXfU6cvlDU+bCghriklcW
un0BC9gkyGDMivbQQo/bmUYRHy1bpfuCEcI2rVBNtF04n5mJreviZMWiRHRNnFtc3pTnvPwRhgjg
OycCQe802JepGixmGo64LcRUnXFCdt+6FEbqBAozR7BPxWX20HpG63IcugDAV26OlYmCi/tbXPZC
W/bn1O3Nq2CCzahqnWU667v+46l2QnYoCWkIYasuu6KvjfeQ1doz89LXV6FfCWk7sVZeJ5knn1s7
hFnVsKujJ9LpoXKgnlMhZ7n3r18PphrrE0NW7uGGeLKhYMeAIkYiq5/4hy7UeiN14oIk93P67y/l
8VpWh4n1/Zx6vJNECRAsQ8AXepYro479o11kcJkRlp/ZG954ekgoMRJE1s1/TwMOQquYgq6kSOc0
dCLsIrILcMTqzFV+CXhfrG1IDQiZEW66q8zYPJn3CqgneLJzGZyqpl3WgA5zogbfJg0TJa/x2RTI
lbaVFMtOFDUlR4NrTW/H3pkEu1f7C15bNnp5xt0uH8+vwKw/1mTie60xCMz9DR078G7WU4mc56ti
apttl06oaZPwnCHAq7OIizo26kz+g2O9OHEN8UeKk7RliVZrA+tQQ0axMuyN28Mg7wjEOWizD7ZF
ymDjzNb/0k+UnY1Lr8bOQvzyGQtOVq01l44wUu5XIiONTCvGpDaDzx8bpX3dGvj5jLhp3GZea18N
uqaIz3wGo+TTnVnTbz141pgJd4JvFWual5sBCUjYxNFsbfISwqSR1tdlts4eOyZ4CZAFwvOgPTMp
f/3cUf1jV8C2wKZKUsDLa3o02061ioY46pvDrKHhLr0pLqsMLWLs1x1ttbNspE6qM1vfGwueXLCV
P0N4NVL+X1Ggf6yzPjaYQuJWtak9H6iL4/8KAId2u0rSj1Pf5jD1C9x4jVzuUq9td8ngwhZu7eTw
9xXw6lRh18ImAoIQ3CLoRidf3oQXZtmWkDrHsE0iDJ4memnK9GwMzpmJv9pLuJSDUShXoc4Qp5kP
xag0xl4U/Lh75BdYHsc74Zj/zoJnXdGsIj4nF4vVtbI7uaHZkrB5J+xUlGm2Bzst0weiIf/1br8G
xOMwgUWfCxnrlAfVW+MUJEtXoTyhj9QS9aB0c7gMGi7A39/Q6y8DFgcHPuYtWONA4Xq5SmOER3Jw
uJTRSnPYjUS97/s0gKefeUBkywBQViRdfsY16fXHwblMCUBAnmAvDE5qnlS1RlfhV0v+n5HvZ2E4
V1MRV9faGufrrrfx0UbVHHn9ud3w9TJZL0w5gAkVe8HKjfuzLLCK0YyDfqg3vj1Nj+R+Yw8DbfvM
t//WVdBfUxRgjYJh/8nGJ+Kpa7wG70O3tIMbslqepsxo3v391b15EX9NeVvzHZF9v7wVPVAKmAM2
joGTuxejpVY+eB2cWSDW628Ybh+8pV/ZQAjHT+5lcCaM3iso5jAn3Ftn1EwTqYmuAZAwTWbOHVlh
a+69zpXvhtWxf+kwKADOzuytJA/xohR2ehV0k/GhFjr4+veHYL31FHABtXHaJnERN6mXT4Egy5QI
ahRYTSl+Er6nPmNN8eCNS33lIMi4LLqZCDgxgPH7oz/coJtHP+tji+PBZo1qd2ImaGXjp7//rrcW
OM6THqvNpPw4zeVqQ2TbDJLrTdlY5T6pU0Y2iC23Yenll4vSP5KiKvfWHD7//bpvvC30bWvzx+62
VoovHwfw2uoqwaLIPYAV5GsgIzEDxdEsz+1SrxuXgFJGrLRP8sdIuzz5iBldamNRKSSinBwM3cCy
L4vZ2ZUFFKl+zs2NJokHLjpSYhHir1eEi3GmvbfXVf6yuEOeIjhkVhrhGjP08oaxyQFH6pl5a9eO
NzAw4SxTeERIiFsw2zk7WvNEEqDupq+N0dtfCKv62faeRQHCPAQnRnmXYxG2k0r59/BPUazZpfLe
y5kBTUJkurUdrbGyNpPphnurxY4QcZN5joz6xoLBytPGuinA6oH82Jf3waQQe2ELl1llucMPMrmC
hxhgaCd6UT0sfmx8smAP3EwOyN3fl8z6mk6eoMDL+RdawKo5rRaka/aNyahgU3Llb2MQm0jUE/uB
MsJ8UHN47tN444sl9sPjWFuzPyhNX95pBa3INqVdbgrIhA9U2cPdXLnOmbt640PweZ4EJaxBH9bp
vsAJk2ZWCM+o4sW+NytHsWMlKQKpxjrT0J6YEf6qCjhPHF4evQyk6pM1OCHlY4dpSyQnlsR+sSxA
2ObhiqRQyBk9LpH9aFqMq02+ldRuDu1YfrTS+Bo0Kr6ytTqz+bx+wr7FlgMA9KtX/GUF9Ef91xQK
XbkuETMYVnZwO8rMBiLjmU/v9bqhZoCWSdvLNkC58vI9hnYyFw7f0CYppvRT1QJUagRLFxWU3du6
YiTw93X6+o1yPTzs2GhI3fJPDXFcI8eC0eZ6rl2le/TR3Z4ZM6K+GvHz/8elfLz8uKLPUj25tZRh
X6Gmptj4A6JqsdZHSx5MR5EG2ZlLvfGu1hIZav3apFGsnzzFHK6GX7BiNMbSe1F67gFRtnHmKm++
q9DjkLQp8iD1vLxKYEkzn0ZuKIY6w2sS7VXFpGPTTy7EEy/XZwqgN9/VH9c72c38SZlp0JJHqtth
ea+8QEcwy7O9nMpzIMJbl1oNbzhoHZytTk3Z2rCLR0JyWIZNGyBhwemk64v2Cr8P90xj9dalOOgE
SBnO2b9NkP/4rhJ7bCZLQ9XImp547z4n0G4qrdva7I3t31eg9fqNwYcHOcazh4GJa66F+x/XKkUF
J2rNNqws2/qmCDo8aMwF7xucEbN9XbfeZijd4UNuLxC4unber4juvSdVvMlItkKrqOIAjfPKQUn7
Rm1RVlhnPsnXi3f9kSwqC4o2rsjOyx9p9tSNyLdKWHo5+cbkIewThqdnNprXjx0HQNQPRNutpkan
TRfjaKAj7RcbG4bhQcZlcVTKW7ZuLtSZS71uh1C+EDRBQU3NCwb88oaQiHoFUoQC5tFS5VvIAv5H
3FRwkLX6qYpM/FcRVQbzuSr2jVsEmOIWBeaudHwn141DWLUuxfRGz6MXR1WSdEyurf5isvMrH8br
Ay+fuId4XG5t7eqrOffrQ+PF8ZaZrMnQpa7qZxPKwKOlxuXMa37964BhPOos8quoE06fShIiEDR7
6HStHQzvDTOpbwYTREmuwct/X/evyyBcJTm40J6w+dJhv3wB05JCeMEODoSk1RDRUYWqvnvHodve
2jbGyhpyFk43pnvui3u9lvHaAvUU2GP5uEye4GQZZrSlasBLauV2H4LRmR+CFquEMze43sDLaovq
zlmddUnSxL3r5AYbEYs6yCeQOKaJl8uEAYAzMNSDRh1MKy0bkoweg/FoMISMwgIG2N+f8Bv3ScNP
ufwrYQAr5pdPOCdCKLRLbBWopcNdWA/ZLpdT8v7vV3ljyQDrEhWyNiLBL8nYn9sXG2UL5a7PmOo6
GuMO/Q54tnwSBefN36/01v2EqFEshDyc1KsZ2p9Xmkk9TUcDJ6XcDGOsfUv9zTfD5vHvV3mjzwS+
AkUFRAT4sf2T5TEUAdnWPjfUgrkV0DmDaYuxUbZN8zDZeV0xb33HkYylYm87eeP3XnTBoYG7u2fo
Bime/EvYhMi7//7D3lpPrKi1AQvw6jtNeMytkQk81JSNmpS47uADb6qcef0vz3IG2S6tuBdX+8Yr
1EaESp25/qvHzyNhwbAro3HiJZzsXGyOJMEKvGyzTOcfJAYjN34Xl2e+mtePn9Ka+ggUYk2soOB8
+ZZzbL47DmSMleHozQBDUh6yMYaBXhXMrL08Dy7CLIACakG+3pVy+epakigEeOY7ckV7DCEK/4OE
XfD7Afyv0vQ/yLL4Yy2uLokvHAyP/ddi/lNo+uuf/600tYJ/0EVjuU1dtiLga1X2W2jqITMFM2Bz
J5QDP8JVlPl/zAv9fygiCBinFaVto5X6H52pI/5hYkJBzqCISQaF0b/Rmb485aEDoPnEtXD9Zkxh
v1pMNRw2Bv84I8i0H68y3/zqhaMFnf2/mDuz5jiRdWv/oY8TyQy3VUWNGm3JsnxDeGSGhGT+9edB
7jjbVdaRos/Vt6Ojo8O7WwhIcnjftZ5lmPvZSNU6tvX4nYonDPVljP5n6nfp/dBYBqqOE5A20F+d
cMMqssbSW0EeXavmRzl4KfkdmifdDZkSfrfpe5U6V1U4SWKDcVy6t/MQ4mXJLKusT2mp2c2RFmPe
bM2+WbARytVBlog5mQ8WYJJA8mx/6BH+MhArEUclUOR+tU1zdxLPXl4Jcy/9ppZHoZKi2thmKkt4
u/24yUB2mCdJviC6VWnIpwjz3A+mVZO2hUJhGDG91iukNv3nPkvjfjsghgJwgY62uUupXXx00jRj
OzLI2TnqvgMixFa0LQ/57Fufba2bo53mOaDBQMEOHUEVbPbMQCEdABWYJjpRi1Cll4WRdOQYXX42
EP+ZTcm00Wec8Ke47x3Uka2bN9nKaBprOLRhMRYflJ/gG6ii3t8Vetfdp7Gu3xpR5DFdoNJ4Lgpx
q9VjjLlmjoZrmahyiw2oR0xmDu5n4CZQP+xKWdUd2QpVsSUedNQ+KtOkmtUOYNmvBFHX+OCcdEx3
OubN50EnBXdEbxGgBUcNaMtCPnuSepsoveFbp7BFrWw786BGJsAsg2pIiJTUXaBZ3wRI4yGwavYi
q9yMkUrSotQ5jtEY0/ci0/jzhnCHDcwRaa+SWiCGnqcIeWFomB97lCM2zMt8YfA5URtE0mqDuRty
E2RlhgPsLpmmvv+oCo9rQvyon8Ui/XZAHaM3VfCkoBO58zFF43aTKaVZR68qkgfXqvRkm0ZqAHyi
wvS7QEGG2zCpbYT3Wm44u9Fkj4JcZLaQik8Fdsfd3Bs5CKjZm83wtkm1fvjhmc2om6hR67QEzxiR
2nmcsH1V29ZSHBi6OknBVopKPpNaxT+iuODd9xabLxoQuQGYAIJ3Vd1y6akGnAQeJws01w+bu0zp
ZnaH3aXNdnCqRwmDFCN3umtbk/Gl24VQ5J/TYZQrAEFlN2wGwzCHO1Gj1n0sUJXnVzbDnlHoZMu/
jTdCdaZY/fOH3qwn/X70jTTbxIIIyR2CSNK8N00GIcoEJxR5FFX1IbT7eZP4ZdQd6CG7zhcr0qJp
M0WFo7YSX6n21NQxT22O4aXTfUUA2yMmNAPQpXRip6HjrktT8X9GEhRYKUsak12vavU82aOFtt6h
dsyXUmGm8BA8BugG6c6XPaQ5ZF5NK3YgcPTssc8bPhUhRwglVlfl6Se3xbJ6NziWLB7QThYqaIqE
eaNVRM0Fqe+TUZ46qXpAea4lh3pKU4RfE8ej7yz4KeK1EbDcQsksf7ZKS36hO8OSalTSfo5L/INA
JfV2a+v6Eah0s9Wi2ftkplbmbwdbWQ9Rnbg3VYcXqZ7yfRyBJxMJDh7DWALkU3RARPmkurtDlX7I
DWTBZYRZYKXDLJwjm7woChN2xLtqy36FCzhat33n3vkgZO9q0rg4AmNNXTkYHU9mpoefevTYTZAZ
WuLeO0b5UJrFL7JiF0EjHtidIE7t0M196YPp6Hj8iXlDugqpa7VvDR9LnZkwJ2Lgh1GE+iobhXOf
VwWwy6TZupH9BPwIF1cJ8qub9U/Sq34WvOhrtyZgKbZ0lFWD2k3QrA5u2X0r2+IWCaUX4BOONyLU
Pmop2oNBudPGX94M5EOasAj3Gqx4tTY+Dkm7k62ItypO4rWXDO51r4jD6foeBAiIrikhWUrpkGm6
6sYtS2ZWNt9yXJwlN34af/KAR4GEn2naGW3gVtCjsjSRn/VIx4OUfSqt6bTkOUIGjY7d7IHrietj
6zSbxsmsw+TX27yhMEn4ArUUFgOzm08YYPMtmFUYcNSktwIhLTDB9mS2ObNYl35gCcMcUfHNRlZx
xGd8hxPL2zJX2U+zOxG24KAGBUqyj9WSlmvAkiWu4xC1uVol1XwVhv0XOXOkbEosg5gUiQBynGql
Z4O39v2mWUWduesSZzX73qJF3USG+YOO5kHTcyqOBuRSVUzPYQb1Z42rcVXGA2m8vWDnq2tXRho9
mD51E5vzVOPTDJrHpp3I7S1q8KNJGmeANONuK3rTu6+Fr0GbaetrK3KOUVb6N11o3wvZD+sYYxjR
zd1T37v3IoXADwrmCh30vvdKYJaLnTUJmblHH4iQle4iOaWBmRnTYZryO1uLi42ujIDjthkdfY0a
BuskK5UG9+CgSf9bSqtiWGGCSDGM98BIseKkKDqjebj3vVHHeekhVBnye4IgtXQTtaJGtKnafj16
U/l1aOcXB5lbaBs5AidLSA7OV3R6axhT+bDr9dLeD6WTPk4iHGj8jxESYB3oDuZ4J/pMMQJPW0If
b6XpXSI3sdFlRJyPEquoq3/16yL64mtSkjfpNj7Ox0leMXVMtw2uEKjPtgeuv4SDPGfl1xj3kL4l
IGvedCij2mDCodaNTbSJ8PTsI4fMjlWTmjINOqBJDwrQVrqKUySUeEgsLVCDXwUhC8Z1HGWoGbHm
Rhsx9up5jFt934jY/UJVrA6qKk/uM7aPrBNZDwVsnJzbTve/CrvOAy/S4OXRrsqR4OpR5XyzM7/V
r3zkiSAiiVeg6cxuATON10tqK323GtrOWUczLaJaj8ZfPsX7DQBmdDvVpCVPtifndUa2q4PQs8qw
/ek2FseMfK8ksELT6TfKCckBMzCJDdglUu9JpHl7UxB2BjnTiIW3LUUm7iNMAsNGEyU3bQyhtolS
pd0Uc+yw56IksOt6rByqb+LbQtPVLjQG95sv+mw/i0EcvSxzMYRHkAlU225yROs5NTmYscaYAnfK
E1xKtXBqthi+fY8dXGHXJVx14ygtq691w0/WOe72GuE3WR6QZuuPdT3Ne4M/HdceB62DSMgWlfB+
WPajqP9OW3DamRCIP9dSN3OmxHxBrFpjXHMo6+I9ziV06B3xe1nRtcY26jUfuXOdiE/u4O9qn0wq
7FrtPrSa4iAKMWIZIUhvVSkgVXAOrWtwoO4xMorqoze6T0lOrriij5qvRK8A4cvyJqEJv25LB+6i
0nd2RANw05ia/oCW0whYY+mohdh/53ocdnhjzPsEbsbeYgLdt7WRHhKz4ojOzp3pEM+PZD08ubXW
7BCvY6Yyc+hyDXQJM8mc+57N9n3XdAMrVe2cWiI5R6xmB4mAHe+n14cdJA/83ym5z/7KryL9OgWs
fHQUMKbYSPKCfHYcZUEUFsX32lMKXq/qy4OHwfFmHv1tVzUhFOMG7xUJeIpP22wz90NLGh1iJScN
d7pGyderUu0bQWrxZ9GQ9hLbvswPtPn8cO/2QEToXngrX6OxMDdOdVJuQXA0NIWfrKlKX3mQCXbu
MDaA8DhV0Mj21+YwWMSN2cM9Uw/IAhYhexcLSQi6F0OZnXHw72j5dsTYk069aU0XKjS6tWOIhXOb
Uol+bE1T69cZdPJ9qkR6ovnVbgtjMJ99TjrVT6sKERsbrePDKHTm9jZT/vBJCgpmW1k4TrMiQRzU
6oT1/KPX19612VDRt0hG+sCREu7CrLnDDqAwpzRvBKir8o7JerJmuCC5UOMDrTac5V7nxb+cQjCk
02IyvkQoKdaqQfK/FpOPwdBqyG3ADAtJoh+Ev5MlMRgrZ/S8Db7LDEdpP32ToCLSrZ/FPTw5xxhv
nUHzTBIRvKTZO62NtH9MiZQ84Ym/z9sZSNmY+RXa3b5xjzGtwAcyfYHa4MI+dpk5Hku64ytVeWmQ
u+l3guv0ejO3en9lV76mrblUfY8LaTimdABWUHiBRiQtTE6RAUXOo0HfzvCoMwTeTOqVhv2ZtDyo
jWukOpEV9Gx3otuY1x+tBul4OL04p69sgkzwBddFsjM6l4xgRubedO2vCiv1h8Rpc7K+yPFZAvEW
pkMr8+shLLVDy0x91cVdvEbG/olo4eTErK6fvGK2b/qk0WGq0bPyQbJskaSE1xaz+K09lG5geInG
HiBKHu2hLtduPcdBNeEfILxSIao2gV3DP3miAaeuxibv77VQZLsS5wmhWPVBTGZ2ZeMheGxGwOiz
HJMAEoLagYjEWm4YTbRlDpKA4TuotYXAo4O/cLjOgMQtxhtRBVWSsNOfGc2dOzA51eOHuYdqZJeC
jUZS1TFkpzxU3cnmRBlAgYBvCzgIRwhL/m40aqJry95sr0Qcatul3HH0SpLR1nwy2h7tdrUFIIls
mxYVQscpYYcowVbBMOoq+5OjPGsdlhy804ivtrNbg0V8VsuxkjTLMOeGs1aP7sLRcbYFNbDrvC7d
T1E4zb9SX3OhjQox3xaiueUECf6t5rcN/Ly31gKzFgbDWsOH3mqdfwpT9oqa01YC7jG0X5F6Fm8L
YWeTNPOHtkntTVuytd/lg5bdOcQtwLm3IGqu0QAwgUXkHZsr19TjY5cP1bhu3BHuTJ0CSg7z5Edd
zVNQdJbcTnFiNSB9tbjdQocwe5yrxjIgOWeeBpcQSwjELcD4tnQPkyrCVe3k/RphbXu79Bm+ORPM
twksPAodvEor0akQcnVnTYGYUgN0ByeMZBU32GWDtBLZZjTM6MmMsvrZzqN2VaIh/6CbXR3YcEkO
YCaTI/mNUGUblRcP3aB04K/laE30biv/l81U9CCE+7Mgw3Fb9hGb4NhQkCp58/4CfgyNpykiD2Jl
pNL83tDdIt2GBY5twELuHWOq9jT95CmejexATEG/RTVHpy3LvSioSWRBWpomuH1UW225crzOEr3Y
AMGDrdd0GP3tTj2xuBUHNTTmTTeP7R6AR4W0jzFjEHNe5h/9NMquc4hRD4UzZaCLCMHoQRTy9L2T
y2s5hmkDTxAIsh7Qu+0ofzLHs1CILP2RY5fbEiadmN+nDl5yXmgFL3ZyvxGOMh6lLeUuLcvqICAa
24GLRkrHSZjB40uKaLhvm9BFqRO7BRCUXrc/ggc3+r00SCRte146nnXAM0MmNJhJXZlwCmQzdQLI
L/LtnLd4A7ssyXZGDfJjPbVZcp8anImCMDOcL7ke5d2aok0Rb4xZQlNaTWmb710Dzuc2b5X7bZAE
b19l9jDjBJ3m0QTREZdf83KqvwqtmB8xcJGwOlaa3/AZsS/l6WEuvh6skljyPgNnccqyaQAX4MVP
MH8Xi3ZL/um+Ycf5i82ZYqC6Mc5KLdGSa0OJqNuYNp/YaBb6M+UpEa1ae4hObmKGT3XhPrB+02UT
5F7/GDr08Qi3/RrAcTaprxmNg+MQl4uy+qXAZec9/1wIWX5nXejjw6Bp7r0HAUdiYXOaxyQjhXNl
wEyNQVRY1R6MEOTMNpH9UfPmOoh1MTwkLf7LBJII+0dI30+dhFub5noBjTq0o684Saks2Fqoc1IK
e41iAz1+Mz90plc+9Q7sz20865TXtNalNJBN9HnQvinV0mgy83gzEqkeb2omdeoUMbIBuDN68mW0
chaYpqsWjbRPA3rlFbEBA6KxdXkMFV2qNWbg5vuCzbltbELBOanl8hl6UHgqlQyBWmoEAmYBZzd+
iEQCCNslqkUPlN612Nlj6wwsEN2Pnq7mNSsT/xrfpMng9fuZb8gkS2RZsfjz9KXwREtWPiO5NQ+Y
BI5RBOlk5aeOkR+S0BaLt21oWK0XC2kn5BoBqT7vc2WMWbKmNiir2yJKeRio/WbYvfFM5Csxa/3g
Gis5DdSdTJdgyC3ckgWWMUL+AlXkU5+Z/FE+l5bNs5IQ+kY8viF/19PCKCC4ss48mkapDJDflpk/
4hnm9TcQltp9G3esQqRcTfyCgFzN7FrRnau/FSWCxqAIl87V71oOBSwektGm1IK6AjbJVZxqib0h
RiUk0bYwIaCLQRMjYQNdOt5ja5PPmm3yAxBb8ph+F3dMyX75pGmAnraDErwDR0bcnGOO/Dt+taBq
lB3pzm6y55qa14DDet5DkuGWwHfz81veE6VXKcvqFpIM759Km16c6qYu1DN9af4kgodSPQqjy8d7
pksgzgpdW3atWQ2DMua4nl0X02il9pr89y670Zl6iqu+y7onNv6KpDVnDJtHXYlZbofKrZYFLQpx
X6CpJ2fFk/w0soj5RZuhsvMb9Af8VsjMO+dAHVCr8Xa205olXZU3KdHWJKbzO8D8H+PKp7BlUrdD
gBZCKtVk2SF1r7jFMUevuzKgquLSlk20Szobaybh8VeaM0E0b0brUzJ6BqdUL0W9SnRy6c7FgxX2
g7P6f8KIS+ptlk08cWi7GDXJAWSxS5W8hbuhVwevUvbzH52Vu99Ngj/dTOdqELROHlJwD4su0gA8
TdbShftDDQLS1fAFmQir2DDr25KAS8zrRe/QMRZuk2xNvQOh//Y1jb8uyn+7NP5tnEC0ZS610mym
0WCzeVo5cLGeKd/1hEwwGn42HO82BrTvozWpul55vVZGnHvg62wnSi3I3bL6Ph8KHBd+L+wgNUqC
KEZRbCeztr/UwEFgHsUDR+N6liz2U2uWJQeXFsIc3IGPbq0Tm6nX+hHjlt4QMpI27zkGzqUGPFO+
TA+XpkfT1FgaqOfPdNYMqbN80EyktMnYrpoDCULoZEx7vGsGa7g2XZT+KYGjD28/2b8fLC5DsaSY
Lpm09KLOr1zzqfUJRD9g6gYbyyx3DpSN45+xDd1xRVA7sRFvX/FCorjcLJtWz8cYwRZVFwv49c8B
1JSJQhFIGakp8vBmtvqSspMGsxzsjVzVoe9dQdZwbzW7l8fSIxCFAj7mFdGBtttqLfEZePlNPMVv
/2LnOoHl98Jntoj56AjScbs0P5Y17IWaBX2V4/q584pivEvjhu1iI1L2Bm9fbHmjfzTgXi6G7oL6
5uJD5Xs6fwiQnpyqUsSV9D6KdszsJBIAfviXOjHal8gDkAjoFEkFmj5v6dn/8bVO/ZymfFMVH6ei
3A6xKoFGU8WE+VHKYG14+7YuBzKXw2KD7osWKY0A/0IBUU56UjIfVSv5svAkY0LzYZooAu28MGPS
RwO/FKFYGKgsz+yxNm//Ajg2Lp4szU7USy5WEnqqyNWW//+PO04GIxkzGkMr9vd19xSrfNaC1LJa
hxakFt2y57B6or0iSbsAHvgzCsuKUPeoXqiGboMfmAwKKiYtXcUbFcUVnJTS9WQAvAWKv+mlCdz1
1rTwVIxhT5GtZf5Y19GQcMaYjXk/mukA91GL0fuHTNH5ahLoH/Yyklj97a5l7v/dl7H7loWWRsKy
B7UIir81qE03tAQsuGqFNqovHgys5ISbPTFu6EQszH2gXxMO9Va0d/kA9wuU5KhXj5wtWFBp3dAe
rMnNoHvVC36wBzEoBkkaIvMfxUK69IeQv1c9DABch6F9qnF73kf+xJ+CjrIX3r4Jw8FixtN3g7CX
lTgFQLc2+oJfngTAZNeaKB9onZrR10iOMtyicvaORaMoBFut25F5nvm/IGSxVPKME/YAiMvqY9ei
FXsqfUhNqyaO409z0873rja1LKaGxa9g5yFtKYP6e36VNHJJZXB7NiGtp43zPranCVl6brGLrvy4
0z6SOBG2h6nCDLKD300OJ59Tqm8qEBrFlvBKfo6ZUEkKjLkup5Xls6VaT03MLipD/6621GngP40L
HiKkmzPDmYo0jOrFyAJdkCdJQ+9lP2KTPpUcx8rSxm1itpRSVTmOYo9RShSn0R0KB5QLAcuEBU6y
DvqXn9AlFhfpaNCkm0oNNYiNKEn8Pc29l4fgctMufXACBTWgG1cze/x0Ia7E6g6MlnzGk97SvJFj
SKV58LdAG90nw2wYNamgzzFpQ30Ttm1ZBKFECypDzfsKbuBawXlhWSnT6UZ3LA6QuUon7fh7lway
Et8TVC9rpdV9sbGobP7Sq8y4J25XB1CCMNHeQEaaCamoZfnesnchfkATzlTBFgodDdJm8hLOP1Uf
qYw0dSCICTCWcQ3R0r3nHpmnPFjsYq3X8Q2IF17B25PE5eSroztmmXW5Pprqv5xXxsD5MPQGGt65
z/we4cmNNxWn27u3r3O5uOrYyhYbIGJ8Lum5F7MhragYsxSFkNLy0pOps83n413avnnZPONI6f9R
AP2vVvNlOv9zWUHMQAkNw55NwC4WpIsrUsm14J5WzcoyNfdT7OvFz1SYhOTFqW8v2CWXo3I+I9g/
hbNefQYOEv56+6Yvl1EdrjtSBrxmixUKMdz5Sx34isYioyM7x4l/O07hIDfRaP70p4aP+u1r/TWA
uJbNM17sG6ipL31ncReV4FDcmYzOKvtm22FSr6w45w/8vpIrt/HGH78lD//+ug4Sdhpj6DSRTp7f
I5HfhlYWkBPBoI131cThiAKee48+Gq2JaU8/imhiZL19VT7Ii9driMWF6aLMNdky4lQ+vy5rUemo
EP4ZFaH8VgiljpMlmooMwryUAUBJ50dC7OAvGyDqDxuGBUrl1FNfVWwmbaB5U/3DqNLGCNCQ2KeM
xt5EgqCf37tFbz5KwPZX/kjRERRan37y6RF/LRJDtJsq9DxOvxTdWAH7ifpikshhY0R9/zVPvEVK
k/jjEb69XW2MwZ++mnaPSx+mXp1eMWnS+UE5/m3AylPvZt0YD2gmSu9u1F1WkSlpouRz5XtF22LR
rpHerRzNLcyd+3Ls7VivNYD45LzSbwH0fGgpVXU/faNldlChN8vjUM2WS5er7LU9Qhgm09hKW4I2
OlzWdJCX47vfSP68fKn5aCbb/Wvkp7N3Z/UTPyHKZVLeiLYKPwB11OmuzkMrimPnhKkXKK+VqHqg
InIUNYAFrKwyrgzWM3++i3C2IPfwLEQks+RKOW2/67rHcrxNZov5pRxS7VbRtv84vtRn4qghOY9W
6o+0LZfCV+KLW2UXLTeCfIZS8MTajZBw3NnZQuA1S/Q2etn/ynPTLlGL9BHr8eQJkCWkIogrRfzG
ApoDowqKr7P2lSwnCo9AvJ6SuCzd7VR0/n6cI/OzksnwySbdle2B5tjyqFWmfSobWEfrKU69JCh9
T+1IjWNot6jk9nSRPWedVCEr05RarbX2xqFvTiqbEY3JwT79nqptinYNH0aoZVe/azWplZTqWcbD
8qp8j6VaRgnbpN//Pg0aLzoRqu16VyDYPOvKpZL4ebQr0J4e+e970Ic+waPkHT2TyOo8WMhfKOpY
Ipy/IFfJTqWuVQWFSa2mmM3uEyCub28H/GLtFl8tElAxd114DW83zLcNMXh1gDijKIBCqwlX8Yi7
cGMjvNHWyAEZzL9lKTNwdQORRRvJnVN4FJLxFDoGVWkZi1XDN1LQGFteLjDQxdnkNBWw92kcd29/
+X9/95jhUPsuatMlLuDilEbKKRj1Ma0JLqT4Aagchuo9OPS5/PZyoX+lIH2oCv66jLY+i8T+X6Oy
lwv9T3L2/x8B2KxBfzzsv6SjH4efP36eJWa//Ae/taOG9V8oeTk1QU9yDex7PPjf2lEySl4m/mWh
xetrLkf2f7Sjjv9fYkmuQLnPO1uMFP+jHV3iS5Yj5oJDgMOAt/LfaEfPTzrInBdzgsOA4IdhennB
Hf1x0umQ65X+QEtPQ2gVtLJz7/PMVfRjVXnKNCf9kS7MUyVsgGF/PKNXikDni/zvS1MHIrHNw9DI
13G+EBlFVPt03+01S6wObt6S10mvko0n9fIdrs3rl7J5CxgiHB7o+aVYEWPdmEt77Q1WvSkykl2T
Gg+R1mvDO3d1/pn9visqMXzCS90QEf/5pegHZI2puCs9ia3j0AEBRwQ4vYNeee21ofx4Ud/yRV+e
kbsiilJyeW2iXcHBtuYUbntEq8euK+tDaHiw/0bVmERYpChs3n5v5xumf+4QMwt+ItrYDNvzO6Qf
6uRpSreg1lp0F53VIPsVebXtC1OjkA7xkjSsf1dZ+eeqi53FwwXK3vRitPj5IAe6QvYa0tu0jsh9
XdddUu5lk6nD2zd4vgF+uRTmJRMDAMeJpbR1foO4MJMJdJ21ro2JRC8Hit0unSkBOqAwN5aR9Btg
6mHge814HUr13o70lSHEwFnmA/yhwJEudmgoJjkE57zcfmzSk1H5lB14ma0dvH2f50eL3/eJZI2Q
JKqicLIurtMLluMopaJNeuh8kC3FcxTN6koSIoT8Lfb2b1/vla8Qfw6HGXhBDtPX5XPVAO11qWth
bdHNvRPBDZ0mZ3qEfv9eaezVS3kUQV1gHI55SavJ6cma0oOLTY/iO+RddxeBA72PoS6/8zW8NliW
aiv5Qi90oItxGbIZAye9JDhPlHdcSgYJudfoZDyqZQ/QGUfg7xRCP4ks1K9qiimbt5/qK5+jYSL0
4SRqg0i4NAy5GiHDwOJtmPGG9uCHHfkFbjwdmhkRLNkrSJkMt3zPUvzKBMQQ5UTqY7ZnHbqYBKpx
kvBplzS+BJ5tHaHGLmBEbaNx0I6Z1DoEnuyfZJc0/+ps+HvUmvjpdPBhLKrGxQQ7QXDtjBYZgtNl
T7C97d2cZ/YGfqXzTjH31Xv0BcczQXEVg8X5PKArgNCQKekiOn61aWu0E307Tb+k6p1rqO8JoaIY
hFaJtAB9v/1WXxnAzD6mI4gRxQr1Yr74Y11OEiuNhLQt/P5kmyojSTcIALIg0av4nc9SX4bofw78
L0+Usv0L7w3QEMy+8/tUlGAz6qHgMRuP00KdszEu527LUsrpdMqv8jAxdoOCImEWFVkEqftDE3H1
zrR7AeD45/fgORtY00glsC52qBRB+h7JEfIic2Q4h/Fj7wIeTeJoCW+vxSaNbYyFfvolHYp6q3Xi
59sP/ZUJkS0avwjqCsq+y6brz7Jv25VzJGLLoh6HAnrU7AwZdhdvHWsst6D943cG2GsvGQsNkr5l
g4jf7/x6EiBwb9kDA6wa661IpLlBxpPARn03JOyVaYpt/2JUsl82fBe3NvdaI2wqO+v8BTbp9tiF
LH0aPjoDSICwsJ197fbypyuH/Lbpi/eS0V65VYs8PbAAtKhoxF1Mkw7Ht1jPc75aOq2bnn3yysaN
erRxI7wzIb5yq/TA2BdzXl3q+BcThJRtXwotJruIJeh2ssxk44Y9sejwvrd5ZOHysUUUcMT1VhJ9
WvD2IHpl9f7z8s7F1yQRMUfIaU2W7GXI4mbe1kB73rnJ86H6slN3eJPshRasIc2K86EjnAmC8mTK
oETxtzKNwnlyEcxuKl+ESFOc7PT2XZ2/v3+uh7aPFQY0iC4urocCVUerxwrn0VnfGfkQ7YkKAnri
kh769qXO39/LpVCXcSyn2AmGw7vYlgBrCUXqYnEUEvVxamRkkczG10xa4Vb1Qj9h0q820PujDbYC
653Z8Hw5/efqLGw6gnwOWcvB7885QMPeoZDUtkFo65SRsEytEPqgdhRE4CQ5tPKG7Jm7t2/5tYsu
B0RGrQGiYzER/nlRvYuAtOtpEwyIMA55SQatIMIh8MWc/XK9NLt3525455WeL28vd4plcYH5QZOE
83JRgAzTnOZKJhu8OzZw/6Sy94mcsFLUM+E+rUtKvR8Z3TaapfnOQ35l9MIGIZaR9E7EAJcQ3Q5O
Pj6nnkyhlnymVtMiOPI+adK9q6PPm8Xh7ef72q2SjrjsBblh+tTnz9eN2xQNHo5CCGNyPSaRe3QR
ca4lKsWrvMrrlJglrfkgkVq+M5pfvVU6X5zV2Ititj6/dB5rVBpjXu3kDunJLWuyvNp2/NTxSwQp
oU7vPNqXhsd/VvPfrxWeB5MbHDEm/IvpT9DAKsvIwj0pTX9LhdnGJoFuCjXkLB8r10E1L+n4JqvZ
8mnSl55/l4as5ias5UBHP5S/9yudbzB+/0pLGd/Eg49/3r9YfDJtzBNQ1U3gFqSU0ETe+mSjYgog
W731DcRviGyuUuRSgSeakZl6MLekJnTvTJqvTGKL7xrbLWvDsnE9fxcG/YyZDGcVlLY73SUlGPGx
T7+GqXLfYSidLwK/79gWDG5WO8F+4uKta34pYrK52oC8J//aGoxq14ey/fz2sH5tbMGIgb9AhWg5
gZzfj84iF09kMgV+s+gyEz/fEuOuP4rO6TajKEmbfvuCrz1AKliwbZHv2BQAzi/YhjEBi6JuA+TN
5babxXikdztAzU/j3duXeu3ecEfzPw91A2P5/FK1GZVT2lkqAF2E0Ue45X5e2pBW1PkEN7fvoVJe
uzXglDS8uD1kHMsU8seGG+LMklToqKBueoT0rt3upbO4TQ20g2/f2vKjLr9QNnwASOCP8PeLidfC
ZtsuWeRBWznGRtlz+VApL7vNrcggYMUh541woXjVjuF7dIkLfPnvgemwMeLIz1/eZeDpLIkqJg9c
BV7heAflk4QOcbAjBaBvt4amdQ/kdIbfqemrfYzVma40IU+LYsZFPBnm4W0b0ywoxsj1TsBllg6G
FocHSyf5xMGY7b2zSr2yG+D8tTToGA18URdTd2go7Ed+p4IBDsQ1hrGrEYLDnY9t8XaMxu5WJJr5
NVFTiYOYIPa3X9Urs+mScOvQGAQHBKfrYljkdjpRwwyZuoCooyPuQifoa3okm0SrSIYgl5Fwcw0R
6VfYegSTdF2rVh5oo51Pg/YxtWfz0zu/07KDPB8/LJ4cuZfdPNuFl/PcH0PVkrLuW+jzASSOduvG
nYe/zG2PIgyTrQEceUUMZxFh5cq9e7QU0/0kE+f57d/i70G8rODY+pYYbbYQF9vc3pImRjZFycNG
3rhIGtY8KHNnqE471lXl7edcRSt9asrt21e+OCcuY9jnitCYwb5QYnWWqeOP+5+ppLhWp3Fp33X2
mL/mHcuWMHc14phfrjY7B0V0zWn0QxkHJsrhWz0Rw+Pbv8bfEwbIrMVvbwKEXiAe578FKYo6Hp2p
CkwN4oGVG0gYRz29dadqOvxfLsVMCoKMZ3g5CPmYK8SZXCqbrfZbozU2rAQyJBfVt/PO9/bae4WB
yeablgAEyovvbcgyMApmLwNbGGomvafQWtp/xmKI9c3vGIXKLws2oVgbZB++Oz+9NrZZNpmJkWrC
Gr1YYVDPqCnzYxk0WWyc8Od460REYq3idg6EiOSJ9ivm8gmGXTk3SDZL/ertp/33yoPGjYMHdZeX
lfVil0A4CTGwRi6DtPPKmwiXLFul2DFOsy2qvZ5n/36L6LMBp6nD86ZHcXlg7QGjEaig4ZxzGnLX
ahxnuRptfd1iVzklkT6+xx5cxubFDMIuSKCYYVpFu3LxkkNTugOu3iLoKTJtOlbv6wmLH+U6FZ6Q
P+M09rPs//DdoiZhzQPV5HO+W76oP75b1BSpZ/QEa7ttG+7M3P5vzs5rR25jW8NPRIA53DbZ3RM0
CiPJsnVD2LI3cw5F8unPVzrA3iKbaGIM2IYAw15dxQqr1vqD1P/sogsmAO0nuCTOU+PBAQpENHZB
WvXZe3RxxN/3v+7OtuXacwF9UGTSkHNf/4jO1Uvsrfrq3Jqj9tesjcXVcKbioltt+/V+qJ2FxGVN
J4geGyXEnyJAv4x3UTWKLkoLgCsbon863SufSmChkDfUNrCw32oO0rO9k1EmnLxxZK3HkIozv85w
l2MLOLslhItaH61AaRAUCQBNfgmhVcDKyc3xe8OJWp8TakHXzrLDHpH+8NC4ZWeWDVltcmV9GH2b
zR7i34w4+ybNmRPcm3zcQ+mFTTTIjbChxvgv5tmzWFVSopoLaT3qxTVgCQ7QwbO5t17AVhgfF1tY
D/yGvzJ98g5uPrk5NpsH2wr6JkDO6Ftu8VHojITJiCnkuSq1+UGMVhjkIIs+3R/UzjlMZYcY8nVO
lXszKDwPIUvM+LUOkCbhHRnZE+DXzl8c0jK4rfy7UzoNaPEvbpz+i5VLGszhQAMKdPHmbisNu42t
ySHvNsLuXVEnGDDGY4iwjTlpVzuuMKq9P9ydvUIaYbE1KbezeLfD7TG3wiaQ+pKDhFw8YxhzcrOl
PY257Xwaq7E8eF/srFB2pEfrl3KzpW51wHOYz2oxU/2rnQRjscxz3/diKV9rE7r/28cmX77cKCxP
5nW9Po2602oFEza6Q7Cg6yZD5SsslGctwTYgsqsjwwS5yzcLFDwk5hDobFJT2rZK+U5O6rp5d9bT
uPZTk/3Ag3TGYcuI7aC3K/Gu1dqK+6UPp/Myz85BOWv/ByD9SIdarqHNgK3Ribm/+AH4LJbf2zAf
3ukNbxm3xEiv9kzMIHEEOA2lU/0OkOzb26cbjXLqH/RQyVI20dMBexcxdN2Z7ALfk9DF6A2okoOp
jT6BWm2Lg6V0+0iQbU0UHiWOgT9sAfJw0dFytXIvcHF5fUgymaBMkxaoyvSlTEvjEVMC0NqLopwm
pUh/m0GT+SmYXFRS3PGtpQd+DC1dWK0SPYn1wnq1qZloBqyXvCBpRP/STpBkZzc0L/cn+eYQJApP
RY5AA7FU3s3rKKGHFWkmsIM0nHy5oAO4nACqHbWm5KdarWQ08rg+aZXSNwCuuIlSMUZ9iXTEsHro
Ta46/YBL4Vy11hKnKjaih/uDujkTAPS6VFK4Q4DdoPi2HlSNow2mlyqKC15U/gHMcPrqzh3WgE1y
1FvcCUWiJ21NSLWln886lDcVPZW3WQ+aMJKGtVLT72SkUdn7AMORWLk/stuJ5DNJoTbAvchlbuUe
rdZ1eROaRtDO9l9KEY4Irsz1pR0deiCFUA4m8uYAIBINNPlqp5TCKbQenZbNkbE46GtQ+sThG410
BODK/oMqrPEFtbAOB0kPZGLYxcvD2LbYk90f76anyRtRjpXPKMGiFgmuXL+/5F4O8qcYEA96gGM7
juGRFtqz74ST+S0eXdCHhdka30w8DXFeK5oxAw+UzuTDk1bEJyNrpzeyWv7/B/Gm0lT0hWlubj64
qHHa1vLCCCAgmd/dWkccpI+aj3qUv85Kt3wGSNL/E0+adVBt2vn0ZKEahWAbACB8mvVMFB18MHrX
aoCR9fyEppodQO3unyEUInKxdPbB+bPz7alNUKCge+LR2dzE85BhGaYBlDrVNOomCCuRqYgOq87A
LEv7xauQ53rnRLWWXxG6o78yqjqFvfsLYGd/8SvAf4DOlzSezVaetUGHklpg7DrjmVA1GHLWCGWc
2dj9QajbrFuCaLjd+bLSR2f7aXW91NpIdefAoCd3hqQ9nkWVIWo8muWlwI/+NCpjeV4WMQcJ0Hof
tnD39q9MQurxrpGYrJtZH9HacdDUmYPB0ZrHKtRAfYRmcq4b3tICh/ODA2XnK1NEpFFvWGAjyLzX
q6quHTQfKwuLDB4cJ8eKUd1RGuWpc0vlnykr0QPMCq/8DDpkEn4YQgM5mPaddQ1UQWY5FKOpzG2q
qGmYUEhdWNdUw7InXe310xR2y1ccBZd/RMUyO5jivSHzwKAsQQ0G2sdmYeOyCZSdU48efeGmr3gH
x09GgeKVD/i5aX1aQC5SQVWRoTUDT/1jQmH1+/1lvfMbeHFwcUgnHoa9SZPj1JJWGrEaQKtPL2q+
9JRo2txG32lAWRECb/s5B+J+bfQR0bQ5/hdXpEQQM+nShuJmEsw8beHmtfhdikE/pQOiHxVaUmfX
iMXBs24nrUIBhxoQaDEyyRte6RSNOZh/1wymAVB5kNWLcRas/3fI98C4STPnj6402sCNFfchyzlh
SK806/3cOm0grP5I81RO7job4SYzqDfq1A344yazminvaRBNrcAyo/olSuwJ+VFTGqLCbSrRCfCH
uB2vlKaPpuI226IWRbGXO40eGpzP9W7LDNLpyZusAIf65MHJLXQV2JYHKNnbHUXmIwHHcnVZ6taV
MZlpbNewzFD4NPXPbtTo17RBHBDRVBNFVQ6Rgy18e0gTjmwVug9dF5jg62EpcQfO2YjsYFyyIihD
xFlQTEhOfOn6cn/j7IaSrq2AUH7yxdahRD64ipuXdsAdrPmoKbFvuhhFjsk5Ohp3p5Gkg0MJMWnS
yXWoJWoTRYuxD8Hf/h2anBEkv9zA8xrvMXj1ycFJvLcqSekAAdMrk8WCdThVV8QineC56Zr6C1Dg
/MLWrf0e39xXRAjxy9WM8FrB3zs4EHcH6lDdYmvCC94iD2Fd56WBiECgJVrrj7WBcI+I1Zey75DH
zJSjZsxuPNoxWF8aVGi3rXTNRUo4ovIVeHQ2HxxbFF+8yOJJh9Xao53U7d/318ztYUspTW528Dw6
XaDNYZsWUZJrGfEEqgtXPTLQ75mt9p1YCvMCi8JGrxTRQNjl2WOvWUdPrL3h0veksMV5T2lEX39Y
TAoKI8uZXr2evYcwtIwrYKbIN3rPfFomNF7uD1ceItvjjYYGDrCoOoO92axbNEMyMxpbWDII8rzk
tLA/K51tkDL2YWB0vXOJ7OgoLd4NyivOphBIQ35b5jIW8KmWW9kBWEvzCbkmbBiQYz7X7hw+zMrY
XEWN1t79ke59WLTjJCSDB5++pRdqcH29RpRW0KEE2PqDhh5qByLFPKGxbv8nU9GG8FUtQXixSUoV
sSMn/nL/J+x9XKB/FEe5RbnLN8lEH89i6WPdQke1t56qyRjPi6aEAYotyGoN/dGDaC8eJSgeY1wj
lL83p4Q3uTnSScivKLoxI4OcahdwntUfGph6lBgzqI/3B7hz4FLxokggywM2uLH16s1yta6KwTAC
hKsMLsY5uVikvefIGX7cj7QzNKoEqKmzT/Cg2DYz0j4rcq2CQFYDsE678s9qQd0Zqnbhp4191Lzf
iQbaGqw1WQmQrS1ts8py+OOJ6gTqYFDCMqhEOIOhBU02tUHXx+OB0PptPE4gyDEg9GW5wNukuW0T
xoWtJNF5mrX8Amss8SEBKn6RpsJHOmA8SAI2Bony5WyD1aGzS37Pc0bdBKzzEd1rlQdDW876jwkf
jx8IvBWfCjGq79XFML8XeT1+ROU7ekzqoUGz2vHii1ok4h1vAZXWQonbixu630hgeebe/9ryFFqf
UtyorCsIUyTjfIn1uvIMhY54GYcBSkn2Azuzhr+Yi8f7UfZmnZ1icvZzkZPzr6N0FT6McTqHQZIK
jGm6Knl0kM0qHK977JX+YAXfHoI04bhgcDNGZYPGyTqaQbePzLELg2zqRl8HVO57YWWc1KicLrHl
FGdYWkcI0tsNSiWIvIGvzAXH7lkHNY20S2N7ic6mmkOTX4rYR2TfvJBmHDVodsZnkjWTooCDk/W1
dShk+Ragox1v4zyenvrIcU6m3VTnJa8zZK7U5nmpvKObZWd8Fu9Djh9oERIKvA6aom9Hn81OANlZ
QFvUYvAjHDM/ww7uDzrGt/cJEABaQbxCKbgCXV+H8tD0swbUSM6j3SM8Ow7WpVFE8YdWhB6qjJFm
XGYR9s3ZQa3kpbVQmr+/XPc2LQ4T3CSYucg/bHYFr0FbCFEmZ6ecqn8Q+20/CLEMGJZZlnLlx1gX
dTABASIE1f5Qh7I6d2VUlYGoZnALPdePJ7DfQpM/fmmA3BwkqT+z0M22xTabvr7cuSpVz/UUVfCN
w2hS4vM0zjn6VJqRPCV6rXxIE0tN/U7kSFROhf5xEXr9Ht7F/BKWKQJlsNq+NUY1f4BIHoG1AKU6
qS1moGnZDh+wuyz/0PHb1VHSNuhoNsp0NLfy621+uuyDQY2QNe8bTZ/aBOhThH18HtTyc1Wr+aPW
ZLEkTeFN44AKiouuv2ZDrZ+Ek/VXhYsWqsLgvs9LPTqDH6kPZvPmdOL8g1lIW5B+Ov/cJKYSNlYK
SMMYTzvxY1Rm3XgSJsXEzOuMV0sNi8v99bUXkC3EpUAfSxZ81l8v7MtKGSbFxA4IFrced8ZTPWBr
7uQoL9ZjnF3vx7vZuzDfCANil6KazRm8joe06mAixGDhIiXEpYG8AkgBVMKCVEJwP9TO0MiuiQI5
AR+TrdE2ibCSjlZp+qNorPbUUT36j7dU6FYWigjKyusOAu6MzTPJwTjvAfOQGa3HBus/7Yq6Mf1J
GdwzVK08MOhZ+6Y5DK/3x3ZzLhGBXUdREL1n5ErkufxLEdzo05bCFKQLtWiBVSy8qrW5zM91gboF
plxdkBdz9Rrryhi4UXEEML8twhMfcyo2DqwBmkWbZYN6ItVfO4X0Aa0nsPQhevaWHrsXq+9ea0Ux
pjN7J+wuiSa0L14n5pfMqZuHKAuFf38qZKjVJpY/BTgPpEoKHHS111NRS1lJJ4L/EukI2Te15gRl
V3Zv35jS5s11XENS1LasLbWJRz2U0n8g+sfL4JX1SQG7eHLr0Quyyjh6Iu6OijebLvmi8l28HtUM
RcSZpsH0DRoKj6KMyndDg17H/bm7ub7l3PF4kCA3TsFtCqoJem656DCFUYzwb7cAACXKvqROQ9NE
wTtMNz/OgI0OOM57O1PyeDRKDNDUzc0TCbktOjzY4/mJ1tu/d3qJ8CvSVSqC0Y2WnnujPSoS7Udk
r1Dko7K9xdm1ejOinAJ1p5GSnVUGGWJG1c8vjAWgOmrEBxN7+/nwX6N0AkqG+gml+/XnK3QnW/SS
ePqgK1cLvy+0hbHCeevnIwo9RpAq0il+y6cxvTCKqVXDh1qi7AOO2vg34BnxXtSD9FCbEXCXfjHW
AZDwdjLJvjA3MtkKnD/2ZnA8h9jUA3vBhFH4MIRt+mAidXNOcGR+ttx8OhjmTR2MUxylNvxB0GOi
LbC5M+i8F16N/ZKf9liim85UPg4oJ509DZ1tOn/U4ywXZ5wCqcv7E7xzzhEabokrPyVQvc3hMkem
IsBTS+llLKOiXjgoWFv6uUWmHjeObsbGbWwvxYApglXo00WxFeNVtYDw3v8lt3eLobIpyHnhf5Bu
b86DfgTxaqeccgq+ruewaXCM0nrnybbmo/R67/OyrqjPk9Kh4bAJ1WH5oOghwhERopqBUxuoa2uz
8oBT43jSOuT47w9tNx6iRdD/qXT+1Nf49S7rcgN1NFoi6OW12jlSCiYQd9N3qJK7kGS7+eAdvDeV
gEfYmRaYJPKe9d4cbGHzbkDHIXORc9TwuQjm2B3Pg6YfNef3jgFJ3aYGDhkUvMM6VIJnhW2UhGqd
aDh7ZHOBUbpvRlixP8AuUEkkj6VMvNkfkUBBMWxayxfQfE9hnNtoG80h2svpX86IKcH973V7aZBU
0Yxh/7Mt9C0GaOkL5H4F36ubUu2aZ6XiK2rbPVVOGZ1HLfLOU64dUQf3gnJRqewCKCO0p9YzqdUz
nWAHWaHEnHuued0cXnR4bn9xaFgvymiX0tBAnX6/P1b5gdbJBWVEqAlsPOQ/uSLWYet4sbqphzfc
YseCoHyTYGrheV946dY8WUovUOxafKpRAzg4evZ2BaVa8houSYdBryMbaAVXttDQUcrr5tKZfXNK
kiq5elGPzVJnjMH9kf5k12+HStcX/QaUhCgWb7LXMrfUzFYjtiFGF4hwRpgHnMNocP/2uEgsJO+B
WwFrwqQtsI3IUvFUk3pY01j9rvGim05mUdfmyZhKLTpXU40gEraFHcYTQ4XPhRfnQviI30/fusTW
/pNTc+79stGL7gGgf9ZBTyzr0Z81PA9PjmJnr26imcj1okyJ6mO64G1SL2P9VlQDeQjUIOBsHAek
W/JD/JJK91W8VOPCJ24m6EFxZtsnw8v7cxLFsEQRjkdV2258nWrdKce/5WA3/aSdbuYdNB8VG1R6
2FPb3esZnYfXrmsg+KImf8yG2dPXsVv1h8g1dG2HtB0+9xpY1JNpZYh/Fomhf2m02e5OS5+Yv1eu
GdEqj9vGwqBhCD9aydCEWG2UKoDkNm9w/qmd+jEqrGZErVxDqa3HHOooGdk5VukPg3f6qW3Aq2A9
j+m8FFbcktQ5ijkFmjfnn8WkRCde4PP5/lrdCwVphzuD/QHQe3MYGPlQ11pmGqyen+YzFf0axNm5
MfL+oEi7c+5IftB/Q20uw9KsHc1MGJVlDdrzqNf574t8FZ14AMb5qS+b6QExsuVyf4S7YTEdhYFC
YYLcbj2ZphmhppIwwpwuXH5qawv551QgdI+FwFD/jiOecsaNyD2IuzOzSG5i7E25iUxj246OXfRK
Y36Pr7YGdnJgoU917zbvQl39cX+EO+cbNxUFAHI6iWrcHDd1U5WTU2YoJAiR/5PXk3PxTESWEbfN
m+fEg+t0P+DOXbwKuMlapxKkcTSQLKP5q34e0cP5jhq8fXCM7k4gGlFUUsgarS312lQrV+R6jbqH
FmHoMzXe61Dp5RPKeEdsqb1QGl9K50kqmRebpZlOE5YLDfWNQYv6D1HRYnGXdNCm8vLv+1O3sxrJ
K+iI0MvjnbgFnqKoOAk9DnnNzC0IKOQsLoorKPDWY3TN0kZ7nafiSEl+73uBbZOLg+4Wj+D1Fkjc
wcP2he+F0iHrMRndAAryv8irKQ3xhJJcL77Z5iihZjrYM9bfaDq0+h9RW/5Tl7rzajfZwXrf+1oM
hSQF/SnKWpuvZTgjANVxMnzUtZOXymq4TnB+rYNlCZWDHsduLIhO8pEGgHdb1KulaETuwYH2Bq8J
0KibTxQ28scJl9vg/tLY+0ok0yi7GNC/adysv1I8a8JqBOej1qXTZami+OrgNuDfj7J3WEjuLoxr
Zok1v45i6AIfqnRmQGn/+zxhpUOpYrmYDrknGprt+X643UHJgih5u3x2bgZlK95s1u5AfYL66LsS
bzOsGnMnVIP7cfb2FUT+/8aR3/GX1EPeOjDXiWMIKFooO+KpZzYDMCBvuWT17D51bTH8dj/o7lxS
6yUwVyctonVQWC2RnZcLQTv4pqcw7JJvYzL3lyZ2nJe8d5HGvR9xbzp5n1DtsaRrtiF/0S/DTLWs
SweVpR+nhRXkVtn6ZaTqB8+6/SisEklvQQRgc2XO7lgI3cbztinG/slrUvD6ejYdrMS9TybJZcjl
AwxlQa7HUmlpWSS9bvhAmhK0SCnJ9TkWcyU+U5CF3WdxKJl8OzBKLTrVHdCQGGpsOQip1uu1Jlj8
OU+FwLNq+1UbDffL/Y90+9KRBR0NKL7sEcN7XQ+sK0Y9xomUNQ/u/xrXtvkwJl37qWzC2o8AveJw
1dmAINPhYLfdTimROYQoKHNawRpbRzYHnFDHlvGVhTO+GIqRfAPVPDxXfYN+UYRLlLJY7kFjT67y
ddZNJUmWHiWiFiaWnPRf1iTlzS6P2X3wr7DOaBTLRRoXS+siT4aH+zO7HwpQJxShn0WzdShrrjTa
XEAl8JoRQe40jZ96IyLLU3Gk4nC7ty2YyzQFENul6riVneqtlL7owt7OxqHxJTAvsOMsxog1yb5m
Q6EcFHL3lqY8RiQXkgRki49ONDSCRMTbhddV5NO/FA9qjEbv/QncWyAgMqhI/azYbGtfaYsQHrRD
sCZel7zn7SuuisB5RF1Ej9B04wZw5srgftCdocnEAKFWSI5gJbarkmp5DxWbBaJE4jlHA/7sjZwu
96PsrA2enC7terqQ9P02x4nZOHbR50QZsCCCIVfGaGvb3QfEvrI3v2RIcGTthP+WMuq28yaoQI3Y
TJLEpWoY0KHByz12l8Bb6srXzHLwJwuXyjePD0ViWSXmEXXb7sMDCDgUJGh/0fPxNxpZ5TcwEEWQ
4P528MHkB1nvaMmPBWdBX4pu5hbD61gF7dllRgPMncVHMxXTGZKx4+cmr+i8qYUP4b14mqK4eHVj
/Uis8fZLQokgYVDpzKBAY21SFNxnc9WbHcD5mNN9d+1QbYISVtx5qeZoePO0EkyWLPiYNnTrzVum
EMuEtVwJAxiLnmuTzOa7dpntK89T7Xr/C95yIJCfkX4tUOapmSLOsD6+SsXR82qYiyAW+QjjZ5zO
Ktvh7KXD/Bz1E86XOEU8T7EFEViZ3pmj2368/xtu9yJx6VHJmwnhmC3EAAyNYhsLQjho8E7Y+2r1
OUqW+PIvosj7lSyTnG/rPMQzHLfU3C0CoQ/9Q0JqC4bCMA92/O0RLZMTCDSytseo9PV0Gn07YaBN
Dc3oqHEbyTI+6v0YPSW2mIuTVvXdwQfcmzzOL4MevwVpcov9jswOgWSAAwEeau1rr2X2y1i73cEl
tzcsB/QHSBVd6lrK7fHLfVqkvC+qJS5By2XmQzxB+c+XakLnbCpO2IYexbu9E5jBX+LJ3/NLvLmi
kww3pQycWXnJQUN9owQ7PyRWlcLVdL/3XuwdbLqbIcIlpuEl4XMU6wDtrUOqYTnURYTK66S3Jo5Y
g+cL02kfTIk715LqCLR/c6IQD0IA5SfMv+Qzfx3Piculw32FlaLEySVua7o9BkAGfmV/cHb+7Oms
Dk8Zy5C9AxYJpOlN9jdxPFYI+BZB146YAphiin5nLU0fnGUYka1LipJO25z70iPg3NSe8aeapDp+
6JmavsNOWP+66AZ6onOKFG6Wo6nfTiPgYrMs/kTqg9+PMcI3XvLdg2a38ycK2LjAJ0YznZSqPWhQ
7s4cZxZdF25XWqTrmStr5J0ntlOQFJP9TqjOcLZGXjiYWB9VlW7WoZw4wgDCkOqiW/TBMDnGJHhv
B7gufbeEi6t9WMzXMu1jMPNNl46+mSdHqnd7USUWDP4jf98w/0oP7yjbmIoAB6b57C1TDfvBUnAn
qqNL0SsqIH1dO98/H/dmlQoJzGP4wUD9NifXkqVD2NhKzgsOEbIWr9SgQ3iTAmF5BOPeDUWXB1QZ
OoK86dYfUCzd7ETAAoIe7NfJiq0Gg1oRBjF177eex3xA1PQQdgcYIKtN61CxGwlTuGYe9KJwrw6t
tGC0eizAsji+GBgA/XZ/Fm/vUxkQ0KIJAQEdiC3mQplkLw/ASqBNUdqeNLPyLsCc86ehVap3Ilq6
Z0xyOrR4s+pv6qD62VHT6uBG3VlARAHwAXONtsNWsMUrwAlWpZsF3Zg4AfYUVbBMZn2yRDK/90Kv
QRvdLA+C7nxVjk7yQerpXHxbTEtX9NAVXTML0C9MznhAiy+L5nQ0XoBH3J/l3VAUpUBswu4gL1t/
1aaEqIxTahZErRpduy6PLqOrD+87q83fftiA05GKopLsdNOZTwpjNI1SIdTYeKcqXNyL0jS4oJXt
UYnjJsUl+5FCdoB6EXXm+bYeVVSkEpwUZgi/FF6gRpl1rdEo963R837YVjPRfkU2tZUwBaSkjp5E
e5MKLFsKdPGMoBixDk8qz+OTB3nQIvh7GgcF1dZa1X2tDoeDYs7OXQugFLSDbA1wCGxO8MVJsau2
hjxYjFGFP9bWn/NwwTUvbMsHrTDy6/31srcfqJaS/dngWSi3rIdmDBRG7GzKgyzS66fCsdCAqfXy
gs4P7TOtKE5pnDYHR48cxObSRQj8f0E3l24yF8vYoqAZTKGB6tZQ5PNnmNz2tSoz5zEzDJxFM0fD
8MHUsz/uD3g3NiUsABegqAFIrgfsatPcj/rCc2XqjeelVHuMkW3LVzsj9tty+DPDTvlpmOwjuN7e
IqJcLKVwpavoVq/Am8vSVZIkD9R+iR5m3r1fod5GPsfVEQB0NxTZ2s9rUso0rcdINQvbK7XMIRRo
n5ZCdT5XoyP8ZVDDgwrFXiQDGzeE+37K9W/uKyZtMuHqZQGIusRfOjwlxQQcM52c9vL2D8dbDOI7
yR44xM3OKKkFprbKcYM+aPk4F2nbnLy8eG2aVrkaNZxlLkkFw/h2+no/8t7NRf2RJgvh8SZVNwmw
nfCSd4TFSbcoWqB7qXFpWrV7dGc79od2mrEpTNxvYxNjMYcbpg073nIPUtW9nUqrHH4Vx4I0xl1/
1DlMMlkzyYLeTL3HQY9R6MNpy2/y8k/NRSeb/s2RjNvNE4pzV8JLaBGR9zPydcw60YsxqmdiYuAd
TGY3fELwxz0opu1tSSgpaBbJOgaMz3WUHr79FHdexvE6TB+wrlOu7jyFF27L705o1Yvf9E79frbR
sDiY1L2LBY4ejC66ONxhmwGKckS/CMPdwBz1tvbNPhHnqcuiB8vK2m9pX7t/ul404dztFrPfLa6q
HPyCvQOf1yPqvVLTg6xkM/gha/B8d7LA5pLzeT4DDYmHNBAq1Zu0NI8o/3s7Vt6gZO+AqKnmr+Ml
uU3TVCEermi5787eEmiNnV5ir80Pduze0CD/8OinOsS23YRK2wnzzsog7fESHV9z14bIH3YPuV3O
Z9Et5sE6uh0a56uU7qRVRmVx28O3zVZbwijKgnESr1HbDU+9SqKJa2rz5oQO7AUlGXkW0Q/Z5iO5
VPbyzC4L8M8epBGsGwCPHy9FO5oH6+NWMkDiPPiLFrS8MbfnnteVJoXggoxVSaY/9C4bMXPEOTU5
tZ1YPs908v4WUz75nTckl8S2BrTFSvuk07q4FEJUB6fh7TnEj5HqqByJcC+3KMJcVRyzXzLOYTyT
v1SlJTI/tzrzwRaUq05hUXdfo6Euo4OkYTcuFRZkhl3wBdve7qDT6O/HNAtQP/0xKUpyBm7gvBss
yuC8tuegGCzj8/2Tf29FwdvAjECK/t1A7D36XWbRVFlgCi2HKSiyi5MK9WU28NH4F6G41RDI4xTg
nbTel4sYIv6nfOYWSOPFchPMOqvGxsCkPfKdut2XOvgMFjAGOxLSvzlyOoRHrcEklDD16jRmMN17
ctygiSL1AbSZ/vj2oclbC2gNWFDwmuuhtYk96GXesFtK60PstpXPXV5e3D5eDiLtjYyHAqtDIjRv
7qu5TAwXllpGUSKRgkSQFZamiE5TknSf+1yUBxA6+cvXiazEhZA1Q8PgVbn9aKY+R4pTOWlga01z
GR2l+9C4rf7p7fMH1EVK/Usm+7Yrr+kVNf6iTgOkTEeskDX7bGW0uQbOnPP9UHsD+jWU3BC/VBfx
1+7LuCeUW2Xah6wP0yvq3eO/2Mq8o2g+AuKHr77JwSeuQi3C9AalsGx69srefQlbpEStcQr/ckoI
znV/2IzfWRvSXkRqr3BusZ3XQ4u6slC57pOADtrfYUjpplgMB/8LmGZzqB41d3dm8qfANohSHv2I
y6zDhUhRYThoJqgANN2li+3pI7yot/mdwWwGRfazEEa2T7NiuwBbTy/MuCHKUNRje1LSsPIb1IS/
T7EyvQddetSR2DkRISNQVyATZadta2FI77lENORanFof2pfl23HsnOb0UHRkLxQXHoUF6pncfptj
qp7aLMp6PlgeFm2A4UN3mUsuGzAjRz2svUtW1jHhUZGrkO1uXkxGnMH15tANchGqJ2xLtB9aqJjl
KUyktkouXWJwJgjiyVOvkSh0H/2T/FoOZenjbT78eX8b7g1dQhFUlilPq23ryYRpLiylTVBkV5IP
2pKHLxx6KBSp0RHwcedaxTiZ1BcaMxJAWypNh+mVXWDNCy0VvKXhNC0AnAGodZy0IwJFWniuMm95
eOsAuX0ABYAxQncATbP17oh12niumsG0ahPvrE9De8omDgQrTdKDJ+rtvjcgEYMJg/lOF3hr8ACO
36nVLEmCYhI5lurNeAalhk9LBaff0+ojrZzbjQ9kT1ZWKfYxyO07DU4w0LAeNf1laeNv1HqLM1xB
5frmCZSmV9LjhvXKmbaewCGb7BxWexxMvTCCokkblLI67HUwfjndD7U3IFirPMxQrLqVahclcnNY
CUcBGbsC0g1OsqDMH9yPInfz+iolAlVhSOesQlbzekCIjdIWHOMpKBGk+qS2XnqxLVSnWt6G14z/
7ORESvmpa+YjRMzOAuESp7pINiRbTptnChxzZ/JwjA24gbFx6b3h0hnd/E+5pFhFlNl8sPZ341E2
/UmvYAtsMj0Ml8LO6okXtsUMbKrK/UIdokdPb+arnUs/5ftTe7vFeTyQ6dF/1aRGzKbGl9c96kIF
GXKXNuG1hqiLuumi+2GC2DzNKvPJSIb0IGnZCwozlTOMlz0SY5tMYswMMvNpmgI48uVZzwbn7HT4
W2n2oLyz9aj6lOBpdpBY3J6bEhD8v6By6n9JX1S9BSMBAIJOqB36VbO4zzShhN/2efT69kmlIEwd
DyIQjiebE6zP8laMNesVU9z5L00TeGa4iVJeEn1Wgq5gKZWV82bKGO9A2IdseWrR6LpuPqWJpFA1
xfkUZBYkFbpuczChQQ4FKfWo71nu248Z4pGiYR4gH/Kbr1gPi4dhVjkFqTM3PqlOfzbRoPSFkzqX
+xO6cwDwtPspA0jfi7to/e3CUOnGaqinoKN387ygrHBuQwOiUZqmmvaAEo5yDTW1fKkMER7E3jni
aO/JbhhlGIoim3WDono6NN4iuO/E56735g9TY6Zf7g9wZ3HinwzfGHUmco1tOYSsSSvxbhXBEBtS
YHFIrlzvdZAlc3PwLtnZfDD86FnKgw3BgU064yVZNlcep6db0p1vs3GhIqmWT4VFvy+v0+43pRjz
g6A740PegBKePEc1Ltz1B5xVZaE0k4jA9ibvFJe5GiCw3j2kjuhO96dSfo/1ZQF/G3I4tHTKL2gq
rEPZVhdqnoDiz4pMviuA4HwTgtQrVbwiSCn8H1SWduOB1ASJA/iI6sc63gziohYt+ZA5W+5TkU/J
S5xHNSTjKSr+aryhOAh4uyAZIL1ZqdLGo3nbcercuBGTtoyB1uKMEjVj/5zAxzu4iXaioDsnAUZS
EAgxjPWw4njJDL1RhoAFC58ZGMQT5kTlwaG8M3kUbeAvAsVhVW4LRstodIPGrRqMsSEMMmoxXkMR
Zd+UdkieF60ND6oAO8OS/CipDkF9int2PazKElVCU3cIvMpUr7UzKuf4mFl/u8dIW2lEII8j42zR
yYurZ41nL0PQW13yMWr78Elp54STWWiUkwfnIyIm7cEX25tLVCdIU5Bykk/L9dCSRBnIV6wBTFPh
/oXyb+5H8GEe4hmt7XScjkRubvc0LzDqjlKiE07AFqbZeQ1kr7oYMYEqprMeJ81Ta7JgqN4eiT7u
fDX6KyCbqLfBxNyifuYh9ZauL1ny5dg8NamhXbOYJ8n9k2NnQOxi4GBsYmqI2wttsVKldTUGNIV5
/lFP2/6cmhXOgvGRtOptJPAiYKxh0QOTMbdnBs2q2OnTilzEVdsPZqdaX7yiWPRTIhovPhjWLZlS
knh+fiWkkjmCN7cnYltjgmPeFAxJXI0IgJcSlr8krnNCzILn1UKX5WGIinm8WuQ06PzMiYV+VJmq
PGFr1cpPIY7EP/pFsTo/8/rqqxDz/ENxu+TLHJvjD/JWD6Begw7aw0yJ2TjlQjeW4P4Hut1WkP8o
MKCPIYUytiiRETJDZkRJHyQR9ZpTPBXV14y2UXQqkCg5oawO88oTB/vqVu+AAiXVIYgEyLOy5DeX
l8eJ2xVx3QcjrK5vU7go6B6P1qKd62GY+2syCPtiSm/dSytgnNtzaPxHcdraPi1ZbHoHR9jtPkd4
m7ejhHAgrL716Z5i0P+CDgOK413y3PFSPs9RnvvGmPXPWeJEB/fNXjx60qBGaI2zZuXm/CVxNrF4
z7S0J/kqLN0vUMY9ew3M2xjs5GnANevgTrjd7JS58SHnVcIBc3OhdiNtlRwiZJA4SQPWoWUHltlR
trwXRR6VdGzpuXNUr0eF+ScQbcCYwVim3rXC/vZCS6o9WLG3G11KEUlJQy5s8pFNcjAurVZFWMsG
ke4mZ+pu7SczbLKTyh58Mzrk/zg7rx65jW0L/yICzOGVze5J0lhhlPxC2Nd2Medi+vX3Kz3cq+YQ
TYyAY8OAcFRdrF27dlh7LbUUMSqMzTSCtxiCbAHIXgQt4T+aYqhNl9OfpYcQKyH5fO/Gtfh6+zLu
bQ1uCiiXYLtU3OjXH7DRS4vxJeLixp79UwcteRaaVQ1TmeUW//P2tVQggvlRvKdkc71WrzUSg4Gg
aunt5InXLz5TfMrfj9pSHalK7TgZDIJYVWk1EShs9tXNc4UnECRvutTvtTnwwthM6rABhPTQLs58
MknTz7c3uAMjgMKE4Bg2ah4GkOXXO4yNdg4GXfnouZWgFdPkc5lP8pRU3C9/ceT9AkPYg4k63Klv
9fXSL6Px/faPUGtcR84KeUf9FswWFK1bKMMciGBdC05UthLOvklRj/AUTP7ft9fZsxwCZai61EQa
DHnXe/ULz5PpxDowb2ZRSUsxLBq/QTe2mQ++657vgmiIdXhmSVM3S9FLWCZtiWE24x6GGVRylyaD
xyDzuyc3n8Yft3em7HDzBYkq4YlRgZ8FlPB6Z+ucp2jGqjy1cgz0QgFryjRo2nBcV+N+GWAkTBIZ
hKO1HvGs7ZitisHIQPAA7HgT/QHUMMyyywkpxJqjIG4V8EWkwAYsc9C+0y2swtlr5rvbG945yqtV
N9/XKsSyrhM1Bwvyn/vcL5YnQ4j51ATyiNBlf4OqEq24QzGb62/LprVWX/Bvsy7Sy2y7C6iWmvKG
5DlGOn168nPjSOxC/aXbA1WQVGDFdNedLWTSi+sZSg4D6r9chyladOI5nta3Q7N5XWlKquCKZGHL
TVrMkw6TbMqLF4jvQ5F5n4rViy+dJc2jsdOf6e92R5T6qHsTS6GFqD7zL6855AXxOtSAZdzeL/9w
kkI+jCK2QRGn9bMxz9o/w9INkdl7/SPE0PUna8qH9YRzyD+l45p8NGP3H5HY8Ylwo/+Phisl2MJZ
osAX8qjluHfmjNKRp9H9RuJrUw6NxQQ1YcPzaSaropaCHbzoQFhmZhrfy9IOzrScrJfbNv16UUrM
+EEdb0znY2tokzs4Q+55cFfpTbqErZ83H/VKb6eQgn36wVgX33iQjPuIgxf89WWiHKMmmCiJogOx
RTGMowVkZKH4Oyyue1mHNngiuy/CdYzjN/tFllIzfFA600Xa0lW7gx6784yjyhatYm7XG5tI6yb3
D0er2z7Me8u9u/1Vdzen8kTAIYBjtiTkutZ2ELZIntXBmaI0DdxLiYhGmJqdcRCwv/bCbI6+KsQ9
QMqxm42Jx9LM7AqrKQfPvgzmmv+ba5X/BzK9/bkZGfRzBoZAdT0/gui/fm5YGfdEc47iCbWT65Ut
YbWtG3CRl2adT0E+x+/qkuctiSeYDaq86T7f/qq7C6KwROuaiheQ1esFCV3bJUhVrOx77ZPHCF9Y
1Fl9KrvZvCQp4ODb66kH7Np7+LCG0sFClkVlsJtPK2xD2nGDEy7RQH9MO2t6DAz4dxbkniLomYrP
NWCOu3ps1tBeu7/evLrtqXq6xQ8ABr1JZIVZtJKeIPmfa9NXFilF29AqfRxX0A2nnPmOCyNm1fss
lcPZMNsj1NqOEV/9gO0jO7WaUU7eEA0tTTzaI2BIhnJ81zvz0aDT65eHSILWFb8XQCvd5+uTnY3c
C1AUkhFa130EByS0pv5whETY2xDejgtJJRFW2K3BTpPjNmMro9alZR8vOJollsjAo/1zun14O6aq
Op+0JohRFNX69YZS/rAxbCkjPUciNTbsPKwmyAmbpdRPiXbIIbW3NUYJiRbYGYHeJhYbq25unEaX
kZOL6t7XcKTJUK/vG5CaB1t7zUdNgYWsA0Zd+oDIUm3twlJd0M6UYP4YVz4ls1vnp9hu1yqkpxWs
IeK/zgWZ5aW6W0wdGfEEwp0/fJk4Ja02CbcQcAlDnikx15/zJXbfmXbe5geOcfeTKNVGSPcsyuPq
z395+2m5UQgqBhmZ6dDdyxFKqrlLXlJRBJ9vH/ZOzYS4EJ0w+ASAA1Klvl5qHn0RtAZfRK+b/tL1
NaJ0GtXcpsuac9slnzNGpe7Qy5m5trp/8mHKfWRaqzs4mh2r43cQOlBqIwHYPjvtwgSuLLCCWhaB
wGWsTliYGBtZrcWoovDenNzwxLl8YKJ/QtVtQzUx07EpMzFFc5LKB88fKVWOI/U2J9YO9rbjjJkZ
AHqOpyBj3HY69LIGj7dMY1S5FhIEjIc9rFmZRWiMDBFThSnjBPp4367JGlllegS63LEmStwU4lhb
ZXEbo5cuU7Rp7dNoSYX+6BfW3yWqO1/H7vB+7fhC0jfwj1wwisBbJHYLJUulpzGszVVjneWQNy9r
3KYHXAC7+wFjTn0Z4SSawdcm67SFnZCLjlE3l+tjtk7TOSlSg3qp1hyc3E6EQpkG9gtGXcB3b8Ov
1guqkubLGDluUn6Ra189FnFgfTLM3AzHBk2qKjXmsBzstxekwHdTRaEkZYCyCzYuwNOwKMDmY1QW
rRExbUOY29bZeUkG6yBW2PUBjH8oVhiQPDj96w8KmbHsB4emXzcE7UU3SnFXVll9nvPk81A7+YfR
MYd3+KIyGt01D2Xg13eSXOjga+/5ACJqZssZUwYmufFFhvT91q+LKaoXGPHCYu1pNelGMX9LKhus
dLLAF3bb/+3kEAChGR1mgJK2rrW5G/ZiusWa0c8N2iGl2T9aKFK53pO/oK8zIz120mL4oW4vundN
1MHSA4delUT5+nsvTBFK04FOpSNrCgt31j5ZS519uL3K3jUhqFYGRBTGEPn1Kl5mpY7dIX9nDcI5
x/FYh+uSt8+zWR8Nl+9+ReyGZ4RCEZiG66UCsWQSSa8xQtUY0kQjZro2lWN9hgTy32Euxy+Fbh+l
/Hv7470CRIHF+Lxd14vapeFIt66nSNOmGaOUfR3p0jWfZeEciS3sbZAat451qgbDtmVXdGtsTsmC
yzHGxH9wnSFNP7UwRjtfrFm9UqKGHdcxp+KoKbR3JwCeUgbApfF6bMLLaV1se4BjIWp0COkF8XvU
jL28yNSYzsAJj8g5jtbbhO6xEc9Wk7Fe2gxZpLdjci7arr7oS+BfxGgdsYjtnSKDLIAI+Zc6zutT
XDRE6+VSj5EGfO0bWnuoYsvYlmeUwNODBsnRWhsztWYm/3MTBADoE/M8LU7wWC3Uv+olOYLn7y5F
mZiuMpxUdA+vtyUGq4UVkt6/1ZTOl0Giv5KMpX6eNfft43s0dwFr0HFT6fS2GpGPgTbVJrZZa11w
B5udf2d2AAACrsfltkvZc1yQXqKMSAxN1rMxDh4gv3LMcYyYobKNc8X3HNUAwpFX3jNCEgGsHVYm
cNcb15XkKUV22ycotd30o60VLg0FJ3tsPFv08AevR/d777iUaitjkKStzDpdH5ePMDxcNQKsLBHa
RXelfWkrhNjiWZpvj+3J4RR9CliK1zMiNHVFZa4xga6+VOcctdAXDENSDnCyg6X2jgtgLt0RiqIk
jZvP2MW+iQBwOkZBPPYPFWndZ007VCfY/XbAyF2eURq+W5ySonQnsEzwUGJa7jO3RPnKHSWvzWwe
9eP3/DAAs/9ba3NOg1VbfuaBXYBooLhjisl/8rTZ/2somOnU9MSLMqbKfsPqadVBsACynCqnChJ/
ycaKrBlameGiqGrU/5ZGx/CWGPz4ICrYNfqfE7hqphmkzfUyoy243QmGgUg4wEOjEPajL2wucY8C
fMSrdMSOtHtyzGEprIbCIG/elg6IVy2WhsRg7O04tBoneVyGTiPfM3D14W3nsbsagABIKeEoQoj7
en/2KKSD2CeojXp037uBeJDtrAR75D9vX4jvZ6osEl63rdnHRuYZGiN2kSt0KkD+4t0jA/IlGWvt
AJa+lx6Qf5BGkqnDY78JQdy17dwq5QM2aFp902aIBbzazBXtdXoeh0EPq1krTutcfLu9RWPPWFSY
jFQjlDfcvOuPKdxAy8uJTAsS7fXJnVD5rp2lvsvkCMm71Jy7orTnD20zpt+hT4qfOjNL1xNU3fm5
Tur+zs2E9acey9J9V7hJ9a+0xuW/2z9y78CVKrSKWuhXbg0a8vEmMwLewECfnM9ZMgGuLTTxTzBm
R4ole5+DvgwgC/CSqgtx/TmcirnU1uNhquIAUlp8xMXtF6j9TaAPyHcdzVTvbU0hW4h2ASaAOL1e
b6iMlOdk5nnPF8jEKjf7ZisC9HrwfycRZKCQtpnKP2G5vF6Km5vQnmRrbpshw4DyU/cNKu3RPaUN
EiKnt5+Zei582ICY7tqmYKJm0qNbjDFqG9t8hINguO8d54eKZQ5W2jsyMHAq9QKzAtr0el+upmtu
kccDMDTRA7tAvxrcYQMiIoCHrhPCeLOsM6ELhU0qB6C1SBo27m6028G30kxCXmZrD6IwIYGuxmTl
kg7xQfK19/TCPAfJAcUDlZ5c746E3qsXm7Xq0R4/5bk7aBEp4egdfMWddVSXlckxJhhpSW3eJs/s
l6qEoDZyJit5cMqlPRdxW/64bRW7q4ADAIVDrvWqu8pATzmiOiwjTYp4PZfCj19coNbN2wMWGkH/
v87G1qniAEws2A3IrDlc/LkBuZWkB+2712IRdP1hQftp4zRxtzmHYwfpaKACGzWmlSyPblHPRlg3
BW5pbIv8uz6k9V/TUnfy3qoLg4REJgzb24BK/kLMyrTO+uL0D4YutASOHs/Mw870xyFkRGv40y8D
8UEI2T4PaVWYkawg2cInFZV4Hru8Ul5wscZwjCtrPUmmaHMqDZn94PdkE+euzteXbim6+ODj7lw4
NewHRww5CYWzTZVncieAYzYyvsL3IQ0o0+Wz5dbjvV1nFez8y9F0057REBFynD/B5Ns+Qh5XdtDA
BhH1Thx8XKzOfgB3YR2F7rvbYpiCmRHidk72+qYxf5xOScFDHze2f8GjZS/Ea3qk+f74JNI0iW7f
hR3Xr6YpaDxTfSS527j+lY7iag18xlKDs6zLqvbeakeUSqvZPjixvS+o+Ctp+MCEQAh6vTVZUFJB
+3rATnOH6leZf7PoBx8EMXurqPq/4uNUU3ybD9ho5mhqoqJZ1+radxClUxZOlMYPvtsOcopDcmjx
4IMJorcPmRMMud2b/gDbdCr1yPVn8QFdKgvSWIlSzXPb9WJ6P3XV8Bm19uXvzHU142wbOcImt49w
b8eEbJRzUDVi9GBzE4y5q9c4oWUX29kSrsIw73tp6gfVhj3DhP4NgJYapWAk7vr02kmf9XhFDt2n
CvZDOGV9P89thV8bijn0c3ngpJWr37R8IfDhXhORqv/YnGM+i7zoLa2PgLJTFWtHa0nuBhJRALip
Vc0n2lxp/inINL8IYf2b/779VfcuBgVUHAz9FJ6JTUi69EXXG4jbRl46aTl6Opr3aHm588w0+nJw
grtr8eZ5oPdJprecNomj+bamjSB9C5yv5mkeVMpQ+Deu2RzY7e4xElWqoX3KcFuihQKVazufnCGq
B3t4yO28Y/DOXdHUbeSDoziPf+MzAt6F/Q20AD2Oa7PpKAcTzuJf7H6Mn5JasxDNCYxHKzGOuht7
W6OprOTQqR4BobleaoSfaBhhC2BsuHfu5Lhkp6Tx0ovXx8NXjfUPgpW9RgNTvBQJVK2AWd6NiY6j
N8FsyuRDSXfnVI7SD8Jhnp+auVpFOJX9/KVa7eV/mtKWDZTtwr0D5SA+ulZeVb/xnX/9LZvrSUTb
24IqfDTybaDBZ2ITomAHGpRE3L39SPF3QFx+8iVswR9JYo2tOzI8A1ObRAOsMsBsZv2l7Wb7fHup
PdcGB7C6f0rwa/vIG/qUQY5G7pssWn7KTXN6R+FV/357lb0+OjhpRcJAOUVBoTaW49tdP2szHrSr
PRfJtCK5zIVeR8D9mTF2/emdY2X1u6QCjde3zoKbjeU8XLpceowwUGi5A+pdv1Sx4zwM5MsH8fdP
aoatNwQcC0AYsk9sfPNMm5AmVrCLSSbJuuHfes2897a+LPNdxT2+a5oeMeQy9/rxzjTz7gU4fvA9
sa38guhu9lfaWEYJLe7sWwcHtOe56FmSORqcD/nj9ZerGhiCDEreIE87Lz21U+zfA8l0/uwZrP0N
E1eUAOQGvHTAIq/X6jIJ08O8kByITH4W3vIvklbBQ5um9sfbBrGzKyaZgAnDPcDM2/Zi14mW9DRP
IFbFo9kEu5PVI3pGyMZwAPz3BxvbeeoghWaSG0dCW3Y7ZmpD5TqNPmNGWezboSvhTa/syQuntqne
A+M1L2mu/zDnqT9IHXb3qdjbqLPzsm9hOF5fMxpaMHlEGXICROKU5xbWyjt99I/YFfbiJarsChNN
QgR3+eb0KoaSFstoucqVld63i0RdymtkGGQoF2uD752MuJ8+Cg0nok0pigLW8maVJlamRclAL7xu
ZAdbhx0DbkoGWltSBgb0Yu5ftNmqcw+5xe8cKckYeAylM7FV1a1jSa19ppRWocM3hgx2+Y/BhAyK
nnR5CMOs+RAgD30Zar08eJbUldu4CkKm/1t6C171Gcig/Q89fGP23fdZp9PsohvyGf6C6nGa0+Bj
n5VHEJ8dR03gSceZy0Lqsr2bfRwkWlmCCRn7cQph0DCfYqaXDjKInRdeTSrQh6I6oHRYrj2AVcu6
bRXyRE6Z9k0kWZ2dWnvwntdpoRklmRQ9OMfdfXF+SoWRnW3DF11Pexn3Oh/TTpY1LINOr0MzCex/
3+5xGFT+v3U2sQsjgAmqyBQXaWs0l2ku4/Ncm/7Javz0gNVrd0sm0B2ESUj6tsFmYYhV6I6k6wXL
YZQhiXBihvqopLhnhfCpwhaDKSIYsqkYuRZslE2mjsomhhdmrOJaez7LpWujhIzlvlzco+GqPX9G
SEsZjrloaB42i/puDfum/FmiratHfYGgenDQE0MUITm4ZbumqEoB4Jgho9zmzcYKFmIYaEa5Ndzm
FZLIRrj6ODUG6IpIVH3/+TcsRFEOWQyVgNo3r21/8uGFFjOhkNVaJUyxo33Kynn4ZCGG+fA7SxF2
kYwAKd6OWBnL6muLarQZfZ4zx7vUUetn/tmrraNB7L0TQ4UK5nT+ofasnsZfmlF2BzO8oSln1dbt
V9mu4k8kOpx3U2XEL7d3tWf3KkpXM98QjmxfWfLzwZOTag/pmf/CSHTxVYOL4MAudjdEYYuUFbI3
kvLrDQ26xrzIwDNHWU67oNbRhlPeNfdTpR+9MXsmyIgIqGS4G+Bj3FiEQHVkNnxe76aQ4gJ3unZf
dFn+slqyu0C7FR84jr0rTe+fTSlOGj7j9dY6RssF6gPEoNnSnAMvT58TMc+hpGcVIi4rQ81d479v
n9re9+S8KG8CLSJM2QS+bqY1zYzmSSTK3H9hbH9C5Vs2T/EEQ/rtpfbCsF+W2iYb5MVAXxvqqLqf
lPMlTVLtuag9rQndKQlO3uCU75HJBPOIuwui24vvHSbvJtSkhAzUwDd2szZZajcaRRylA/SeTPKP
wun0SDeX9X1qJkdi6nuXAaQWUwOqlANe/fosTSQPYXmdgHnbOhM/toNaeq8f0TTtHh5ZmxoQw1Nu
Y74Wuaa2zKkZOekqzsiaVecpaVpKz3F/cO/2jBOjVHxz1BkAiV1vKIkhZkIGk6R0lQvom2U5o0hd
hUPnmBcrt5DqSOCbvn1ou18RSBr9DwBNwGGvF83N0sxETw0QUF5+1wxoSzDncdQy21sFP4ztU28E
z7ExjRhWD8tNC+DTc9kAEEA0Zhni8nx7L3tnRagKEQmQctJgZaC/eOJ5ZbDWGbH+DOLNb2lGZY9J
nUWEXu4eobJ2d6RExFS7jN75xvooRnuFdClWeI3vXDKnLhmX8Y+muPauFAEp7tFiNpko5HpHSp89
S6TO1I82DNCn2yoacMq7pszLB8+rRXT7C+7VgwgFKEEqBAJrbh4zmnQ6kApmIdfaBX2ZrsFdoaXu
O1tbk/MUI0turY1zaddMC4fcrU6ke/Hdai5vVoVXvDBMY1Llg/eNxtD1zhc9EK5XLrRp0DN7Z9lF
dioBsSBnhraESCvte5EL5yA43zMgmMqURgiixcD9rxfVlyaOS3ecIruotfejLhlFaP30k5+B/L/9
pffsh6anQkXAjfBaHj2NFz+YmFhL5i64iKDPv0xoot7dXmVvQ9BLEW9BCUhIudmQQRXIMmaGnJrY
1MLKyES0aD5xrBb8xpQaQzdMqWE+itZk40jqDreIYjdzce4Qh5kT12FrxONLsUzLQX9kx1HSKaAl
DioHgs5tXb3Pe+pfgSIJSxz3YmV9FS5FM13gP+uYVvD8Ex3XIwLCnadVCXWS4KBKoQQHrm1jjGVa
+MaAQVpa9qeZ+dZ93Y3yZPVd/h+9tJXBz/RjEEvr7eB6WnYACWlck/lvm+QNyIYJLuwpGrWUIS0o
tE511jQnkrq/blvLK5ukWKTmGtUgDmzJ2+jIHRFCpz3XQJZc9KelZ4i/pqH66fYqr3yaWoU3jpMD
dUTT5/pDJnlbUaQvWGWU06MLaua5QgXkQpz4KRm1N9OXq+XgWmCmHIMhk7teThTW1I1N2kR14vt3
mi67SBvtDK1Vw3rrbWNOhigBfik8CC/D5k0wF5qUcT00URvM8tEOyjXql6x8gkjrKEZXf9VVhUTR
//FFmJgiPYVn9HpX+iBKrxTEIZY7KZmIxgm9zs2hctWC+xgEbwgxS/vQUN4Op2B+M02fWp70EH5T
5sQoMF4vX8LcVac9wJ4SLqMzlbL2U1OqsVGisqir2vpkd8tRqPLKmalF6YcqfD4PwnbPjd6hGFaK
NlJSRqeeCfNLrSHZaaWxuNy20d2lSL8Bq1H0xnyu9+euPLy9YzWRt3rrXZ+ZOBeXuL3pvOXgIXjl
zNgVIQQ0kpTFld7O9VJKmspNzamJePH0LkSPp/9h0gqdQ9HY2sfaGpyPjF0kX27vcOeuAyhSYACV
UIJ8vV625ad0kzCaaDZq6AcWHr1U1MNvfEe1LfIeHnHg0NerTM4syIKxk2ocqjvL0czIT30jHCYR
nH9jQwoGgAujRLrVqhWLpwV2zIZM3Ws+WSWXlMKaC5PQ7XX2TIPSE/BMXjso0bdbGih1J4XdwN2V
lme/zf6bZZBE5RgcdY72VlLDd/DxsSFq+dcfDwrhQKNiUkeusfr3PoiUsM0C/d2YOc1b3xiMkA4V
ZwS0QeFBr5cSGIk2eRRJnCadwnqc9Dt/nXlMe7t4uP39dtw/HRBm2TEKZmC2k5SYQDrCT15FonZl
G/ZLoWfvTW+aHgAb+KPio8jLgzPbW5PuAHAuqoWvG/GIv1kpO0TftJ/Sc4qGUpj18xoaaGHfVb5/
1Azfu9O/rreJFeYi5jRHpD8dafBaN4N2ymZzefBlbEHDkCR3TZsfsRgpc9g+CZQ1sH6DJ++VBEnF
e+30eltFplZVZ+rj+qmguvI0z76rGLbLcCp0j1DTFydrds2D+/d6z0yLKn0QUknG3L3Nnr3U6dym
w49VcIk9FGK1omlgsmMUxfBZz6f2wTO5MLeN6fUVUSOq1BxIl5mW27LbBeZk04+BgYF/W+G6Vtrj
TE4RmlBAvNmVYbP8j/oGLEosd31FZE2AhkW3jP/Nztd+nJdwduLyc9l5zcEVed0qZcLCYIKE7h2I
CgaOr9fKHLfQVnYWQRE+pGhJ9H4WVlqd/yjmqmbuDyXgU9uXYjjJ2ejfgyfnyc0ZMDN5sUT6w41z
WBN8G/DrwVV6/W6QYCspjZ8DLv72+rZjTTnEdvkMmpV9zqjWnXS0VL7cPtfXF5aOE0AIWJUoF0Aa
df0BEIQcisQnvMl0Uw/zVHNC4Y3Bi8yb7+Y0+AdNxL1NsSA5O1UDgNHKzH4pHKyL29ktJc/Idwf7
0jHo3f6B8Lh7NCyxty01JstEJywlr8qdFLyrFcNpGTFuYRYbkgJUjuuKsAp68dxL7ajE/zPkvHYK
1MZIktQYIECPLXoYsiadGhxW62eJeJjFXD8HJIUvg8Z4DaKMjf3iLTETgvHo9e9jGcgfuRv0UZwH
9bes8t2nfhD+kz5W5HNW0E4PTZvYqORm4lPRGGlklO0h4EaZ96sfjTCuKtJC37Ad7/BiEmbLTjuG
bIfKC7Ug1z+2KH4/WohqPgfeoL+rnMX6vhhacJBa7p0QCAUFQSPyg7712hIWyLRmf7SIqwf7PzmL
4DlY2+qc+vbXDmDvUXVxbzlgRczW0nlUyOTr5awqDWK9S/toQYHon0pz5nuJugUcD5YfwtJzVN/Z
8Zc/Gco8nCURzLa0n1auXQ2j1kHAYY7PydAZIVVU+6Hxp6O24857wFIqxSP8VzDv663pdjLoOSI4
gE27cb34rWzOlU6C8ChaLnBh9X7UgwY9qPC/rmBB4oWABi8R1GXUjja+s6uRlO1yQP8riqkQXWU9
EmtGPHVhVoj4S6I1y6dal3WUTXHcomsZ9POTYy1+E3a2KI6401+/yvwc6KJVr1c9EJvKZ9XHhd/X
Zhfpk5TfM2lDm+6X87vOmJJLRtPtR+LNdXGpzSn9tFS5vNz2pDt3ibcKD6pTe6XrpizwF9cW9GvM
nHXfg99f8u8Nyhqhl6TJQ+tp4uSn2fqyNHK6b2rvqBexY2tKX53slLPgid5kGMwLOsYwyz5qfM2L
WncSH0xdJE8gGIqPtze5uxTVGdrbqmy5hfAMDELTUakhe6nQKi5XYYcS0N6pTMFz315q58ZS+1HM
Mr6qk26bprU0GMmHbCOSOsIzd6vWTQNPs+PloTEs5bk3k6O89/aSYKeuj9DPLHSXIPNEI9mjb+r6
cUpy6LjaKV215d3YO/MBUHbve/7/JsEpXK/Yeu6SaVrcAUxf10i4Hf2iYVnfOTkgot/4nuqy0g/+
yXF1vdSk9UYa23kfBaSE76vaTJ/XsdEQoV5SpoWKwP1we8G9C4GECBVuclJ802ZvTeI2+ppCV5qY
Mg3juqofgjH9NzXT7gMTz8uj1zvBM6QHR4M8O0EGlQvQVjB+MH5sbQJkKA363kq7Lopl7t6R5HQn
aLTenjQygEZBRoGDVJN943aXtpSWS9YdCb35q66K9b1lGDHTmctwvv0hd4wEnT6aqBS8YOPYFkT7
vqlXMZJUuTFaklDvtdE0oQoBwe0RMnTHiRIGsS26fEwgb7v59mKYPTDKMuosS/an2cjap04y6QcD
kNY/+nBmfU3GqXqs7Cp/l0kAdrf3+hr6pfpWrE+9iwSZy39tpqvvjV6lUAv85TPivdM/40hRr9Vq
+66zqNsYieufBRFRWA1ucEfYbh/8hh03QBeaBJawhN/wikAs05d5SBFpt8upuLiZPf0xtQGg5Pmc
lkFxf3vHO9b6s4jJbDlXBWzk9YYhPu/nOGfDcFUkT0XtJl9G2acHq+xcRlb5WYPSHdLuzRtRSCPx
CELYE2LBP0Y9d8PAKtv3gdc0TzkSB5+IYhriwPXI7+yZFEEe4+U4A0iutoHe7C/J1OmUBITh3Cdd
40dVRn9JpNl036e9RqPNMKN5teqL58/F19ufd+8wmSymw6WabNQzrz+vmeWFmo7BngxrxeV431tC
5Esh/f90LTEPnOzeVaX9g78Du0hguzlMMD52UqU4hRWzmcO6r/pHswL8sNIEODDT10dKP55V6MCY
BGLbOdjaD7psbCFeC6Z4+Zi4TnwqEc0IwfM5d5C0N3TvYqadYn7I7W/6GgNNGA2MifIH3EDAUDdn
2sail4lo+shzBJJ+eeKkZ1NqHY4Wxe8i1BfTvvfWyTkXfuf758Xri0tPapNf8jqxQ31ouyzMZO6Z
4WwlfTTa0/DXwY9U3/o6uQH3S6UCyXMKiIRH1yfvuyKr0wme0G4Wy5O5qpdI5nUoh7mC78of3q3u
J/r8USDsKQn12XXuU6t7M7iNbwXCB0YjNW1OZ+T6Z8Ak4TaMxMF2VVvuw6CNPwRD7edltIuLAcvp
OYvXo9Lpa6NnKlvNiCg6KmZw1J//EouK1axTEffMNaE9k521dR6NsIAxU7+bjAXux2Doluzu9gd/
bfvEvjZtOwA/dNG2GR1wM88qJDm3RGvkRDNSnObRjf/os8I5KCP8hDFcn61Hukpeobi9aYxszlYu
XImghHkq1ga7usSWNQZhTq8L82+S6XFI4R+/QwmyJZmeQMmcxsqd/147bbTOgZXB5aKvjv/el11X
njRPjj8ms0ODQvMX/ytkt81yQWZYDGFf6f0f9Vj4Rxni6zPibBw+GLwRqtO5iVJWQ6vjIsMoZUYu
ZE+udwIvpf0n6qRgNHIsX958PGQnhBBUuyjAbNM1NJL56728i7zMFi7Ml03wcYXc8KVzpuDQD752
TsDZSA5p6eB4+Y9rC2zyLHOWzkPPnNGI9n1uWrHzY8onlOr9pCj9Z6AwzhRqKO8OkVZoaEw6pczi
i0cfPbsUk+KhXrqi+WbSTuzDunbNJPT1OnkvypSCuRyTmAqKtj5bEqxQmARN8KVtzNQKKaghtxBP
vvchW6vkZZVrY4a6B9X8Jc6c5A8v9uW7ydd0EdU18VDYFglt5bywIEYEW9jXZ8NvHHSKY1B/p0mT
joNOOQJ/9yOjXstpbqYlvaxJlTWhYFZWPJZ5Ia0wr+EmPwXFrBfhAv1b8ISSi8iQxU6z8TJorS+f
RiK85HsHEhSNAnMQJlSDASy3ltDjD9acG809pGSoX1RG0XlUx1z/z7WB8+jN+RWgCIov4LApW9GO
uD4hoKdmYrpUsYWXBqFAgf3kjKKEIzkIzsWSeOe32h8jR3AG/wRIqAmG6/WQRnGNHuC3wpkk33u7
bc4DPEsfqgkK+dtLvb5a5KbkqNAmkQCQEV8vBeO/aBnrbCNzasu72DeSJ28xQF55+fLE2MlRAv6z
5XXtjujrYVU4PvXSbKs91rBYAKLA9i6xg27pYnbrNzOTqbzL+T+8qywr/ruHc1dERLCx+FAstV2e
ako168lz4yD+Uvvz9IWnOq3DnGZw/GR3nfFP3bRdG/K4tN/kYGcf0rmmepKkYvWfIXcm0W9HMT2U
WgZbHNmWOZ+63G31cDDTIIHELnC+er0lvjsoar+0RlfFoeOWTsMcezGLcGVK5muXlLI+AZJp/qdC
m/SznlXaj2EENgd9xOR/TXqIbcIuFf0DjdxijdJKdh9Fpun/gkKHpbsJ4mwNvaUiYFen8c2UtvwK
z5v7WPS5+e8yIk4Sufaa/k181zVnY0bNJWwKRHr/WBO/pE2Std7HZCz6r0xwrhTUtbgvT03PGPlT
mRv+l5WxOvFc9YnuhCV22nxeZTIlH7zYsge4DPpsLSJT6JXzIS6hCT8FhF1cPKgBHgs/mL9aQ+IM
J4155e9aV6Y9Q1ldulANclsoN2ELoniFKGUeSRBmJVWNOP9Y5Epg2jZi+TxBy6SHzLMvdWiMVE0v
NbWJF6llpK8VCiHDyY3tJQvl2ImnVQb19EHOq3YWgp7YgX1vX1rFi04kS9Ocu8v4xsa+J64ZOGGQ
YLPbNY/GEBTvGBfJvFO38AcHi23zE7WYx1NL8MIkDHjJ68s0DALRHekYSJ3qxWkupHfxY3kE+nlV
TVStHqXQx8ukCniOdb0M3Xi7ZXyPYfKsSrRz5Yv5iUpTfHYEfjfszGD+/L+Uncdy3Uiyhp8IEfBm
CxxD7ylS3CAoUSp4VBWAgnn6+51Z3BixFc2YdasF4aBMZv4uF8F0GRo1YJPbxP6cNrFtVcjPHfUV
5xVvj9OL/fem5l90+p1PzOyTG/hnwiaGgW65rBHxEh1l3VM0NZYB1AsSjSN5WAYvsyDN1h/8GIzG
UTgmiDnotjNMUyocTTu1jDALXItkdzlq+W0h5N2DPzUXcCpENxc7N9F1lA5y0tVZTioDky052m4G
v2TM72VQ1d6+H9y2SPOlzJ193YbRYRiQYuwd3JLutBkEf7opTkdO0gxpPMe9OMBe3ExGcOTapVNg
ot+zXarumHimbPaVlTj3nBRRt2/GJbkVYz6/aen4W6rKPCiPqhfja2OjRc2Mb7G9i3zgB59FOCxZ
Efb+u5IGlmephukmb9DPp2Lq5vC86qoy3+eutL7XvQhvIgzEyCJG95rsoMiwzSrKUPagYBC+95Xb
X1ZFsZgr357i114rfyVzRrfnQ7ENIqu3QtkHW8fLd5C/8XzVSwUvpM6dp8mPxyC1EPjcLLXob0GR
+mq3iI0AOBXHdZ5OU9x7mXCj6hrNN6sKNG19qmUVXZALQFmHgzRoSov2Kk6JRWJ+PSJxmY60VBht
1s26XYqm7SCRk3iSRdjqvLEP+Be6cAIuJnsKBMLZluAT2Vj9fFDCX9GnxUv1iPVS4OxMHSiK0YJg
xlRHupa73LTFneioVh6mWOm3orLxexZkDj4D8XVxuuTu/L3DUdLade7Sfdj2sIVnPQ7FW1Zbbfy6
lEJbVDqDqDNYEMErQ9r10TRjfFPEJL1mqzUmPzf+8Y+LluQy4LMRfh97p2oz2/KTZ3tB/L8fwiKX
u7XbnAj2UO7ixlt6sttBU8nHbI1ycTs5XeFmy6ho5sgmFhXUHG8p0zZck+Fb38bDh7Eae93DkZc3
0MyAH7zSCa7aTbn1LplU66VaofKFoIjdzS4Z+uqgWwtLKI3rg3cAXIw+urFZf9G8R/zVyp288byJ
A6TYW+NMv2kmOr0v4mV7DtCxrM+RJwgpJW7dGrKy07N1Na86UFlUxFW1M2UU3g9DXz5OiCKDy6Dm
10vpm9HQbXoocRvtwrI9sn/Eg/ZMTGJYp7ex4i4czRUWzG1yEQi/nzNTLuGy37Y1KtJ5rJpu3ynA
DoJuVuOdd8PSvRJ4OyypiiLrWFQjGQFY0RQ/yqXLb/o5Vg3hRtJ+DTp3jNLW88T9NG+bxvrA9ZGk
WrSD1hwMd74VNG4WFqv3y+gmGlN/QruTLhiy3LhFrFmitWkeBZpj94iXVHNZmzwOriInhyApVl/a
5wRg+EFWVXUZVKnoos7NAkJkr04g4ltrLS57damrhy4/jdWWeluecjLSchi+IpRpm9ezyZIF+tXi
uVJRfzg+uTc9KrObkEZInOWmlLdo8MN32c2RTseNlJbslEelD9jVTCb1NIvqwq+8+k5YvqAc9yYZ
vSR1FR+MfYqRr4c1zPy8ts0t0rumvHeJ8FXZUOm+wYEWDDelJXLinTWa5SHyXB3vMJmJR5xb5fIY
ATh02egVOdwcETc9kGrIg52lKpuDpbsCiVOcF9vl4M+6uWg3v/pp5bSr500l+nVPjk9hH1SMTWnm
iCpKdjk/2ZbGyyLIg1qt+YGEU9HvR7+sb7Agh0/iFuSlXaA8DWV5rHLZF2kvtqS9NiIUv0EoomgP
q3/1DpY/YSMQNav9vswAvCneJXOw007tfdBpUwP1a+Udt4lxY3byK7zDe6TNMyXzEWpONEfwvd2q
YcLoB6N9YVl9ItiKmzdn1YZw59pl2Un+a5w8yMKNbk3k+G+iTObybJNyDu9QBU/NQfVJ0R66Rtn3
ax1s68misruN5oJvQuhPQQZK2Wwsa7eR55UbtO92WxmZkUE63fumjYsjebXdcrGapUOk07fOt63V
I0ezuxQXBifPAJzC7V+Z1fkG/6hu/laveJin8xaNIzFvREHP2mO79KhS1KH16/jeaIforcUZo2AH
oXiL99aQFzr1urkEGhy6+LdepkBDPlDdN7albVLiXKzmfHZz+2flb0pebFPr3JOb4U37aujDixoP
PXmUTTPE/Ei9fsjDkKrR1m643c+6EpcWpSkVRc5nEQOW2eeRkM2TVVr2wEU4tO/lYno3lUraPxDb
lm6a5+t4rXOW+W5e8PC6wLdq6JEB+EF5CIokOQsXs837kjxanQ7wfPJDMY8myaSmNJ46xCQ76HHa
v0wKPeIcX8lFQfRS9Wkslqxvypx44Ykzji9+v463TeGsdhpqjY1jPeW2vOgdiZs3WWLld6pLn2h5
J+n7LDKQli/m0hRl5pP4LakKHOuC8jRAWMWq35ojIXt9jYS3nHzSQ9ceI/mgkj4hz6P3TWvFWVhu
U/kBfVe4qaX8RpyrqVzdtPdM093lis9y3m/GVddVjFvL80bJXV71IClFCqqyJURbdtWJ/VI4t/Xm
tEkaem0+7Ve2tcmEcRqPjmCMUfY226rT0KyAPtPs9nsYadvAlGMY1rOT/0yxa6K+/WY3VZWnterl
7WDV0fvkt/yxKhQBzj+LXm9lhVQiE4KT6iDLpEpSGAXVS2lV8l6CQY57UzvRcsA2dXYJpanHKuNy
yvG2jyTKkT6c3SqjBdeHRoqV4YNwCzs18cLq0EMwX0tHbQYaz+LMV46z0CGetCh+FkiVPxDLzbjc
ETJ/sCxn6jIBpeZ9EVXi7Yyyc+zepc1nWm2tbxzV29FxLnWpL2SAkuKlLEsquKiagpehsq0xI70y
eo03ph47N2iqNo3cKceKrWzENZbueZwyPJ7m66Dwpyjd+FthCvbMLZLRtZoUra/HwEOUlr/upj4G
cI+lXdG0k8/JPap580y07nIbTWtFmlduh3c0VPH54E6zlXU87YN8UoG7scCKY/Aarzn4lbtIqE75
uB7llkQkLldB8G4zNk/SXOr8J4wCNMCtrO3iMarl4O1l6MmXyomaNq1841wlodn4Nq3jfSuYLmD3
Y9XWGTZEVrybXON7Rw50dRVtm5+kanXsX0wLAmIol4l6YI7znVoaaifby4v8bInn0s4qFRQ6k8Ec
VDs8K5wP5ArW6ZMIh/XrePUOH6V4OmDj0j14fSCICl3dVcKhKdWWugjZ3xDKcnnUgw9T2mlIOuCq
6Poi60UVz5cep1R1GZtq6dnQA9QTrPKii62FlZ2us9L5gX2pVdaG43btd4Ob7+JJNGtaQpXjco18
zVQDmtmcNWaSxXFCvTwhylAA5bAiiAsWU2zOStdyooPTd+5L0DEDPuLxw05Qi23f0xuV9T5yuji5
KmqiF1M7b+brxgvq+rxxuLFS6ZU4zeZAJo/2oJ1xX0yb/U6emrYPuXC1PlbNrF4iewFHooEQd8FM
F5WpAsO3NEiwrKNoWcELRps8JRF28QXltYdGnTlpe2RqZYU7BVxqY8zusYE7kv2WA2CNVaThyZWN
HB+isenk+pAIRYWC3qfhYFRF9gG0jwBFSkaMxvCUJwG/z4Cr0OsgMPVhhRZrnNlTEVNVdsFbPbij
yhrCgDiRWNvc58xOrvSiJOeMPUDVckGqLEYUkVrT2h2H625papMqrBBg6oVDI7NYs3izcGsC7+AL
xgdpHiSwx/n2SLl4soDmOsvpx1CVYcf50ybfqnCK8VdMtJ+XKfE4YXXMwxnaH7COjKnFiN1MayjO
z1TPPtWaH5o4VbPwfsoOu7DUJSZqOMSWktVT3C0JcAYGaFEaBGYxaPokc/0WI8f9FHn1sO9hGAYp
pHSUJC2aHs60JCFqRG9WOxwbDEkuNm+peA3cpZxjG9Stn3kIT7Z087p6y9AqLk7mdZO5C7Zihl0K
2eKXEiJsaAvK6Er3ipQUt4u7iHvQLpq7nLP8+xSMXCMV63JL6y3crjgeqK29XlOfEOTr/urqIr/X
badeh6212iuvNqu1x2luQXrpYVlzUq/kWYV899k266oyk89uCKQUJ5eVWIN7vojjZZpe4ID+wo32
ZWeWb6JaIbnUENiczDe5V2VLIKJLdykhiaO/kdfBvHLD6zLuStRtwKK7fA79hopLWrtKW9OaJYMO
f4fBFiSXgRyLbwUhI3z9ySyvE44cJN2Nlv7o/YSZlmP86NzpfeNm8eB5d4vnrB3jPtVcLbU9QOms
C/nk94Ja04iKzzyPZCRloSJqPtWe245Zt8j80lX4zmVzXY3erlyKtsmMUMWjwS5YwXrV8F3KBM+2
S1lMc05GTTj3KUPN8VH3S4Az1lD4/QU+8sGvIir9eleOkl48dGaBEy+qsH43lOE4p7pOrOetc3Wf
BUwL+6Pbygld1dTGadCFqGv5E4zEWpt2YDBtP6VbZBZAMy+R5Y7l6f/g/svfC6uKRKoXOZESzqHe
kumejx+BGif3Omq3Zth7yRj+WlTeEhC6yYZ2muo0HeqqrHZzUjFuq8n/kdzdLX9k80gf+3Cszf05
KcEytqvq5FeAHmAAHinXX2teFhcCJzB5G3RYwmSGgdiLtnxIloS+t2w0u7M4GIfJf7a9Iv4dOWtA
hoUzxsWuMssQXc2tP953U1h8x5otbHYlXUKdMrUdtouNNL1f+P6P5zFlV5I1jd38dOzanrmES2YK
k46nR1fOpTgbbUiWZ3HuzWxAe+l+t7M7V/ua6qxmCtp5r0vXmPcpqnorI87Elkxg2oQJTDPr5ewk
fJNpIDdfpYHxjcqmeIruLR0AkWAM7UOHzTGxg7U5RBMnX+xcI2aB0dkp4UUp3kPl74bkgOJ0XWK/
3cFB/xjJL/oxVUNR00aBSu0gS031bnU8ZIGgPv2PMSe2b5c7TXUslsKoHZVZUzFTxDpzjnKfj0Hc
HfOgyLhACfzi88FWJni1pQEgCJMKy02v7KMeFDXyur1e7OC3CkN6ClOe4E6cGOi9qxJuM8urntO2
G+ZvaFBEmQmKqEdrkdZIcbBYZwpwJk7Rv2nuZjNVqVVjZZF6+Uxy7UCZ/021yiOgfTHTh9UJddOo
Uvxs6z5/WdayfJuomJlTY/b8rBxcmbO8E9vzSlK5mxa+hbS18eM19XATEZnbkOEd0Z+VqVMK91qv
9Dk75BKRvV8XRxwNycoPeu3HhzUuGbkMcqhqGmrFragZPuPFWnBBZPh3y6c4Wmcr9UW/3HNcM0eo
Fmt+l5bf/1Zy7iXKpTLSmdn8uks3fPruce/yHvHcqc/pCKbfwTZ6DwUb6Ncie0h7DeOTnrbfZmyb
FF6IUkjZ4ZzmWOXGqU0fSnq9v8bPiu7QpAUjh3fHGfpiB6MlqvZKEqyVYms8gKoEm75jlrM21Ndj
ZTIAmU7fB7Sh5YWXbAgEKrf1vusi7O4m1zXvSS1rc6XWJp6BJecoSG0VCnlV6iLu9rTg2F4vydzv
ykEl/XkNbPBRMua/TEh87C7wkYzuMSY7WcoBOcrMXzfH3iMElFfxaI1P9WxtP/GV7J5Q4Eb1oes6
JsYT2O11NGy9IJ0pxBYYxlY9pMPUBS9ti1fOblOxlKf51vBAEljupo5vdfqM41ceRr8trDR0cw7w
hTsMTMzuLTtrOafvN4erGn3zyDASvl+Ap5Pt9ExGK9E9OKGe1gvGGv7jRpkMzGfomPewSFWZCmbu
G2PGZjk3LUPSrCntgTWjLeb2bUu6XVrptXOyIraSZr+O3tJmemrwOHNh1d022lPrmUiSOr7xwQx/
NyTcPvc4sk3ZvJ5K6GKt43ORt3NFmWar+Z4twFSIOJzpZhBVp/GZDuc2axI8cLO61t5z4PfAFSNZ
ECfAxeqcK1V440XBBCNPZ41e97hqsal9XnZRQy/tLKCc8yZ/zutSPsPL7dUOxz1R7fIiIClg0JNP
MQBw/juf5+VqVWb7aGrO0Wu7d2a2JQrw8Uj5ay6CrXeHs1U11lm42mICCQqn/NAyYe2OAzXLe7Is
NLGe3NyDzD3V7lpfVffkwlq3fiT9xwHwtEwnFUb3SJbb7wq/ynLf1VEg08Fy+SuXlcjxLAxMR084
+zkzgGXlutA0jEHmcXjXu2LMT3TjYTwFRnbr+EYhW70UU8xlGOWWFGz6GOCq1NV0xlBkm9C4euyK
uq5os6LVlrgt2h1eGbWiOEiC8mfumWBIRwMjC1+xRTRAMO7QpijX+yVFo+E+U5KED36zREM2NfFy
IXrpJKmMAuu8MevoX84htHkztVN51qxu8dxuTJCuCuwc1UFEoyyp7w1tie/J4PtGs1LsSR0YuBKq
oeYuieI8yVaw/mecgYLqgPqsD3ZTs6riAGor7qFINeSmOEylZO8kR+jz0/dALdG1XqwaVK127XMI
/lUPpKTZCHWb1FcOANaYuqYu7yzX4T7XkxmqfTd2+buA8CdTZTSnIcnMaMLiZvPb1KaEeszJz6Z0
bLp63IcmH162poP0qiVHRYqpon5GuGj9rFgAP0eoDEUGSJG/+rVb3Q4jVUO2zcoDEMff5ThtmuFe
Ucpu2ptQDAQamra5aLrJEgfHHqyLmNMu3GOW4ne7wUR5d1YPzdZmIbkIbSrLkNtmGALnyvfHKdrj
UUC9RfuLhNmNyuKQaFf0WaGVc74xoQdQ6NV0rIDCgnQib5AStzVzzHRdjR2Ds9DncuaIpcIQ0PkS
jp8VdDipriPdJ5REweZ+tJAwfvQ+Bq9Z7TQOdcCIr0WCMUHaTLjCZ+BtQ5Qmfa5v53YrnR07o43w
8liJ8vOTafWPodPYgsah2F5GL5jtrF7D3tuNFsMeKghnqrKoX/yXvoHEfVkQr+SmGmbJ9WqtiZOp
pHVuzXZqLTl8guIScmn/lG9xcWKRuM5DQPGM558fgOO2TX0ByhEXWVuN1mOksBPBM6tybxs6nO4+
d9vto4XlEJ/3fjc9x2Up7kIVH0oh7eFssRzGYm2oXQYC/lr78AuS5HpM1vkVrCKWZ6ij2kuaIPVh
NYKTgRRV/o+6tdy7bd6GhHrSjJBDaQFuJfcPSVTxxtA2p3JgmhP5DW1m7RX7U5NtdkLW8Y6DVSRM
beZJnfWwuxgbyQYAaCXtvbnSjVdwWPpzdbP6+fJdcVc/eHycMm2s0f3dxwWV7skt72r0kn458o79
rV9VktK1WnJG5B7/zS4JxzpZDuPqvDVJQwsascxTYix8dLGtgQTIh7335pyhPjP94C1cIsoGV+fl
T8gQOD+NeHtWaYRRR3INosu0L+58JlPk1wT2bmWFBhzfjYWUCWKJvi060dppH2IfRpJ7OIp936nx
yU/IBLucQDSG/dognKMFDlHnynCThIGQdP0OfaSWh9Wir97jLMpl4+pCbMeEafsz8mjvNC8O6FZW
A9Z0tjKumtJxqFGRFdoRkIpE1PopA/CY4Y/F3cH1EIpu728dpoJUek5zKLca7uPejqfEVqmn5jU4
GG9srZuWoTOZtbJuRvlLFloXN4uI5/xsHsqaKoecSm/lFC3d2t03zWLBODECDqe+mUrw6DULB09N
z2pSajtStUhhpVXuQWZKFtiaeNS5hfXojosf4zTv1nCiUtGGnIP7SDld9eCJUJk8tbESbbALXZX3
5JOr292ozlpshi9cOv7ZYIcIqojNdKmsO9uyXuyindvzapkVWQa4p5T9ZYFhxfQYOmajvrLiLe5/
RX3pUs+A9/GMUSZIF9Kpt4KZ1n6bbecsWGp3vlY+03OgAmm6355lzNZn4Mc0XwctQ5H/zpMtIhoa
R9nmcuhIvn2pRSPGj9jh7ryx4z4PswVX+eUbOIu2n1oT1qbK8iRsne+9JQM7PDQN4OBZ7hgDijx4
W7x9WEt/YvBQwxXvHVzZ+shjNDCiOCVtr1yJBA+8er5ls7mdCFt82GeMzhwrjbU/4PrUw0hg6gKU
gstDza+DWmKYouDMBNtkPbaB21NpTLMMopchN3qF0zzaii0VQLSIf4TKC6MfUxjX0XgsAUhFkfpL
WMmBqVPpt68y5pb5SGhXcf+LF6+8XMqyGW+DVTknTm3RYO2N4iWPLheNRuNYesa0VzZduX+MSc+Y
9w0z8+0+lPz7+9SOwQjw5yeh70OUYmmewsK2lrd8Xbg2AEnW5Eyzvnm10KmTI/PwyZw7o+HKLGwX
DIWR2qwvVmvCuzkcotqcDe1MTsjYNeXMVTkN1Q0MqEId+jma+gu92Vu1N0Hr1W9Ye+SK3naI9Z5x
p2+fabglW1p11K87z1rbCBCDAUu2Bn4Xv9bsmAfsAavlalgDWpjN5n7dj8uILQK2zuv3SSzFL71s
jj4POQTq3eLX+XdL6N5OhWXm56BjCnxY7ITM+L71phT1fEOIEtefv8fQrO7fxFDnEQ2WlyxnQvKH
Mu6NNT8XbJePKVAVuR2Qm9cjTEznGcURc6WAYX2STgmztxQVjXUHhCqaXR1X29uqov4BObTztMbC
juiShnI/qKLsQA+oEdNCIbRNwU6K645++y6G0Qhz2R/aIM3DvHgbCQxxMhPo0aSYha6vrbutM4Ws
se2dM7nq59oE9us81cuFhZ91Aw+mD8+nAU97OrNwb3nsC0Is63OvqhQkgXG7Av8xzb4Xxr/s2T1z
urkTuI1ccwJ4/XKur5qIEMzZH0EehCdlm5rClSP4XAsJQzL4+dFuzvIkexkxMo0a0+1UA599txVA
vg8VJ+KTbemBYXQrYchNQVSsABoerIPGCWF5FPy6T6VCTrKre6NfIRrFD3ndOvVBdHkUPfSEer8o
Aith6PhL8JH0pl4ZwAQDffQatF0WzEu91yJZTt4OdYQXs6gZq80LKbdXw+jM2HU0qj039lyczbCX
++sA7VJJHx1wfSe6Y36BsxxADb6TzHtm1y6u0KwHTSanvBLMmwfyebn4OxBPlUd+qoJIvynB3bRf
1hYCR0W/zm1cJyTbTlu+njHKEv5uiIe2uIQ+ZbUkF5Ztsy/zbXre4AcMe3rH9UcbOsXPyiL+KqXA
HC48IX3nsCpVvulxhp8cF0V1N0q/BLN04x6i4rqNwCujqy/pl+hZsdxPrk96BpE5bViMGdQeABhQ
VWDe0XSEG8iWXNWUQNGBy8o0vpWqfBsfi4J2OLXrHnv8iEpH7/xlXe7GyjOSn2QJ7LTgBNpSoaOG
E89JYFgJM3CcJwkO6keHMeYLiD6UB1NjQJ2xLBlWV1spL8VCibU3aHUMh9spdDDYSvW9Vp7/ZCdL
3qQc+6wbd1hH98qSWpepDQT0KsQQNvR4AxzuftBAyRxGcXEgLLU4TLa0piwCtXIOjZMM98EgthPZ
L3Cve6HDO6x1cHxtew7x1NrqeN0X5brelXBxH71SqfZSJ2Ff7HPfVCJTsA3GfR7kIgbkocg4xBo4
/DQ3YJRvgklI5pdOoA6O21btYZJ+wuCHBpDB67iYbFqd6a3j7vWzxsEH5wVNRbftlA3ZjVlbEYm9
XSQlPuiRN1yCnqz9q1NtcbnffCt+j/oh9jJFRoLZs7kxT6ha7IAJkhsS/1zZ/XhtFhKsMqyQmKzH
bdtduL3F2Lpw6OQOFAjuNxUY/YszFFSrLu3ThIhptk37uThxpivCnp+rSm9nFRyKhrmrBSYLH6h+
1oUOnpwFa+JLh/vufmudkHrg31mZ/yCSQQ/HVynG9cimpvtsetQ14zpRVDF7lZU+tEsRnJvqy6d8
VsPi94vdEZbf+NMleB59or7TpKiw3bo4k5K5c9Tw9YPegexUQ+ZYVk9kJfbjX7zaPwh5p4f+h/+J
BJMp4um//xfffhION1GOLbVPivAllsn9Y0+SwLEFu//fH0UqMuxc3KO4VT4rtHDgcZq1llEmHQgF
XlyORxHW07FwVPeFV8lnGu3JOvmUwv6f7Af86D5R8opZdmw7E2d5Ba++zglFqKO2PLIXahib3Y//
eX2cCMJETmNvBhPw05erV7nlUEcSeAOre95sZjmPOUe/+P3+9lIwmNGwuhih/mN9IGdvo3qpkgzK
HnmyM4xvL3fqXWMC4N5KB1/QJ/+yNBxi2l3qeNQRIPR/Lg0XRvgwIPLPklD9KH273okZTnk59V/5
gvxlf5FbZmNWxbnOYvzECkUSp6SyyiRjAKIfIQJE1w1V7xe/33/sN/6gRbIqEnR5LIgQY4XPulwZ
6IDmkM9kjczt824Krt05ZwLtkjxHqABnpopN5uggylRu08kpOC9tXXhH+DT+CWCc9i58mcf/ffkk
Abxvn2sUVc0nPjvdXoRUgx960NDnszKBtgJjyyNk598f9E+qKgqv0zrFN9En8dn79CS3KpBzE3Ka
wcixd6NTMiG0CoQNXDkHrHtdvq4bFKkHkTgLrN7ZadhP6TbLr9w+/7m4PLwjAb4g53KwJp92qFU4
A/gKPb9V1MsPQBYQ0BUfhVekeOVXodP/PFl52Emi6J2c6nn9P1dyVQ1ODhbChCxy4msZde9ShhbA
FWcq6gt/VwszfyH0+eszT0Ye7NYT4fnTM8Ml1hbVP7snMMFBEtyVqcmPDm0i5c4S4ZrZTusc/v0D
n/7SP1c4L0p8MasJKjLynD9fFMrJ4qsa4Glk8oHSHSI8TMD1cArvTEe/VnvXUfBNu+mr8N+/fs9T
rshJfRuhD/rzyZ2vMONsl4TVO0zPy7As31avYe46L3N7++9v+c/jAoEvTsmny5LL67O/TOkNlTQq
SU5YTXy051UdnQ2k4d+f8rc3Cmh/ER5xWjifvQno4XNmrhHH7RJo9MQ9yNbUtZcr7Pkvrqu/rZXA
RReG1DQ6oUV//nhbnQwqwq0pS+B03Szjmt/4MIS+O7g12Put8/M5pWKogv2/v+LffkjM8jCiJVoR
ke3pJ/ivy9+qbIalE23wNrvtW+MSd7VrktGbd//+nM9CWodjB9llhNwzAGj0Pt0kg+WQmbCGCUID
hIS4xrLjqtHZAV/UsForSsZ5Cj40VMmb2YuLL17znxcnzBqUAFjF+Liofs6Bn4wLfgv6nOWYa2c+
Ju9pRebfbpwrjBDt8Su7vr+tHAweT86tHkP+z26cBRYd1YrINYsn2xxIiLnPyRDadWUYf3Ggf/Wk
Tz8sfqNbuSp+WBH2KFZbh6CIqs53LUGg5//+Df/6qFNYq4upBdZknzY4s69c6NxPMt8q/R/YWJBE
4ZXymyyLrwLL//a9kFP8/6M+3VKUI+EEKpVkpkjwt3ZrQV4jwyICvwNom4RM/vurfT41XTiDJ4k3
Gu+TKXTw6Xl0Qhi/TfW0n63ZOaJNWuBurcmhPmUOeN5iDpFg3uOtzfDFSfb5R/3PkzESQnF4uo4/
Kxsrd0Lx6LrTPh7q+Hfb98l5DT6Mob7Tf7EH//Yo7BVtzmasCQP/0xkTYtjfrKM9Iak18W+I936G
aOJpNNr6qqf4/P1Ob4WY7OQmjKswt+6fx0rTTNotBVxXy1uugWecb7qddQqSET40cfOVZu7z6cnj
TtJdfGRgNuKO+enNnHESbRUnZr9YJUzKMD4G/5FWoLQAYe17/h1AfV98uc9H2umhHCdUbP6pK0w+
laxlYNQY9fA3YxDRK9cK6jODUcmzRkl8oNoI9kyE+otiUvF7sS7z4/+8ZCln+Ir0Uh7v/GnjGwHi
ptd23LerHo9jfej7B68V011bxMEeXLaHU9J/9dJ/WUPo9tkipxDWCE3Vnx/WTJT+PGTc17oC1Ald
a8uoXcPfQpewDf79Ff/2WU9afT8+ueWymP58mJqgjlCbjf/H3pksx41l2fZXymJc0EPflFXmAHB4
y74RKU1gFEWh7y9wAXz9W1BGVSYpmlhRozd4ZmmyVLhIuDuae+45e68dWpAZA6+05UXdJf1VpM3J
VrSo0ZSmVj84rdo7167G9+pwQamEgryFmxepE6tx3gj06p1+odPjZUTj2uJbIWpv345S3jnJkh8z
0evX7AeLBzrIRtji523JzWGuFnllShsLU0cY1ZHha6SMf1Q9v/sukbCtnEFEqG8v+YkdPfHSGdJl
FfteK9zF5yqx9l2h9PvOtorn35+Ln8XOvxaW6+Xu4IjBr47SQf2lvOuRNHbzNIQJJjKsi5NzL7xh
vJX1YFykOm1iPY7SO6+n/1u0U3UibjXdYHuKTnla9PvRqaW3/eBNrRf5L2+KjakJUxK+zFu6TEeT
VE8gsId5Y5cn2nbl1iEbfe/Eab5p+nkJ6l5Y5726NKFV1Oi/OelhO4BsJ5G1/qBefO96JbXGpfSG
LmG+Zfeg/I+jWmdEvcikPCE4F9tGuOMl+6tveRM7zKim9oPL9b1jwoigHAYyywL2ZuUC1qkuioxF
iKUoQzGjj+soSzjX2eyOuc/wj3ZEGZnOB4vJu8clcmBlXCJreJuopjFFXxLadASbGzbzB1Gt4NmB
pFKmMQk+W0WFXJa35gen/N3jgkVcH3w4v9+e8VokUzpYlQhVvTD2TpbbNlJkkZ0ibOKbsZ41hiq4
0D54FK1f49sLjbuNVQ2gNujHN8wGiSR40A0sIqA2x/s0nfqNPtjW/e+v53eWFDKC8JlzT0OafAse
QH9aWMJb+tDu6iz0wBQd8BMgwujjH/icx6DXJz2gWjBAtQ7GB/XdO1+tzokk59PUkPu9LUUoHeYu
1xIupSKzT5mN3N4l3mlH0dqHotKR/7X9R4Sdd55jHJR2DIXCant/c/2yuAGq9VjGhoEZtDPnLNgz
TfncidLAseT41+9R2Ej6um4TzKy+XTbdfgU2264IzWJWTr3dd9cJauB6q2KqTAO1EPF29pz56vdn
9r3vlvYOVR5frE5a8+ulTGC1sFDgi1AZFrGba63cC6tRQ2y57pWOxh1nYTdf/y8OatLtWJOM1nL6
9UGbsk/VwmKxtvOkPk0mffPOtZTnuGmmnVrpF+TvzvkHd8o7FQKVAZewzveoQ/B/fdA5yhy7MCMR
1lHZ0yQ3hlsxu5hwDa/Du/r7T/hO3U4yBmZnrto1T+htOSJ0fRxGSQ02Y0Y28J0dLbkYtwpzUF9g
9w4MGN9bkS/d4++P/EsrkfWQQSoZsytpa03Gff051Wph1Z899Eg0D5hvzO1FyxDzB6aNeZs0BgGq
RtNZz24TNZjd0TUjBlF09ViQDX7PNEeeGl1WyQZVFB6D37+79+4qVmpuLLqc7CvenARrlKrCk5t1
0UXs5ooa5T+aiHMm66ofxeNfRQH+/DJoftPCpUwjbOP1lzEnrua0LbuYBIGlbwlwBzqdzF2qC/2v
LwArWRixKaFtKgE0rw/FrMnoE4xkYYQufUcV/LniLt/xgGE743XWpaeXefjXv04icwHlgeAnxefN
jYQXrrYRfg8hYeC0D7RquJRpNYdehDDFJDbu5vfHe+9pAZTP9QzqO5dAqdef0a3UpR7nagxHM1L3
UzJomO57cY9tUsOWr0WcQ01+UOG9d81AQiUHBkTmSll8fdAxTYArYkMI6Yobge21CNOKVNmgK1RW
hIHxwYl850FhoCo2DU4nWSJvj9e4PICZWsvQmuP8vLHS7qHTzXlHhy3/8vvv852PRlcddByfjwaw
vb7+L10ua6H7uSyZZIqJetNxWwf7sY1xURkQjEOaXz6oyt45oIk7mzWcUeHKAnx9wKo2Ma3grwjz
No62lS1fSjPV94SuoWpG2P3B9fnOVwl+EzIwA2IYFG83SszhB8bGqgx7nlkhwsB8hyzCRJFuf0Qd
/0mBe1MJrWUQWWpgwegvv3nu2QnKMzudplBkyby3DGgHbaoM14QWaxtbip4NqVpdpUOvHvsGS47V
e8ulKof4awpC+xtucBMygtHtxzXPxTGs6DaOuuHCZRt45HrI9hW+l30c5+IjnNlPrNwvb37dttKG
tH5Nylo0gzBO5HOh1fU1CqMI75alT9aJsLvqoUYIQhE7T/Gjx3J8qNsUTglKI+VFGHWKjwSQQL/5
/bX5zhLGfIAxm0ap4zAAe32pqEoNSLXjUtFsoaBVKt2V1jRCcUEQBtoi3y+K12PKrI0Pbvj3jky3
ntY20wnIRm+fMtZAanwST2GmOt/JqzCp1xdxgRPdCjWhFw92P6a+7L3hg0LzncuVoQgjKHZsXK66
/vojxxjGKtFoUwhNPUGdZuc+aYNGaLXk5v3+233nSQqnez0O3XF4KG8+oyGK2GA1nGA9RKu235Tl
DqHP5DfDhDZyXrq90+rjBx/wndt/fdKQYEFdoOpvu+qzZg1dXmOIb2aIKCqCWqTeYD72i5wqngAg
QZrg9x/0l++Uq5n60lqnFTT43m5QUA7U2uQOM3df2l/0WlLt9NqUO5SYH80Q3zsUFyxkC4oY95dQ
uyYrRjtz4Gesms0jdr3Uz0cXmRI97g/qmPcOBZnK4Ay6tkVh8fpKqbRmzlxbmUMsxPTsy84cAgvN
S4LKSRYfXCvrKv7q4QB0kFYlnHVaruh239yJLtYahLTgFlLU1hcIuDMb21wNuOX3p+qX+47jsM1a
c0ZUmO5vIykxNEhMLzpYh5kEX0DN8TG1GsKQMIzhniE7OBkG++hN6Jx/f+Rf7oYVq2hTKPMAZyPy
E435L+ugnXuQDNaOOsbXdi+Gvgl7/JkbMSjzlt74/KBqhdz+/qDvnEOL/p2x0mjZF7yN1kpA7GF3
1ZAwIYYDv6GnN9VMU88RSG3/N4cyiDJYPxyV0+vLxcY5p6GBXNVSgvhbq2eeD74Ogb3n/GNg93+e
p/+IX+qrf1wX/d//k78/180MISwRb/769/P0uav7+of4z/XH/vufvf6hv182L9Wt6F5exPlT8/Zf
vvpBfv+fx988iadXf8FQgcvoenjp5puXHh/Qz4PwTtd/+T998d9efv4WWO0vf/vjuR4qsf62OK2r
P/586fD9b38g5/2Xb339/X++ePFU8nM3dflUpU+//MTLUy/4Ye8TWGmWE6q6dQS97q/ly89X1E/s
B9mqucD5YH+tzL6q7kTytz9Ml5dQPREqh5UY9DWXUF8PP18yPkHCY9f8U3TlrPHa//XJX52jf56z
fwNCdFWnlej/9gdZPq/vccpaW8fYQiFIl2UlV76+QgDD5ABgeCg3EUanE25sGP8NakVjbyuk+l6N
IHdmYtL6JS5vMD978WmSfU66cZOUvdmFC8GX2vdyqjttJxUaiwehjegpeP6WZYi3IxIbGWdJRIQP
3KKwdnvLe8JFx/jfLmKtvQSMkmhnMzwjZS+Iti4Ar8VdnNxB+x2U87ocTJSaRlnUNSx1M+6gTjja
fsya2O79sa4159BKXdxCjHBOxKy4V8aQ9sshHXJ8IB3O6c1UNhaNjJjJuxP1LQiD2JnworcVvYZv
FoDKgchYCCbRGU66TqqbhAhI9V5lZB9dtC4hl7uk9Co7nNO511FaRph3XKjnsDnUpPpiJmVkM6Ua
x2lfAW33fJF5RRTONmDEYAGHlG+Wqe2QQSvEhQOErOw8cBUXww6N/FjZAperyQHqexmfFwKfSIkH
7rbJ02Xcdm0vz9RCwjfJYYYMPh8h/SpooNzghkAXxCKHr1wZK2OLkBqodimVzgQEkafJBvmtBvPF
iEfY7TyJx+IcFp58bDIbDzcGGCcNCwYWmm8NCqz6eBjMF1JE5s954m7iyAOGSNwG2sk+tq+Lqauh
7ZYoZjuBbp9yV4u/V6Bhsp0SKTdlwYNzU5h9/xQVMIu9GgMF5ZZ5lghzeZhdFRMmoCcLfssRbo7e
oUlLxAmGS2ts8GgUmMNyzPfsiM6nVgEtEFEmHrUKI25sgMHx0gkvd2kUz6pVIdPGS1oCZ8kz79LB
gzH50SxzsdG0wTqp2ZR9LfqOq8ZB1jcFTbkgw+7k5P6IkfaovqrEQF30DqH2zoIe25MkrPe35Vgn
ath5Y7NjeURui/mn4rvhOj1flJXBG9PwJSXXywYPV5alatuBaTu0KD2XaKv7eA4XCAjQSk1ooUGl
5WLfWYOB+RGP+s1EF2LANevWD4NoFxArab7cm7LoMK3jC7ACYYJC8SfHri7qlFaJr1LREAqSjN1d
1abpdxfJtAiwe4wPkngKzIiNMd8Nve0A1esiW/MlJaWyn1MirP0+6uLvnpck9522OBDrokmvdxHb
afQvcm5+tH1cuJsy6rJrAhHxCKOrVq7xm2ZOmE0m8nkXES8NE2x1X+RIwJLvZTUnQEcXdSoFJmm/
ipX0O11/MZ+JJJe6D47MviZ7ML5Hx2di3rWzaJek8KJ9cHXGo84NhTPFRccfqkqbXRaFQgFsidL6
gRUVn5Yy8BpuP2cyMQiO8ixGbHOXFll90w0OnF/T6fVDXnmRDKzR7B8U2gLizGFeth9rE120VkXe
OUJtqw6Kvs2mjYqqTgVbl485ZYatXrpKE3nbTORAKfQZysRRh8NAHT4o/feGKfhLTVhpcahE7sVX
kGRKQGQacJbQEzzDvi0Rzv+gt/Tqa8x7wO9lD8ZypoBiiIJpVjrauEaZP7uo7KctbsLGDoZUYWbE
1sahhV05A3rzuisxTGr5vUaRF21EOZQPk2eMGoSJzH3uqrm6gnrFrqywgEaEjO8hrZdDElWBorUK
B4/MVTZWNHeOGBNI2NJVYWpFevJDd6aqhTvY1I92HIv+yCxGlKilp+iswnPtbhtLW4Dg2VEPWG5m
grAVtErxDmM/cgM3k5wpGx3XvaHjGPLBppSgfrWxvFjvWG+bWKO+j6ZMx+kGzAu7hAN/w0iL6Doq
FCR8plG1V61o40dbF0BbVNPz4j0HXc0gqhlF8AINfQ4sTpvYjIY3p2GrG/ixSQ4vnkpVGoAxJc+2
TcuNbAYN1jI2zVISSmOrjbWid9v+2mbjGkPMq21CexLExYGZqabjawD+jo1ZQzzjZl6eweO597U+
iJelJH0dawQOYXwBmFiy0cSfXONnCPjCee/0/5d405VxftvTph82dGcQAS7UkLRacRLd4tSwsp20
FFwHWD4r2JIAuRLScsbU8nXgFuXWqF3sG3niVZ85a2MXWHEdfQdYY02c02WMA5zO8IEx+Nb4m6vu
NKTuDONjWubSF7BNiMHrc/UmRhc9hW5pdBhOQAwdZunopB7q83hjOAlOZQLG+sW3+la7LUDcXeIf
kEUwl+UIiS5Fox6oU71cmr301I1rxIC+K01iWI5jeUydTGn8Ye61KQDlKXD9LqW4pibQCdHNTdD7
1WSgxxIra1h4aCIT6Xae7y6e+YDNVrsBHAGWlnxfLldnbJy9pFGYYDGxSIpSdbCS20SxizaQnkJ6
Exwb9Qmxeaf5vSnhlblVaV9VM7s7wDGt2Z8BxMKFaGClvFJy3k7QoUGGCBXr/efBTPTrhf+gbFm5
1NSfQRjeszzV+dEaB521jUClME1Sg5gUHEqMBTFxqXBt6gawQNxBsEKSO/APmS8/Lu44lGFjm8qF
VyI/9WVJyFWAjEjOGwfnxQ+chjVunbZeFOK9B+KbLaUfnvkdEZwNtsFfYjNJr5oB6kdYyEbn/koW
7VhOgOgCGDpOtMHhkN4yQksiLvm+c0OTQqHb6NgKT9DLbGx85MU6jICK1YgEN+PbYk3ZRTvp0BPN
ujUFqwRnkcSmSlxrFRQy8NXaCD6od9uAhldr+rW7Nvcc4JC172Z6B/oT/NajZkAi3Sj4IM5wrLOI
RQ4BHEEpFB7bM5P8B6sesHjnaW/c1+yVlh2yC/g3QBuXYdvLqWOAMkNJwQeZSpL9Go4U5EkGEmAw
YVLu66px8Bxz0xCORl//jkie2iA9i+8/mNh6XcHdonftwMQ2zybdpvvCjo3GudWB+oR7QF2MSWfU
vw3KBB7AA1fzhK8x/kpIktYec4sUCNb0QgA+cXvlBplQh6ndTYAOZWJOh62WZ6br6+04XCeJ0sVH
2BOKcyjNwR7PusVdb6WZBFTIrWp2ps0mEQtDigUVpnPH4LTHuH0j59m4QeiZf5VOCdpRr/tsZw1D
mSFkdTFNp1jK7KvCgfiz6dSqr7ZlChw986WImbjX7gBQxLCn3D5b0hHxzSxSrkdH1sb8Q6qDrF4W
TQGFsnipjv8nxdjpnOGaGZPP1MRZsYtUSHZn+rwY3tFcFOQtfdf0cpsOqtQogN2o3yYZsTXPtI7z
ZFv2wlRvqScc/cwyotm8MeYIF4zQ8Dl/0N990ypggMd4i/Nisc3RkOGsr//LRjrKdMXGCAJRjJfP
zS5PIdY55QcNurd5MuthEBOgymRPZnK4N21kr2uqnnoQKQOWJuxKaTHdao7g0UlVifsEm2RzZjd1
lgWzQTWodrLdRE7a3f3c4f3/ze4fZK39brN7K1OxvHTFU/X91YZ3/al/bHg19dMacs2tgKiV5pvJ
jvMfG17rE+mXNOIwg9B20XFs/HPD63xyoUSrzGRXCRfP139ueK1PjDEBN9PKp5m3ei7+woaXidHr
DS9KArhAqBZ4Zwz2f9FpGGkf450EuaCbS/KYm14eqHoGIEgzM5rfaqv2gcd4lEaJoIJIHIKzpeJc
lW0RHZKlVcMm8VTf1OL+wutFcwvI4mvDvOEgokG7ZB/snXLM/Gce86rzmFEjQiDsw+dVynqaLrZ5
PnpdaBHbdGhiz6ZSHPvxOKWLi0MmRuqgwP/z9VGT5Ospw26IbLRVnRBbuDTLl8lhrDCN8JsOYBXm
Uzwa1knLptvKq9PziZ/mId1hYa5Gua4ecfcoYErC8hL9FmzZdWExXfUmihOsnfiBlDKJd3B3srCA
trXJzQG6bgcqwe+S1NpRfbFpLLnTrjPAiP7aVA5ij42oMDEfg25sjqBC5a6I2XtCDRufZQECsDPM
F0C9+OFrwH817LFAz73saBclj3WlYPJvdOM5So7xqBVtznJM9+QgR90pAZa5yHY0g6TWqeiTR7Wa
lW9I69jTNV7ug7qg7aml83HqQU/5jjYpX1j7ca4OmbMXwgDAUdut9yXWRH4EDd/c9oMRb2ZzLEh9
yIsfE/ThfV6N2ylCLtYnP7cKVXVIakg6m6oydoKn+N7Fl3svO8jQAxSpc3afzqlPrNbyCV8b9zXA
IPg6aWGdoDdpwdB0y6GABnZhpGoKXK+sd16tZsTFZCtDyygrOP1KuoZUrPzZmdSdwbJ+0H20T2M3
4NaN6uV6GU3rWq/wj9ssLgcEZd7ObZVu53l9fxoXisnByO0j9nfCj2C77h2qEz/mpN7rhSLhCmK1
RSmn71rYhAGwgWxjMcbYtIai3QE6LHQKakAJ6PJ821oiv5mc3dyBeMMzj+K8bHa9yJ1v0mEnqdNs
5qsr1I0zgQHWy3YraQzjH4t62Catc4SPa54T2mgFDAETv3DScuNEBaUDkLwDlXV5SMpW7BsPqrEt
vV05jupnlATunWlHYis9TVMCT4VnXdiFGwqWZlzEmflYF0OCVV2JQXrFenWKvCrJfLUH+8PoGYKA
2WfaY1Iky27OxvEZ3/McRLGht/DTdX3TN5N2oOMkWuAHabKLIR/yhyVCWdH10AmqKoA+ErfkzeCx
Dczg4VAP/N+Zczn6My08nOgSSZdVTF+hu6kBqJzpW6Un1h10g6+5onW4RAvjAqfoqYC7Fqw5xTtD
sbRLEA5R2DPY3UlwKWHdgC2uSr4iQXLIeduStljhDN3bE9tymBKEEvq9lSSO38zF8LmV3pL7EcJi
3KzDo4Ji5l4fuxU/bsptX5dbdZrqfUUc4EZXOjWwtfyRBpsaStOJHrhVh7Msc4vrMpk+O5Hn7AdL
MUJbX69GLFXG5WRmN0WKV3oWU7pV0jy/igYQUWYuXOjRchousLGbpJvUGfK5qm7zz7Y+TXuQksOl
MEbnpZ0S7TS7+GcwmvYGECyKSBzVEjbzpIqz0lQnJaTDpZ+z0SrxuseybzfApaqLBGQQRInSogOQ
d7sa1q4fDcs3RXbzeUJU3ndc9sxT2KNDMm36JJhMe9r2rgI+Du7IC7U2PHJ+344dgThWRSlPei5M
SoF52xT5fa6YFlFoMutgyilDKY8uxZ13mdYzKZdKO+QPLbf6RU2nPgsypVqua6U6d+PO3BhurB9Y
ypLI10HuYT/H3R0WjlndTbVtNgdVjatdEuV9s8l0NmN0Av20VI66E8sNMDXh03eZ/aIlag8qnl6E
bqp8xpxsn5a8zO70wcb9JN0z9l6KDyhH36Dg4Xuvk2w32ewPatK5NqPixQfDTIazGGwwXRnT3GHZ
p/OYj89GK1ixhqw8GAMKfU0DET6R+AJt18oDLLNAZIoCYm6XLecpaQbhCDi9Rgu1RVD3bOfdl6IH
puyNj05RXJgAYW2Mh5BP4gyIYWXbqY8XCDZPPDV7kTdPQCDnc2Wu4zNLWy8Sg9m1iqQ1ZO9iYAma
Ym3fLDwps6W/QBFkPCqRFodxYZZHwGcgrWDy3uWpM39lsuSGBDAANs2HIgAI2dPOWeovetE+euN8
kUvvEvpQ5Hdj9110bbcVOpprHowhTwvJhNaZLhbkTTiR0vFAAtFJOHoSzKZ7bRQavgFFfqukEj2I
vqETmlfpJq6WhWXbqwJy7bNN6noAifOEQF8ChWCaGGC540iPLwtMbJthBHldFKnr90N+NoAkaQOL
BZitlCLLvZl66m0zOvlTyWiMvowbOwH0juhAsmK761Nr4mk3FA9zBMYBiN6yc23gm9DPogCXcf04
QKozSbQbYFc78B2oYY1vDGebrWZXKa5xYTgnCyTud8Kk9EuvKNXrjt0jZD/e6iU0pRkYU3/U3Ww+
SieOPtfjZGWntG6LqymKnjUpi2MXsYjZgPViR0MPhuhyJ6el3sbogUHfN87By1O4OsJKvrRzasH0
bQzCH5S4OVRWNFUhcSwHp2V14bns8odl7bgw1U1WW9MJ0YB9mc8qUN640JrreFqcp0ovmB/YOH4o
qzBPMzCozjnF0EEECTNXcpmHz0auPvQ1d9TkIp1I4QW6GOXZvEHl3dYd6Woa4Zz3eqTU+7gdrSSo
KD0doOzqSlqkiPAbjBwbjKz2Y5OCXIgbo0P+2kbnNmD0i6TLxpsu7qeD1uftJlHahSaIC3CnNoi6
IYtEeeY9Fqavrf3VoBxd5yJuI+0UA6PbEuFAcBj7bN3q9BAmZ3S2JLaxSwrFoL+qg3fzc69MggH6
wtYbkp3SN9W+HstzmjWaT24vKjyYpjXteXB5dIYWG0inCSGYDimUPJoRoYwG86tAApX7uqtMfpVp
TAcwkH0HKwrasvLmizoCR7wQLnucOq27y2DEs4RoM/gwzZ0Cqant1dgqjdgXWHo2Ezc7GY2ZbbQB
HTjtK6SJnJ6uq8lAJ4FiR6xcjDzcVW7zZOLBBV9HocNkN5+XLmu/dCi71TPYhdFLYbSDdkuTcQJ4
2zjLtkZGEAVL6nzt2MUWkPtTU99WYKyDHm7EzrIz996s+x+dofyohW3cSi9yNy5MIhgHhgvCWDTl
k2c0AuxWkbVkKwnvojOdgQqkdD+DuFWyDa8qRyzMO42tNBVJUt+aZt/tHLYM23bMlxsr41JhFrLw
xscgG0S3VRmAuNRaiCvrUick0wJ+Kzjhl5ZiP5jUklsYGJD2YicJl2nKXtxycTYu+aWHtd8F+jHP
99CNm5Az0e5BxC/31YRWdSy/tqbOMCwinsNBJEIJkZ9VHpVYuYC+I6pRK784RET6TpqemdZyC7wC
vBxBgU+ZsC6yXHRXfZHHB+qU685st4XdXIB7eNFrj/F3ddOq3gvxszfpZD4bub5TAJDvZb2sW3j3
TrryUBTOVcT8GEaJdiB7qUcrAly0Z1Dim4l96GLwWCB+ECQ5eh50FjU946zCTCApFsu3KYtWIbpk
puN4IiNFLbH7m3lqNZx/aS1JEhjqUrmu2VcDT83TZ4cK9lpHDHCH3g5JQyJsILz6HF9DeGWQw1wq
qB29YL5llLdRaWT+4k3w83FhHKHOxaEEZnbpWfOMxMzrRsrcNLJPMLwUm1UvjtcUDXlNFySet16h
KpvE7rKbeOCfrD7PTpvPVdko+97L0r3bLOwWkoLVtSQv/aDEhXLlLLXtBsxQlwuzIJgYhHvMlgvS
fmp19UWCxjMwnNS6MlcGmNOkwA7BMqo8jA17N1DlTOkE2bQHMeFgGUFygOjBH+HwhYZZ8BQum2Sf
r974IsqQAVWcYCvl+cPaa7SnTOjgyN14Oi+FSV5i+ki4Dl9EX03KoZoLKojS3nXRQON5AFrADivT
rhqih/xMd2+KRVSbanis4FGymAy3ZbqooTMs5d42om7rukAIY8s5VqWQx8QwgEiCULtOWv2sMFuY
c8MSYpNrHyDzGDcthC+fcIV+U4FOPLdb4IimbCtGYEW5IxA7Pli6Eu1q1VvCmRL80kld/TzRJn3b
lra5Q93fAlJ02uus5PJedClX7pCkspjORyu9hv0JOlBI5SCbpTiPSFAmnqXyspD8kzLf0twqbxYx
fR8YEO0lLSqIuQpoKqAdCRX3oFRnFrcdKNa+t4IUF8M9zXdu2Tj2bjTmdw8DPGo9FNEYm6GUan/X
uSTvsafyzPUXlHTHUpM/8jS+TiO9moLJrppw7rxlk2g8EZRFs4M4oXWfmNVjDOn3QiPPJIYarZAR
U6VuDzFPIb7PJTempFdH7Lx6BDcGtnhc2LDiqMjdprpqx85hG5nFVxD9PZhqVXljWYvYJp26BK1N
h7ZcIym7UVs2kAK57MBitt+bpqwfLGEV0hcTzyE/psVg1imTD2lFxuepdbVdndn57djO6kYCgtiK
pSsOBLjk52lm3nExUPwMYlaPC/PRMuyaNWxuUtqDGKI0RHZUsz5nnN+EDCef/Ye5fpbEV6Jpuixn
4d52cUNNqKe9+1hyYZx66Qr6HU1zPmAdDGChzXfuYiEEHSblW7TMc0DUbfpDE7b7yBwqO4Ddnu7+
vbbKFqKjq/uppQG1YoQA+TMy9uDotSB11CeNEdHp3+EzLxmNDnC3hjfu1dar/BmU0wXz5ossHaLA
sb2YaiG9ZtuZXWiT9qe94C816O7qkv+9FZi8Eqb8zwQru5d6lXr0b3/V/4NaFbbuv2vfnT2J8bVU
5ecP/ClVQXVieOwJHYgqqokw5b86d7r6CUcuUzITJchqb6K9+6dUxXI/qZQhQERsHWMrLI3/7txZ
1if87WQEgtHBJLTq4v5C5w4rypvOHcponPnAcgg8Rdf3VgSeT5SMjps5G4MO1o/SE94XRAfpwvxn
2BWGEr/Qz4FZBSzO/RItBe5ldx6w27Y9Uk7NK8zPdrcuHYqmsBmMgDxm4Qxed5ctzZwEHZqbKbDS
HHS1VusaAGOzKCrci239JcIiSVKNi1gOIdpAkBzcV70NeZQ7aZBbEYFhw6zWWwj9kX5C7WHLIJdJ
fse3RqYheTLT82TWnUIogCkIQmrYpsMD1VTY0FJSwrsQLCFzsqhkIUpbbZsnJpR0a4rUFJ9+AaOQ
nDymPvboMQ6fW8IXAaIYlm+MivFUpFNL3TjZJtj32uzUvS5z5RhpTGCtXqLk8aLqR78kyjGHkUcL
oSWaqVi668haAWsMBciHKA2dMSvssOEBBlaV+8agQizVy/kChR7mGJmZ82dw5BaJlEOTHCAyp+U2
ZWPzZa5AVgV2YzIJbqtoeYSxyZ4rJ93macpJAFgpVYytclzfYsO6y6qYjIzGQzcjPwzDHi5RZmGk
r1RNap07gw36um0LMyamsht+JFacfo5NDhMWKE3zoOodhZgEuS4phSqVcy0h7OSYzV18PzcmmE6v
lMsDUXk1/cUh4Qk8uMQjbNJYG0RQQOD7LFCIMHQlbbvddaOrtqS72B20TruW4sjoixg1c8F+F1ZF
kpc+jiw089FS0ayckaSATsu079CxjaPRUFb7UsOGGaCOgDtdIP+ghcrH4fQa7BlNGU2wTwCzH+dS
H5qAkiDiK4EJbwbQyEaG/j1B3JuqEw2ScHKpHsnfaT1kIJ0BKlQfiYlRZifUmgEa6mwSEsUwtR/O
hpHd7QZxG+9hdNpY7gfbmb/Rh6oezS6ruWbcevpmNiqNOfyKSocrmgklakdzigKWEy6lbk7XhW+o
qjPUWlGySWCTX5uKk5MNs6jVmgOVf6cMIvomSR37vixhjGOryVTIx0TQ5CH7XuFLADePAkpyDs69
sEc4M+upr6cCDpoB7bgNp3pQHswZn/B+LIb4h+pSlO4qOZT2RhqQUS8nYgJo5JL+2W5IdJh3SStL
jwgofQ0K0bvkc7TEHulCZhZ1u7hrPJeZn7F8bjpg+T5JSG0aCEp6IrEAUSZBQn862Sr0uIuASRUK
lyGT4oxQa5kF+c8mDF1j8XUaWuMhcrsu2hjaYibwx9g/nxsuvFHa0oCzdvmSZ+WxLp3KPMRxPXQH
QrSZBvYFu+OAwB5L7IpMpNklSPtB3UtHW+iu9gvnXCOrvg9oDSKq6ApvsYIZk7XckJro2jvFLSJG
mh49+oBUlmU6TgRE3jlEjiPiWmqyJtMmHa/dzq21I8FBhbVfKTfyFoJRrn1NK8MsQ0cpaiqiQpsa
dslL/8hOzDL9pJbjhG7YoE2pzxlBOP+XvfNYjhzJ1vQTocYhHGI5AUQEtcik3sBIZhJaOvTTz4fs
butkMC85ub+rMqvqJhCAw/2c//wCRjOcYkgfKRL2Ta14QZcJIfDhdTTiBE2ogIbFrdG13njWz4lJ
qgmpivFFRi7LW2cTeLCJM29g4DDlEe82yUy1x+8TfBerGneLCX76mqnJAea1SZsJHLMyoxdLG6yn
1dv+x9B35KoRjpFvY1x4xjO8SBecLhjj3JUdEXugplG9bW1dk3uYddm9jsS228h4SD0EfHZ07xSG
as4Yj6MwL2vZ3ZdFmJOnZLUkDnRDv+DoCMZAOIRMsd2zoCdlWCYzbr425mJLD1DjYa2a5cUbdLrv
djQXoEZ7JJ6gdjFHhnSQmDfUNBF25XhMVwFhYcjbAUXbbG/kIjwhmbE0N1xW3ZPEpV5MKGjhljgX
DK27EHvaTahbOD0qysN5Aw/MdYNwYma0dQjiTHbk/8QBjvd6eqwJzXmrVTPZ5FyFoAzpwC5+HNpw
h7dy1NmvCBitHJZTNgiSrhoH7HHAE8Cl4hypMifwOxmjPjlqS8t9wFgTGw9AH/2lFXXYsnmktoDA
og3qJF7CbjmKk6z1jgcSL15VS7e/IS9yudHwbbhRCOrUUeG6j5pThWCxVrrs8ziiLwjb8UWitTnt
8YAzN+huQnwhiQ7rq6m6aTEOPx+VKt56zEPwJSJz8ajTSHL3Qy7xChOkfpswIFbAtcLhMBlzLMd0
e+EkGwnTIpQxj6Yntm+HRpEl+iA7Sx9vtFR3vy14ENy7DVMxUjKm/goDgxaBER3jfZZo2EWGVi/Y
iNuMML+C94Jf+pwfL3PYaJTnMRrXlpANBnAQAyEZZDPzAtAqm6TPbthbbS6/Vz3JykExEI6Bzp/0
cwijUFY2zKe9x6EuCNbGfjp+zlS/uJuqTnEaxruoIlKIpGrLH+rJhLQG9PrG7xmApTT87NZRBXTI
sGR4QnRnPHaBW7bTZdzGc7SVmT41BKThYLsRbTkQbaWDZq1Wh4iBpRZj3BqPkEP8/x1qd/PK4GbQ
/H/+U3p+4G//3/zlkL/N//7fJbH+DwIBFI46YhIkvDo16b+G2bq3UrRRYq8px2ggV8bDf9jbxj8M
uCmh1xE3+sjf2Num9w8CP485AGoHjNX4T/+5r/8f9vb7gthA4ou9CxN17Gsovw9lQ7iBkwRMNNhK
nx2uM2xAqV2GVCOlqp6+UtAa5oFuwUA2hGbQEpxBPAqIHtzObxyPRhapFc1Z7HdtZT0sXpe8CKeJ
m03O9PvcJTWTHZ4MqHaF3caXFcaL6EeN4WIG4TePijInGA+zgvRyCqFybaNY9R7xsnV6bfWWrRNF
YTMrDk0PswirKyqa6nrNgBAlHose38VmwgLhIQuhzG0sIsamzUAZMPtRqFdwzIy0uCNgjgoDC0/z
Gn+O6sobi4F7aagHQAocopS73BoCzXKThzasibd0cgwxSbFEaKasdFw2YVLX9K5tif1Yl4XGk2dq
DlwqfOPuFAQGHZ86LO83E6xjAp6kRjzKonXksYLXUo/iKj5cRG1e3aspLE6B1MCySodc6NRkAs2w
sKxx7B0bOmExWKSQaX0DdDs4BmB3N+vDz9TJGnvb6Uv3RGSAvIwJQ4XZPbXywVWIUzYEzBo2elRj
tH1tKZs7OEBTckQM5jCwA0XztZN1ZbHiPyhp3FprHuGkh/eJN+VVICQePURTCcVhIZZmxv1jHJ8s
keDqjDWYew+LcCLfeuqKF4LGCCyqLAhLhI0oQHqFOc3AVNnTr0ctKswjq5NKkiKpI3scTVDkhiqu
A+lKcILvHGsQDBvsvvfLsXVPWbU1pxYcgxtA17hmvXDGknZLJBsSVMd+Il/CMjYFh/8zYQyageaQ
NCxk+3Pc7sp2bq7msRte0nbsLey5l67fVEnPMLWw1NBsUN4Yt5aQLVHLC7TWAdv8eN9FI6bvFb3W
bVePuB3LEvLCBiHGcDmEcY6z71BQEHGyykBqnoNOFQ3Z3uys9mdSiwq7f4Og3sxgyZy5bTx6vkH5
8SNKOY9IoprFTQkVMQlIH23B1epBiSNdtICJBBX2D9YoiZ405tggnw55C17/mTM+cVpPDfGfNsz7
tmpF50eNw1zeWpOPN6E1esVxMSsrP7bxaIh9lon24qb2yuDWNAUnwnZCzO67JObNkqnbYVA+K4KH
9byuCOvQmu8mPp9kErRTXO50cyI2wsgsY4KPa2C3YCqDUL/RszJMizO61RoyM4X8YjYceFqC3kHU
c5ZBQMxIccGIZHxj4oh1+OjmfM3cxo00p7E5spNYOTgqInHe0KXU4Fxi9jSf87fTdwaZFDeqa2Gn
sHURZmFSUZ87soLVmWmTe1FMpRZv40U2P0guIylbD3Uspml/UKGhUuiea9ul3x5FVDmkSY/50zh3
HaGHPVVNECaU0XARI/PnaMqiO0/r2VG7qUbcuifiNJEnHhzemxg25rgllbstd7Tb3Sv0AcIO+6EQ
5jn9QtaAsA1kJuZt3KM8UWvaM8x++wnEGv9qM22Ny47m6s5JlLipsUj/FnkxdvoCUPZKeuReQv13
jSaQmekUwf8e1P8+qJGj/s8ndfCzLJ7b7Hfimc3/4d+8M/kPElqOY7Ao7JhQff7nqAahYh5kImHE
GgznyhXX+g965fyDaJv/hvoJOxD+8V/0yvqHP8fZDhC22kpZfye0endU2wBq6O05ojk1kfhz8r8/
O6uS5Z0my+iP1QpKkFQYhF3dICZqqqPfnsm/q4TfNV2rBPS/qs1fl8IPGdxtrVf4gPhJvx/TnHHh
YvVq8g2TpE8uZ0CIVtnZ5AzlGYKVmslBkd+mdevuaSPjLySHvwyWDq/vYB2IqAwbEJ76++v3YzyH
RbR0PomJUXylG7HLp+Ym7g4DeoLltKQYLB7BHKdk79oN5OY40r9j/u68EuUdXnFOtU7Qsp2SRJtJ
oA9yH5xmF2Ya7rDGgpf63kHW+NaMjZMGpR03sY83YhIg4WEOi4qC3AWSi8q3CTZVviHV20GtMzbx
DeuHmDYGb+FL5MzD/TBI41YoCB+QDbSVFJTHt5+/j19F4oc3AvERq125vpFDQ/G5FmFrz2mHqmcl
iPTCMp7LQdJbz7Usio2W2tY9lCz9OVdoZAPH1YmOIn8BdZHNHvxjKaAybZDQyZ0W55FN7GRUvypa
eywp6EIgj5ep61BsRegPiLsyX5nkSH0fyay7CRlNgeOkeU6rFjeIQQbs8I/cDh3I1BMZ6yd2OH+T
DVGStNMxvRA0wpQgd7ftXtN+nm5U5qhiq/Erxgt97uOLYVKNcaKsOl5rkz7NdqJwsLcRjeQM19Kp
WLB+q+0emg/QwRYah03T21pxG8TEtzlwLMvuWeQCHU1pz3p1rHpsms8Xt3K0QCnTfQp18lmOKgfr
8i2KJ30BZZwcJ9BDL4Git/Tdd7ikUXRllikuUIAp8bPTInY8MioD1sXoTAVpnS3iIAQsJTFuNORm
DcQhOTTFkljYWbcJJt6pTFw0BqB8EPOWwep7+n0PQhNFECSDbhkz82zQ4E+dqhD1IJ2lnX9LbC8R
W2f6FRvQR2MfWG7eOkeJPnnGKz/Ylqcz4TTCdyz8164z2B7jOQ4pXrhbErdOdgl9PQQ+VkXhZ/gP
5cehaeb4cKOsYvJVoxi5TMkVgCRQwKoKZDziYZynentp2OVSIexzKEJGqUpyGEi1DF960KpkZ3Wm
E/m8pHmVGzZ2Eyyc7oQaYsEOhgRCOMIdSgGQQcJGADGEAMzNXTH866hiiPJngemfNiOXLRenPHSF
4tDGXKVyBqEAauW89vZ2rJOeYavmMtONYdn0Yzdtl0GrdoOgEsMHM3z7/OOjczv89BharHZsHnUc
RgDvN6NO16IEf80BhQxpTWvjcgpUmpwYxILtK91Lv3DT+qUYP9j9kPm6DvJ8uj8M6N5f0F7zmTGp
IJSwJD+vsygrWuqMU0LG3Oe+mdqj0FisoEPEEZAOKI5zaDYv1ZhVsBJm3d4UaZjvFlh6p6aWYpH3
+fM4MPxYTwdLrPMYolDxELDMA70v059a75q88wsNAk7lzXLfmykDVgGXFAYpyqOUsJ2jElWaB1xr
EFaManMHI6ADEonEF6fVehq8f16c1dgM0MVybn+we4W5WNJr9pAqCTdEnQ6W7+F6lhb/Ajf+x4W4
duqHF6I+sDiPYH67Uq7d7W/dq15nchQuDcCKgF4hzCC0j+2MET09g/OTkKiZ0L4UowI6PyJuCB5P
OKrJI4MgqvdjOpP8NI8PjVxMhJ5220CHBXvdF5oKCzD5Qqov7vnj4pWw1eHQG6Q2rJ3++1smMUI6
Q7je8rDUL7pZKcSaSMgSp4y/J5De9l8sjvXl//dlrFYE0gVIwPIIRunqfPf+goD8FVJLQ/hEQFt3
DdbGNrGPoKC+Gy1mYDfYc+0LPY8uUy/L7sYRitBmbJS2+/xG3i8K6hYqF8GADwsWKZhHHny11P+1
TiIGiUZQ7K5zmsSNICDo5vOrfHAsWy+DwF5K4dI18Gm8/7mmjanLuGqxtGryvsFgyHX0XYX9LUG+
9tpbdbjrVLvcknI0nIVRaRj+RIIa5H8m9hl7OIFoe9uR7rbpJuMLA/T3O+f6DHAVomzE6xjpw790
DL+t1xqdFpHF3Fw7FuFxQ+j9FjA/3pfZcBv1Wbp1rUEPwiaLT8U8fJW/8Ker67gMYMwB4Ik/8vtH
k7SGitBHQQlY8C7bdqvSrQJVXTZzDCEV/yjtPBuMEcijxm0Um/Lx6fO38/57/dfvB9ISLH02bgQg
7+8Ar5yYIo81MJRpufhdjb0ZkvpmuqpqANgwzZMjY1bD9vPLHmyQ63Uls28Kf8kuiSv0wdqj4wVR
qkdMaVIsjrZwr8VtHjWURoOJLRe1mrPVVKVfygJ6nV9O8TjtEqbGOTGA+VLv0L7EU/D5XYFN8HN/
/zTXs3PVVaFYAXTE/uH944CSbqiZ1BFf1eNV1JjudaJNhJ2WIu83VGSrmqNGloYbJ2f6hUS76KFE
k6m2d4mTyHw7TbPTqnVku4noGsTGhPdBXNYS2s1Gzzv7tTAqiNuo+TQcIKLUdIIY98sHO5awenKY
6Xuc+/I9z2K5siLvPsUW+MxhFwlJ6CZulMI2cdhZZQ4RjbP8TcZe/GBpE2OlsouTBbVyDXpUKKC1
3TrPe9XisIm3iFqN47GXxRQgMR2mIMRmPGhLW7LK4WmSKj6KS63WoQ0WsQ3A05Vc/BSTHTSgcA8G
JxBdmFzC9cUJR9U6rO2q9hTO4aBfMDwNmyjWrJaY83pj6PdjA2DTWnB8/XKeB20jHBurJQpGs92X
iY42mhF3h4Sv0vOAisp9Q38B7Oaip7yz9d4bNw21/BSQKjcRStQ17U+s0dE6gjtI1Ji5lpyUKX4y
VgSlnECavruZsL9+yMNE/XQjExLqRNAZSBNhWD9jnarweI0kcIEb5kHi5zONL5zkwKkQf8obYWGW
u7MXL2+PTAIrmXSKMIt2qQszFp2yPl+WDI9+9u40vbh6HF/QLw3I5PXOuyPcK6MqxMLhHBctKNAw
zWMGpPDjRuoTwyyoB3pmRmFXZJlvQNvPtuRvlvqmjtZsQ0he3BmbReNeoMFNHorc9khs02deaCdi
WBXIn1pY/Ubs7RfbwToUWa0XTDqhf/g3SPO4bHNnYcDc5/w9Svsfc58td2i+DbEZoEMdT41CKayB
6Oh+Vs9wCRpgON5frtI7t5r753ToPIu0IiEeDUqVH1SWcxP0erG82XAYHgjxhkeXiUmfjsHjpLmJ
tdK8abWseaz6UVxD6/CutXwUOWF/ZnpSVCkzywy3s9kHnfIm2slluujIplS+Vpuzs8q6nFdkibkH
mQBQFTmMZZ7IzLXDPWUsDV1bmX27NTAYGU4jsM4m0GzlGnuyySHYDhTHKiBODjr/8MtfYJZJRS+S
TdNx6sZAzehDUET3vSsIEoeQn6EVyHrWZrjqe5cwplMhWK95tosMsj8MkxrvEVRsyyq5FWQI1lPz
Rphy/OxWmGzCT196l6Fy5g7bQvSQH6CF0QMb+NBn20xFvXsyt8CJ0O4z7XiAJKjBgM/ndNOx9b+E
mrVMG2dp7PqEX15PF/0sI32fxTNncY8zEg16PaUE5oRAdKR8Qj3oNjqx92pv1QpSKsVYTXJZZ1tI
nEIxl3ugMujOmaYic5fDd2Vhd5XxQA/H8N1NQvMiY7EyfBWdXRwZ9iC6oO2wKNmGCzk8AVGR5o0H
roznRpR5FxXvyA1orWAeDHzcNW8w6c4arcrg9dnlgM6YWTx/sIiMhyhxoeU20qsbyuvUvhtVDpfC
7nrQg7wM0wfLzBnMOmhwtWMCY5ynuiJUOCDyWH+d7K6+1oaGWSPou8OQPtFQ8RmEAJ/ich0XWzpy
cg3tlpRGDbY2abrE5z7CmnXf8HIJHwpZLtDV8n59rtP62ZmeupnnBTm9ARmI/NRJ8+SaGKo7O0au
2qMuI07gzsyYNZAvbl4RrLwUuyaNZXdEcJRx3kVW7W7thUezlQRe+mM9NPSV9WB9w6F5ApNv4bsE
1dQ08cbI+vE7lFOPEN1BV/PWmlME8AbEdhbIQqBokuiyZsV2gPL8bnFqigbi0JTk34UYy3lT5yYR
f7CYJZ09I+DqyIPjAHQqDBP9i4Sja3bryFJNtn6BENeEUuQUq8XD6qxBjmr0Q+owQvwpm8RJworw
giJvdesc4TWVttcVHkmA4aBpO1iKnL0qh+4ZZWq5RpZe/hSLmd7zF6w3pYX9GKRTUz66RTt6m3wh
cztIwoQwcgzyoR7NrrVC4iT1bsxYQJ/BXCX5pifILk/hZRlBbxpmeekadRf6VWOCHgmCBL9NYTPf
pcT3OT6d3nSPKGGqT2bFYjmyVD9nW5hOcvDXPAUXjdmc50ewiW1adMtCsI7iYnlj59QvvBTm2KZR
7hht+iGOkoBJBkmPfS1I8hwn+O5624Sky4oqR1SPwghndLRudWZc9qPVj2cx/OyrnGhzO1jwo8D0
Gm0/3gft1MDXKOviCT2LQ9YuAnHL9ttVqe9j24R1aNIwnTknTA41p54i2QhWyqy2NY1fhhuxRDaA
0jIMd5XoB3hOtR6zb+ixOuHLsc0A8i+TRfKNUdEn9l1jzNq3pWIsdbzkRXZuTIqTMDZiAexm9n2/
J5wRr4NKOxv7sE6OrHDNhFftN/jeZkk0OlZAS6POcVJSP4s8r+/1ZrxqB2bu1DQndVRUyRdd1MdS
VoJF2gSKSGk4HzpeyFLIxMMKmxxdMXNEKUEZuXBq1Y52CjRQbo0OaWOWpuLChm/yRS/zvon7VU8y
6pUoji1gZuswKBF1BuQQekS/jZFwLHFY77UZbRnTMLFDW5V+0VB/rJsJTLOdNdYEN2ZxmINQT4s7
ZopPspxwWXHr2cLUo592Lh/5rUdIBbtpmF9/Xp9+TFFDvY3TP62Ugdkxc/H35SnwWjukg63wTknq
sxxJzX2qxHAye0SyTi0HOtFRaaARTQryXII+aeTIETTWXnx+J3/4+RbUMiLtAPo8htXvb0SD1J3D
jeFGUNwCKnT21hvH4WiwJBm1MUwwMWfi+POLmn9YY0AL2KR7EqG6cwhzZdZANiU6bt/M1fCjZDVA
5htazwvGpC5Rn2hdlvoaIFC4hyeO4ir04vk57oyQnFB20DJYaqMtt1O3RLtGl5g/hXnfn0N9s8lf
dVoOdQv1R7fLal17FKbiWDHq/GaZa0II49Ty+yWbt1nlmeeeHIipKzunKzcFokLbl2qA/mdiGFNv
5oLp31IaZRS4DAEmXzVzaAcRWKzae1qlADYFHKhRJFO4rTqHwI7PH9fH9h5OhSFs8FxIEqAx799R
iv+M4DQe0VSX4f2cJpn0IdrOfxtiRM/k0L5ikgfEJOgk319H48pdWoe9n3S6SefqWhzDcJkR+FbX
zFWJL+MUJKDWgO/1xW/8w2fPV7hOm1gSGBoc4Gx09YIqnVBbPrZh41hRd9yLqb+zcms5HeLWvf/8
mR5aY6x9K6InjOZ/jV1+uQn+jm+Zg+pVRSHq9znb/7KsRtWJC4lY0+Q2ozIjZd7tvhe1427HJpqO
BxzP/g79/LXZuSvjG9CGHy9/3eRvoAWpEDa+VPiXwXstjiK+xHOzNZkq93p50+dOu4e88NIrKhyL
uT6ELCe6xUBLnFsz1qmqqLLjtLXKZ4nBwfcvntDHj9TGjd0U8FhQloNdvV8OeUWZlrRolfBn03Na
0qqO/HFu4UdI2WaviUx72zfSdLlEzKsXMG7XBrGOZwOlkWb0CgoIRgRM1Mc+9XFQ65/aOq/Vpms0
qwyIgCL7WwkW9AYQN++/AAH+AE2Aza23zgBImJZ5AM81k47PzYRW1mtgzLEfp/t6LthkejDdH8Jp
vlsJZDwEdll7DN4sXmtpTTeJOTFIGrBXmr44Wrkqz+w9LAFAyS7L7o+JJYvw/TPtYpZkmWW973lU
5ycD828qITxtnkkIYijj1QQWBbmhJXdkmESJX7cZpFcd3e0dw/aeUb6rD9deWYllM0aCBGYKOkLh
gGsT91KZevyTWIW4CLy8G9qNF0MbAfwxhnm95AzsoWnxjxFFGgb48WiVcJcN6iKSzfOXpvVC/WQp
vWZEBuZoR73gfaGW1NDKDcMcfu8LfagYys7RTUjZ86xEOJlBF/XmGwMc8ZgvES5gmdf02AuVYVn5
YrSqKWDMW/BjlhmLuHBkxeFk7OjJqR0V9i1MfDJL49BsH2MGy99NHRsEuExD0zK2Sso9GmGDPr/r
nGZrMXfTTk00tQsquB4ejG1n8KamOXtLVNrYmxoDPXj39JUyIAigyJEpCfsMBqLz5A7t8jykc5rD
NIXDvkHujXyujCRk12LUsLdz8zINA4kYfUAfN1Y7WRaFhXQOSmMe9c19j74uwobCqU28nxjXQKv3
8qcI2z1qSlnlW81A7bV3HZW92fTr1lHeD9auAzygJF3MmnRUrl1DVs3q0M/tubv0FgfpMohxfkYr
4yq/Ecj3A6yvonTDflmfg1MQRgYxNtM2oxdX3l/vwDafwMpVWxlrsO3eL02I4djKwE6GKB7re09O
4zayVqKz584nWup9lej4cce3rdXVBrjWWsOBD041MUBmtlpYT2HkLResvyZhnDyFlx3lF65azBf+
NoRHBw8CHrfxaAagso11x/ttu3X6in9fdwyWbRORW+cyXqeicJovHuUfdk685tcvXV+5C/rBdaA7
K9ValNDOrJIrqq5010d0rJHeag99AUQj6SSOORSGrVlo6dXnO/dH7BMMgINtNQdirHa47wmE/osY
YBQMU+fuetxQrvR+9WITonr4/FJ/eImSU5uhAC0DfkMHZ4RAgp5TI/NLnWX+DvnHCFEkOhX0apo2
CcXn7u8vCGd9fXlMXmCcvH+FeQfXu630DtKgXGPqcRQIgT9u8MCfzxp7TL+4nnE442HNwJJBjcWQ
cp2EHRRFVTnbyhasmbagK/SzpkQFUZBAHzSG6+x1pXvLPhv7+aa2pQYxu/GsO430Tiw5nQaLDDtL
43oXygF5C6lrWuCkEbaerpz6b0gfZRqsXDH8UyqPQOUxUvpXGP0fliP+TSx9ajUHueHBM8PtUumz
CTIWAWGftP2UXRZFApDRSNFuEM9EJ9OIzYkqU/M4NyYc6z5/aR+bDMpK4vAIEqLiovJ6/9IisMCe
BFpWiQpX3Vhh7icMgt+6EC2L2UUTJrtQDD6/6Meqea1l8c434YeQkHCwv9SeM/eq9XBEMliUC9OY
EzPG0uPvrwJ7iMEj3/payB38NFTfukHgLVYRznLd0q760B7q08+vsv6Vg7IBHjSJ7djm0xkfrvqW
LrwXKoRDioZlp88FjjapCV6DkhVIA6XY59f7ww7i0KBJgpjgeLFq3v+qQtZCwjxd88JKeep1WnKP
uKvYIcgAl/n8Wh+CAfnCyIJ1HIaKJkfQr8CQ33Zl9gwHxKsYfbClJ3D+9hQpBxMKCoDjpO4a39Tx
EwOcZ5rRNaS5JrFxMZTFvMMJHy1YNGCU/dVN/eGzR6bJzkaZBQ9JGu+fwLC0XpNkU+93kRZeulZZ
H7lzWt11eo2Vki1Ge0swE4KyOk3SRxY49FiMVr4qGNfLHLx4GgTGa3R+8F+cg0VcYhYaowynXuwb
C5Mjxp+3KiuM780coZPRWqU9OlniYgdUTdNPtx28+SpPYv0VkMaAzpa5brT9/IX94Wt2GQGvEW/c
Fwvk/aNRg3ILx1RQNrTwuYTifmwq2zwRw7RsvYRybYSj8MWDWH/n4XOQJnM8wFU6tg/RCjkirymK
e98ql/Q4Ivgl0K0MG+lpwVCBc267pIM4i4dBvf71r0WMS8lgghFxBwebZzRx3qSeh8V0lYmrmGno
pYYGCnqcHR3NsiXWs0yr588v+iuF8P3vJRzD0fmlKGSRLRxsK1VSRCuAybZiVy2ec7I3ugtqtqQO
FLVDuFEZ+Yl+3HhM09C7EqtJEvein6Gd7O6dyUgpXmsrLn2EO0a7A/8l3dBykedgvVuOKVhzrV9A
E5uv+8y1fsadZGs2Ec5g2S2RXC6NVWibGTzF3hOXZUyc62o+L5ZQfVFDfNxsICRQsGB1ZvKpH/ZE
Wp67+KAC7Gr9IPetleXwxl2ssnHXOP78uX641C9cE24hjokwVFdm6+8FYBam2Atjg4besLtZGm3a
I8iStKyx/NsFS4VCf7fiFsy0SKd6f6XELeZCH+k9Gbckwag34XFJA+YLDefUSelh0Ji1+mYapdp9
/hs/0jRYrC6OkgAKCMC5h/eX5mAgEol0At/De/x7qaP1NWeGFVDvq6MFM52rvISxhwpiCZhymRcq
VdW1HjdIA7rIOc7SRl2oat0+Pr+zDycyWSXY+Jp8wytR+DBFS3iFWfHTFz/Fqus8dnv7VEaZefL5
VYiEONws6F6gL6/8YYwRhHVwesmsx3Kvgq0/VXD0donuaYhwnDo3cBAa3YfOyasHMcmVRSXx5A3C
Mh2ZY5tVNIJ62ROGi8yQceKPOZM3RFC0T96UuS9VWk06osuxdM8NYOFyO2ZCfNe0ZrgsXNU1sOMF
PtpUf80SrPbBhDjQ+1S+3mh2fIyliIHlRBV1ra9BO2YcSDuIMFwVGHXpQ++ee2mDNfmCY4aHw1tM
lz9biSBIYGyBPrNF0cEnWf+odB2aplG0sI/orft2Y/cgA8GI3dANvlexOIWLb1UnUZMxLBnbXg2A
qEKo4zGzB3tje3k6H+MEhRQiZ6/Xgno0e3XUM7N2vuH+g5Z3iVgQb2YzyluvmYYf0q2W8ihGwoxt
tWPW8ALbdsYzPZlqcwcsyjSzhUNcogAcuhfSDIwnxnzK2wzIXiib+4mhiRyK5qorOqzreFEh5GQH
LwLSDeYVDWpQcki7sV4TrIOwP+ma/hE1ofUGG8A4XSYDdqfWZrW3tSsPnVMx5+U50zk9PVnSrCw2
NlwpGDfYGZHiuMiY8pr0RcS7iBO4j9TuN8KecxNap6LzcxLb1rDzNx2ubtXt91JGrdjXFUThQA4d
tNOxK5c7xDbi1lVx88ikHX+ShbXgbpi44asLKbQJg16N9WVkTeOri7kK8ncCOZ+wYktIv8B8/RbR
ki23MUaBmh/bmYkTHN0qzk6eIUI4a2MJpAMhNz5CGJRl+96IyiMBX4iIqa50813W1LoIMGZvsPDU
6CUCmNyQRXCvmSrK6s54s5KuVX4IToz/HGcjgWBwTVpOAR2TgFJm8cYbjeocDl2B3Sa1jU4zk40R
Uu9yhfAKhLfHTVevNmK6O87Qegi3wIu6xMtUDyNnNfIap5eaSbx5FhuEAIjeVta2n9smPas0G3P3
NLHah5ZN7qqyY5cMgbjpz+EHlfcpBjw3aP8Z6KscMW/Qk10Q4QrWet+8wohvUm/ybH8EF3nBYKF+
UcswGmBDnv1QUKrZm7nRMRfnA4N+qWGijTTGbaQMXMbB8WZSoRa0OlAMxFDNuCWsCSV0uzSv9Db9
cYH3HrkOxTxgeU3U5CuVtJagY2q6XWktYECdtHgwg+pgdbcjSX+7mEk9r3jWqtwvKc6hkLuwlzdl
xhe5wabT+yEru3nAsIKer4tNC5aRoden+tx5P+dxiNgK7BjBt1B2nAVV7zb9ZkjKmNG/ZddaYAKH
l0HnykHsVAS5+jSn9rygswm7TatV8OjoCaIvw+z+sB87mIGhtMC+BIbnQWmjGGAMTJmFj4WEU+6w
C3VuS9sFMEuBeU8ZQGL35tjT9I1vLPzWMOY+LpssuR7LKOtPV/6VvcFwob0Hhkv/NrpLp+x1DeEw
IQKC5kh7f4xRbuUlegW814rUfOmgCPiVVarHqoq/qLY+PocViTUg1towxggRen+lpMuKPBnpdiz8
8gLMMBF6aPXy1bn8oYYFWkM644GuQU6FK/f+Ml0YVh6jdZgM/chsv+W7ecoxOVgdA9wTPip1ZeTu
cFpbODfkcdU8Qojh46ly18fji9HIYuCuNsPqMuCI7aE7PNaVpt1iPkLqx+en6Mf5CHdLvQvNGAfx
dRDw/m5huFS5FqrRRzUWEX0Cx56i001/AvjYl/2E+0fVz64Pghudx8lUnQ6j1f9t38tNgJYzIaSS
0RlFvL8JQs1MzkxGEEVhYAk7hwbatunRlJ11MYDif9HZfCwcuBxtL0NvnRd1+JungRGX6zBoG+LB
vIhEUbxM1pIdox1AieQl4RdLYv3A3lX5/Dx6bNY51RoynYNpQMYho4kEZI48GPx3SRohvKUo5/NS
xNE29EKs7MLF/UYAprNt3ZCj7/O3/KGVW28A6A7iqOHxfA9KxcqN5nGZ0D4J7JiD1SPshNQW51mm
6c8hLcaHKbbk/efX/FiDc02qMqAFy4D5dPCjBbFBuE/gtREmWQqqndTHE5QdmKMYgX5xqT+8UF0n
TowZH/2bsSrLf6/3CWLSYotBiA+YkSRoor0QR5vWsh/H0XP6Uyce1COwQx7trVQCQNsCm7olDDna
2e2sbzhp9PeJlhrfsVSGsYVAZOn3g6z1Wxuvh2YzJfICtVJ4LZh+FZtKFsiNzKoFD9CWWrwsmIsk
Pj4Y3j4HRbwtay9+DoURwZyjTT4dh9I7J+DAjXeGNUgMlEn0unLDdEbaO6nSCWq9WfYTGskkSHMz
gjzdpuXz7Ohxsi00s34hH5WTL59GgntmEkyCTktRhyRaQUwZOc4xdg5EWb0Bq5M5gUFKC5ljJEz7
HBuZqbkeitgt/HlJk2rnmhCi/Abt31eowZ9eBavMpqs1eBmHXQlz7Y6AxoaGaMofi8I2zqbi/1F3
XruRY9m2/ZXzAZcFevNyH2jCKyLklXohJKVE7zY9v/4Mljmoyi50dj020CigqzszHLdZa805Jp9O
GgBtZKhvfua//5vXY8+gZ0udh8LhVwnCn7pKNrSVBd0YFxhHwYg96yFp9IlVF57EzkbIjS7/5BhR
/ubJ1nCx0MLib8fQ8sNuhc3KkMiDmZjmLst5Yh9f0arAFKOkfatgl27iClwmE9D0JNIJ/R8lNR4j
MKyOPO/QFNrBkMqan0pFKn6yt/3tm+N8Uyh++V7sHw57qRltp1wtzA2+92ctdjLQP4NFAwukx0/K
7L/ZVlBEs7YZvaLh+dEo0EGNjiXN4rWcdHCTpmlONbiWIwrghv9axduwiueffED1735xCm2yoNeB
hPVjZnlfpXEiGXzCIXZwMDWzaYbHMjNjfVPr6mByQQ+jhOyjXH2OGwm3oxPiq1c6RKpgm5JhPrEi
OebmlH6WKyLip2o71GDhoKN/Rj7X3Rt04BZPtHozbZaisS/8nboF8ZIElsFIswbodlrBookQoPTS
0Nk/2dL+dahNXa+CssClpZsk7/6wZQ8s3CmkwefZZi+eEhpSG3rTUMJrpXQCgpAL7HOaBGULVWGc
azSIM6nTccKY7Uk0jtj9+z32by5PvB/bIs+VQZb8o/dEKOSAIWxHQQdVFTaWzejJZSoW/aSsxz/8
42G5GrC4DzLQwpr843xSYBd1iG8ZPTmakx3soqoLZkTMtwRHjYprlghsGeyl8dtCA2h1+WOwR+pf
RG/pROPazUMt3iciNGqQkmZxJ3O3sA4Nln6kkCzMxuutebqlcTQ9J7kkC3i9I7RcvY2lBBEETFQA
1CaJiVFGkpYE7eA7ha/ymamTRS1Ott4djtv0ZM1OfM1yZN7QGbo23Nig0oESkbn1rCw1WorMQmPo
Mdo3v/KwyZfNHDcRS0NNjZ/NPH9tn//lkoHi8jfeCf184ILaX8/AqIMBCKHD8FCaK+RdSdhYpSXU
RsbUy4Aq1FKe6c2pd7ZkOB270zQVB2IU9KcE5OZtNuhldMvVg9TtkAFifwKUScLnjHHZrzOLPoXD
u+8Dq4U6cG9Z5BsEnKiJ+E0s848Qlf8Zf/K/LTAV09qf1ty/AHdu3vKOo+i37NUVz/Pr//93Fz+u
e1RhLL0/UJN/uPgV/RdlnVxwECHvU9D3/Z+LXzNhUHL1osinsoQpylJrf4tL1UiPQWjGrZ9rIU4i
qq5/ANzhpf66aOl+YsnSKKrYr1ZN53pS/OkUlseokCL2H9dATJzYPBkjhHjSI0qzvy3rwUvmt07T
rkr+tsRXu3/sq20H7sOc41u5T7dausZenZBZBG17P4Y4e9udkJ/YcHeA0N2kUIKoofmB/TpcdrZy
u6g0zY2Xpb5BK+qtLz3WD+q07eCDD0ep/iAbz5ECZd5Fj+Z0K+dbS6Azp2OFsX4q9x3rENMzGXcu
YQJ+Rcu0ybdmvWXURCNDHCr+lYUA1kz2dkF2FZQ+GQFNIj5zguqEkVHnX+uIVoD+qVdXEyoy7I57
bFl+Vn8t46plfJlhgShF866E86WT572k5SSkaEh6SLzUbjIZ16IkaMe82Nk7W6KXVJFHqwryjeqa
iYmpGzKLE4hZ8+TsQ63rU2Xco/rfxsPbpFVPBmOfKRw3xrwgfRqrXRE+OQMwk5r41Co+RviIuBVu
YMnupWrgSwRGpAzkumkB4z4/s2ow2rOvTF8Tkeck4NXW7Zy86s1+iCc20G99dIwbqGkWbqCMDpM4
FwmzOofChUnvGOKPcgs0ioa6y+VPZfmwwaM5b4rJTE1oK6SelLb3lRXXRYgkwvihtwEjWjtDRIGg
/yXjMZmsFzlZ9jNxoD0IEokrbm90N1i3oQKtt4gAKgJJrr5T5l60ZNsh6i8TieWrWV2Fz5lppMzE
2nbmWlubOO9qwtOm+qyheW/Bl6lVAI47iOPWHeHmkM8QxM1bmUeelPLoJLq33tHjA5wWsKfIZMn+
HObkWHO3Xqp7mnhT+h1kHKpU/CfW6OvdfrJJehWvMmFx6to0Mki0SOn4YjofI0bfLc+3kQcllnNT
IwGUv0qL2r3ZrvRyf3LKLQfTySyGoxVpbhmS2lgm28W+1J3haVYQQTvA/H6IzKdh+FYvKJfym7zF
pxXzHlgJ6ytGxqvCPLIqU5RU37IZliJnmaztUwDlaHtqMfuDNqFiSF0bJVNEx3pADrDgOaHO9gxd
2rSNhglq2ZUxvVuE62MEb1SZ/KSjetE+iizZlQUD4akkv7akqojnDao71xwnfCZQiKwrZFBPkk+D
QjAveOXQ/9NOeP3tGPszvMNa5yh/Ot1+22BQUYMKWVsFP1Z4DO1UJ+4ScM35F3EMYBces5HfEtsv
WPdFvWLecx1J8Rdhn/Qm3c/EJSlDHNTLRMrnuK3ycDOZmDhwKQ8RYSH6tQD4buIAcGBT1cp7Od0B
xVhsv/uEROQl/BnuCgoVnj5ji6o2Y0oAFMNIdThW8d3SbEAyMGEiVMNWAJgSiqq9Yh3E8eHa8hOS
4YAsR8/kfgZYwp2o/JeTqX+PVx1kKR3N9tgUABPbPXcZ0D8tHfYh20rjQ86bKNGGMTNE9XZp47ui
I/tz2v77L/XHify/fKnrTftPuzbXIIi2Ol/qkj/ibLvqVerHMPMX1HtF+TrXCp3QF9PiS9kqswiw
Av/kd/1Vo/Tj78rNCyIAZlo6Iz90CUr8LDax2b2bKVyv4ecDcspW+yDODj813xfNLVpvgSdoiEC2
uZ7d6ea+lF4aa48MO6subBWy+iQnJ1a9NO8n4xjZ29zxMxDysrnDhstm+pNYvx9KkPWL45JKlw8x
PSbkH/P2GDRZTJtwmArnve9yv5dNZjmnOVt+8v380Ev8/YUwSgDIURGF/PgLRX3ey2PRw3CDuu7b
QFsiz562iU3mx89ey/qXj4WQdTXSMohAsweM6q/PA4m4k4Rbs4dtdbJL884KlX3SjjvcJ7vBHHxa
537pxFhmtJexBjVraHQn91kVGCgkspGcWJie5VK62ZwyRKHoyvJNlII5z4tnOZL8iHOebFPOzmKX
l9V9GhX+qD3FLF4S9r5LSP3Z/z0nb/YJDWt53c170CTReWw/FD3ZdsZ8XRQf3xCZbuIwXXT5trF7
nDv4d2eEOQqpZ4bvmF+4HD28ZF7EwsTBT8CncIe5hhTreBSEr+Rk7yt5Ok2rLVdhKxmnwBL5To2e
ciITIMLsa4IbpVhCsB0AqiykK3arg4i3NtGaPBWomSe/G84K0cgV4/RC9RNF4a6ydi+F14UPcr4H
aOJiS7PKWzC17Or1ZkxwARKnIPgarG9DJDZj/SwZT+sxbEFNNeZn5pGuBn0uLJadE5O5p9/X1uwl
CYGO8g3hU+QNfFfkU2Y3vklCdiw9oK72mvw7XeODXARYsA9zT86Y82Ur3y2+Ak0OJKi/Y/nWZ3Ay
rYul3KXFZegQ/+6z7m7g5DBhjzTSc5QNvtz8egKA6e9gETY2CWZKwhSnRip0GhVQX5knrfG7leTm
du9CN9ou2uybce2ZK/2TS9uackH/ix4gu+fsSpC/9fbU6DIfnRh4nJTNou27pXiw824bRzbnZ4KW
dxh9sqR2k574bUf2VLWb+fAaXlqHo23pex6pD5WZl5wrx0UJKoWwiWQXgzrOVQ9j2daaP5hAkcCD
7pJ1UoEEpEODr4JU4VMeOX6lEwzA3YyXK2OsMELfp0NIosZTBid7NA9qy5x4S6Qd0V5Imc0nZmLB
gM3NMq8dcD17sXbrkaoRgE4KKRUSO3dJ3pNU4tkwmcmfDfK++/B2yoIwN1gz3ZZHbyNnhAG+EHfk
qkgC6z7agZ0DSGR7g3EcyKOD5XcwUmdvFJY7MghD/wiFMXFFWOITvFtU4z7XHmkh3mh6TwVuHpR6
G0aPdoxXzNaIotcwq4NkzyHykVAY3mHj3drSNQ4VDxBh03+ME9kEgvY3gYq6fBhmrgQhJkBrM9rt
oXVC7jCpr4KnHU3uI0igKvWu1EWQg51UwCqp9Vcl78zurhaDm2o+KWLuyuMddXJ9Mtt1opdkYMZO
wl/uSG5VqXsibbn+jfbnYhaejREpd4AocEQqT2t7xVB8Y9lp3LgKjUO8cDiogeclpF080IHaS2hh
nDG+z3LVXQiDJvTeAzYXylJgwQPv2w+p4vfSXyAf4p9CMjeSBxJG9+uVckzJ4HJWkjEti3jYxPVH
2T7XWQ0KnjMju+imvOn6b3ISPxJu7i8tiXFNBEoC0/lOCm9aOi72E/kj7iJiL4m+1JqrJs4pnP3k
i3s2MSRcukHW0tfFRWpQWxSMNyeLR/WaZ6yXiWdlvoMU7tr9s6XeIHJiHvm8uiDxsnuYPz14MoFu
qh52JH9WXyr50EpBDcxzHno/Js4ChFQodRtNvSo7crl8XQ/U+KmR4kPUssdW2ZMzDkQmwcxPjGAt
JXolv1iw/8xm3mjlsm3AahllF2hMswfmvUWc+xI5clMO/ihsL41ie5E57VLm1bm51wT3FpNZu8ky
Fq+RIIamaPb8Wu40PvXpo1J+ldyVIPIwzIeMJZMVNnN3Sp9a0gJwRPrpfT59Nyh7mqrfTQVo/vmO
sOxtNy+HuFjxTFjPYnErtaSzLPsQRFlp0VARumcmO9BwNHhUF4GCq+KzXVY3bXnP0dCueYpd/iCP
x1jwlOb7wT420psyotDjrXQVrSHpmo05QooVGzwHZOeANFklua2rGx8jiiBbYdnKwtd4WjuZWOg6
YIqCHVra8CARYyJgsZVezzmUUdnaAqekQWS59WzM9wXmFhv5yJJVh9T+rnSELdmHnoAsCvJtlMSE
FhQuurV3oqkGZzfqBokIN2iJjmH3mMm7fszdQdAW3w3yt7Hn2MSmDdigtsq9oV/AemMVycZbIWF8
30WoFcKD3p206Z4JdBMSZ6XyCU644HyVwHpEbbsW/E4rfbbTS0jtxd0Hu7PfZip7wRHviJua27F5
Xcqnen2dIj8XIn2VGHAMRvOKacsL+9JLn5qq9e1sYXtRN0ScCCs6JTOFBA+tI0+EW6puGcleP10y
Y/ZHSDgWpqG5ts4S9TcI180SwzQYqlc72WWD6hMYdezWLNVlo1PDZkEkTw/QzSrzPGTfBusVde2j
IkxPV77WoKR52dBg9WfwGfnEc7psYtIGF5nCJFb95XWCgpAtGzQ0IQVRnOy1nmCbEC5Gy+DHD/XC
n2VoERYbeMZOBMrWucUP7qcLYxrF8iedU5tHdepbd6F0rU1o4mAZOGRW6KfoNriPkRxGZOYcBJup
UW+LTtsNyiNB7rdqZQSTHbNYsm0miEu1HReRzXPDVj9WA42+jESw+6k99T3iE4Ip8rA+Kfl9y6lM
kDhY0ThwrBeK+7Nm0ydpHsPpE5TGudWKvaQzDld1Fz7hl5yQQ9cRtMRQ3gnoSvDDfJOIm8I+H5Sr
iiafQE1A6itCaKlsxFnvGyHl/MNIhGtRGLQX+gDU76bisa5NRtIQYdfPb8/UR3HkKnqJMrvD6R1t
+zJ9ICGP3WQ95LIDqTu+040uCQxBSl6lKbtSqfo06D04/AXfj7yAc+dhTwv2Eb5djU8IdI3DvbxR
1ZrgI7IhOWJy6B3SwHkOv7tyQPDKSIzSQ4fgBKqFnzHnmnNuckyYy1Wk5eWZzuVkhNeAS0iezhJr
max0iBpfzVT4rZrv4hILj3WdnENtCtfWMjfJ+CwYdvRlG+mI8Gn5ZKqxLSBX2ZVBXNVy0qj4pZDJ
p2wQR2ETxlpvhVbjYM83hWyf4/WWorWXNJkeNbT6ib5Dir0BqgO/hKdHrm/0qPIRK1G0V37WP0Gf
8voVnBXypKaoj4BCpdM5Bw3LtPem7i4oUry+EMG0Vq1T+aamzbkX0R6ebAi8BTQtCQpF/x2Cjj+Y
+aEflH1kRhubPFOuiN7UXAFvBS1JCilzHIeLaIw4C/mOZRbfNdIbBrb9hiT4Try207RRp5a4zMYl
l4Kkb06HAlODyu2T78g2ClBWGzbjbkUZLD6seTeSIKGY3wr7vu8AtEccf+ULT7Meesosb/ElMkgi
tUQyffiVfh6+rlSSWCLqcaZUrhZ/rJ6EumxKlG559biUjxQFat1u5MXY6Pka9LkR9VuUW1sSoItF
eolEduh15dikL9GawcSVchwY/99oU5W4TptfyDs9k3mxX7pmm6jjliacoecHRjB+USZ3v9bD/6jz
TAuQ//yYaARO7aOqsbxGcff//7Pm9H9ROBLY4T81Dv6lL32fV8Nn+dd4pF//yO+tafMXFOIwZC0U
RlSNq4ngdxa89guQd32d1aEgx5dJvfkHC978xcaZRbuYf2AGthhj/t6a1o1fdJVhLnQ35l62ov4j
Fjyivx8nonTAVYRPvD7eGFxh6//+py7HwjsYzN5IOJ7k4kkLe/tds4XEBkXqE8dCtO62czTMNmHg
TootU9FgrBuLrkEBT8rxA90YdyTDEdUunnuCj7XSUs+yPhetj5As+mijMo6Rei7SGVLEMO/kPIyg
aGBwULfkwbN2ZiVhHq932KoLot4ObUpIdK9qYGGcVt2WcZY8RnanVEGNoyzejEWD7KwBtvam1ilF
9yDgsLjwhiycmsswVf5STpgyE9MyyXRoKgK/21wToZtNxdj6mRZmlz5qJXyRhtYqu9gMyxGzu8Zb
L1OV3rLRNJ7T2kt+0CpDMO/SigYE0ei8CjA+AN+NFOfuUBHFsodLEpFyY8vzd6G0VKAEvyhvaUW4
ehp246nJp+FkKdX8a7CIwD4/E9pHlRezSwgFa0eAoyLC0glIz9laPUxxV64NgJ6TKLuXNIoUiSay
OUS7xqmtwW+WdHoBCtncaeXUcoHsZa4ecJ36F6PWjSJobUe8FJGhf2MMaTxZ0UTqdOM0l9BMBm5/
kzkWniG0mFMPNRmpMVN61mqHMFUOfRXnf+gsuxqMSod0tPK6yn5yopbmHnd1CQFhqZAFLMluU0sX
C4/8dBV6fgxroKoz9wJH3xEoUzam1+jJvk1FEji6PyeAhfPpjXrsVlZOFVgueFzP9FtXAOvSnRFg
+A7TB9WQPAKkrEDWivcFEaONhNQz6JcjBbkYc8Fou79RyMshRfMy9f2DHDqHWFKe8vYzBXfWrJ2K
5FNvOtiU8kvSl6diTWCkg9xjZMsl2njk7SqDJHujrm3BP7w0Gbb7Mj03RAqB+71l+dHG5dJE7C/V
wUzWUhUwLq2mrOHWPXH9Vzeoj2PXDkHFZ/WJQACxVTXosFZx6mTbJaPnXu7sfYowAr9Epz7gV9Tu
zXypPjAr7LWJR9Aep8mPSZBM3UpTHkLAELSTFEKRZOseTzMjohr9NXc429CDQZmlF6ZNBFw3/Zea
iRvTTq+GbdfH0mhTbxjb8aFFlSasbNOH/SGOBnG2QPzroEGjgRBA5yTUxLf1/mq28ibRFn/RnWdH
eZPnMyHIHnwdRa/RzTwjiguYzzxz3QgKwW/KnVENrwBK6IvCg7PJgkxUoLo0IiX8zg5cpZTEk255
NfWBkWl3r1nAYlPTq9HnwS31JZBteC9y09jYDpnGVnRBvOOxWfq6w7ACBXliE/RJ6vk0wm2S0mO0
tmFLCYqRcbJBgjhkeudyuTM08tp03otOmVt11X0vPcb5h9qHR82CFD2/qCbyTaf5sFIoPckxgZPK
kvWcCeJu9BGbNLcjhkBzJ5Vu0g54rynoIsIG4/vRUR6aqay2se68S0xteOqOA8ncakV8kdGQEitl
tyByYUWI5sFq0FvI4wQ3uNA8y65vCyrc0KTsbcxRo7J8MbvuNOhcMcAp0chNNwW43n1n1v5A+alL
TBQIWGMCUe5MuXFjLix9qnpmOH4a/bymQPaqepsIY/RVbYY3H2XXRCfmHcP0VDS79Zm28zHcEs4G
WXDKMKslRnackDjd0d/3x2b4ZkkVt710uJkJVtSW7Fk1jW01AIEgImBLt3lvLPZ9scze0I4bHKju
slxQhB0cyhPkkAhQeZKHNj/LefKOt97FzdDjvYdn6GpNTkYCm7yzaWi+ZIMwN0vIKm5ftEF5bYqJ
Zl+R3pdjs9Vnx9cL7ba2kotckIsqE8uJ6nTICUq3zlYpCIPMZmuovZrZoUUgM6y+PXyOQGmv9NcW
mg13ozmg6MgOgKGHAXGa0/biHmbczSB9MTJ+nDVxp44HZxSbQViPHeSTmogg+jSl2m2nkXljUo/T
MVpOFnEgQmJfVtLksqTNaUmJMjbmna6zMMd2Mze3cY0HyJTWGNLAyc+5uoP+dxpj2/KwGEBCRHyv
D5GFwRX+aNpZARnxSBbn0XFw8wxC3aRNbfsaAnqX4HlIbam26dXwq50MyG7ZLhktFDvo5t8Kw8x8
ebB3Vt1cOKaZPUBK8rJheNRHBNoxHS0u7dhHgiqjcdSO2ykV26WrT8SVbA1yTzlnl+6SdMapDT9E
Lp+UkRK/rDbdUARZxgmQToHoC7JU1e2S9e9NYpzk2bwqlWBWQz0KqBJIGPvx+6LunaW8WNPFlug0
tleZnu4oH3UblZ7W+gpZt05VMJ42JZ2hzQKEDDCfgH6WtRdo0W6fC9zg8viW1MhwZumdKI2vIlGO
wLHo6dJAn03qui7ZNB0zHWUSG6vYNyN978h8GHU0S/aoRKBtThKjziSrL5g+VoefVjz2wvhmL4L+
hPnR4DBO5e59ESscS6reszlMDmC2XJyXkBBsO2hnfaMRsu2GonqJJTHCR5ev84JycV6ujrIveqZO
csriqnyJ7NWaE2zWpp1G25nN9y0xxZsa6vzK7WWx1Ru1m3YNm7lCEqwPwY7WRnSKHMlHJ+/sIjo+
0uB4hkyCjGTxI2WnaGwUuIL89fOTLHetxKTXMc6LoGEItyENaGcZwqFjp0+70jZYnQzWSc7ezdoL
Mi4bihwG+tG4Iebvy+CEyyCm+VPDNBm9pTGPu2o9VjNmjPYFhbpOg4uN6REDyTHCELPYs3PbhVfS
55+nNNs3jrMhA839FQZJIx5oxREEQ5Aa+NKieNtoySF1ooeU9B3k14NHPbfpdQCgfYyobS7HQKTy
M9FHH4Wo2MfmnRDtue/o+0ssn6rbZ7PNY6wZG+L8vkdEu4FRSW5auz+MdXZlEmw2pCR3/jgrD4aJ
pECEI97KDiSb3RonAsT3msV5UHjmInYSA5dzymcjl6zLnG2vDPI1Ehz5tAAS4jTS71VIwxlvI3C/
Ch9HwZ47vRVo9vOBDzjf5ynsJFhCTfaqpTavUn6rI8LRnfnONhnlz68aysmEfry5DLfANYIUK1OZ
fVuZ9dPCnGNKzo3NTTA+5QQ7Jib+NntnGsQ7Yo5U2eBRdp7yilttQSRlmnLS0VtTbYzgGl4p0kTQ
byhri0Wark5vBAAEaejH9MsgZejVk1mVuEm+LfVznJLg6YqkuCQ0Vq1YdUdT30Rk72YZ2q41rmyR
qjMzMYuWud6p/GTmwY6j2KVEjXaJ2uxTVfbngQ86H9GivIjGuB/x3jwbNedxTNyQjLiEHmaoKlA5
JIJVZhR1kI3bmbJy2NSE75Gvt8zccrlIynnrrYfrpM2bkTcy0bYuaXDg5OXx7Djr5OWRuijAjKTD
KriFRi9uE8Kd/CFZ+yA1PSEomPBwtBv4dU9D80ne8nauLoN8LOouIIEUkAszqFTf5PU7CBC6JicL
iUcVzA55eK3B40XCoEnp8QljYJ8Vl7ZmUNBVx1bOo5cBAnULIjafwfnrMYoMukFCgpav6/eEMoG9
ivZm126VfOw/dQNKRd+RgJh3QWWkZOIslPpRFTEvodbIejQM5ZBYVBQvWqNwHS6vSUprtlG7p2Rs
mj3OYc9RVyEMMTPxLOs+ODU4K512X9LWXXjFrCHdkQ7UhA+q4f3B2Xuz2q0hOS6SnXICVTNa31tT
+LMkPxi0eJ2lBtXRxB0ndw7/0epqry+pnharfWfiisdf+971w3hbko+gNauEQd/MEW1R61O359dG
HLSZ6znTJ2QVeJduZsXYJXNv3JaYvOXlmEjqZ4GMr61wgwmalCFXodKhmpBVFjkrKERgpKL+tORm
1WAH630H1I7bmsumj9UNkNyHZOKHMop9PL2P+bTLU+0mZf5k1c62Je1+EJ8wewIjoQ8UfsDfuXTa
uIm00Utz3UtJ2Yyq8hhZ+cYUDgEW6HWGu9baFcUd7xWZooSaIzaeTE4a8FC3Ku0ytVe8Si1vUsaL
vW3t9AjU9vClJdQX6vwgWvNmiOSTzWZ51ot+i43O70dxhW/oYYdFfaDRfmXS6reKdDub8ZvSE0gl
j5pvCCUjynGAjieY4hBMhD4klO61xaAXbZysyXidsJbuyCHZTU0d7jMzIu5nkS6o67nuyAxd05fc
usPX4uNJ9JQMxCZ+SVc2cvGmYbhqLPtaAjoqsoOSimsYyhZBSvDd3byIykOZC9+OyhsNa0QVw3hV
zHnD//FriRRXmrHCAF004LDGmXwOo6e5bGHIBYkGt6ht0ptokTxtKoKm0UnZjBlsJaqFFrMfX2Ob
/VxlNrdwPSyokiP5LQNruEu1XA6EilFQAptCZfwAUdcjhjiYheJg5qW4wZV/wCGbMut1TqpgDXYJ
YwkDB6VjME4iP+q+mNOwCUyJBWxTr3o6OqWlEDkYBc4N2Zm/W1mLoo0opgO68e6oWr3m5VElfUpk
iQSJIp2yrPlo2nCrqRI+TQzLzkgbzbTj2Sc99phqNBt1XbJnDy1msOCOOUlomBhYl9sBCqU5Dm4/
aUdjkfc6E9ustW+I+XwG47wraInONh21pUE4JEWSpzrtWxENW6tR8YPOkxqMGMnphmujQ9xXsezT
SBvuGi0ll0v1J4RIlkWPnKYts5bZPnUh7WMLiZfK/VQvYXYm9W3dbvu4NoMhrFyn2ptz/7Uk+/X3
6zcLuR6jmzLqYjGJlPwN7jvTU4xTo/W63G6/IR9nCEMKevcVqiCod0zwUuaTjizCDTpG7FBpBr4X
jxKMUFeaekxT/eKsc0ZG59yjIaVe+mrl4OaMQ/gOcDr6DsKm8FwiaRZsGMpEjpXJYpY0uQWrCXDK
K7i3voQh6aE7HPGhvDUrUyEfFzPnZSgmjHuE5SikUjYcRh2Ll0mpotRw55XZuoLPpzTAPYkKWO07
9TVVrMjct50GyHdoNX0VwVcUR5qWKrdcmqiDZ7JUairQJX6hac7fZ0fVEmRm7YjT/1uKiklcJkVc
lSbi0ko14p/Fr/9kvNcsv+np/1HX8z9raf636W3pHP6b1CwUpDQ1/+et/P4/u0+xfEYVXsy/6G/X
P/97j5N8SgXjFPJ3+odrRuX/9TiNX9BdY0O3IL2ZJLHzZ/7ocRq/4EQiMgLtjgVwdNU+/dHjVH+h
BaLCq8P6SLcTQME/kN8ieqWF+WcVlUKwFNhZzPYQNClmfzDxTT3hvqRHpZ4+iJYsyQkXjEs0un2j
yEtOqlRZt9+wukZcTI2I/oYtFph+BbxD+hgTg7lNKjsUJ0B8x7eoG5XHNiYy0w/npTS8qhCcgxMo
NyIPBoPgg8nuSNI01Lyx98QOkPGjDhOUcBzuaEiw/bfibMgT0xmnneUvciHHnD9qhlPQD3nOfDeT
8ieJgJ6Qaa0KxADCjaWT6udoB0vtZMbXsAUQ0enJs4ji7CScHqmektvc5caYKEUaABi9q2Uq9mFe
9/BbDWvkX0SqslOSgasJ3nr5YM/2KG46p7CXLX40cbSHUZNoyeVmEFk9CTR67tzLhaPcJHOY+5Al
+Gu10h7OoHrTczJrOaLUlDgpLvUD5YXZLw2dMFkFpBRmL2EUiWOODobD1GRgR80GtB2Z0ZxUbtWQ
aclmkzZ3Qhq7rzYmgflIcDvt2yaTHNl3ioSELm3MBY6voXW03aJD2ztBO0/Ykg05DJRGRiwRmsTG
E/brJK8jAsnBHTvLuWhxZsRe040GxfKQRwQxtOarJEgycnvQqx/QTKwPSQfJh3MjYwhrkHTphyKx
dlGYMrXU7II0jSEP40dL0gyBDKScLCqbLDsXdtGdW7WVJVe1hynnPh7ylMV2x3GTKop6MnFwv6qi
D2c3KRP1iSMSOVFac+VVcOLvCtMyhMeXT9bRkpW9iRxaTx6HPCV3kXVRP9JGjN4R4TAL78PKsl00
CstzYQPfQ+xWFwg8Zv3Xl5ZpGOUZQR+uIsvGdRlQhROCDSANOn1uTRt4W2p4NM1+bd1VhDoEdmgq
x3Se58iluGWSWqcpErHEjLv7YdF5a42F0lqbnXSfi7lK9/Xc9O9ELI9ny1yy92SSu/MEnQXl3RAp
pwVXEfcvwwzvO6x1JrKPlmzQQbf6NRaRycFBlfpRDczOzGNWWFrcdKUkP7ad1ek8rvX42kaMPjz8
mORw6vCNwJICHLiXmKNwLCaz/ZGkg/RsswNwbPTpxLQ5VK79JMP20mE8omxXWXQbkz/M5MDKuNfQ
O0Jl4oCTDmTQIMthikzlyaBF1bkZPvcH8hDIWBU6AQ6+mEtL8fQijjGizjSFfEMucTJFjRSt0bDM
FaBdO/p3OU+rDKKktFyzzCmfkylXP5ywEJ/lyGkakHXJFzdnt205jrDclfEll9XsThtjbd4OrVwy
CJjimgHhkBGuoSqhfRcOCnLX0FJaUAPGFIEjUGazoFdh0wpIS7ljWq6E5e1ozuRljv9L3pktWYpk
WfZX+gOaEFBQFF7vbNfm2c1eEDNzd2ZQQBm/vhaRVV0RHlWRkt1P3Z2SkiIZkml3hqNn7712vFAV
ZvxN6/YY5TqzfCWdytWGXo0253na1L3VurIYEIfhmERDzVELQehsOlggu6CpvO8cvb03E8Y62QOn
d/ARB6OSW89t6WIoSrzX2Ivn5zZz0MTZUSXLznd5+EMw97rCUuFUnwUa6mecu5gvEnuyh/3k9QAt
TYRXd69baCGXMgqdl7Zv8ORVnZ/CiVRh8lK6/pRuGOZjiZ+w8lnD9Qj1Ix62ZkON2fjFfcKClFo3
Gp+vLfSlFS6rU6V1aPVkwVskewvywWvHCWDE0wF+ZGPmvl42LPbS+iojZydZ+boo+zQqYmjOFtuU
N2XcVl/UEbKpY5zq74lzs8EDL+I/CNXY+ERyF7DIsjjZjvgJd4PFkD7f0B27yF3ahSi0ineDOKeO
AEcnaY0jo7IXB48jBg2OcDqUXNNj3zp1zCsrUJRv1yaJY/FCyRBib4KJ1jtVRFofrSLnvFP6uqCx
j7TUDV+sMtz61Bno+wYWeoazu8MO5aAG/ZyrQaBpx6XMHhe9FMW5nRdy8H5o8T9PuGFhIbMaQ1M8
J8XgMgaewAJYY8/d99y03zleungtxxTjVq6UUQert1C//Hx5qGs+UxIiSa84Z/rTZ19VxasPSqU/
1XWkLiPPwRlapV3/ZZJ0vB0s4zeXEjc/1qnwNrH7ati3VkIkL+2Iiu0iNkT/pOznV/uvo8A1Beig
wMPhRP1K9POqUXIlT+ttaLLujohNcsF9mzStMvFeZLSkFENYXc4ZMI5/XQv/f3MqdFYgw39fpnrV
Tz/KzxrvxZ+iWOv/6R+zIHI39TI+STkwbWuhJxPfP/RuRkGCWB6hVK7UyqbQ6H/NgtImpeXBgoD/
DJQKLNV/zoLhbyQ8+VshQXkSXP/iLCh/MXHDgeI5yN+1c0Ap3An/LHdTnZnEbh97JMCN4fYxzXvD
CZsTWdF+NRr5c9LQNJOsdO5njNBb2cCEzOysxOlUoq3lC8sQBgSiTpS1MBejigo6MrvFHBcaHFjs
x2QtYvORlv6HVtFL3XpvzGFseVwFUD/9ieH/CWDOuPGToto4ydrAhMNma6orQ23SWc3xA4Ui3701
fNB5urmAYQP2LkkUl6EJio8orMsqnJHTkuizmcLxzTgUmk9Lkj5OY8oxOIZEssS2ujYOQrnvzxV4
XxvZpiSjC8Q653VSBMWiYDkEMUCdpC69WzvCJBcRXLkK27HbUrWeYTKGTeTOz0EVvcflYM65yO/B
FBfkaHiWW7jxzXFtbDz3Ftt0mmQZnXvnnUz0PauB6Uh965dKpuIcmgIXT1dzNIxQ97jGR7EbHKq6
/JTp6B5TE3bbqo2bQybCaDOuKyWKO8yWD4e9lybutNQxaZ5S2ryk4GM0uBEHrPFkIRJzJrIZX3Ym
eNcdZgJW4uKztikVZZ5T8uSBiboEfQmc1K7xTI5gXuxV7rXK+bpA/9tqAag0c0W+dSysnXOxXJQB
nRRp5xyKpm1uOEg7ZHvJOGH3o41AVA+JN1GivYTdTldYQUUqrotVg+X+RFdUmtDiwdS/lbp9YfWm
NlSEBPyHYTsdNs9uNiNdrutbu2ef1ddP9hAFKxUVQ1gyvGgwvQdO7tdy7ChD0FN/IyJWWq1B3eWd
1psimdfd+nxKmbRxIyFeJc7wasY62HmieSTQG2GUG66NxwaxriqSXi1WtFTPB12xfl6fAW7oj0hH
WMecK9kwiGUO90HKX24WfFO7LhKf9hz7+77JePd0fdCe/db7zGO5oEWqBLTNleCyMHgisZJyXwid
z3bAfVdUyy3IiGds0occDBKiAVnETr4WjUVPXuRPh1myqTGD6ED1TS225UrsS7dvn0ZtnwI3USgA
3vd4lAUxrvEVyhI7wtq2LhKMXLjrcS+Hbf/WuvGTTqboUcIhO6U0ke3dhDACLpbd7Aks68GJIyxA
ikj7F3WjYPnxKp1DWpsKJc9rN52e6KKtHJxjafvWKY6GI2WDlGqp6JT1MxXAZoDw2E+nwbgXdhYE
p3B2j5oe3ePA9+vVNu0nMKx851R1v6vXDyFO2G36Fg5j8Bbvdh9/BUPzPLjsKSc/nncBMva24zmR
LVvCI1tiGi4Uz7MYihsdTskWp83CcZ3Ede+EF4PQy9WUxPrcVWINnPghTbRwsF2o1ZvaSd+5JpB5
D/hck4lVv+Pnry3W3APNyg4DxPhIGv4tTce9YWzYBWJwj5a78t/WcBPeguKCa6M4el2ttrUEE4ip
OaHzyPGDQ2CZG7m21HNw35oliDdBpbHLpz2SnS4wOHDS513LvYdZdfJJVVWAIQ5rYs+WaMBLGhI3
dGZ87AZPiGCWsfx0zwSH4z/vWLsP6b0t3EsGOa4qVkrG6sODJvHQxGvPLeYSi0KAHdGPmH24TQgA
JGQYz5/IRJiVzbIKSlH0HdoE/iAa4ptUPYdh1jO9c/4VMTCptF+e+0p9DlF5VQwIj03NUaXOyPlF
hNOLMcx31UibaU6Ms2zAl8R8yoVCDeqKLDpEGb/Ols6p2urny0xZEo8vZCvD1haQApuyKFU/8paW
JLvAKBK4w/Ukpu/1jJEwSwER0tdz4cap2qtoDP43ZpP/H316+NfWgvT/fna5qWEU/o/rj68f3+tf
DHv//v/9xwgj3N+AHthMKoHiJsUP6D9GGGH/ts4O0IfZWlH1uCI9/mOdJXDzYXZZV1osXfH0/ecI
Y/8W8A9BcYg1S46Z71/YZsEE/mWbBeY+BOXC8EsnL9CkXxAmaPONSAxHfkvVWAPsOXGusln8SDWI
lRmnGCoAKuF2kcG70+lvSWJd+P7of3A4WM/D7XcZl5jkgv4O8B4W/M6XNaK22swSe1wfvrm0uR7K
HHZ/5NzT1cfFvbkDXfpN4yy7BYGc/JQQ0Ej3Nhc5Z+SU9i976m7q4qdLupPi046SADtMH41R9e2S
nO38opvz8jFPJDmlMsNpTwejxUk09Ob8oW7afUIOOQ/KY+1nt/FkdqGzomGmWhzmwFqukzkNr1Pg
49wvMbcnYAvJ0j0XdfvSlMs1DXnXzpjEx2WmfBajUIYKW6Zq3vR15e65FiGL17V/K2UirlU8H+0q
vygB2kJgvOjb4hnGMOqUR8Y89b5cwxsYtdzC4Xplt13d/AhDvFMllpMhIsvrrBaLpr8qVf09oVKw
CayTpsgT61P5qgZ7z7kE8xAJrpV5rzdj5T26DhajHlVpLlvrAKnotW1YJMTLU5PrH/jwhiurqJ7y
Wr0tIKgotowPbia+V8yOmQPnepqt+yqNLusqRHlu43lT6QJzY1mEN1zu6IcG4XnoNaRV/SNqiTqs
QaT2kBpFbZZj2bsmIrW+dM01VzS2hWXyBLVgNV50VJL3kgU+ZYxyEtV3tda6A5JXD4konpL2ocCL
vYFlyUY0babHdMLwUtBFp4T7YRijCi87TDXW/QxL4a4k7nEIM1R6l6XORtLHCaewvelaYW6VR5f1
MJvhmJaDsyfkA89Xx8y15L2SltVjkuU43Y3aBusOQCtOwSlxNtw6tGmCMSH9H9KCIWwrwG+POm43
PSrtmJAw5hvtWmAR9ajupMUyNib6YgVQhUyzNrz53t4RCzqLa1PnEZTEJ6hzZPgoP1NiRKOzdKcc
N1mUBjdqXm77wGIRI4bj3LC4jPvoNGZUXPgTW4SU7qq2xJfVc+u0Rf1ZK+53nhn0pl0qFPiyjXhZ
Q+S/wfJ9U4mFzqTCGOUGxaIHR3Of1Oo+67pXVPFyEzlrpqq/nCOcr0O7a23arT2VPbFbn/l9FM1n
NsI/UPWCn0Fa3hsBzIz/6u2nxnokeTogE1s9mmyYGwz5gk/Asso7Wd/SBfdWI8JFIe2M1SFbXnuC
LyHxAzZWF07WC/Y4KrmRyXJPe958igInus3ak2fzWwp7+ANVurfDtqQasf5hYfZEuLdmkCd6C0Pv
nVv/1uaX60iL6GD6Joe11TAm28iH0hIMwEEYShe0oGi2mTfNJ1/N+iRZTN+5pVRH2vLiXdk1xRGr
2GNRMXCG9mZKuBNPvs3cqn56C0VV5MZv8mzBjhepG5ow2f7WN0HOoa4s+NN+3O68MT5MWXiOhquU
feLJzhCcs7J0HlhPgwPNLPCUtZdfdfmIE0DyEwO5yaRC6tUbPA4V/VdD42jvWflBt/Loh/A1AFqy
pCxJgVVCfwEHdHdB3xkOFD+GNj2z4bhLeBqnfK5r6lA/QpNU+7REzxaDfYvTeec51iWC99bgoAvD
fiNrFt+blanmIp5a4fTuNJBxEEon1uyBOTUaCwxAsX4D9izfet34GmTLVTY25aZf83Lzos4UD35j
/CNBiS62ZPMDtdd8rLl18iuQO/zT9LKq8Vr7E3IgpbyER8gws8DpZDPurFAt73ZunY2r3ueyvKT5
J72h6SHbK1mO+9TMb06qdtJMV3FhsXf3pi9wR5Bb60OM7hB4y7WVcAqg9FNt21qeYtPdpT3tgm7H
hV73A+5cdvLU12ofGK7DCkw38ppKTFzh8PWUC3ZkOcGiZnnYfQRNcDTN8DQ5q1dyerXg0O5tmIek
dq+ztMG7QkomJby6JFZ4Hauxvym8yjpbgdktaYYxd6iAiTaI4LKqqi+aK9FERqKRbYn7jO7NLcbV
e9ZppIqpmuBd/+kMrrmMGuI7tRJfHC44N8cvYzxn166dT+9pg53Sz/xXKoadTT1Fd/7wZMnYO7NR
b9aTXXpmjocHUDTmjgTTIytk/2CnYbybw7i6gFXLp5h0zI0x4SSPWyGY4Vuv7flrn4U0/Y7E95sK
gSEo9VZBhjmyAvAPwbI3xsY8Jjq2W3Z6kzr6zrG6y7T2f8aaKLTtDw6nLu+MDYUoaINokmeDx15y
+NIp8m+qaWew7OQ5VsY5Nr7/RS9lewjl7D1iHG/uY6iim54kj2aEDWJCz423cyNtPRcmJSBaOdae
bl7JYUOl+3b9poVeol8cZPzrjlTVnbRJDVBv3tywy20fpiSzbuIylRc1m+77eAwSpGtTXBmWEXdN
EVXJZWLFtMeFRn1LnCn5XTzyrpyOnUSZzMmrZsl0ETZ62TbL4n6GXRRdUZHcMlLk1PTNE99W0CFO
izqiVNW/oljXH21jeeeGZf++AbNy7hIoxJPM84dgIPUYs0CH9Ijz8tSJrHjIl0jgZ6R4uRiCXUaM
cospQ5761OhDmNqUnLoA635igQ85pWcV9fJR/uF72UoN6eQZT113azCBX5Lw/qCQ2XzPQ2i+U1Y2
FM92PWlVPnOyZ+fMZ2vQgNm+t+Ml2Y92ia1qAm656QLPuWhmo3aZaejdkqKrru0x0Zdu3nZ7Tzb2
LVolUVZ+1VzX29bcSUgz13YHXb0qioPsPyS9nNQIcXOqSlPsIczdwt+ABJMFMt+3jd+kmFlaHFhT
aJ07TSJz6kl/OUuyCla+N1I8qpuNleM6CJc0PlsxyEaOLIj1NXH+ehOlst6j8fvfOOZMt0nefBC0
w9Uym/FzlGwDmB2BF8WzZPFbkf/eFT6sBD/Ty1moqHlIe0Y6M+byLcdAXXM4EqQX6Ig/xkmdwqIE
FlHVN5HKL6OgO7gRiCEuzt3H4Ez2sTflVzHbhOv9HQTvSzW32xAKzEVlBvNMsOCm4C2WwfielcWl
NZNKRQoiRzZmt31fYruh/JaRDACilr+/sQYl2D5GAinEtPZVnSj6xBNx1oao7Njmv9vN1WTqe1XX
/aUuSCEX3UPPWspF7N2jTREG5i6xJP14BILy3Z8cse0nVTzP0fDSRUuPmc/9PexR7vsyOblVFR/q
OrysSc9ybBb1LYXV13UZnALfe6ZcuQ+ZrRpWeeM+H/z7MLkcBT9CXEcVdklv01WVfQORbV0a6EMZ
THcNMQe7vXbqnDl0hKuf8kNO8ZZuO9eqnyUhh7hG1BLzRc9WUdvqQKlZeoys9IG2HTYdfoxEONrn
Mo1eFjqWd0obC8S0X57VhDI59HV4P8VUxPsiOkIwoLg3eXH9trlSROZZTzqs9/pq/sah4hs36UtK
mKddb+RJBD+Bfoe3SuTxxVSTvx/5335YFQH+qeIukZLIaad51/rmKwZtfe7DpymPr+qRHJ7rs+GZ
AG3QerRxiW4naH01r3yVnOH6da/AgsidMwsWHY7yMLwT01JRncLAXpN3CcYz6saIYz9Kf4Sjh7oW
ZtcoI9xczAvIf+vKDfLrSlI2348R+YX4WnbPbhfg1EmHa+AvV7O3nN2F9O9S40gRRf4YSitBeTjP
DacMSs9x+IXngmgGIQAzO8OPAs3TQSx8z9smPXq465zC2jCNkasI+Br1htB92wLEzEvIUpOszt7A
7M29y2If0fAj3mu/Qz9pJ24M/Alrwprb+uxEKv+mQ0DFlHDbETnZoGVf26E5xBJHQJ5mLu7qBvzp
vy57/F9nc1kRiv/9UuA5bz/S6scf1QxIMv+hZnj2b7QnBCvPBklDBisc/B9qhhC/OS7MOdDQNoqC
Y2M6+fdVgFxXAStf3/69d+FPaob3m0vBz6pykLejgSL8V3YBK3DmD74WoMkCEwFmatulDZ6k4J+1
jDJhHyt6jOtZLsJzrDIPokj3zxjY/+WjeIrXs7LBHfmLYkIhX1CmGtKAFaXUWNpZbk6TKefPP7zt
+MtnPJt/ZFj9IubxYiDwAapaW37g7Py61jCy1CD01j0j8i+6ho3VtIytU9iq9Kz6qnu20Cou65yT
yj++1sRS4x/1f/HQf0HWro8drA11wkZWDX7tFyqjpitscp67OqaZ+7NoKEdJ8SMHLDcsOpYYv2YA
1cdMkCbfoVXFL+gtzltFw0a0S8oOg7jVuyTNY0sJdoatXVc3jnRZd/yT5/rXT2PdTFHQR25U8skj
ov0xrknUgoVlbw87J3HNQxekWYTz0TTT/u8/DhS3X75bEg8AXWV84thMf6XiZx0OgNFfIPgUuek2
iSsmeYtvsBmvAwocGVkZ6pfsW8K4gfng7x/8Ly8yoBmUUiVn/Tcb4V+5TsZkDu7KgG01eeolmdWl
2zCt/v2jrG/Vn34+AMKgMPOxO/wmaWL581vZuBhTYwZ/onpZ9zb4wYp5cPULt4Fvf/9Iv4qOXDiU
4ohO2anrEg7+5UOTc6gxVdvOLm0YczeVT9tIM0Rqh5XduixyyRn57x/xv3gHAbezpYQQK6jAWT/e
r4+HtIo7yJn/M+17kmI+7Bnm+4Bs6zBuJ59+9b9/lL98SbggUgymaDgIFMV662/6D48iK+m1Xsaj
uLaOHjIfz3WhUpsy1tS9EHbz4tZzcfd/9pi/XvTSyuNezGOKAGWL5pRl5+AO1iQ6Xk1AmIssi/on
1N2/vk4uSbzWELCvTZfOL/BYorOt6TI4HSKwovOQLebOcZfpnFs18ViZjTmbJMoTon/yI/zr94bC
QF/aXJr4grJd/vP7G1ejFWSNEbtmaoqHQbbJR7FEzEymxLMx+GX+T8htf/lJcAXkX1g40cWEkOLP
D0hPWtQVa48IR0B964S60bveLjN/1wSZdfH3n6RDhwV/7w8/QeGxyOb3DUidjbqUf6m5Xx09qgGo
1fkUXh/7bsmqs86QcV4z0xbJMeZFRoe4XER15Ozok0PDdFlsCrb2J+m0jfMxFZONHhzT4dFyqKEl
94xgN5NqblHNt3DF8CZOkyaG2RZEd/ZOKyN/Xw11NWAonxxWIqqD+dT3igmZRc6o8D/1+GzKluPw
bYvj27ucB+VU53EhIvAaLJNqdiYuth2IrrAAKUyDqRNx36picClZEk7m02NPSqFlgP/6aqQbxYdj
g0uTU2BkfTnsIWBnpJb+VlcYZS+oIiYsE8pEqY0c+gF0C1W51Ta2a+hPVLXwbR/akJ0pTjxyGQRj
yHhg7cyvMaeS2KbWNoarQ5Xm3dhghSYVgivxzsoxmx0aofQ3CjYtNuNLxr5+4ngPClJZQLAoDgwo
NW/t5BZSgOOe/NjuXrACsOINnHg1kqpKz/EXV0dv8vZaxAIQYRR1DW+tHkUOtaOFN/1s7AlYiq5Z
Sm2EWYtTahMJAZowoBOb8dm8zADv42NY5AJKUo2YTERRFe3lAqbgJMhxW9DRVBQw23vRfcgxzD7a
uO3eo0AZYHc1DFP/0h7HVrUbr5gC53HkduHcewTmumM5zyVBxsYzeqR7oCazY7EKHU/TEi7ikEzD
gKKfTLAUmcQH8QQCBa9uvcR4obhNxCPl9YbUk+tkEAxZWPj5nXC6arkYUMbLrWOjaV9QduBlBEhi
BXEpq5zXLLMCTE6cay+7js+d7d1iEXKMODw/IYkTuY2ziCV1oYfmJYhaYRPvNSl+E8IL+Y3UGYp8
IIi3RSj1fBOSpCDCa7T/2Lbr2j5y86a+5LrOsFFqJE/SBp0gBtdW8qOtOgamJggI/uTa1cE3ApTe
D3YsmEFKHPXOgcoJRH1R2r/vP6fmBQ3behKimfKDS4JpBIYSAfiZSavhAI6zhTNWnI/Zdv3a/OSb
X0N3qfVgsdSLopcc7JNGw+5b7Cs4+PRu0bjmdhgR0nO9yJFI2GD0fdU7cbW3ehDf9ByAyeBnFfbu
UVV1/FoXAMvXdiYyJHEn3DVDPjefFDU44U0KoQ7DiPBntZ0CVpoEVgZKqBeAlzSRjJHznV03qHdP
syTk6+W6YGSKyHzJUuCKDFTBzajzEGc3vYV/dVeOLplYPrscw0SChfPQuZWlD7Mb4PzBPL70t5rB
CoRqUmhvb2PZ0E+lBfL1gZtglh56gKX9lvtbczNHIcc2JzUlFODR/mYNTXaLcCe9Y59OsuAD7/L0
ooWsO7HstUTwLFzXPvPTtd+wCM8AfrUlHqsuXsL3XMwBQUSaRjhW5oHThu+AMMrkzsXvDORucKhf
QVyzc0zkGx3Jhjjm4JWYLeyxfXW8su3uXCzbbAULp38c3FgmF3bdCmq6ehMlcw4jmZsyns1CxBeu
KOxpi+c4ya40qLD80Iq5E2ATUtU9jKoWBFgDAwnkVC7kPomvp3n7PctzZ3qClZhVp3VFUuxHr/OC
H7G/UAxTMJtmyDhRYm961G6oH+O4WPg1UjXc1TJ3rua29IrD5Fds4QBnlcclVfZ7ishCSyNeBZ6z
7PL7wBpFC99Z5w8M0fZLsniG/FLAAjJEm6IueCyac+A79hsL+emH3xfzz4opwD3Ktklu9RSk+q60
SxQTq9LvsnbHe0FhWrf2GwXPNnuJF7s1bHIhwKF+hVwXMSOo4CEDyvddh/XyrRvdumF9J1S210Z2
gB+iqTmiTNKQhNGBwFVrryTC2I2zE0GntDy5rFVurEq5Ozo6xbINumyE7DOvnEeRJ6yAKbcHGmZN
Al4pzQr6Kgdi+aTymCvW0HBlBOS4eCDAkpEgj5Tly0h9PIYQRY3a0ZRCQR+rJV50WQz9Dxp58AaJ
sLVeaLkTdxUuThfJoC9iqHSu+DHlmawOoqldc0YoHk4BdL2YhFHNrz0yQXGiFThqL7re+B9jHlCj
IpKp/9Y5hYB064GA3ulsnm56fPL3RQeSe2Us40WPpZ9Y4EeBJO1LO0pJIFSFqFfccv2jLGT24VIC
yHonpFxx11DK1+0KCEWwFRfR2nTB9MC3aysL7l0Hh9XTaGNCBsPoDh/rR/sFahQ2njQjXC3X4pVu
HD8dU+CCeX89KnsKSEcBiCwH+qj3ddbFd7ZXcvPJqjn5Nkte/y7AIVTtuQvbCZpM24hdkrdkDeOo
yu/I0zftznT4qU5DCXuF1ZDXcAdXes7oJUytT1rkRjY2SBCwpxLCFft8dqt3wzYzvJmnAp4YJaFT
haVvgLaLplxcV2PvrBWJgd5XNum0kyJt8yMpfE2y01JdvHUrqb98yjC7Q95nFtIz7+jPDAyrRaxk
BsrGT8TjE3XbYS99E0fHqaj5e1rM60ZLTsdGhYtP7cCcSEQpv3gVU5Z2hyoK5QDijOow8FpVStGk
YWRGcXdkcnDkuJa/OGOEbBjW6d3UapfK07R2PrrYLlrSAykgGfbl/rgRixV8FNSefathmAggtrWg
2tmb3OdldNBiU4pnMBqavv6wIHvDgaO9ImdJJQZIN+kEkcpvu+k9ECB/Dm2Ytg+kJJdkx9lF99sg
D+vxWEFYsbdaa1av2CuKaU8Xq32wOkGcml9Ic/Y7t5z3LSWeIDAYeT5TLooPATdnSha9CDDKEIx+
d2irnFW7YfoyuJsCLptOQtIB5n6r3EPn4fq+wKms4JFhUXojj9mhR/YLaAJiBxkcuGgOWQ8uQ8cN
XPcUT6pcdKcpN+3TTDjavoiqog+2EHfsaUe5jrZvxrjBXZ/qnE81NyZ5UMyl1g5Mv8ZlKdqZfX2f
gnZsqYo7kCQePrNgIIMbo2AhyiApUUJoQomUn/pseL1kCakiKnsC6m2bxzcZbS+sP50eqnlHb5e7
WTwNfLjCsbg+cAKyNqqmtyLxfOLGZZkMp9FX5iFC1TFnjCSSO9DoJS96cBnKgglw0sZCv7xtNJ3k
R5vtr39SbpkBv8waBuDU6dLXcYmGj1aMWbAH9hOonUfo+WdUZrjVOjcC6jRwmf45yCoEaNOHZ3vU
mNSnDrfjgGb2YkRMiwCdIXyfk6UkHhp20t7W4doSFde+r7deP7cvY1NhNJ9Urz+nOqkfqxTERdfq
BQm91fqkasOLbnUqfRiRAU4ENcZhhrGP+PdSejm35NyvSDEPWbdtXA2qvSmd5rXLBy02crKrM6WM
iOZJ7xB1tAatXqwk1wPhlpiQKQ104bgX5cAz4rTHbCpZb8A57USj917LZopf2tocoip/7OGjB+pS
sHwH0uI77vWSW7Lesd9qkf8mB/YpCB8FlpYxDl+lsbsRV+egw/MczQN6Y+T7j5WavPyoHVldU2a8
fGuZ8LI9OV3GRLsLGehEmnn21l2a8UKhJb9Gc4TcX9ZlecPHCeZhyAJo+AIQwD3x9fk9WaqWTfRQ
lI+GEqVHIebqmTsQmBF3NNGPIZ2ozYyJUdM1MFEh2QR5a/Fdm4ObIDJ0oIXtFL+ES7NSQZsCzYsR
e/oakrK68dxpPXPwwUK/WdKu2w+0TTIAx5PsmRXpyONoalcXOsByAjGkBgGsfcuFDKEm8Wp5vSQ8
IVt8P+6S8eYPWQ3LM6P8EkSXMfcLV8iWr8RQZ4eQprnH2eu5iRQTZuMZF2dDGrjXP4my9vQgxlPz
CREWrpGfuO3tmEUcCSBolKSkugX0sDGhfnREqQ8KHCFZ6n6x/H06dW67S2Jjp9t08se3OJYaRlCF
IG2NXNt3cG+Ab4Pj4uKsafHEogvGBKaoF5fnyBUr7J9L0fOgs+STQilNxp2QzG0FmiO55BJZvnUz
lLSjGafgsQBAgU1lqvt305JO3FgxZuexm2S58whTvAR8EfILel7L19Amf4eRMHM4AfRSXbFWWOnG
gUmfHX47hJMx+tQbx8rCnhRLxYV9sgi8bUDEwFaMBr6TDGCe9xOcb4UxxWnjs0kCJ0Vxb2uzJci0
cgw69OBNMw5cUG1iR/Q2wUflbDyQ+zotDrkxlDycGDCtkIIGi7PsZlBpCQVj8gqOQWoqbajutjp6
BRfdbd1RYrcdec7JsY0tcNG4JdwnKoe4OssxkG8MLh7mT5npWwJboH2gRxgXx2hWoagwClw2g7a5
XXURTPR0dLrovteFXW5Hvx/fBhhcTzmnpYJLa1bBh3T85oa9YMgVprUZPlotSkaqqabttOeMSjw6
7hqws2bpKR2I6+Y9FRNYk9gKEZ2S0vTzfshGeohlH5RPTqy9J7u3yZgHJnAf8XJAa3aygTNUEzA1
cjzvQojEc59+kCuDVOLBRPool5DzWVAGXNN7yVcdrlhosNLRffzTn2TywMmrTw7REOfvjUyHH1r0
U3WYyAu1LCXaFWXbQcRg/+jhMWJOho86Gtv/6Wc2HIxqdr2ZjeFCz2tNza7aRZxa0YrFLMrD+kp/
YANam66ypIA5D87tHGH330PeG8nSc8AgeOnN2Y/UwsNOewEz8KbEBjXDqPFyf6s6hvuNGOfiakWt
fOv7wr2KOwz+29LWnDiTwBcfwimtq6GdDFx2O7U2Co83LliIoQ8Nxa3AdbSdZIdBOJm9y6XEIBSs
usDBNzTZMh+gnzHtzxxmLZ/nkdUxaTG75Qex8R2F34rg2qMlK+u5V0XzEUXFwq3dTeMnCqw4zmRR
3Y9bC1PV48QUhQCGBh5dl1URusdwCPk7TAesLWZOJd9F5yXftLT1c6QEaTNTpJE5xTk8xI3pFsDg
HKBAsFBit5gLTqnMly02N15Hzthx1KMpn3I+aPx3pZSnPK695jx4YVIj8cUGvEkMepog7yWqhASO
PNvpeOKSuowkJ22b/jGh3YfRzwkDprjkYBtVsnnI87FknsfXzUVFlhmT9LJQkKvIVwH3pQRLnKw8
b++raAkBhQm+BEzqXIjJudUpDkprkMBoZacpeLDEW2iMgImrLaZHLsw+tuy+Z7+kWaJc9eVcW8dI
qX7Z9V6C6gnpF1RX2SoPmxsF88FHhdAFEGMpZwxXY+29Dv/G3pksx22s2/pd7vjAgQSQCeS0eha7
EhuR1AQhUhL6LtHj6e8H++zYshzXjj09504cdlhUFauAROb61/qWqSrsKXoM+u0obFKhI7ZxOHuB
bLBliQV/ge6meEceVV8lc4fN3pQzKG4f1OHnzgcRtMEIJ772bFApHaQzMsYmx7V5LkUmotNA/TGc
wYHROR6IGatYMlN67GQw0a6LcTb8CckRlZSR/TpiDZNbWDmDeyVJczT70rXirw3EKoxcGavetWl1
ZZ1MtfpIKq24sDxG1lBj5jrgziBDK09uuPDR9rMG0kW2Ec4UR8L2NrFFXFyNusVo3/bULAEy6GoM
3XU84zNpmnE5mKSr9N4DRe/sCu1Gu4ivbzikHsinnWq5Vva2h4zwaqNWAXYjeFpuIcd2wWYqZK22
LsdIEGuNgDJDCpnukiZleGPq0IHaUIzTM3cwLFi3RTSJq16mJ8MZSh3IRBMLNLIG9mukmr5nonJf
OW0Ak6wkeU+vU/Ls0PQmeO5F6lV6s/9iMNd/RIWnKXzyqALc2NMovyMf5+xHvCihQZ3tynzwR6f/
NvoTAB526s2bLpW4D7o6oo81iYJnHluVv/EyrtPjMAzVJ4YcxIoC49XPnVtgp6etXF9yv8xeETbC
DLJJ3LGTblqsL61o4UKRIubBb02BqVbKhIFkWSdg4gKOFx9LWKPJwIcBwFXjqNziM5nljpR7RB9N
EHnvbmqHjxCigMsXfmjLWwLBVX6gymD+QjLJzreiy5GbLDO444loeJ5c2gSxcGeWGAyV67e+c0q6
BtMfdVjzrhvdmnQg1fWYeNAsywuGUO6IHsjEj7Jq++HkKpdtxBRR4QbiM07ibWovA/XlWVo9zw3D
HJBQ3fRUm86Ltz3ecOxmklPoacBrQB/SiK9xN00pOO+pZTn3SAiwKgyMGBD+aBbfKAiCbIGQP296
L7dyHttxHe4ia4pwMvhJ8skopPON10cLVGyB6yimS74/DNyE88HCijOQ4lLBC/n8CXSJsz7T+yoa
eOEqndnEt4W6n5cg8E65h/TBRRRHL9pC3dn2c0WxPKIemlub+N43hg2GWk5WAwJBpvbMrqxygiJN
DGDaaaEFwQwVOFcryueDE0vz8BoUJRRme5YlG3Ab7Qm/tAwFUPKyB10QNvVL1VTVdy+0xWNaBl24
V3088mWiX217p22eWTGHO2fwZcdRPi/BabFA/3DzNnt3ZhdrL6YeCxoU4Bl3782DeA1lNKXbvjd0
ABH+6m9lE0A+TzLdqP2YrdqJVUloPbSQO4TibC8MryQaMHIXIAIgWHNWU0tkudGr65bNRedWQfDI
HcNPM20QMwmqKb3oKYUxrnEXnSI3G/TBE0NxZ2VgbQ8prbd6bVMNnunmnrmLAYgH2xb5qt3YXe4E
hwrKQww9SizsaHw6og8cq8IbjOvA9mSEQfKcFpQQEiapGsrCnPiHrSMnP5QOVsrNpPP6iaJSyZeW
SutL2Elo7gsfAukrtD/I1mMOO9atNGa6JQ0+Ro1rltxPRAxJWXO4qweRPSdDZah6otScKOE0FD7W
U8t/HiZaF3n2F950yF2RfTBtRkWCtwL/xphcLlDoM7lwxTjlFzA5LnukxHab96H2IJp3jY/SzEqp
o0s1SJpcsOqM313Zd99EQ0sEztnY9GdaxTkstNZo6UMV5+KefMQAwVCMOM5lX1Fm1DRactJBtrg1
rBMW62I/n3wPh9UNVtz2xRaORTcK25Urd+wxOBOm8z7WEmA6epsQ4dZSQfmS2kkQ7kJ7Du4xHsmH
Gannw0YLQ1CafOs9biuOSh7uxQA3L17WjRR+DXOCueiOWUB0B/Sdk5dsXefEVDuvz06jyE3PfUOT
S037GBvzoiYJsJD4cXqruLEsAp7brndlhdlKpO/4Guh0bpMK6FNMAJ3IHUBFf0MPL5H8MXVZZme2
iHQxd3B9NhzcAraAgai6UwVY5WypvPmWSjtOWEcZHrBqUr9GnIBv6UBWQpa4/UoDH9eEIrmeEdCc
HaSo5E0EDRcLR7ax2haq5S72w7a796Qzf5mUh1sKTyS3L1vRhGD8YLXNkaIm4BXCns1TXDved6ek
hHmX1i0+usYlr2XTkGl4EFQgCSByiAc3BmoHiGQhUGHNMYZaN+Ky2LosHMN+YJ6J3ZuTdnrFmE3e
j243tJxV3QG5Y0Ra3CsTIBG4aDbOnr0DJAxgcm7AW4nHaGuDLHoaiwLqmBOi3GOQBbZ2Db4+kTti
95G46tpAksSs7YtYr222WDxwd01XCzTZ3EV5jpgKj8yGankz0l/EzKiUwLhcCzfkHpMJVTFjNnNH
56ZyoNtaFK6wHbDC4BjHzCkPuicHBloNHP2+bnO0cU0lDsOsoKJxPoT+VN8oblm2kQ6Px9sMYRQO
EvLbsivUUL4VgbLIk+qMVqCQ0+Yn9iMUnrHdZPflz0P+nDecC/bpLGGY8Zaw1ArulOrYLoufX0an
IZ8XFFiPttiBFxuSW40CEuZoOwdngQ2BgrVGJtLIpCGdV3Rrb9YbBce1hfsIh9jSM/UY0by2/JT+
ofWsMFX7Fk2MpjI+Ybr1qE6+U+EaTOBY4ff3Wb0AvYP5cgY3P5bMQMxu0OFw3We16q+62LHuEU+A
UyfxmoM1tksPhG6S+Lu3GIDfCTPBHMofB+tDG7ek8WyCvlTrVGlKdMSY+Yn7FmwJtmEeyv3CqnCo
fTu8T3LXu7Mrt3ofmAYs2wnRxgfokdWc7MIpY+i7sBXa4hxU1U4Ckgs3ecNQ6kBMmxiCgFzxIPNQ
m6Nu4mxdxdPK3fiRy9EV87R9YjcMkJdzMjLOQIDROrMN9gW8/cSOn2wU7e4joT0yONQuDRU7qwgD
4icrlCa7B6GhzJHNPip9hexZXI+xzfiT5BdASyyolbepZ45lNMlobsym9l54ZnY0dNYNz9syUXZ7
YJyfpye3ynuQlbLv7wS0cPMQZ2x4sdgqhLUo8odXPAHIyBATh351GwZi3tAplVAswFPaOxBy8QMK
ZHr3wHZ/opvKzgmUQvnoHrAtJV/aKsHlueTotZumaUdW84Tdai918Vjg2L3F8zJHFDV4NXQUTfjo
0DIWiA+FKBVFA8CB+s08NZzdXbn0hKc4wnXbNtV5yGLk4KEU+TAAQ42LUB0mdyneLN9v7V3VO5Ap
h2VQb6Ye+pzRQUJ5xuBUCBPE6DtzxSvnbxru9vXQtIgRdWanPzQFPa9TgrEOinvef2jZ1+Ybpxjc
WIeYmg/vrWK1KkCwOyjIsI+7osj3udI8IqA4WdFO5RSUbHVamfmMOFbRc6l6JogUPJB7URpLwYbW
S1YIWCpcIMZNguFHA+eFxa01KK9uVkbhE7OIuONMNZqvowdkcWPFfhNtnDRU3pGQGSwzzpqBtW10
uJClwFVwiqw+EkjJOgkIquBe2sNE8h7LgKYtghpWv7r/cdhLO80/YxVuSwjOumqvMdH67l4vgvqx
hgfE8jgnwp2OXkyH9CZtbFrzLELCM6K9gmlZGYaRJL1kFCPeQhDYGYs/dMjy3rWuakhHl4DNXrH3
rVas5URxGsoTuszQwM2N2GJ9xXDfL5/rCOY+DTNxDZ2YQz0fFKHomuN7GIAXbVJg3ja+0mTVqXNM
5dpgm+VZUyCFmRZQPvdtX3V4wxSPFVlW1gJteoT5gqShxvM49hM2iyLTh7DmYcagyIM+12SKQ8PU
xSvCG99zRaR3XPor/lEyUA7yyTfAsxBF+OBmAce1jb1qXaaHZTnzcYGezUXUcaKpmJpvGeME3Ho4
Zb91PKYerWW18JaWOw9bEU+1t81nT1554QiL2SK0h8BYUt68E4i91OKRspRMtEU3U86Fkr8tqokh
qixNMF5bElzfdtRdvRDNTkgUUV3t3C5z52z81M/FoWxgD2xVVjT66KSFTV6r6eHHJjGeeM6RKfp7
b5zk6NtS8Zd7WbU8U4ybpKe4Ane76wV15KjOXJfTFQB69VH5lf4QTTcuG4CDzqhR3qxK3XJ2gCHa
YV5oNhoHd/EsEfljevemvP4RUEF2zNoxLe7GnBnA1YBgirN+YigA59SP75GY2o6GJlIXCIjodeTz
ke3LzzPH1wqVfGn9q5ywkP0pZCsrr0hs05nO09xWh8TgH4DcEKD6d71ktOsl5GBvREQ6lI7wPraP
LiPF+H4yiaf3sec39avDQ7G8uJZuLBo68X5skS5QAd1ENX8Yw/4/qe//4O39yVn1lwaSu+9d/N3k
oPran23Mv//UH4lmf3Ux00wPcwU7YICZ+V82ZjpIlCOlbTuovHhKJY6wf9mY3d/k+n/4QTbF8Pkw
g/03oA9eiy8xiGHYxTaLi9n7T2zMzuoq+8kFZoMi8jAQAvtTWN2g+fzZdSaCpZ3mFX3U1g1Vja10
qG/qbBQcuuLbnZ8x5iNrxrXb+iAdGImkxd7yDTv40WHUbU89idHRwQ4Q6jd6McqXZpqYMsuOlfOw
0B6yNhzq8MmDK3HFrTNsyxnt46dP/fJXB/P6Nn/5NSQfBvXewAZRc34xSrPzDRqqUwLY+sR+a6KY
/caOPLaWURfu2rxoHqrJi0+chbIre7Ht7d+/vru+wF/eQGA7iiEpzk97NYX+ZMecvQYU4QhfpA3z
9AYQd3bbkRZFzWo6noKh24PpjYbwXDPkP/l9NjMFsR5zRe0y/q79sBif6uqFbsm4vV+wnN07BC+O
o2Ftq4PWXLmeJ7w96Egy5iXRMKySFsKy0m8p3j3v1jOCnofZp3tMMm46//FRF8vwD7/q2prz66+K
URw7lM+Jl+7XXxy1ZeTbg79a4vokqx8y9iV3LTbA9rAstVaHGPDh3RhoAK3ZFAQDtdl4JreZF6KG
Bzp+0cOYf/XRkQGtT65ui80KqYAKIzmBUk5BfPwfHLl/bdqxNc5/LThbBuTWmPX++esZXW/IRVcy
3umbnI3f9J3hyrK3+AX32smG66IawzPD60dn8paTj0GQUvBOvs/FQBWpO5X4wYDlIMPEzTE0PkYT
RI/+Gq7H+Az6J/iI2nrGB7EYJhYYbZpnj9IMarf1eJ4Ttz+4qrQvwVyhnTH15WtsDlbRqR0ATBq5
k6x5z6aOFJF2zUvmuPMPHqjWQyOK/OwnugePUTt3tQWo3qs80IPICFthsva6nlr/PpjLYI9AXz76
ctCA15dnkwXL56pvyhcaZsrPlp8rHnjUAqgob66TiOrIsG/mC+THfCZ6X7FFyorpDFde3dUz2my1
lOW9cRp2FeHgvrgwDG8QVRhU6uzBH5b2LuySMSOzyZgvM/n4iJktzXaxFV5xxkJnp9QMr8Mwj7e+
T+rVoZs8apfkbkrb+yHXh8lIGCecn3Rvvzn1yrGF7AJTCPU2YiPhdCS+tP1JJDORsKkc1HFCLt0V
UwBZGRLLTnGA2Ia64t7GIMekxvzuvahfghndY1BDd2kgEOwzuz83zAIOZiqqf/AKi1+XH/IZxE5c
kGiYarWnfll+ahUlUyWB1LQwPA1jutXRVrVDc3Tq2vwgE26f5k6gdaTJfD/SVn87K/+lsxyr2BnM
syTrG0sJil9Amyo3KnOoWMlpWO9+x+dsN1Ny9Q8OckG05k83Mu9aucqTQlHE5NnuL0Z1QKKuD8cC
ZbeGT5DWLkM2cC8s6rM+TVxBfsG8TITDeMwjAb0xgkehGeS8/f3i+euCsr4P2B6BhLoHyebXtXMi
JBdjmMXRMA3Nk074flOfvGTMFvTgkJ18wnHR/dN39tdX5WHhryQP4QnfcdZP56cV2xYqcqx+xDVE
RnTYx8PYvHq+iT76zGXjqyCTjUfJmPcZvL8+on0XhIanvg/fhobRb0czxFvTt+0NqGy1qV0RXKtm
2mV2gVzx958QKNdfvyvB043Hm4Lau3rhf1nAzAiWCPMXgA2NPVn2/j1v/j2eV2Uiww51pAtmh/cF
LidODabfg7oeYieqtlPOCKZtofnQjvi19rzqIvEx32F69FGE2B1bMhe7ESvPO4OdUwIn4TwMDGZz
Wb7QdAOFkaTGNinb8FEpp7hSDalNCE3P6/AQoHgQzkcPdtMujOrgEcMsLcZjRNUHjaflNu78/i6w
+Q+McsrZiNbyjjqiNCd2aDv0sPBNGLU3SzP0L9hQh33IzOQiBVFc6K023IcQ+tFiL/GXRPvzuVJB
cEyr1OxbHYUHBsXQSiNceQdrbNRjO1MAbAFiOma0Lmxkosxe2yVPZgyebzIeodLSnkSJSirUK9gM
LO0NCgmj5Wy8KS3Low5JtWeDCfIiZdN+op5o+MbYRhxYzrI7Gw82Yqc3LGdiYBPcEby3O5jpxJOm
xr2NpfOpwvdxrB23flX0n+F3i+SdbPvkYqWuc8b+RmUlm7+rKeVMP1UgM6CtZGCYCpoqlFnOkDiG
Y+Hq6L6AvcaazUQGRsVY2UzZfaAxCt7Ne9sose/wf2Js6CN3T1/CUB16l3ApaKgRcRNX7uxZuKja
YN4HCWbDXYnt96uIqnrXEaQNbPTCgo6nuzkZ1S5IwukmpTMrUElHH4l8pZ7CJQIUf1ZRCmzX0EnU
DsltMLNTbPD6buyxbO9yPDg3KJPdEeVavxc8bY6lakhxYnOgh36KaoZBQ8/3LKvgtgvM8zLn9BdX
XXAfDIuG7lfmtz4k4C1OaHlsfftit9aXuE0m9GQM0fCDkRbrgSxI3AAqwaqAS9U4x5Rz4Y7WulcI
qNUnolPBfa6o6hjZCz2DBhCf2UY7VxVcsms7yq5cdwmO0FQ7FPtsfioaepWivK4funmir6lcUfYp
qAFaPbe06YwXo+r5Mmhy6sRmsWgUbGcxBB7JTYzbuu9wZ4H0iXhvfSGAHVNIssBn2dFRN+6iduq+
8B2Oj1AGvoT0dALjm5zLMND2I0HynXnM+dSfMcNPHVUdFLGLHfE7lNo+/z5bs3UsoLL6K0QVmmaK
zfO8NJgXC5BrW5XSj43r9jste+RX08JPDlOG54wRxFNYzvhsoqW57W12pwfjVNanjhvmE6iV7B0X
+C1wSEqIPFN9sBfDlTPo9QrCjX92vcJ58GLwIUtg+s8UbDymyAhnWNU2uGNCF1tHciEvCfUZ1GnG
3a7AgnHK+QLuSiv2vgoW/RdLdcWpYu15Jnhb39etU72yVY3pJEnnm9aNKFsBKu+nR4pJKbwbcyqH
yjaJxwOMYOqbSRg4hr74OHwFdArLLk2T78Y3brHrsEbdJi2u2aTyxqs8cpwj11jzTqnvh99AgQkM
XS+WD+WPpIg6iiyar30mQBi1E/K7jpHXPha1TeAvLxyMf+DtBYGo2iOPRn2IbEz+zN0uTs7kiEmf
3oW5UMde+97XIVGnStPrbsPOO7GbyfzPMHWbZAP5VLNBW5Lxs+/0jbub1q5jzLeCdjUr6+5HqGcf
c4ZKRj9lvKnbkQaZBQvTsY+atboBiBPxi/Ck0zlG/amSuzhWNndeNlp3YzOUj3FaWiwLdZscc/YO
7K9t2GcLwhGSEKxJ0SUMeefpnWrD4Lqpq/KWqWVWbwOwfTD/pvxbojBJgnouXoIymgjcK+8dXHb/
GPcWC//s7cMWD6oevPE2VY05cUOLu0zXej/i2Y6wzPhkBNsAefY8TKW3jTIfD3pUSmVvEm8y4ZFJ
GTwGnv/V20xpoEvJ1GjOgnUs3dqe83uXF/d+Xdf4EfJkOoHBRAEjooLtWzLpo7OBSSLGsdKZnhMl
Od3ZpLN32N4wKHSuLb6NKNniHvch7ozfXykdU3UbuXTebML1NpgDgklFM9sSBhTMzw2PkdH5ZBLo
2d96TT1txTu+G6rQLWhYc0EqRcpeKFbwZowZjd63oC2pE5Y8gFM8Sce67KfLWM5tsG1UlRzTaRF3
tDvhiESWv0oli29fqAL/1CSmS4mln4U4NLHcM3429YFcuecexiGBAWPn7FGuq6TPuV6ph9izQUyO
I9Ty41QEwQ3Pcf2ZF8+bBzuL0/Q9nMrIvXjAyPqtx2YkYxcskP4TE9qQQ0VQQzXBYvUNTxdjnKIV
dyjB5vT7W2Vs6F0xOsfJ7YziqbYLc5JlLu4KyM8nLGvizrb5MS14GHN4M8EOh4l7FfKUuREF8Ghm
Ovz2yTTqPZLa/GD0jO84cKrquVoWxiBONLMFcqthunSQiEAD+mp4mKxC3MVLRU0X20nva9pUXBpi
mn3gmRaj60PKgRLTSIbLHHQDfxGoEHNCpNc3UrbRbnHd/K0ONe9jQFPf+BBC3jQhmAbwTVA/MIT3
G4YUURds9QA+qaxib2Uu8IuQIuLbwOXgdzvH8tXIv9c0ETEawdgHwfqS42KBr0HgZD/HozmR8JH3
FfvEcpsLXcQ8OHV1TeKNkZcvLU0jZ8VHh8WfkZ5x2m9e5evP8zIDrbcXYoXsKCb5lWCP/SL00DJk
EGThaPz0hkuKJPJjCaz01tNVcJBOtJLCNRdoPMGFLM61CZvV64+mXDL03JfSB3Xoe2O1z1SXg0dh
oNfiQ0Ggp87TLN7XXArnVs7marRKsW+XtvykmwluCbLsXdzHYNjbYaFYavIR2gFeT3svlR9V3ImV
ZR5HZ5cWK1LfeXbvu4Cs+9zxbhdtdzuyQvxc55ozk+9kP2q9ntRaDfKBncQh8EP/XUCPYvVBzjyR
6a6vUXWdnR8m+bfWZ9dB32wW2zq9ceeAnUrdFydAe+WPcq6mW7wsNgjRuM+28bLCTVVnqDhFlO7f
li5ftyq1iOkvFzxBQtoON7BuIH0vbklbaOOeUFU8Ljy/bg0IkyU/qS4OZ56gbnLtUN+y9YmBXdFx
pCnhrgVW4QrnJdsJJcITLhQIn601ffcILOyouhNXxrUn+oAG8ZB6xlHblpP/qfIWBjcZd/Y2H+bP
oeO9sMd89OPok4kpabKa2lxTKyGOed89rPP2jaSaC/HHvEeM17Yw+SSdVLRu1hMbqVkW1id8r+zS
wZ4e58X6FI+2hvjOWdJSct5j9e55LR70nSOn+6gb+uuqSqt7gpHTCRUh+OLGpXNhsIQxbszc+zSi
QcszBbVmMsEVOpvots2z8E5NffupjJv0mRbwl7qyvZMLZuPOLfuveEapyMYZpLZWjPsqSZNkBcsk
J1pwPuPeVG/9ZOlt60XmGxpzslswAnEddIzDFzUGbAwD7+iQ51qCxOOZiaMY17SNhaIKkAjxOx0Z
T3l8++63pJTP2plvlw58G/Dn/X8lVVRhdceYKtvgjsNLtK+oHNyzE30u2XYmMwyebJg2JRi6jSvM
e6u6h6CXH04mXsqBNb2x6wcT9o+ZlT7F8UwoNfnqxPbz7yex/0jp/l9J+Px7lMdN0sX911/Jnv+G
eTi0arvS87WPeeuP6ux/wTzs3yDIr6hPeBormRw58V8quII/rjmcw7FCtSOu/G8V3P0tAFi+iubg
GITzH3E9fz/q/yzeCi09DzEeIcTmLfyapfdCmedRLeud72NpgSaNc5pnj+d8tYKoQ98qBkp463h4
MiBlcrsNWeATCn6XBLLufhYx4apMdjTUthiL9ktbgId2K8iHe2eIYBz3STOwkEfp3F5Pk7DA7bSU
TP29SkCp+S8qARKwWrVZhRrlSPgKf9Y0gjZw/QUr3k4RGdWnJWri/phkqIFnHNPUlvj4874lHOKu
fcKo35Ma6WKl85KKSuokyjcQP1wmepJCrt3g1NEzdK3kokK6YsHv9Pn1hLOcdNYUdQ921LEQC0+r
5GqSdEseGtDKeAGDII9OPGOn5tQ63XoSw48bbVKmpzEW2yp/Zem1z2NB4HsTMDYj8GMYIlwwERef
vTmZfKpkCUTxMGhYYCJOkB84SYthv6Z+8x3zvTDcjvZKtcYcOtBVMTkB0ZxIpXJPpgkvekJuG2nL
cgVsCeUK/AyZxVySsvP6suZMKSKusxL0tD8EbMiicGzI78bDzeR3wScV5DC0I98dh30qEvyDQ9VC
y+oKJdqTopt95Jg0mpsSDTU4S05C9ZEtE3RLhTr8LUj85twsWl6nJkD+TtPSXJE/Mm+M/43HCktw
8UQRXWM2QSywWzBEgsJn+uhNLmN3GeIO1TifHFxB7AKHu2Dxe7Gxe/DI7GDWNIXIfXQMdjGIENYc
cQJVoUjvUe2Q8jiELN9CXB/dpohH90fDlAfTXpWPTyLvB2uLX8f5HjkN/ZGk8hI4K1Z6J+Iude4r
dts3zajGFetYcQeMvGPK4Q1RMR/MKqP0cXkCrOWODz6FexQ7tcXsHiZsUPc2vUHgY8fFp/PIHajH
c9diWxpEBR65ECPPLijwlB+E8eRn2IjBB/iGWXHWjklTkRjM6BMsuT63wrC0b+NIU4KrMjE1fHs8
Gve6NNM9s6Wx21mE/EARpkPgYQkDNUJWLx3MNf2Iy4+xnriaNe4ajwAuI/8DVyIKSt72SCbeMMZf
ieTF/t5lUPY2K5pxsIYviA3lwF2zj0Q9RowkpPfogExlhsZsAhsijh0fQFi/IRFBG/1ix+j69hxy
DksSIN5cf7SBQjCTR4I3drbNUdXSLQ7g8QUN2VDVWgT9RWNIrrYWUYwXUifBA96DZXwCypa+pnnl
I/YFFMd7zZCDZsTvxqG+ND1N7DCo4isyvjxeNWDAH1bTi48e72+9XeJyPmFuRCOLliD/Ucq5uy38
rHoirbPN2h4W5MAaQhqem/jaDs34XsSROsvCSwHBBRXpkSB46/wgaE/wX8KnuWv4smOLqw/vV/eR
13atr3RPCTT3tzW0Z6wLlMC2kEjMHhig4NDJzumIzS141T2+wVMcTzj8NVtuThaaWMG2jSZ/3xES
w2kRQmLdCnKT0ba3QjwZGUU889VsUFWxhzT0LkTkg3+0Pb7LK8JhhBjxDhIJp2+Era7sA45nxpBr
sFi7ER1tuvho0mxaMmE64jgNMrV9dyTEMllGDILc3A7P0QBL+VgQtcDv4Hpr2iaPIjpVeVY9dVbG
zcx5te/JE0cLF+IYA8l0Rn9+z0KnKvfhxBZFO170iep4hgyC18u2EMap1qplN+f7wTO48lKLiwah
1HQvyGPNGitIPNwbIVGUrYULBZdAQvroGmMBFRfJBFKK/w4JuIXZC7MPaz6oKR/g7E5NQVcUAeOH
mOoVbBZ9gv9YtEFZXmt7XkNxkgzTxsMgk2ymJAxpSUPQdjZGTSQrkZ4TcYkIAUWHmAQH/F4hClSn
rAatXvaD5x+6DDo/fMouuksAeXQnfE8hn5CPCn1T6AyMOoeE8avjmPgpcFuvwBiZqW9OrxGT7AF3
0o1iQS++qSRetjH3uMJwHmLcgH/CtCc3jl7OgB9hNbSpggNcA3+8jkYnKHZjYE9fsyATt8nUEVRl
YfY+4ANAy+Cq7rDjaZasCv4vkR/dOY86Ud312OTzc0wlWs5Fzsmnaqvg3o8z55MTTu0PE1TO+ziU
tFpnmSs574x91m3DlqqBTauBeHGHudz+XdghGOcs3GBfxzi6R1HjUVGNsvQ2iqtrw+iTuq2g7tqv
c7Jk/r7sdbvCFBnzbQ21EQzTOh8iIvBgvZnaRXKxY7KG6mtZ5BorfNMrCWDoqAuwIWrNBjWbpGaW
TBRey+wjZhQwkSQMenxBFTrnLmhy7ykJZ/40teVDcCY+hbnW4/644JZHwJKRxbS5YQSNW4nwLuGu
WsJIiLjEduEU0fHgRCvucs05ZRSGVvoymq57IkuGcld2Y3jBtoutOXNjRC3RYML5Y+byH22e/4dW
9/iMl/7fpLu7yoxf5z87RPiBPxwirvgNspsA5sSGjkGix67uD9Cd95vCfutgznAk/ydw2QD/997Y
54d84p6MtJXvo/XzQ/9yiPi/sc1mU22T21I+G+f/xCGyDpb+vTdmYG6DIcMOx9jJpgNI/DJ4Cryy
0ktNWQXppeYTN0B9UZX0yfE6NSNaJxXjw08fzeWPv/tnGt2fN7HrKyocKRwWeMKsxUQcCH4ezC0k
Y2zHkBcmmFE+IwKqY+yU7dXfv4q/gqP+/IuxVeZTcvkEWaK9dab70/xPlz1OyziSuzks+hdcvdaj
nC1zj+GuZ31LpPPEJtGPto3dBYwKio666q5u2U02Kwakim00tKLBl7JzW6UXtjxUd+15QEcf9u8f
jjIcoXf5NHUOvnRkFdJ/Cenr0i5Y3Oi4AYk7GwpWmQLYE3GgIX4CWAnawsu7GCyQMwjo6Da2NRxi
vZdhSM5ZfOGLiHCdofff7CQpkp0zVn27kytIII2XFPRtTEcIQ6gsuh4pwHuMTTzQGR0n9ueO1i7M
cQI7w8ZXVUvrmTtSspwqijrPIUOTRzdPR3gS4dpy2xW2Li4VCyu4EPrW/NMCkVEhUWTibHjcedtm
JpK/L4bMXbYCu+IVBtyEPGs9mju2pXFLx4is8m0RAYDd/hfOZskExSiEz8a7lFnCVBC4XXWdLVOT
bdIu5pOiRy6BNOImybT7+2/+r1c0A0J6DH0ubdulz+HPX/xgzzysE8vdNW7l7vvQEsSBYO83HrOn
xE78f7jS1lPvr1ca906AM2i93Dii/fkFY7ZUmZ/BeGf+UbLUplXu32ChGuK9dOv0HvwB6epu8awH
PXRsRSLUzfjY9SHuRrYlSUyTyhTRY57N6auUffzuLkR3NzbZ3PHku1L8yGZiygermfODsYKa9EA9
OA9DG5j1q0JcLHkqckCaRnMVrWh8koVhjsgUrkbtNrcanKJpHV8Rflqp4v7CLMbVTV2itlTW53ag
oWcjCq1BbsADPGO6hMcs/ZmwUYVF9ctSVkSH//6r+vOM/velQNPitVaEcBC1f7+Hf75HZ1EF0OnF
rhiHZa/ipd0yyFKnsE2eHLvoThxgxe3fv+YvasAfL7rWiOCy83F0/FptJ5hhSObDYheFrv9Oaind
xRLtTrKPTDbt2KcPeURJApiy6IlpAWdaMv//l7PzWnZbubboF6EKoZFeSYLkzkFb0pZeUIpAI6OR
8fV3YPtFDEXWuT62y/ZxCYGNDmvNOWZNd9WvvmBXKlDN2epzpcGcwu4c84Mi9RuyXQZn5R0bpLt4
Z0t9yzG1DnxhF1cGuHk6g5KvhsoJ3JHtmqa1TH3/vLaocAksn0NyyYvSI0WM+77Dp0t1tht7P101
7RQ+ZzLvHYLg9bkAukFiQiDpPjeU9JuczUc85tUGm19qAwBH97qCwEw/Baksyq+ibqCe2fQ775xI
gB7oq7DDNY9CiNPniEi79RoMx1Oi0ai9/Pss0//hvL3svoE6LiBXV7ePdBtOIyjP4JLaJBkBcrjd
3mk61HeWYkK5fCXjUNS3jATPZeU1LV7morpY3vM/7zHlLhQNfo3jtq7hNsbfFq7Y8XGUsyGNwT1m
+n62O7/4U89S3nlgvH32T8sB9vKtnH4I3iLO1Bcyp/c/Eem/d0ITOJvKOIqDiWYXmBDjK1EKy6xJ
q2CFJQ8steHH28sXFadX9b0FyeosQdC2IY5kTW0RpXWOyjkQ/aSydZuLRb7WVtWjFWqww3Toi+nG
pjqxLt10sQQS0URmV68GsUs8bN6YHDMQzcove5dDT2Q/WaDpvFVh6MIADFak4T3SILKoai1GkYCz
y3vt64LJjSNccof9PAMrGaY5l+iMnkSQtK+3Gbk5+a0qLfnVjpl9wN7NyRxgb+cYarrsr1eRr2n4
qT1LfHENryDzaWpJpovi0CkfEigCewNsxBgMVP5uyPSk2JMnSY7cwsaqxkQ67xq/ALDjdP4oADh0
c3VlJJ8sRAbSI7Yvi/YWyK84WhfaeI5wzMTZwj7x/+Sdi1x9IC1vTOJwS2LHNZna+etRZQGJ6jko
iQ6H88hqYJoOxg3ZVNHWVR4sQ6f2tXVvtyKIpwwx+eURdPKtIu2inOoYHqGmrnOsLp5gEDn0hzLa
3GO+n9PY2E1NPN1pIh3eLl/qSM3Gx7pcaykuI4lGJnW8bcyNrAFQLLMA7vdwP7bS2nUiwbyfdl37
tfJ7vdtIzUbdQqXu0xw7HrSi5US/kn1n/r1yNydTMHdDVhWLvU+yJtXtw3fdcnCvTFVlAR+o0d5k
tDseB7Qf9Pb79L6KNEhdSTr/Hj3ip4loaT6btoOtqHWI3J6M6L5Ust4VYZ1d+Uk+itkH8yd3ht6c
e3NdFrmP3co/k5q2lFkQmxDyQ3Eg3TVpabzgcWKrB0kAalOYTrg8sN3PxXog+ZbYECPLv1NWlnCL
KrhXa1A4hgpMG9EGrupePmOZrLw9siQSk1HTZO1dNrma2l1+qWdGEz8vdklki9ZyYjp8p+DfYM8O
kqgYIgj2lSvrO75h/VXX6vI/T/2Gbjm8HIEoHmmkf3Qtm05a0bQRzsKJclZLPMQ+gUDzY0IG9ujh
pfkegzS6qfJu3vaN6f2043q+snE8870uJ0IGET/X0iQ5fF6gniPpxU5IwmYkUPXoonzrnDzZzWKG
C4p2qBivbLiOlKwfXxEPbbIzZpoAznw0RyS6hdWUivImkzEqrLbJdWIkdEGdqPBk/rmw8vYpCrOs
gyandYRDVDV2TYdfbanZjia2md4lIKmDebcZsqneTkS0FOvKIgwwmbuZ80Kl04MsCFveXh4gxrKx
ORrbgqMvu23bcajpL3//n7FdSlrOzDjE5egpVReMnj5ppaGi0TsQ4dyhkqGLiq0ug+ItWkmilq5j
3eZclju/aG5q+dbVB0utKn8w+yu3554cBBCmE5UsXP5QC3XLMsD/uT1RRZNUFYiAjtJieDsoNWkb
YuqHpyEcJI0DRuOzDSCk2vT6oN2l/EiUbdAlaSQqLVHZ8aABbJhiv7kfE5pNK6xlucKR6YEn04wY
s7ZsVUUSRyOb9UB74482Gji/Ks0Cgtias42giQMDkT4+7lpKX0hZPlPZH4mLIETpzdFjDPrAEpv+
24CsOX6Qs8PZQNpJ+hgS6PHWNa35S+CK/ovFAENfzfa9W7d4mKE4VDneNPLniGNrKi0FcBvZ3tNk
+POn0OzHP4XFjT1goOM4g7OKiuDQJzQxUCDWiGiVVTDfWFI9i7QN8ZO4/WuT1DG5JLPd76kVcmqd
Q5J6ZKU5v1NrbP7A8ApJqNJjar3u3GU/YtQH5WpqCpY2LKgQdMKF5rFrW28icA0JprbrPCrZ0NKG
6Mrx4cxHu3QQofUv9RzbOfqNiXTzrcqqNFIqx+oBBGgDywE2DnSC4iYa2Z9cGfMnm1RO2zrqbwj6
FovtMSC7rXoYTlOubfrQVp9Q+RGqRiT6FjlRfOuFJcfbaILAx6Gz+WUjxt1SyLGvrCrnnnqRUaML
5MHZ0ByObDudCrNoG4LuE9LLZiOfb4ijJje+7X6Ok4xfLz/0ucstiyqLPguZ9REq8M+H5KHloWQL
ckANcHVpnZSbsDDmX3lbvMyDI6+R//kCTmcWB78Vqlr+4j8czYu20ghY1njLNKPafm0KLDCAPIoa
uY7CM9usODV1HrF92dDvjQTtF7xYod76JEfh7I2h6+ymQuejxpZKmblkK4ZhHRxgQC9ZvBH3ni7U
y1H/WaZZomN+mJpmb8+LSmUWim/dgoGIFQNT54hgKnb2Df0ycx3avnyFXgeSyUx8TJR17jV0vaB3
cUbL57rY1GY6g72PjeYNQpWOZxqy3NMQac3nsvYEZpg2f2kzlTxDzQ1x8Xt0NRBejuT+wSwLXwho
qOKdq83zb5tZMlvbrJCPgpbTT2hVU4KDfiSRrTMSdswDXFCMm2FiLnr5OSMdUmf9Qn1cd2v2b1B8
xKzheQWiOfu3dOGG73CFNIQdudC/h4MHwkqaaUtNJi6Hn3od4sQeJ+W9TlMxdtTUE0TbrVN1r3MD
gX49WiUGr1S2/sqsG/m9Qm9ocPqsMI10liMf6NZ5rARJCg/PRSD/BGimTrBu67PaREtPezVk1PEx
A6C0XSGT1bAEtw7IAMICUIQ7REzcgyBQrCGoHt9lKOPftQ2JY421wnnkA6je7X4YgC3qZftH78dc
rDqcIHtEefZfI/VikvyEyJ8RHjufKxJ9npXo6k+N5g5fJt8iM0i0SwcsiVPW9QbIoIffWgMCjT8j
+joZZoq+t8fBtm5w19FFoZJFNRKQ2dcYa0BD2CTG9nWLXKyBKlp4b0nhgAMB96c9CBvn08qY2V1t
ZFnquypP/PTWcSZd3ydlnjylro0TVcSFcSO8ssSUmi6lyGgYou7Hf/5+lxMIrg/K02S9Hk2Seb/k
LsiU7zdV3heoN+mjN2BdjxSWGWpU/pVtzZmvdzk+ewgjKKez6z2cnkiXgy9vE1CExM5Ze7kqbosI
tQMIHW17+dFOiwYflXw2UCZVe/j6RzMF4CYtLe3ExyeOHGk1Zr79UIyedjMkkxG4shWfZ9h4KehV
OdyxxWtehrTD4375Pg7x/h8bORQ3vFwiBejpeUdbIasU9iyS3kdMOGLnaRQN+WBI4/wZTaHUCaPX
6nTLI5SLThHX5JXrn9QOeA2CzRhlNCQ/3MfhKyf02sC+oMKNzDLzxe96Sq2960LGCcMtAYbTA73U
9MoJ4dxD48ByPFRBwjs5IWiqGexyzBhXo2kNO2QNOPtbyC8oBb1SZ8OinKe8J+LLAEB2xU91ZlFi
TPOoXJ97+FhC/lmUzNIx8J4BtIlwHf2SqsUbYEDR9WBLDAhpm+rb5Z+YDfnpqkRzRudoTXoO6UZH
4xqjVi7TmRwcQrRTiaBi1n9EadcgPlazmva9P43exrGzqNj4I5HCWyPGHPnSK4ueny/K4TdLN713
zBzlD3qebrNGZ45xztOXma7QJItFOs1Rvs7w+8p1RB/82Q1V8pNWMRtn3HTVA/QQimTSa6N3yfa3
DAZkgtGqHMAJbEvQUO+6ay7GMm9kSRj0pLFYtH3nIWfbOgLgK9OvJcyHboOP2reQILYAGYdK2N5q
SvLorncpUQSO8Cg1giZtb4E8TBG8uChjChsS3HWaURKvmw9UqyT1j19FM4VJ0Etz+D4UjkcfKcza
9cDjtzxQzMLgk5P2w3X7sYEOCVV+PZscjVZ4NVkHRjItwlWN87bcAHdwHg3gufgZ254QPkATYbKG
QZcuBV5Te0P7X0XYcsekXud1G1JR72LtB3NtW64A2cF9aUb++JWaUrhEFTVsjWp+3P4ph95+VQQe
/GV/J8vVUEdR9EkmeptshjgELTDJkLTfJuumTQZI/ZPTylQLEBJPNUoDQwCTjNMOOn0bxxZepFzC
fG8GFd1XiF1ecjJnO/KjumY/UDXj8E7xzN2UKgVXOfekE/sS/sVKL0f9a0HvgCqemAhBKFmHb8Pa
ojNuYWSCU0FaI82rGqbK1zGrh19MPxQekZQ13RovSnVjVazuHDWw66DrtgBsmmMpfjP1dMvRC+3m
Ti/LPHsC8dJXAc00J9qEbcWfQvKdEvc0QmYDGmTSOOs2jEKisM1yhifkl2kdwH2k6EgfzkPSYEqe
2Y7q/vuQZ3mBXwjx+Ap2ugvJBJLTCsmNz+oYhbwhjMyZTXxEIV56SyGcdQZt/Ckj2DYbTzPGX4By
7F+Rz+e0qoTm/2UbY7u3RNqU5U56nSv3JB/a9a2k8AElCw3TX2ueRyw+nMfvbRMH4RpzAAhIkOW4
uYpZTN96sxnvKoaNfIilhVYfNXrytQUW8cuAvOevk1pjKpIoO+DO16Xq9qas7ZbUbWJ2Ni5xDAZ6
ansmSHnqtaC21WRt8Olhv8FPBL+avl9JQKdjaAAa0UmQ5JfFPZj+tCjeuJOs3JjAMID0afNo3Rh6
K+SdSkh72FbUMOIrZ5Fz05FFn5pqHxUm8WGS/2cGjDKsNN5E0QS8JtRDK3ZtzL9i3JVtSavJNurA
rZ3xRc97O14J1BxXjiFn1nmiegiVWopvLPdHVRu31ZNWw0y0KSSJfnZfGg9ROPNN+/H3y3Pv6fLG
scsl12XZUdCdWv7+P48KkKdBiSi8DcaAZauMkCgAwBL91uxZ7ewKnwohE/aVRfX0+QzmIN8yaEcg
i3WPng+7SavrE6soqrx5zxw97Tp7tj7TN/h0+flOV1KuRJGCU5qHkOC4hTSN6KPqnkoKYR5Atgio
3JhFqjhDW5gDUPjx+8VO994k2ZVV7XQZ5cqOy1S79F6Y8A/frCdpahp+4ZK7g0mM6oizmrpyIhtb
0NX0ieW8/KTn3ilaYh+RMWJiNiuH1yNBXOAgyynK5JBC2cCHb7XS8i+NYagrw/PMoIHbQd+KIpC3
RMkdXmpKUE1lHpYpqQoKankfLmeXoeZ0Y+lTctNEZbxLy+banvTMI1psAYVjgyGB4nTUMsP6ExkJ
QUMb3xlw95T4SedYeF9mhuiVKeBMCQ4pP6UP36Q3t2hGDp/RLvpI70Trb7Q2i/pv1UQMDALACAMe
ff4N3WbSPGXhOjP+YlBG3JPekgg9A9BdW1XUl+spFqK5SeNCXTl2nHkPlDZN26M1+hHceHhvhMgy
OeJVIb42GR781F6olrbaCb8urvzU5y4Fh4SsBEzbrJFH80Oc2IjzZhFuXDKtwCoYYO6K1uwD/jvg
7ctD+HTeNQBVLCAZwZmKRvnhc03o1uZJE/7GopsV7WCEFfskm3JC70xNkIzoaeUN/VujxUoi4qfF
MO5euYdzD8x5jg4Sv79/svulFUAUDAzaDXLc/C/8hvh72Y7A6nLagC+Xn/fMd0Rn2zJdUs0W38DR
8xJdYwknLb1NXE51Q7CUX4Oc48NKtoZAHi7xfXxBBVlf2eGfuS7FY+b7pYrHfxCH7xkMsqjHCWSw
AnQWDA7AlRUAtfpLk0flqo6GdidbOf/30ytzBrjBj363wWb/8LIjmWUO/HvJBsA2vJ07MVrZNxZl
gK+ivVK/PDPx84RIsNh/W+Bsji5WoIWFSJUmQULZPPAK3UNQIiDe9dGU/Z6mVtxYNj60leMrTQaX
f9gzg8gF0UJ8K4eopW5y+KRu2scGioo4iAhk+lT0TXdD7V5/0AgXvnKpM78ldQf2CgJmh8XceHip
1PNSRE1IcIx5Ko17S1RaEBJKAmKPMnFBpg7KToHl/D9PDCaPZ1MgRlOgs8AeXrfGaunZFk1Yo7Hc
v65el191YnJuwGzY+8tvcxmOh92Qw0sdPaI1gB4iu5p+Lz5mc53liUZRB0XVlc9i+XOOrwMHaKnj
UPhm63X4SBQnO1NPpjRIiri499CNPxGuY99rBeh7F+XY9vJzHRGIltoGVh0Ue+TFCs7uxxKQjmMj
hO00C/y+xhNWJrmP9RfFv6gCdxbVYyjV8Kn2iQLcemXXvkCxqr7SOlO7kLYOUAiNEIdtwW4AiLqV
FPYqH8JyU01ZcoPpmObs5Tv+qH8fvyKPFZGyhI3a0D6aOXCCZ5DmfPQb5kTlA99LgWY0yj7HA775
p5oSG/3XsOsl9APht/hcyvhv5+ak0msqh/nU+1mR7iIzdt91RBbtpi2RJ6+JlnK/q6yipWGlADr6
3Iq/55qfPS+ZQ+oW0U//OZ89wZ4xFx4WSUFA2wrBPIHslx/y9OOl2IV0kx8HcBlyt8NhYLi5xYEu
lkEzym/RaOTPBMeRIyDMt8sXMs4MbIodrAC+z3pOlvPhlZJucnNXS4nSoDy8HfA3b1Or955bL7Ee
qVzPz6VeD68d28tHUfrAA2wZAlaNKzIXUqOAWFbkgAVClz7N5Xs7nT7ZvKIu1Nmeo/c7hmPNFRyA
SsoYx6MqdnL2vsVOn9zWOcXHiF3A1mjD+UbauAkuX/hDRXg0xIRPzicmOzZ7qBsPX4on+ymBO0TH
GqpUDvNMN/ZSz+Z64zaCyHmTHQEQsdSwiIojW+8NEDY5DXpX+w9h34zZWvkDpaCQ/IZshTTNffcM
S+a7HOqwv7tyt8uccHS3KNMMNiuWpyNFMY/u1jWiqCsp1uANTgLRTji2FNmNoH/6xNeCCgLxJnXi
/M62kp5ss85qAlH4ySOnXf/P5bs5M564GcqlKKz558d4++cwx0LvkfqHuoqfJd+qQuv/QK6Yv16+
yplpkrgEBKf+cgKwrKNpsub0JkiR40yDQ+MPA7iFJmyR5OF2rcbugfLF5QuefieLcs0TVAg95Deg
/g5fcj5VZllDbw50iPMRpYAqe7Nnt35A+xxuoS4ZzzECoJ09VaD5KCFiRYsAioOZcNUnzA/6PTFs
6U4atLAu39vJltXky6UdzhK47FrNo08Ywqne18qxAwGZRnLWy8ocAgZm5UBvyCnYlSMR4OsmdZy3
tujtHJHUgjq9fBcnmwDuAhUwoSNsrnzKBocvaIpaLc/LHnLaWAzo22hbopRGkNOCTMX0md5GDMfg
8kWtM88ODIolDKkCleJjBQ7BXCTaySQMukbgyGmEmPGDaE4xr0wL3xn2NuKjt1EWWq9mGsZ/EFE2
v/gWhp9DE1bUDy2v/juNc00GInzPEJ+YRwlvAer8MEu90tGvzYBKR6IZ/roD6nem/Ux5W2JQ+5cB
T9ILW1m5IFInzIRFjmh5DdnJ23lyBB6Sjdb403YSyK9oYIznrNczdz3rQ0QSq0hcOKvRhPMzdUCi
W9xn/Mx+ubdvMze0nCu7mDO/ERRMdD98hcvG9Pg3EmR7VpZSgXSTalNMuXpqIaRtAXvdZVobbylO
+NcGxsmMwHaGcrph8S9jWWuOBgYBUfhUqyaoObiR0QgLaFWNrjtcGYCn3aJl32Q6PgdF/mJFO7xQ
NzigT4yZp/Ms46FjhV1rAO52Ao9oUHtFvUn8BiZDrPAK2N24IL2NL5cH5Lk3zDaYlgVfAJPg0cMi
A7NqMsYVIX+6pHQmp4AJgdTyqcGJ54h6j1KYZJfLVz1ZKfnyoKKja+X9QtM5uqqBFghh5tgEY9FY
N8Vcwm/XNXnjxGEW4Igrd8DQP8J1/1OiOLtHLszMg7rLoS11slCixzaLLjWaAFW3/82kSbZOYQZZ
q8lP8hlmvJmsARRp4soKfTL/L9dlQDEj8w//uCSgZpxkxHKgsAbb+Dj6WFV7K9Vv+jY37oY86X5e
fsGnisjlguxGeL0Y29mPHI4tJbSwzWGUB9JPdRznBCltCBAkCxixhPfXjTBYOIlacikMq27WhJxO
j/Ww0KixiOvdlR/81HGz3A8WWUrEDgoLZxmH/yyzJTEDI4tKE2jTVBZyo0JFegES4y7aWImWZOQU
qsIhK6qygeDEuOKwuubCXJd5TSgALL/mTlfQ0m6hvVppgP2kGVYwUcgUj3sn0wiSc4iWwptIJxuP
dPxnztAM3SLiTp4G9o3fNdGoZY9taoHvEL69UhGGmE096uyK01KK+R5vcPJNIx8jWw1E5/Ybgtmb
z6k5kOoC/3bx8XbSeYpJO35j2FjvlkVGJTxcGGm6lo4V9uKZOJBUGKW9HiO9viEyx2x2FXb8d8wU
9uM8kJW9MejI7f1ZX5CcNZrMALeFFW5sciTG3yF5mooaQ57tTLotBGDAzh8J60lrX75h5ZYg+CRc
vkIOcbkPJaS+G/bK2Kqh0uc3FueDz8WAkXPx98zWHrMAKqDeahcQS9+5e/rUuod6JJ/+Tr5SdSBI
Fu6uDPpljB3s8/jNSYslXW6pCaLVOfzNq4j+2CCrMlB47/eok9y1js94b9N/uLKu/q/8fXQxynuU
VjmE0uPTj3dYkHUSmwQKYJ+617735BqTM1oYBu2SRQ9HFIr7k4NqSC96lOM3tkfWkgGtZdOWvZH+
K7HJaUHTmJXYNOde/TXMNtQITNXm6a4Lo/YzYWPkN6hFf3ibafpo3sM4zBGMqwTAXTa7/RtMlNLY
KGdyxIbgIqBTRpsWn5JMJ+wVyjL1QFy8PnwFVHef/cYh0nCR1nvPqkLWHow2js5NiNhHbWqdtCSM
txhz+q7BDNvreKvW4E6h6mtNhvBJDJ0NSE7Fqt5z7PWfxiKtf2eygNOaml1K9CKSxhdjmnQXeqcZ
ReSfCCSGtt9pn0pmAhKYo7i8p3ULaZ7jQFPfuvW8xFZmFJnWI+POXkd2Xn5PtbZH1dI6JRYh4IfO
2h4cd4+xPuq36UhznTnHjoJF6Q3nGSWhWCtayMOG3GvhbJycQ+I27HIWN0wb7rT2i6HYyxwW5xo/
j/FbunGdv4uot+zN2OrUhCkj6zdO73QIekYCDMHN0N5aEVuu/WY7U5kB4NXooc9a7+vQUq/izzSk
eBSEOlprgQKngzJpTwQMRTV5FkObugu5zm+/obEXPVV3S/5pzLT2Po1p2I67eKL/iIxngJWfdUpg
m6Kzx+4mh8OzooMgv6vYRz2k+Yi3+gkYr9G62V7FDYkiXQRa4o3h3qRPpCwOL1nkGlkwhdgaNm3i
z7RCIeNvm4T0pQ1W5kQ+l1U3vo5WJMWu7Qpyth3NmTbuoGCqsS8kwFQPRU8YDNthjHmZI+TOtzXA
U5M+NQm0rBxOQlhNIdtJ/mHvFF7wZAfggoABtu+kSORSqL90VhNvi+sStlSZ2fYPmY7++IDvk0Zu
GFvzYxS682tT6/q7Qq9CYjdp9BIdki/fbRgG0cYem+YNFgM+IiPtuKkmpJO3xuI2PaLkiX6SnQyJ
ghwXAith4Ea/CdXACM2/VcR34JoiVssx2vKliTKVvVidg83eBuDwE+lqauHrGaZ3oF322+X18HSb
Qx4IipxlyafuZy0bkn+Wn8lsR52XmQdQjWPqQjjTF03AHjIVyqN2NN8zIiCuLHpnFn0OlBRt0QOx
7ptHF7VrNux9PZaEB+aI08rKDlJkhltPjOaXuB7s3X9+SK7HhhXfAfOubx4+ZNeJsStgbQZFEc27
yrE4HDgTnMGkaW/csHeoheXXZDfndhqWTVtyKf6wtzlWqmuGDvWupbCitbDegqyIPfjrYUSCnwux
EBFdGRm3ZQSDa4Xeus0+e25c1HuEX857k4pB/T9eO3vqhfmNKpXz7+FraPTcKSZHQqPQ/PhLDQpt
BVMLTZZs5kCV47WxdWaZW8ou+KTpmOqUNA6vl5L3qiXkZgVmVSavdY0YAuWNf4/cRl75hc+MqMWU
hSULIRvHx6Nf2KoVmxyz6QJK6MPr4IeQQMLit4dN9IVi2bX26Jlt+lKrXjqWNITZRx4+WWTXxZTF
VhcUoQmuj8YddYoR7RiFtrQLGPb1FpdydkOyZP10eTCfFnrp1S3dUvoQ7MWxah9eXFaxO1hdMgSc
aa094ovspuL/uwnZ2wcUBdogq6W2bUGE0qqIso0FYvMT8x+ZZYmbWpAKnWlbO+ZgrWrwjBsHMvtW
N1vb21y51eU9HO09Ft0z6inTpUXzYaz4Z3bpHJ2KaCcASUMJ+oJrDsRbVkygq+XsroAKDt9qLOMB
lAn7E3K4dp92YXtlbJzaN3hhvKcPTTTtseNxHy5dncIlDYwaXpruROtE+Vse0V0OMkSfzaZOp/pT
bDSds+llYhDtUqX5586aja8Ra+liis6rxwHN9q+kkvrtnGBJQ+KfZTV6rrL/ikQ6/CRCY/7vszMC
do4HCNkpCx1Xx4hjl4XTzBD0/dG965C2AimV/Z1eFRVZXU1xO89pfmXLuJwxj340qscckTh82/Sb
jqYJLUIK6rX0udyF+wfNVn0pq8i6Wog7MzhYb0xOftT/LI78h+MYWUrisEQgYSM2atomo1d8Ay8Z
PQK/EghvXRJX87pqt6TI19V22bXfh0ZY/D/eMY1i5FqsDx6dtsPb8HPOvTZw0IBeBMjuAeroktK5
oWyZ3BfN/Ntg6b5yADidrjjx0XCn3kVJhZrf4TXRwPjAvrmmLJLsJuvi6afEmuytOQLGQRYDl77y
JZ6UlrFTMlXYWISpLere0aSRZI7T5frcQVUwRA7RB4QWqq5MhSveafxsQH1ebLwmWkRiCSV1MtgW
j6B7wu9a2hl/rtzP6Y+PP4OD+CKHpYV7PDNQW8iBUPdkyhHyhYGMOcIi3XivDR5CtAYuQFHo/UOS
6ouXFkqSRB/87fJNnJraeSnM4jpbH1pv/rFyCOSSaibNHoLOIG8pqGYk/2szL/w7gn/TYT0rjRvx
cDVTkBZKvdTzNBHmO3nixY1sc1qZLfElKyBL6lsI2Q3wkVGBPB+pZnybtBAXvNOn6ibFdzLse5VK
oiZFbF7jdpz2OZhkafn5VOBpHOClOhxQZAQkMurrIcBqlKMAmJt97tG4Y2myeHeTMTLHquQmpZYZ
lJo0IOFoqPNXOKWogOrwMwjVLm/cpspvZaxXbOGtan/5fZ+WeKEJ0lXGpsi8Apvo8CarluzDGKBu
YLN73+HxxRFPSFdQow9+xTswPvdFp9/k6DwDE1LtlQ/97OUpGOqmS1XP+EgT+GcxonqWjEjuJpAJ
PWGbfWIR2DO5HSGouQuWcN0o2t6IeTN7WBVitNWisw21K+v3RyP2cH512HLTDNTZGpFidPQaZpvw
NP7XPmAZqrwHGLxJfC8NIMxPyG5xIUV00J7xVyAUAv6mPdrm0Jfs0nL/1i/aIt07sQVukDYf5PhU
AIoPMmOGuFJP9Qho2+Csu/K1wlfrkfareWOFiBPwHcZWfSM0qf0orIRCd6HXbL9BVOfoisOScrcx
aMm+zpf8sgzUXmCOHXLmiZReMFRZZ69Sib98k0R1tDdntwm3BWylFgJLlNyorCB+gMFDEm2ZgqW4
7Vun+eG1Y/WFqBTxGjlxmn4eQpHe1Oys6pUzcQbwTNLhdpPni3u3dwp/TbVbvyJMPN2Jor3BoaSz
a0NAcbxl6mE1O4h8+NCdSd4XgsNbVjYMcnhl28uD/GOrefTzsu2nfbIIflhVluX1n2FGQJqv93o4
BJS4axGvdIPD6KZCxdWtwkSYKiDSM84fDS0ioZdlgEjCtBpn95fRqFq/EUbbml/1QtM/X76zM4sO
LUWcWmwbqWcf15ZRf3Z10xAe081SI/MhLDY4MOqfQ998BQwzby5f7sw+1aXVJha9G5VsgCuHL6Kv
Q71ri6XwFFmYkVeovwi/iZ1Y55gd9Vm3dTPiNW/Dtq3yjc9yQLRnXhJhNw5NnwdI0ciTzvsewW85
OHjSycvEO5aqpn/uwzF87lG2iyu3fTpUXKxzrJU0CCnCi6PanOsT+IBRM6X3QBI93J2OlEo1DHdV
AyXhv19sQbVyLervyGaPxkrD0hJN5gwWyKjd23QsnY2r0/eK6LVdudTp7McSxx54mf4oBTpHu7oi
C22KjsUczHoxBKZXlT80KtNbQdpWtWrdvNwP7DK3LJnRGiQPCVSXx8NppYHiPRKqpRnPedBb/v4/
34Ub+iZNc38ObDbWv5CWuG+jX8LrUHFFDiK65x55u126V1adj4/74IOEU0kF1EAbh4UbU8jhhQkU
N/qwhoShRlxmt12k64+qmdP0wYYRV21jBQB9Z2JIG1ZyYAsE57JI3mwjxY+kZ4P3Z0nYfK5S9nFb
G1QhaeY58sxV0lUkuWZKNh2BiNOEJD9cJnGes6V4PbI/aNOJuM5pJoR83ZUCBb4TwmcWWuu9lwo6
6YZAgxrtZ66Pr2qU0Ps9p6vQ7XBvfxxq+f1qDPuuX1GuJKUDMl98ZVo4+V14PbwZGuK4r13/eMAj
iIyFGck5WGpxKUSbvLpRbWOAVB86wyV7Qou2Xq9dNekuI+74d0HKbIJARhXCinj4u0yFHVIYEHow
mkNc3I6hqVhJcOVoG+rZ0bcyxA+4wl1EbbgTnvZ+eTyefOg8N4ozhJI0Um2O1IeXTyM84HFK6jfH
ONY4zx5xBibE2Xic2y9f6uTbo7mDJNMUjEIE1Sc+WREhUSoUr7gp8i28wuFLrGhME6gwDkGsBud+
EpwGJh+TDJEe0e7y9T/oTEevGiUspDq4R9SjjhsOcompraLKCKAT4fDEe1JSKfez+r4MjcLbjPRy
C1JdCWbNJCa4tRgKqqYQZ5J4zwRvU8HNdX0knTnCnqfD899QbSeOIh4F7FSYbuKTxu0TiwBqjTAB
Nwm3uWuU+qbVS6IqvHIw4bC2ZfU0jyx82FWxXCX0q2HJRR4JsqbKmytD+6OZd/zcArmHvihiIWwv
P8w/c449GJXVhbYR+F43VLe6Zhi/R8uN1WMXR3QYRtUZ3bo2cZusexIFzIeW9NBh7evE8gaqntxd
3igRLXY1UgjZEoZrRXbvf0Z68ekhtiCQj/MI/O6j82BXySKcrKVq38Q487H6zwuQxvPGB0pJzrCL
sOfFpEnMobyyLpzuV7i2Y4Oj4QW5wtGPtqPY0Qqmx9YEEVOQcj1N0vvc9+30l1fDdJRKCs+eoGKO
Vsd9VMRiVbhz4ugbyP9xjedWXvlaTtv/3BG6ScprUAgZrUcTg0dqa+LpjFaLrt5rWfTTzcwUDV64
SPw9Z7XyloQ9Z6PyVnstsb681onuXJkezo0djPR8NhybmaOONb9mFg4TKXRAFFxDITjsS+wert9m
9IQBQ1Qb+trhr8qF+7EGHjrv+0LZ6T5uUYWudJyNhDOFcfvMvAaDwapxca9xkKvny9/2ya7O4kgF
2NICrOC5J6VIs3Okl5euCGDIiscSp9Gaz9Z47eq5+JxlVfbzP18PlOGStsruiI3d0SeFE75DY4lx
1atFWKyJEw3vFpLvNzfqCRhwC6pKV3YOpwsF8BUKRcuPYSF/OB6hpS3jaExFwNcarpvGB2Wg56lS
K2vCMZEkE53BJJwJMyeR+Uqp5sxoZHWCvEXZHN+Nc9ygx3w94ib3RNDH1K5VRDImHMZKGXdNEssw
sPKp2OsevhhjENVtIjs9vhNIWK8MyDM/NIdmXsHSk+bouLylf+ayOu0q2yN1PKg6PKEttvgfDWfo
jN0F4Jb1KNHNXfkST5dIrPEUFWgPQeI63cHP/mCJOrKDkbbXLbW8riD0RGl3ypHi/zg7rx63kS4N
/yICzGEvRYnq3G238w3hyJxj8dfvU/3tYi1KEOHFYDDAGDMlFounTnhDtlE4XXg+epyWlIKUYIg3
Wu9fz5dVOuP6uWAxF51efNgVFATz6FEkxS9gIvUGpH+9HOaOpB2SmcGBQkVqtZ2eAxh3SJooSC0D
iUmEH+9gi+DlqE2hdReDdds6xutE621FhOrQ55P5Bgq0Jy8QwRNCuaUqB+4P+wEpgB5tgqZ6p6L1
Agdfr/zOHTYxpW9x6u87UC5rM/ZnKIJuI2D002VHvQydGf+TA3KZ+hOZrFcHmGPNX7QBaNyu9nrj
l6mGCqpVdUVzBj0/7c5jONxj2xt6kiijqS8ogCAGN9qdgb50X2W3pZ7G7xDfnSnjS8OqfdGJ6H0T
G+WrDWoAHU41G35NCB5OQVhFkipbxt33PlGHz8WMyvpOtRbbIeO2BxToFJwNfKxVIItUpOBPMNOb
30uROyVizbETTCBP1LsunYc7vWwcZCvGJP4WJ8AMGJ/Wo9ipXeXUvicmmvSV0pLDuF2U7lylXkZg
IhbsDFfpxu8RYP9WjtGjcS/THv5XQOJ/c0qG0C8WEmw/qRjIiwpWnx+jf/47i1uwLAiy982uDcWc
glZNefC2VUJzD3pJefEY/caHUDjpg7DGaPFxqupvPZV3fUgz0ysYjBvpT4oE1DNKDlq4mz27/RiS
glaHsNFRJ9UsoQ07Btz07abByB4VNYH2Ab85hqyc65COpaOAteswpEKEvVO65Qndn3TxB70ZqRRM
Q8FAnlblQ8ufvQuLCOlYTx+VyJ/LklpCipsLyqzGQBIGyEIwVvX42+5cskIEE7svCOxnv/uxQmuQ
qtcF5dZH1Re9aAWap5No7mGthvkeBAv2NnaqxX+InFqJN61d6/4wzJ4Adh4iIycKEwdCLCfRQUqB
F3x2BlWLblKsCW5C3ZkQwtTAtuFtE9fgSltVis7hnAW8qar60iflmMWOYXR8x2gkMliN8egOoRfF
+sTNbAABGRnOwGnGiHjnRR4OBak+9NGtMeBjiuaWgqORV464BCKuK34t6PrzryHum7uySPLHASw3
4mHD8idFEf6XC3Qk96FX0HJDOWDeExnH+IEubvYttTK+XK2YbOEPWZzYOx1m5M9KIBsBf2F0HprK
S3+wcfCrLTTc841L8EK8cv4zlJFzLMa3p5/xYtISEZaN4pmyVPsk8mAQdlW3x9EXw8BMjBsTA9l6
WIUNhi/UhSjNkh2uo5UlqspQcjUOQiC4KaMCa3zALy/coMlcCIoMQRDwhPUj+wOrdMKlM73YeR8F
BuNh7aBEWfjMKBnHMtsZ++OYZumHVrO3hvMXdhM+NpkT6TaI43XCjTIIFihqEgf9GJV4+C7aDSI3
xhMlaPekh7G19frOcH6EYYS7HdcC5cfQY012cYxGlJFpYGHIrLT7MSxz/5Vyv8aHNVFS795tovim
MEpkv1qY9F/6MYSRqmrIIPh9E4b5J6ezwVQVdIqfshKO242FikTjo8TjWXs96pTa73pN+4gtm977
HcOLnwnj3Soo65nxtGDgiXZOAgt7FyaIjO5EmRn3SlioOPuVi3imGWW2GIPoRokSv6U+xFk9SrGJ
3MSTFvKIAvSqKCVAnxNRFOFYAaMCMMO3rmq2b6S58XFQdGqFOO+Hz3YmgAZVjeIoewYXNdMJFVsP
Zg5RpiNSG5mNn4q6fh0ssQzYfSPSE0Ci1lAiEbX2o64cFP3mXCckpyLFPYgZWdLtEd7DNxfvGIe4
E6GE0WZAZ3ZZF2NEUld6+RRq0Tzu1ZJJlhTgW9IDfdZJHPk6vV+tRxsWx1Varv4SedlPoeblY157
6nBzPVfWz083qSOcf0IgZSgJ+ulH6zTWjNHdiCcStjKWL8oJGXLXVlD9ttB6yC08BbDzVYIhxoit
WwbF94YsnHyMVFGdtNtJXdjApP9dloaA5FhPSF1TcRV9Il6N0HTuPbcVFOBqlexngX+L10aGj45P
6be2OT+hNFeKPdLWf2alGoLrz3c2dkJSlEmOSziCv0WGvupfDnKqmk5eEaCUMgPpEzZi0Es80s5J
MErymIyFdDjoytV/1DmaY/J0UfyEoBY5e7ObipekSVBcEFiz3NTYEOq4z7oL5Pax1JWNCHrhZdig
XsC+SFrDGQoIl5MiMcK6DkAl4KXTwCZIAK9/H/Lk8xibX3hI9cP1DXpjoZ5GUVJLJOiQo6ERTgfo
9ABULloxQ421pWrTwtoZVVjdzFmjVoc67WgetrF0UtTphRUHE0dlELNKMYt9qfed5XdCxwgJofL8
Awi4Ei3EqbfDZ7vB8X0KZ1I2Pm+MfkIndz8msBmKvT1rTU0TxgbW4AKafUkgs/SPhsBGSZnmqt13
qE8t74cqNpJnPTYEjETTAdceJ1ACC2Ue4DSEGfpTZvQb9yTrswWIMIE+7M3iLtPz+vvCjBzhZ4yu
8p3j9gyb1DHGLdtNo/IpUeb+R7GMEYca1ioaKqnW45Zjmngfs8Xv7Zx3FHgaRtS39MOczxQg03hn
AcVEEAhMyNdhGmnrO+mUPHom+GtShKL808axynCLSxIJ7kiU+67h+2Z0G2IFDMRRAcm6xOm+cvKh
QuUSyKFPZjF+qTEbnfaxkQ3trdbaQwx1J0dPJ2q8/GO/IE90xKwZQfJeIxbur5+AN4jG2QmgyQ/S
hREUddvpCWiLxXD70UsDI9XjeJ9FukHGr5rdLrQb4Izj3ODGg/jXjSX4nJCIsa2PFUDV8qjH9myg
Ad3o3/ocl4WH0Wj14mmW2wFijLSbCmmsrEf4mxli0WpB7oFFLXqjeGYXU0BIw0jIVsOyevawXHvE
n0BMe8xnDQ9dcluh0xopzu++zZWXwmvtX4aNS9LGd3d+16LviaoPeQTNFHfdYJphXzp4xmaBNVfl
nVgQX0sj2sulantHun7RRtUqv6nVjtM5AswBrwAqw7rpN055O4611PEq4lhDTkkru0cvz5fj9Ve7
ro4JfmQO9K9ZjP7QWjna0qJpKQnTwYhs02PqtBUan233LFpdbJyiC0sxLTYkhIPZDQTP00ME2JTe
nTXnQQce7Yj8Ibj0znZfaNAoG0SQN57oavsgR8gODwMBBtSrjCzEp9Yp3CQJMLmzikChNB53CujQ
m4iZvPc0jbP7O9S68HawBvFrHrg8h6EHJO+mg02RlaNC6qeqJdRdttjpjVfbTf4Upu4S7VWrN168
LB/IWwagansOThvf9X2Do26raNGtaY/Wn1HHwHbnagNSRPR7hk+NZUpuarEwfBHMi3tftbr2o6g6
w4aZRZP0IezsTZeK86Nr8x29DU1BjjKgO933RqlAEtY9u6AqmFKNkzd4r6GjKPdK3lIgK+44bTGG
z7SoaeLJeeCbYA9gjjUgKSlyTe2mqQxSJfO8Xddb+rFLO+u+GBT1DkKzdVMkVblD3mz4bSoRNt4t
RqlY5ZXWjYefws5ChvOxLRfM6K1RSnp7RQ50WcMmb6djLr6R5pxfrDb4KdUCWwqegYT6dJeIWyQ2
QOQkREsN0DkFQtSBRbR6PfNbVC4x4zbbja/80qJIjkLjQdicofYqrsY4gNjL6OYBB8Y5Tj2WdtwC
+7qxmBM7bXHfO3Ef/OsXj7WmJt0jNPnXGkcc1m5WcMW0AYyNNt2h12h9LJ0cmFhND/D6WjI1PP0M
oV5CTwIe5nJxrNUZTdiFSDV1VbAsWIt3MLO8Kg8g+VuHURTeU4VaoA9pQ/16fd2zUMN0mCdDHMnS
KIHWEhDCJnLWyO8ErXA/0nPAhtI1MzMQo9G8v77U2dfFUsyBLcdGu5xgv4o0ijtDKJs13HFjkf02
is480mAqfgAIoGPjRMtGSXvWygXqhaYeQzAddQuPxOz0oJpcC27bVXXQoxH6GodFZ2FLAnWw7prp
WFga1Is47vlzLi3M5pYyQDjO3Yiwl36GRf6JhwbgMxLo1bSnyMcaEYO4DWA5KD9TbXRxOsa5UlhQ
weibTea9WaWKAdfQzXeDCkRKuGW9caec7z6jSL4b8IAuNcoaMiaYRmGfvgyBmmvicWi9Zc/mubc4
hU8qvwIrq41E4OxIc5yp3aXSA7cyh/t0+7UR/kyYJCgL4t10k+s0O6HVpMcimpdHyyswWBlQumZ+
mG90Gc4PNeJGTHqB/5CDA0k+XXkcDLNdUCcLEnvINLh0+nBXWSS3JGFpuPGYZ5GJx5Rq8Xw7HDha
vaeL8c0qAqZxF7idYXwHeKDddJ1aYaWkT3uvxbRrhkS9sejFJwTdicwfqBuyzdNF29Fgho9BVuBS
QO1VHd5+U3v6TV5n/UbkvbQUV6LHIIeWI+Dd06XKDOHLSPe6wFBjezcM43dkB8fPZudE/zjbchj2
oPIjJa0dEsi1hgqo/ryoJ51ENlacOzHN/Tso8j/iNHZxPHQoPK4HpPMDCmBJ3rxEXOZp9iogwSTG
OVP0zHSUKf/phFjlOkvoYtNoMZze6XNhtHDYWlTlheW+Xl/8/HuE8gtFTiXxklqBqxwvxji+B4VI
mqzl7jHmsycs6d6DoxbhA+TJ/8dyfPUapFuJBlujYuhX4LWlFXmwdIv5aC6d2M0NgzUrcrKvEzIE
h+uPd/5V0LXjNQKMe0ubV6dGZpUYkts8XgfRyB7s+U4th3DfDEO90zpNuS9nYwtfdWlRZG8lugWU
AkyN06NakPLMQBG5NwdhB6L03CNSN/PBYyIRdGaVP9j1GG086fn3YeBGhGSGA7QdMO7qU6wd4bm1
2eVghfTsWald5EM4VnuPccpGDL/0fMibUF7aNNBA2Z0+X9Q6+kS1nAfTrI0PZUblF+YFErJx4f5A
U2kCUrmpG32GGADLB0aBpIsRMGP6NZILbBB+2ouVB3Y0Ve8iqad9XArmIUCj9FukF/FUQKaVUQa6
Y49Jng7YMXvWDxerI39Bx/z79aN1/tmCa6PFIpXloBNIQ8i/J6PAu6JyQPA08Aq1eikF5NTBoPoA
6I5kldvFB6czlL1X/a9358/5v6Lf1ct/0rG/XRnPXzUbj3qhBn2Bg+2tDnVMWeQK7EACtc6yT2NH
H8XSq+E2Sdwt16AzOpnjQeKBl0FVRgOZc3X6lFaPPR+lrIPXlOPdUHo5T0yRlhcp1HiTj5bR7tJq
cIMpNeCLWCHkrkzLP+WlugWrOYtU/BLOACb0tLUw71jd44gFOXVhjQ64ceBBlT5/YPCevBNdhIdV
YVobl/fZ6/Xg7UlyF8gYssQ1HCRPS2OKDHvGGm5u3gMceag88Ab4KNf3qBaEL2Y1tD8GR1durp+r
8+cEaYxstk7px7zWWn3IbDZeSemiBs1QWUz7qblMFKyfnSz6npX6FmD20nIaoAoSFZdm0XoAniBw
q1dprQU9WnO7ClbyEYsOBlQTrdVxqJWf1x/vwomitGVvweMz5LHXdVvilaqwlUULVFo/L6Y3pc9D
ZCfHKiYL3okcB/nQsynJ06z4klqlSpqaOIfFzMXn6z/lTdnmpNph6mGCbABWIkuPdaCuCn4mI9QF
rk+hiucobbtuN87cEgw/xii6qcCv9i9qnWpfoI2AlfMmK572VF+9iSJ16QZ4Non6gUFhT86cG8sn
3SEUHJrQ0DCCb9TJ8vGTaQBkCxg5u65s7N4vESkuEMAOMaEqI7hc/5pRyGmOJDmxydQb7upTQTOm
z61u0oIK5LkAXOU4H/GkrF4S05FpRp4eEmS59rk9bwFXZDz4e0uxHIGlTqbN7A74zJp92YMlGHCw
WvxsMnQ/qlz7Lq3HagNGsb6B5CpSco63B1rq7MXNKBmYbawufqnpy8/USb6Vs50/9YmnPDIZYowb
t1taQWcX0H8WZeYATQoK2VrGf3JNyAmjufgR2XzD0HA0QIu6zX42I/2D1iK3lteQI32wa8lr1Xvu
bvFE+YRtb3tsk7HZCBQXN4EUivybOxhZqdPQbM426lVeooKgKIm7zps1LvslQFC4yFAUo3FsgLds
HK4zYiP7QK8cpXtyVipae5XeWEXYMpHtF1/BXnIXGoV3VNrM+1CaVfQrbQBzpDViCN2ozkcIz6U0
rY9uc50qE5Ei8QQorQm8EFyx6ZTFDWqLgMeKPv8yR5htRLkbb6RGZ0K48he/mb8Rprmu1w5iadXN
CN0DK2zN3nmwMSbfRcj5IbOmRNBP7NaBmZF7KjIO8RS0ZmbvcXZ1Do6eKh8AeZLg9OlWy/OMqSB/
lYQ+gvQjBBEQT9+fpqAOV0a6RDP20zc970b8WsTofZqWyr2rklBR9wi2atE+Vga6mCZKMMquqNXh
dqYDy/yTch0LJlVRnxUUCT/VdmK80JVMxl1pAQQJrofLddohfy+fNrUeRTQZ/Oq9j/Bty37MBEi/
pHtB8zy5G3BS2Q+2vZXMnjUr3taCqwW9WvIU3t7oX7CsKbfJ2nJAI0mWOJ+4+ZV3igIsK8rH4UcT
qeYO0FbK8a6Tg1CcLlgGu/b//XkpNyWASaYca0qNHXUErh7N3spYfsVlDLwl1LwPWt+Zm15vMiKv
wqZMsOh9yasIusDpWWgpnSFCEzaNZWC+1onYV+gr3IBPwLgLNyOsI6rMueVr048FkOBdNs+i2dVG
OL27/tjrhICtl5JokikHAu8sIRg9xCmrqFn8gumP36b9so9Ss7xT1U4ggLkYG9XEG/Ns/exIxJMV
aNAkwCucPruC3ljIegvuIGFzq08gvp+sau4YuMEOHXZuFwI9zJWOXH8oh9T2I8D13wcLbuHOlPaA
h8xIWzRJQkX8GFMF6ZRyiFEjdYxFOc5EGkzGWrP9hg22+S7K54LzEtX9rWX31rQRlS9tH2BCzi2d
TMLyqpqPROdZiAbR0+uKnMFzpjxHUaEQcDrJdA3Np+uv68ItQBscJAsER5KpdbqIYUEapVUlfDts
Zl/L4+ygzA4eIU1ToBOvfB2iNN14xrNIQAOGzNQGXUAijqzQ6RtrlgiwGIo+WAua7v24FNAC3SxC
fEbfMmY9ezy5lOwKW4yGKP1W2XATLdMSKi5L6Z3ygGvJdEzKUsBms2z02Cr7sFRdv7GnF5+Pugow
OBcd5KHT5wuxjzaNDM80JsnNdyAk8b5rVfR0pST69dd3li/xfGjqSQgqKHxe4+lSbcrxnxHS2juV
XX1JIZz4dgJSbuvSvriOyUGRbR4p9Xm6To23EWq7EDqLMFzu6IbQePHY2H22JOEHI8xKH1WJ+ps9
FuNzrAngbLio+aVdoDcR9o71k4zYDDKULjZ24OyDwYodqhQ4a1oJ3NKrNKbVm0kPMeuhfWh4r9R/
8wEyjoD/KbzjiCjSRj/+wssFXezauCGZDDfXzKMR+yk7wUp031SOEwCFAAiCA5EfLd7Wy730aBza
t8fjE11H9SxJBagFvhMcuYHKpwA5uyiu/b7q8mMtNGVjKy89GqW6VD+B3w70/vQlQybLcgtmxX5g
GPoaF5jblU7d3A+Ou9X5lWHsJGjz1pCZ4ZlgADCIXpUYLigB1VzABKLvI5L9lDYFMuWz8YOPxXjo
sKB5QvBqVIJGsdKDmvX9/vqHIz/89Q/gMQl5cAtB16wCQ9WroROWGKPbTjM/gr9Snsu2aG6kh+fT
IubkbkIBLmYIORfB9aXPMzceng6MJjtSfE5rIRbK2qrXbJisU9pX1cE2h3Q8wijBO5ukO7xpVMqu
O5oSjJNj5J+cY2gWE67LYHLNP9lSNoGjIdP/2Cy5+bER9GZ33YJMf4Q6I5KnkII2IvaFMHryi1ev
KypKJWop8/c46nSvji3GW9hvKVxYE8QOotSvo0lWfn2fLi3KpIkPjWqBQyk/j7+SONtJ55QCuNqP
Xpj8EW2LJJeWIThUdNMzuLshiIBNHK4vel6m8XI4lgyzCaoQeVbxBIkHuoJKUe3jRvPir4mHdiup
QRSWx2XRIFeGKaDLfd2O5m0ed9m3brH65ADzfZ5fljZEDcuFrvZ6/WddOq7sAemNLJ6gG5zuRZWn
IE5jcppxKpwAU7/54I7IEeqZob/LMEUHut6YReDW+ZYV76UoBCSD9AAnF27rVejX0kSld5LXmKEZ
PfqGKoIz7L71yaX/jR9s8/2fH1WaqPPSXURWzhAqDd5leQwset9ljb7vXDNFU7gKfaw51UMxx78q
1Ui/oNa45SNw4UGZYyD4Q9tBSo6swh9yO0lq0YzdFxHWgprZF7dDng17XVHMY6RtZu0X7lSb61vm
CFCE+Ov0nU6O2YRVGLGxk53pweBaZXyL9MqmjIp8Q6tYh3QEGZecmQJ1WC1UoxQTuhOz2NCQ+LJF
pPZxHMLuYcJlDwmbWTk2Sp35YcwYdTeVQ/9ozwMqAGVU2Ds6E/Fu0vT03fX3fOHzBgYhS0L+wZle
1Syp8JDXGzRkD6EBPA16n/kKYI2bsg2796DrjIc2rT5eX/PSlpMCQCqTwxXuuNWWL1mul2pCaTDh
V5NHuf3oKHGzMSs/O0iAkHCjYMpIf5JFVqskKT05hWELO10mPvhI3GDDCsLqPKh3A1iljbvs0npE
BSnXj5kCja3Tp3JqvdPV0XH9Cv902Xr0jgwo7UfVLRu/SaZNhLB8NScHigeU/D3OFKBU0E6nCy7M
DBx91llQV+DaKHns/ATxMUeHDu/XZF8j1vAMAgqbUmupUV3WIxS8YngSOtLcSQd9GBDIMa301jgo
mMn6dk6MCaxkiMtg9txE7BoDCeqdqNUYBOGkjkd8TDtvp0ROvaV+cXYSeRxqEcQ64Cho5rpXb6Ce
X5Z14fqupUBK04GtIqMDFfFQilo/aohQBob1zwJ/yEcZ5B/0BxgAEa5W8UZl0iWQvXR9bnAUjZrZ
xjKqL41lDyTN28+d8Oh41Vve5WffgFwWhT+LZACQ/TrsFEJF+NtiWVN6t924qYP5BP7z0ZYi9qWF
UOyg0YepGpfq6iatFSrpRik8SMqAw83ent5XlVV8uv5JXzr8TFikoTPxjQ09PYuTXRlqLgToe93p
32sTTnTVkFeoQSTqbd8gT3V9vbMkmamZ5OBz8JklMcU8Xa+NhxF+WAHrqszo+w1lVz30SBZru0qv
2h/XF7twMgki7N3b6fTWUhsTHJ0kzbj8LLCLj5oh/izGlO7MOhtuvTIvHnIO70aud2FDpYI5FqWA
bKiqVtFLoGFGpWF5fuWOUNrmxgYROROcMQ39sYz6Jh7/QjThnpdzWcYOkrd5uqOzldVLBZzCX9B4
AiJeFDhXUCk3Q0HpkyFdH+VKfOhbGvNz6zSQeBfvaE/teIMw45bix8XHJ8uSP4fovcakIDEUVoMe
hxJEMRyLkcxqkg3WIna+kFgnwfU3fJbYcZxkbuVCt9AhdMrj9leS62DakS8xoVQpQ0u/I+l1njJv
Gh9SWL0/FnNRb5rOcPEZ0QZjY+1LpwsKpInPrUxD1kmlSZTpRwfiShri2Gyhm/zQJPDkyqLtXoci
nd7jazybu+tP/DYWW90eRDyIBeRZoNrUVdzr6OTja5aHftlGlrhHNSYbvgKkRxh7qJS5q3zYrQJZ
AdfL37kYJY7+NGr9T2Xp8ADuTMWZof1Bojy6jnSj1OfQfR+G+tT6CaUIXi0xY+ed10d942Oj4hV7
9hYWXhPOsf5jKdT4QzpiRUGbz0Yk2hxtJHFNhHsOtV2h1ovgrVfeZ8rc5hA0o1i5jVqlNe6RJRtv
ykStpl3bFcVHO7RQ7RaGG+YbA6rzKkTO5uWABEgG/olvAP2/joVQw6Sr0hldqVbYyGsgqPjHDqvi
rgHNu+/0pfiGDg2qW4NX32pL2u3S2ptec4URyS6PRL3l8nHhs2CWD6OaHAMBkjPkzeCiANLNup+E
5fB5aSZbXo7peJ8iPixlkKNoo9Fy1iKg1fQ/OGZSRLjHp19GU9ZNNXkpGcPcmf6wMFUFQq4dRQHw
cTcqPS3ftG5gUZKJtDTbEpiv14/qhYemFCA7JWvGhHptYAmaQKGR1+r+JCYH8k1fdhjy5qp3QEp6
eFLQACn+tXeIUyePi9qbnBICWTh96grfFMa7teFXabU8TGZT7PCtyGF1Dsvtvz4dUHn6viyCU9uZ
i4Ee6wMVBwPHPJ2od9RSBM6Q/kjdNDnoWvqvGlUEVAjyxDpsT00S1VWYt5VJNRL+9gFxIsQwj/Gx
dvPqk9DoPl9/svM7mnKKBPU/UFWcBU83UYx6G1W1rWM643jZbq6S4ccwlLYTMC6C0nN9tfODymro
oDCI47pgsrxazRGJNhWxQfqYufduhpfyDp6SSHYZsqzHJYm9bt9nCjReLaurH3o+KVu31nmuJaHs
SJ0zfcGvc13YeK3pDJE5gb6tW/V+yRfjlVMzbDzp+fcA4hkpOlDAcDqsN2+0v6LSZGE/WudQ9dK5
Qj7KFqGxzwwoxiU9oI+LR9S9vrVnaA95aKTmgSEHhtBi5C/6a0W1bZC1SgoIRbXnVoE268OhHzr3
zkKh/QUcAQyq3M4KvynG5nPI2AEphDL8GuWN/nL9t1w6VBAGUVVhckZRtzq/nejHZp7gYPV2jJNi
VcQ3SW+rR+mVsLHPF5bS0HiiUrfhCZBunj71LAxDcaCl+GGq5c9m6r5SIocPXTR/uP5M56NtuA+E
dLot6CEwKV0FWUzZcEVKW9N35rZ8T+Or/hCSANVYDLp1u7PKKplvsibq5t2ctA4m6R0kpp2+uG7G
+Kap7J1lw4P1tQb6/L9/xtINleSQprTOgO90G1xdUbt8BFKeu/Rm/KEewhtEIYoJSQe92m9shcxr
T9MSecioEoBD4OJz1o+wECvpu8HwCwxEDAQaam1Y8GPSlvi9m0EX8bM0ar/OuUcfHqWf6XfhMhRc
TP47XzWnKto6/PI1r38Rr18KQcMx5O2cPr+8etSiTVXs7uL8gLKB8WvAEyPAyUj52cNT7mA5FLg4
AEZIsKYo1UAsfbexMRfCG6h6IjZ1D4iDtSJiXC5SHDJCB6gO50PnCX0vUGz4NVNG3i5lnTa7yFOS
mLRjzL8yIt26Es9EjQgCMhMCTQdwE7736pAmaG8qoVOofljm051q9ul9nqrtRwsv4ju6k3hgFXPl
x81CCpgrkf5tVNXqJp+T8Vi2Xf4K4qb6NlVqfmdVVvr7+sG5EHqR6eeY0vOgLFwDC10TidKiylTf
rjF/MlAKRyWkteMNBdZzTIPU5QQtQq0LJRNKwOlpEG5YNSLCEaxudButvQnEQtvDsdhFc93AJjXn
DzWVmy4VINTndIHkh0hrtJGaXrgDmA7h3iXVQmWf9vRnTLY5Ok7SqiRjRfxBz5Lms6knySeoy/b9
DI504yuQCc/qI4B6ITWiuHW4Zle3q4a+jVe7WIZYKAw8l64THYYpL+50b6pve6MFP8XQ8fb6O714
5CCx8fWBoUTbR/6qv+6diaepFyom3+bG+y6HUnf1lIsPrZkUN3OSljnE3TD8Y9ui/VJIFSsg9tJ0
hfpcfTKj2UZGMVILf8nc/t1UVBgjXf+JF/eF5hu9CFsCBuSx/OsXVguzH64OzV/KNr7VO/Q4jTqM
72DKodEH57p555hLu3HYL719TiCzKODbRMpVcyDJvGHKykLzR72KsIRtRPKOhAevj7mwk8bXxxGp
mOtPeukDAw4o2Rs2xcfbOO2vJ1U6R63NRmi+KszlFZ+4T3hfTl+vL3LhyiUP/r9FVjEmw+einplE
+aKVtu5wzBYE+LyoLBCx7Of/zzaCXsWnjdknzcfTlxcuLTd/ibMUCrFGcaASHKYDH4Hwzalh4NXF
W/r48vevPyMpReZY5EAkiPL5/97ExdSUsk5IiRO9uK0HDBHnrLOCASOdW5yJftH3qO9KwNc3/76x
UChgFNHlAKWwWtjr0yVzOrQLgOtCBDVMC33RdnyC09ZtHJSLz8jHwCUlnSDX2pwpsAXFJvz7nRfN
7Vet0MLpYU7xhGbUWxrIVaH2FEQGblK+rs3RvxpCy3uKj4KAwVcJ7mN1htIqyafYpWLVEaUKIoEk
Qqsu5UuDIMrh+q5eStx4QoAPwEu4EdaKdjWDrAp/Jd1fbHue73GmneZnhNWmyEcYgU3GZhxMcalm
rfI4JpPZ3xe50JWXvEfaY9fXWusETh8Pn2KVoLYRnC6FCVR7mZ8y3aZ0X4WJ0MYmOUKl09cj2F21
luDnscTdA65Cv2CfLRtF86VYKJlWiPLg1ouA9enh7gcAINZMDwtdamiHhfFpxH7tJhzy/OhOjbMP
zbjfONeXShOahAw/eAkUmt7qGUvHSoxRIyyVSzuUn91sju/M1mvmA95OOQPhomqYXC7KsBuSUjHu
pi6byp0SgxfcUSrH1daZuBAoqURBO1LSU/6uyVjAALSKk6f6sTJXylGNLK0PwBk32RcqjaU6RjG1
zb6vjWU6xlECH43UPmV7xtz8kmqFPlKcA1TeqTOeQyDPtWjr4F76jfLESg8VeDhrGmmvKwXlcqfS
x2s0ejahHuS5K4Lrn4cMKqtox/8dSVKEDjBnf0Pu/xXtmHcOIy7sOHBSVtzO1WJ9KobhnZo2yvFf
VyKocgLkXB5LqvU17Hlh2/ZRbaMdMBXHJHJR5KBT/j1txvL1+lLnp5ylGE/xGuWK63swLpPI6IzO
9gtHRdw4UdSAw4RbggIDQCjaFMyWmDd28uKi4PTktA8421pYoVlMB84i9nBcST0NDJtOPD0AN/AQ
mn5ICnO+9RpV34jk5/FDjj10QgE9NvDN8lf99f5yLGQMvXEwpUugg3L/oo0yq9YR4Z3i6FRY2V3f
2gvJNbxQRvASrqfJ0c7pgihJTUNGg8dvhVg+xkXN9BvoVf4K/bc7AOUNHzXE9w5pqxuP4eyID10l
tq7KM2sPieSjIS5tc2QXcF3oxJg+TsjF2WRXteZk6F5JFakonUc0AiBaNztN7427aHDmb30V68/5
IpW2rBCCz05P7eaPWtnuN6tM6x6d8Kn5jHoCmpexNYtq143K/Ktp3MYLvNx07xLTao07uB7Kx+u7
KTfr9OvjMWiZsp1AWM/m0VoszN5AB8t3tGZSj3ahJS7GfXpFUz7GFA/I9TwHAyEsO2SDkVR+RY/C
3MjhzyMNjQOGj7Q2UFJGx+X0lba63amhAXlPT1sYjVaavOuQ/Ng4qeeRRlbGUMwllI1GxWqVBW/I
Wllc01fnSaveN2OdK3tTui7XCwX1xqVzcTW6YJRdUijGWh1TbEeHLLI90zfqoTbuClszy8dFR5bI
d+wOycDrL/LScjSh0B5AUVWKwJ1u4aLOkm2FucfSJ+43203LwxDGyZdKx6/6+lIX3hagCWmfDHOa
OLpqefU420nPCYcquo1/asjqfaqjZCNPuBBWWISdQ7ed4sVYhRWgwC4YRxZZ1FoxcEiosoCmXgzT
Zm4X+7ZA3GHDxONSZDlZc5UUejpwEHcsHUwzIDPNKlZJ6BXNQQ/3/T2dzeh1EZqbYgs5zcd0jtX7
sZunz9d398KLPPkRq3Njhe1ijoIvUqAbeXAk3ntK4vadC4Dj348oE02IMiDyOTJrbAhIvq6gp+j6
EEmYnIxs+p2yNAQoZV62mgMXkjCQPPSFZMojC8TV7taMDWsvr11fU8bcONZxbryYVrcYR08rmmzv
JToqr3afLdON007tp0hk3oIjTDTdgncNi42h1aWNpjfMKeZBmRytThhGiWbLjJpjnHX2L8iYxXcK
+HncpYY+bRXGlxbjW6EKB0xLj2S12MgIv4TjwGI5cjVt1LgfyB/aG90Vwwad9dJSeOGxDIUpl9Nq
n80oSdJRSx1fE46i7ZEacKddE7eR+G/OzmtHbuQKw09EgDnckuwwWaMs3RDelcScM5/eX82Vmk00
MQvYsIHFTnUVK5zwBz8qVOf77e36VstavSB8TJ4Q5DygsK6XMS+pd9gOB9UOVR3n0nHsO6/u4j52
1SxTP8VLPFOFNrnUXRguxWloNCowBQDJrBuiVyfS1dPt37S1AthQEk1CJoB2Je6Wv0KSBQXDMEKQ
F2KN3n/Jw2bwKnrqsKYNZWeorbsQjSCWmi2tO2v2ko2kf5xRCvXiZGx+JlTZ7yuk1aKd211sj9Ui
U/wXXVbySLCuq+0TWDNmmgUAmcgwsMzG8Vj+hfQu6kedpGluI+XyzwS77p2bfiM6QFoQ9AKJmiit
rR4VvdTmnGDA9sZKtwuUHKL6GBFd6kd865bQnWczXw6qXIWfu2bK8OAeO0vZ+RFboRZ3hgOBDqq0
4Elffk7HtvMq0GrHC2yns+/nQVIWv7GA8rqg16SPkZTnsTeZVojrMgCV0C1tJab1PirDszwuy+85
y8ofQGBZwN5UsHLWe8sKXcxztdaz5RY1VmtOqjupjkbQK1qFc67djV3y/qNpELYKXRxhWrnukhRd
2KhKD56rcmYsm5wRi4hMXn61hLtf33sGcBxhJJAbdDqJqi4XrR21qRyCLvLpFHSPVow0DHqG2QF3
uGJnc14/1Qxlc6nBZUdRZZ0BKJ2VVnPYRL4x9PUpNYWqsq0Vp3TGaBjAxh4W5vp4Q8sVITdFU7Df
axyORGblAIyVvCqAx94VWedXRmU82n2yB3i6HkpYYwpvXTJGJBHE8f/rJqmXuMjaDvaGpKkFZeOU
x59K1bNWdc679wZDURCAKy+yqTVYzZkGG9OyiR5pCbqlqfreTRasH1pbK4/v3RsMJQZiDcFtrHHz
waDVaIhgE2wGZnDMKH54aOfJB7VCdOz2UNd7A4G7txQYOhI9Ee1yAZMevmMSpZKnqhkCe4ljzIdY
CmbQS9ZLLut/bg93fU8ynNgU9EptSJbq5XAhhbYZoHRAil8GSDkgHIjdXDb/M5X5yxy2+U6j+Uqg
loxXxvCMOJXaPhyj1d0ko3yMjhkQwyXlDnNp6aBZmiD9mz+khdyJrmQE+Rf+WuP0btcZ8g8bMdbY
zeVE/Z1YZfLktI1Rw4HCteeZZsaontBDw7LHXcoaX5zbC7QR4/Iek/GBCBDtynVXICCC7WnFSN4U
lOYnE6ORTymNY7fuMSvk5w1+6Fjl2Uy0exXt5KcwRrj09m+4flUEaQAtIp5M8uc1li2ajVGnrIVI
8WhiWlkKzHpUq8ekyUvqb5V6Z1VBckCVO0GXCE7V7eE3GkYiJOEVFW7OJEurx9SKnGIEgIqAf8o7
4TqQdLwEyfxfqiZhB4F2a+vmMC1/RLPSfIz0JT5SSx5+4TfQgHvX+pMRKc6xzIYhOCQOJnu3f+DW
JgbtS+2f61tQKy438VstMJEt7rfasQ96GqQkJEqEjVHUnxCamH2lzZudQcUfvYww6NopKIjzWTiw
615hFrcNrulIJZPeGd+Cqix5EpvBVyur82dKknd9HM9eIg3RDgR/644V6hWoLNIiu3JqreEEgxTN
kK5VFLQNEtXynTyw7zWj2KvabKys6I0TG6O/JXbf5cpKkRoXs87KwnUmPLTGdAEqJmm6pyhT4OOT
m/r0//ba8luHjmEJD6FlWvzvasdh5BzzX16sULVm+0dclZ1Pq7T35X6Wk0OmZuEfFHWc4DjqqFVB
ETccN5qKPTmnjaXmdyA+xqGjUrCmoC4I3EAbhXg645cYeoY9gNtH57E/pcqwh7XauPpBAqDIRYOH
duD6QStbSwn6Pg99J+stdB/UMvoYhnI5u0s2Bfd6axg7ucjW9MS9xsEWMNl1U2coVbkuG27/2hkB
5EhZ+T2XQQajWdF9u31GN4cSxie8bSLGWp1RCsl96AC/8SSdzDnTrfyctDFeHRMypf9hKBqQQgpL
AJ1Xb1rQjhUCWFrghVPioMqqo66R52ERuVJi7r3XW/OiDWRC7kXyCumvyxMC073LsY8NPF0Ph94v
nFFuTgg+Y6OY23k37NzFW8PxeqK9RA9AZa9cDpdqNV9slAJPxevtKTLH1CszlMgJzbVwZx233mpM
GvlW5PrAYtfvTqwiz9O3McGBPlTNQ2DE7Sc9TpNvWqUUf5YgrVu0e2r9OZZjSz6S0SQfJr0w8Cgb
l+nfHrODgPswnJBVJ5DBTsbU0pceOfpft7+4Iqa9uoxpCyF8jxAXb4C+qrBBMZkjFEnE0ckrxA0y
G4K2FFTdIakt/SPRY6+44RJVL1UtR7M/o814kHp0lOOg7Z+NGL1LMCVARaW+1sadj7bxfouMXyRk
YEMJ+C8/WtiifVbMBuFjaEmgjFLrEfaF4zbyqB2oveq+Vk74P9dDa7hZC2Xl9vJsXCxQcZFj45yz
PmsSQhjno6MnoAnxEO2PTS8N4O55GoNpeoa0slcl2xxOaHXAAIRxuE5vGmOmaOxwaWJhfK8aWeFh
Gk6Y1GbjSZnkw+3JbZTJKMaJgbDyAIO7fojzRVbbUcYiMem6+NhQvDvAuIjunAnzglpLqwIbBKP/
vAxZ9S20nOIuagfzrhkWaycj2diFIDoRCKY2D9zwCtXdqkOPALbkaYO63AtDXNRq9fZ8e8Ibu4na
Atc1wTPHcy1XQPwjOWGgRn6Pv+M5XaLwg5SMzj1JfeXl4BWPHUfHnTt0xGKlf69pAwE8kpxEPeKV
oje/2syFJvW2NgP5wR1ROeb4dWA5raAz10S6b9SG7Nqoj+ycoI1rDw4ZzfY3kBzTvjxBnTIJbR8y
5loJrAPQ1NTHSM86BOP+rXeNTOTlgL8vyPuclnWFquHqdjiJka8szRJ7gE7Mr3o9TveNLkcH1Umn
R32KFxfJYqoRYwqpogvjPemHjRlTaDDJ2G2CS4qulzOOW6dGx88M/XgZlVNXElRSr8n+6QnW9u55
kVOubk9dCGyAnQFoIK+VrWMsoizgBBEyE1l5V9HE/tyYUncq4jQ7D3lbf8/SzhHvaYF1ObTeO72p
4KlkRvC/voYoPXWQXXaSno1bBCaNAFmIn0QN73IBGhAWupaA3pCc+I/WAmvRwsg+mPmQnEqnnXbu
yK31JschN6USDCdlVf5Zah38ZaXi2TIV9J1HbEm4n0XQF9GX/Q9zo9IK5ItyM52h1WCUclvU63sG
K1uZ7HVyHp0sse/KwlDwn9G6ZWfArQeSegzwdoMGG3fTajtZo5rFC+Ie/lLJ6mnoNOtkQaz1AyM4
4Uv0AhQX5rujNG6r6POpwpX0pW0GxW8RZ7tPNBQsh7AKDrevsq1FJ4+BLkUzlSh09WwnOKzOdqrF
fimX6GTm0sdehzPe9kG483nF/NZbHN1i4jMcZ0DOiyPwV12KQqa8WAYXCGXwFzPq8n86HIBdzSq7
R6dQzFfDgv/vWFK2U/DYmCLtEopuEIz44utzHEimHgRBEfpSgTDeNC0EpG0MD18b/kNsCMQFdAyl
HMHNXq0meCen76o69MuhWE4Gzu0PZgRlKm2LPTmBjZeOapjGsXzrN64bBnOAKn8uZmWHSvCkRaH2
VJZLdHr39kC3W4gmUn4BkruaEGytKKuNOfSLeAjxqmp6pz4kI970bSzvNSY27huOJJ+fFaQxsQ52
taEDHhQTtVAsNx6dfOA1m4spduPaGRo/kPTux+3pbY1IvADenlPNzbOaXlpMuVpoXPFzXQYnu0Pe
3V7sxY1MLXwAsbRHONkaj0QPpQ1he4Ov8eUZaEJ5GWrLCP22rhHftYzB0xBN9aIlsr+krR3/h88n
EgeEEGBiQbe4HG9B1CdoSz30zZEQNw0owZgzhvZYge3RCbZOGRtF6E1YyLWud0pRY3A46MLGq64W
Pw7KxrPy2HgNeJneH4qwSd4Md7mzYBNfzspaOthehZahaKwubhj00lkOMYKI8BF6f6GH+hKDCUsb
UB6roeo4dqwCcVd/Huv2RVNz8x7L2/ExWaQ9PvvGAtKKMMljYSLwMK3eh7y2c2D9ceqrUYVkQdoh
xaTXTVG76TBMO0sofvfqMhasD+GdS8HjCt+pDb29WDTj/NSQ66/gaeqHNtyVPNkqIiFUBt8Qgjnx
zXq/g6fqRZ8+9VvIpSciyM+REcjncbFxxoLQ7lqNIpQ65x7qdVKdo8Z6r6shwTLkQ0GhEwdAWZsp
1nzTyklGltW0KmyJ7F99EOefEQLt7sopCXY2zNYzT0uVYjHDkfKtsdcT/Y9MU2paZQrSH2hmFPVD
BjbhvjeD0Z8CJ3/qqCyepa6wDr0e1y/AGItPLRjAx7DQ9dgr81r7n26M8b+3L7uNb041D7cpsBoU
9NbvoEIjvdHyMvGXeJCBRUpQXKJ0j06z8cyzn2itg+JH8mLdLwxmQqkeExM++WzD35Nk/DJVUhNs
dZfUPE2jZT5I/YgqeBxX5k6UtXGIKKJxK5AgURdeBxmwUmZAGmnmZ9mc/C4sKXwMx9q8j+1ip5q2
NU/69QC/KCfQtVk9HWpvDQUfGwxI0Zj3ZCfpHVGBfKB6rx1GFPwfEWdOToQD+vn2d9x4RHiJ6d8o
lFpEU+zy+uvbSK6MhDnSRI3/dIbRHsZZG3AiNur23OfjHghta6rUnintMAMI/eKf/xW5ddFiwn0C
ZJ328nCk6Ty4bRLrLrSx6Jgmtf0aDEvlqnpYvv6HqUKYU4hPQVStIfekPDEqPSyyjlCFi5j1+KW1
55+zPE0nu3Csu9vDbe0eige0oMmwBZVhNdEZ1JGeTEgUDEbxfWqM0FMmFG7lqFP/3B5q6yMKT2+C
DhHrrGVFqwL9wGKRM18dCxOeW6H8r+iy/MOg0LnVzMzZAYpdH34qbBRpIHdR0Oclu5xa3CxNO6QS
Zojxknp47ZTP7bDsyX1eL+DlKKt4A3+9tCgzFBEaNVO+DEVBhU0pug/TSMvgvQvIFQPQjpeFD0XS
fDkhRWrmNsoWgVyNrE9It/7EA9g8OwDnH7Ji2IMMi3zw8sEUUAFaMORw4JTXBUR9NJQ6lcPCt4V1
Rkmq2ropRLlneVoa1GdwN3aNkQzOmjCI5F1L42bnbrveMvwEhwoBIAKwnW+P7V/HsAowAZKRJ/IB
2dkt6ql69dmY2v4+QEjglKGS827FRkxzhHCH6L3AOFk/30OhRwFuuYUv01c7pFWsnBY7cmhF6Xty
DFs7h8FwVabhDv5DTP6vybV61VDlqQsfAZyOrjPNiifYf03vInLv7JAdtw4DigsirUFCnxTqcjBg
aJ0dOiMKiTrsW/pBhYsRa7wXCognYL1nhJcVcFNoI1dScynaiugHoQQW161Ohcoc3MwcTBrVi+on
2uQc51nNDpXazSc7CkAZBGrw+/Yxub67eQXo4wGcoFx5rQJlpZFd2mruD+XguNpITlWAQ7nDuj7x
An2a79j0sy/P+bBTit3arkIdmwCL7AP80OUi4y6/WEHFXdCl9vxsJPOfzFCHHHAkGsmYooyH2zMV
udN6tdFioN1EtElqvHqQkwyYdCgznmwtv0Zl0Xu3LMbicYo6y0OZuXL7qIt26KpbyyuwL2/2d3Co
V4OWCKTUWRcXvqPTEWoDwilUGRB9yY0UIIeSntLYib8qUh++vwpsoVsghIdRphJF2cv1LeKqoz2E
UqxU9ZGnSUX7PEe4BXWoVflZYZSeaSbzTsK8UernMabnTk+ELUVV9HJUqbArc3BQzaREi2pT4UiZ
7sWZqf3kigi7Q9jhjX4nISXauY0VTDmokaEBEj0I9dV2VN+PrOIHAYoAh0R8Qvfh8gcVBIF9IqPz
txiN4taptdwjsY9+ltoFf27vsM3JO/iUI3BGFe8KRW5UYWvoeJ7gFmuOfpXkaeVGaCdUrlU3PKhG
PDyWY7R8A/ROFEbmOLzORtifaj1xvJ0fs3G7iA4PL59DDwIn1MuJ580E5U0T4tZtZZ0gq2de6FTf
BvFLJiWIzzY200Tedn5noITiB13YHt//G3A94me8eb4icXf5G7jHcilIycRDwjL5qY6M8Um3Z8fg
rFn97y4O5A8GAWLzKJlx9LXSuRNORK9ltPM2bjzPtH+F5wYLAk1itRhTIs04r4epvyhtdd+Pqn1O
lXy8L0ogY5IWaPdlN2QechD9lwkK8841IO6yy7tHWAEIhWgE92gXrIafY12pqwGpq2XOW0/FvM+b
NClyh15q/Ntrfn3NvfFN6Ivg6oQqnfjnfz+UWV9NMX64Hsg+B4KvUn0dqnT20VfP7yScVb7pkyln
799tFFyQyYAfTTrN/70ctisbZcJYwcHTpFPPLbQfP9Xb4gle1+hjvcqVs5jqJ6gX53m0ywdlavOd
33D1jVlYUzS9eNEAabwJf/01cylr26zTcLmflRjgVxqDFEUroMygUg2S5Sr2YnyMyjnu8MlupuJA
gTS7e+fq8xtoItNYJD0g0Vx96FEC86BOJfqNgRHep3NXniy9Tg5RIlmvY59hIT3v2p5evaRvg9I1
RRhBSBCu0pJWabtwqCpEDqWyQhAl6s9BpfeHds6/SWEwnG7P8Zr8K8YTIjwwDkE6rENriNuDhgbz
iPJm7nwtM7O6b5yova+WZfY1lKLOnWOO9zzk1oemT4JXHEuNc985/WM5ydrPOuxmY+fjXz20ouAH
9I0Guogn1qDFdOxSlBibEaipZB+LslLxgC86T2+yyTWcdPRSC8EydcAw9fZyXJ1tMTLSEG91E4Lo
1c438Od0evr3Xpc54aFu6saHVZ94s9XsoQw3JykqqMI3R4x5echy+rc6hniDZ5mN9Iw0o+yWcaKc
kyhuTyXieYdGrRtXphe7E6tujsyQIs8m+l6r0zjmUkhOxSRtY4DR10y18lSA5vpnViH2lordvGI3
iYwo8nbaTjS+tcDi24IgoNvKS3I566DAuV7IAXrDgoDVqYw17d+Qumt6bEcn23myrq5PckXeB8y9
YPOAHlwdYAQXpqKdYFcA0M9PyxCBlIxxwP00ju14KrUcXYu5x83y9ibaHJaQgRSHHvqV0iZa75rT
TOkAuTZfToE2mme1mHBdTZb44LwZquRxs7NzNz4qmo/oBAMVABm1vjCBY5PfmegbtmmT4Ivc9D6W
85pbQ9jyiVWCX5o1hnfdkuyJwG58UqgliN6+ibjAGL/8pPSvlQFWAWK3hVzczUqXvtjamP1WKkXd
2bkblyNlVp5DGC2ihbM6M+lcax1B6OARmSFbMxB4YIdRtY9Zr+lPRRk2X97/KdHUpR5L2CmQp5dz
U9UQqZy2HjCwjPRDmMzZXaY5qGzIRXOImwAxwSku3kv8Ytu+QRGoTHFBrK9krmNbAdU/eEkZTccA
Bbr7sWrDB7jg0c4J2fp2tEph7iA/S3NlVViRWU7TGDghDQqppzhp5Cd7bHIvtvvgx+2lfFuri7hJ
TAt2mUkBlV7muljctQYmDFY4eFKi9C+9lCaTP/KkGB50Vydy0VyMm+OsK73p1pIT/HDCIf2Y6U4w
uhjL9M/KWKc4RQeaOvvob2YfNEmVDK8Y5ci677LWcnwpC/TvzmLlT8jqhD9rtPknr+1oALgz1dl3
I70okxKDcuJggvJOrW4zJW3RlB4cbtI+0R97rWtPXR2FrwWuCwK3vddWf7OSWK2hUFsWm0Kc9DX8
0VTmcNFqIs4GqIONhQcm77+pZWWGm2TBGN4v3Zj+sFjJ5TwUeZ6/JvWcjT41TfQ2eyuIP9hDkDuu
oRYIflAZ7eZvUzZNKFwYqBy7S78Mn7JBGXeC5o2TC8hDkCs5v9zEq5WiTZqZUSBNHnkUbHTM4sJf
TW/U3Qvkxz5yoyHJjZ084aryw9dhX1M6J4UjZBe/6a8YUsESrBlbBVezaq5eQ8f5p1NLdWdbbw2C
+yqFcqEtQAnkcpC8XWKla1Uihijr3ajQTbgxRXq4fXg2nhSKkYDPgBqAOFqjwJaqsmO5kwhFlWE5
80mHO33phK5AOJ+XvHS8NHKcnSdl43LQ6KtQpRMGu2QDl1NL9Llz8oUwLG2a4s8wL9FyDCRLow2A
StxOzLc1QxBuKN6wTwh+V8UVeVhaLQkJ+KsqzmqAdXr12iFO961BFBK6TNIc7SY0X2+v68arSZkX
qDkNX8RE11CsBAreWML38KZS7jovLMz4NZkRhhzw00X9LDPSR1lP46esG6Wdb7q1vEDswBayxSm8
rbYnULpYKRwuD9GsO/TNLIcnWhHtIkiC0rjzqGztUzao4N8Dr7/iTxSyMwEoiibPKgrzB99cVV05
MfcKgVuTEmaxUFfA3sLbvtwzi+PUjUG/3MOwbsYfuWofhgl5AWQ4UHy8/fG2xhKK8BbtV0qO6yb6
xOsMNQDkcU/pyTeiiXCnVeTmMUmb9j+cBSE8z8NFrGOtRT0KZCUBHWJQ0CgIiwdsD2+mAXs/y0qy
cxI2vhTZGJc2TVUBjFwdu35cRhRKOQmajDZ5W+kBVK2m2tkPGxcydT1MPKDXCUyc+BV/XY6aXnRa
PtOZVeqIBsNYKRZNPaPLXWOIyvp+zkxzJ/a/LqnhqAdYlwgVcUNK1KtHgMpJzZNkD6ivVbF04HTL
v+E06U8oPM1/8NwD/6AkbQUKwply2Ydan5/kWmpVt25LJKjevX9E8gv/Q9ysBJaXSxDlIUioglwE
uUPTTabZomXfl6cRpZSdqW9sVaBVvHzkXNSr10TlZJzUhDLHIFgm5sloO/NLXycaXLY02xlq40oz
KNHpNBw57KAhLmdlJs3YN70O2Ag5kbM6KKgIKcb4LFnq9GIsqXy2azwNkN/VPrx7PekcCy0RvP+E
0sflyHHHOgYakzSMOXoOs0ojnojHCuXzXJt39De2VpSERqjN82qgWng5WG/FsdbP1ogFaJt+SRMY
0bKkGY+AaJO72/PaOCpC7o6olbIMCLLVUHptmJU8qD0cSml8nltFPRoC29myxX2tGfeAYxtPIeNZ
opGEeix4zcuppY7aOpViIIRb9MMxpELmSkP9xVQi7WxlznRXyLsGWeLorQJL7jW+HfES5NQ1NNSU
ZMRN46H3ZkNPczekd9e6+uyYzyFyH5VbakP+LePfNd2wqsvPqp2WewaLG5+UahuQDo4KtEtL7Oy/
rqTeCRTIdaxzaKT5v5EupR9n2ZmfTAyj9yL3rTWm6EXvkZ7ntRKt2Rh2HOoRiR2m43e9NhmHRQuH
pwTPbB8CEkkJqJKdm31rkf8edLWROiVRltAkA6rMYvDSxZrvsiWEdRylFk7jSfwgmcWvnOxXCMH9
hyeMBiV9UDrKaNZc5bKpbLSRGB3dH90vR6U6wsGXsHQt9noFW18STgaYKNJmwei7/JKNHobUkljd
KRrms1KQeGVwRPwuMZXj7cP5Rm9Z71whtEUvGQT/VcSBH1DRdJPee9ZgtoelqZKHRVKTh0aJ0p+l
pbWD6yR1/bHuVc9I+nNf5Wbt5noTwzDIjJOI3gmhF/MXLglLQtLdG/+LevRWb//QrVsEfpzgAwme
pbl6/OxpUU2A1sjizYX0y5qiSXWLVK4/thX0bARJlE+3B9z4CHAZuLL4ECzNOo4A1V10acJxgi2G
p6SdtU85NeWj1YTLt/8wFMwjARmiJbM2N9BG6n3NIPfIWjfSR61IwSelc869VQ/aTia58b7xuICr
ZxWJkNY5N+2COi8MQIS1jUi1pNEIbDnnn/sikRDKLKpzBdrRbSac9G7PciMwY2TCMqHKQ/1yFZip
c0vB25h6L9NM6YxPqek5WqTs7JNrHCVgBYoKAobhCDauuLr+ugbrilRj0dnQUq7m92aTfrCsejyM
digd9FAKPo6Dk7iTDBsprHRUIK3C2XnxNreOcLISwpuihHr5E5xZ01sWgtdA5tTqoa37kk2OC55v
9m8v6uZQosaPzgYU67VhVhvKRm0kNrvUme0zRgMp8p6pcuRWeTdoQCws7XM4PkJce41wseUwixaa
gp5TWcEhHqgXdZEaImXZ9V5HAo3seLlHdLlmdb6NCnIZ3UNhBbnaNUtkynlUaL03ILh+XHIrPaBI
uDzbCNWdYUlY87Eq9fqY2omGJWKZlaBlg+ExkLPxqKnJeBqkEdE+K+yjQwa+wi/o+u/pzW68hyIy
Fx0n/oeDdfnF68YOkzBTOFVtOLz08ZzwTJTOPay95BMajY5v0mk83/72G+8hXT4yKiI4ztMaxaGj
ZADEiW3W9NNwByOk+ZEmy/wkL0tyGvo8NVw16IPHpIHoL0W9umf4vTVrTpmAlWsUOtfv1JR01HUi
oh5NmuxT1trTQxOS5IU68jy1hA/HokrZDlZm6xoR+0BoRIKUXsvDxJ3aqiX1eW8wSvspxMvE7cNx
j92+da7AjFIuEjcJBcrLDzrpaoWoOJeVXtftQamK4t86b38HSd3tZJLXClsCXUW6QctDKLascfN9
wJ6BNtd7VRvYLrqT0ktVdN9NsyueVSks6F3qqi+H0owMbAGoXi5b7Ntr/bFI8+jH7T21OW+B3ROV
Mhowq9CjHMZoSFXxPBhBd9Q66R8EaYfPdEDKnWbExubhCTLQ6qDUCjh4dWRCqs9NWkoY0+Nl8rUt
eumuUJNWd1E2X17iptRe9UDr3k0dIEQG4U4REP8bxHFWE1wSpx/KpQZET33upxLUtjsZnfky5dMu
I31riujNgySl4IySwCpmiZD8D7iHyXx6WT9WVTR9QW6EyoQ6mr2goFq+VRe4yY9d22GKhSjiMY2t
+g5ceHFy9HKeXLtIEh08YY+kcWAShIVSKR1Go57+w5YH9gaxTWDeSd3FbP56OKtMaap4dHAtjqjC
Zk4U+1kSJI/m0LybvSTyFO4LylxvTfrVAzlJc9lLddXjVN6dMwf/5G4CgBP1VfxgWqW1s9U2rgyR
54qogI19pcvVxLGUhwxJ64RVc1ozPyhBp36+fXQ2IlTgDkKAGKA50LpVelLPI86ZPa7PnazOaAGP
ufOYAWn/UU2d/ZxIafPn9oAbZxUiORU8ygVULK5wtnhVjnOpdV6KYNxZ17vPiiRhhRO3exptm1Oj
TAjpBi9mKi2XW0OPsqquR0YKjIUAEYqZF4cBqkKZPN31SRHtvGxbpS4RIYpYmKoBzg+XA86RHqpW
zVrSZgkASMnRtwmBy3tNH3B2aIDXHJpSX35m8ZQ8pH0gPUu8wOchrXv5/WUu4n8CVsEBIiVbfda2
HpsBz0dED8emfsmCXPNrbOcj1+yT6b+MBW6a+By+BFr9l9MG0K6R1rLOVR5GuYc6gHHfligqupqU
Th9vb5+t24k6AYV7gCtg0bXLwSapyaSFDpZXItf0I0779HsNMOW1hFjV+aO5zIWrtoqz88JsHUZH
QSBelA7gSa4+rW61/GVD77x8CvCZ7dLgKPWlfLw9uY3YSJi2AX9herQIVu+3FveWGTeMkjjd6Adj
Irtw7gy3mnMDKUslfQy6LH4cS1ylA2PYq8VsD093ggyeXuM6A5DCSQoQ4OIuyOEuF5NRwUybtYO2
dN3dYnXLfWdo3cmZHIlmrR7snJ/rTwvgklNDsA7Q7kpgpBmnOul0MAWpsiw/piGzDwEyfolfTg7l
4TywRskdSkveuQKvbyQyHv5DTZjIDKzt5ZYqbLMsiygaPUx4KNPMufyhNZuXxsjk77e/7zV3jOQK
XXkoNghEUoNfhQ+zlE1a0lIjwdK2MQ4jOhMflBg7VheJuPSH3JjqKVAt6ee0JMULvUz13omT6EEU
wr9XyiA9wm+zPxVysCe/t7X49B/QJSUlEzWyy0UASFJoqRX0lEsCmDitjCFTgyd0iVVVG2EgaRtu
jFX9TuJ7veU4zJRXBdyOG2RtUNvhgG3p+IJ5jpPmtVsu9gyAvDXbH+AOFdNDCCE5aUM1/IwWRDSP
qbbgWnX7q1y/E/wGpKAoknFbXnXJlhx47WSB94jKoT61cjY8x2FXfVXpXn+mWfNuoQ1R6OTfgzoH
9g6i/OVSL1ZUqnZMqXfMKT1hgJT6UYMFGvAWc+dIbWxtZgTIA+QXu20N0+kRU7aajL+d8Rx7dTSE
gFpsEwmlYo+8sjkUEmaw48nvqNJfzkpKusKsdcpBshM9l7ZwXModpXgw1X7XrXBzLK4pQEFoFBO6
XI6lDlYWFhXpNdUSpXmYjLFyzmWKGb3sFPPXd28P6LOC8QkMmqbt6mREkRPLg8NgVY1FQhDpz4m2
BLEfjVbuK/OY7gX7128NmneUtAg08fHkMbicHa9ArGFWTHETFMczDMTEVypugtvT2jjwYsODrSfK
dEBoXI6iN6lkdBMpxYxa8ORHtpWMbhXV6XmeLOdzbDbqIamCcq/nvzk7E2AD8Qlx+1XBP1TNGaNr
LppAskfPicv4BJBD3oNabu0RrljKdlxqYB7F7/grMZB7qDJUjynyaA1I2hYgbz5qkRdTfvNvL+Xm
UOKvobsp4r/VUGmVBclIZ8rTKhkBO8Sz7vNh+FfvC3unDrpRJ0REjk4JSTcnjYD9clYSKg6ikMhl
Ybe11+ht+assFtvPaj29KxfJfNQ7/WM4jMo/SRwv3zBN2iPKbX1AghTOBNoU3M+r2SKXbXQOKnpe
BMPJC81lObb2kOys6cbDQJuPLoKFJhrNqdURxzEtL5ssB8Y5R+ghBmNwNxhzftBKu3/qaqfFzK+j
Fouc96nWnD0Doq1PCnyU/jA4dErcq3hPqxotMgYaNv0SJ8dJSmsf8v7g1ebUHd6/e0BvApwXsQdP
0OUnbaNJsvOixKS6SAyvrRFhHgzsACe9fjfdj79O9EEvCIo499nq04Ud7edaBvmHHHv7jzy01Rcn
SvK7CHzYzk7dWEB2B4Q0HdcXqESr6yWfO72QlopeG1mIr+dRfZAmC5HAsXXe/36jg2YSnKMRyp22
2iqjHAyImFBRlBdegFjtBoS3hUqtTc0t9KoUj5nbn2yj+iUoOWiKIIkGunENamhyIxtk8a4WCY5n
bp4tpfGhl8ZROZTtVP9rdnrcASDvCwNKXmK91rmlQH1sA+tlSnEVOYRmofT/2/lZW4uuCHacIzjr
NCwut1IyGaFk2twOWTHVR2k00/rYdyOGbVwa1W/TAFPiQQ6M1K9tNJpPchfFoHawyn6UFHhPrp7g
gvA4GZFFmzDL5U+dNqXVTlCycbRFBQXNeLodRCWrs4WozWTIcUKBCVy0b1Iq8pCN1w9Onb7ENV6M
PFbKeZjrnlI4Mqi3F2lrjVRVx9eJGrAG2vZyjUrLIC83Kf9WURy7MN2khzhU/pF7U9mp+W6NpAnQ
C8gryAXO6rQlThaiaIq5a5ViKl+WFEAB4ESesUx76ocbj7lIGVlWwa4FGnE5KY2YK0KUiZAyqueH
ClsFgtnGBoQRa+GpVmf8uWvq6beXUvzVyy4sRUmqoQLMRodsbQBgUV5toZ+BOgnZRqM6ZT9Moyx2
sC0b24VRLAEP5HqEqnE5NzyMlGTQwbYo+On6+dKpD1Gbav9zksQ6Sp0eHRGYMv3YCVW3lFv94+1J
vsEB17NUHO4XcBmiGrfaMPHg6Bm098HrBmyyz2oANQecTRDMbtAqUeAFNRSZg9VXkn4IorKbXEwp
2t8J3FsYsb38sy6i+lRiVHQcgiC6GxFm/dJKaWwewnTU26M2RqrkxlnUUiUauUwPcdma1XGmJgbL
z8jG7N4ypOKQaaFT7szvOiclkBBwd1F0oKiyLjqkWIJ1JvERXmfO17gaTk5gilauSEodyaFHleMk
Nc8Qk3JAWYq48JDT/57H5ivmAXfgx15vL7m4AC5WXOwo1M/emPiEVKu3Y0L0VLF66hBz1iVfU1KX
z/T0p/9zdl47chtru74iAszhlGSnSfKM0tgnhGTJzGSxGItX/z/UBjbUPY1paC2fLdmqZsUvvOHU
94G59wa/jrW8Tz57dXVLpm9by7cj0w8jrKHSfqniKTz8yipekChVQUCSHvR7uwf2uibKAx5a9jce
kjdXxK+zA7KEscBMXJ7bmvqVQHp8iHQ/6Q/LYnbHif5BNPjmciPevzYU3LVN5cMn+L5EgpDlFn2A
+QKCF6WMkmpuDraNR2nN2bvxIF9bP3ABNPnIBDdI6PmJHRvT6fN6grvly6SFtzXY3+rSSL7C0Oxj
/DQRQCyK5WlUq30j7Lg6NPXlDe8CLuGyj245c1vo9swCrm6GMK1ph74opoO/zOnDYuQp6lWyCvtF
pIf3N+21+YUFT4eP8i/ffXFNlVqPDUoPnriARRcOFaJfHlLyu6SSt8SXr+1SE5woZE1kfiCIn89v
aUmncAI14I7ZVyEVRRUvAWqZteNU8Tq55o1m39XxqO26jEY0ftleoyTJItMPiHRd03d1AdK9s22s
cnwsOen43eLcXx2P1JC5hDHClXT+fYRexTKv+WYKX84vw9gFMRTJ9iTdFLSJVLe8Qt626zmGlrfp
c0OABYB3MaGm1nbUxesReVskMPa6hm3NPtNgOEXW6Dkf6sKt/dgKvJGnJ9DSD61uD/NfejauzH+R
zXPY9Fbjh345+jgWNPA2+UPzIyR5549Tk+3Hok3/y/iXxPhidkhCFwMxCRoovPi7YPGLpyQnfSbD
rV7f39Nv003GAkVEpr65RINhPV+JdM6behW0OxNN1145s+K1tFf76I3K+D7IBjqsUUvaX1wCL7bm
rz8NXY7+n4Zs268g6MMUkCXyLyl9iYKVUCBsHulVssaj6RffVDMgLSl8vfry/idf23u4t4BT3hyG
kLk6/2JUFitobZIa+GiNH3iKhjFM1qnHEycpynjIxS08wpsoiq/jsoI2aFF2pd55PmKXlsLwZMdt
2bfap6BcjecsS24EUVcH2cpldJEJ1S5L+xi5rOvsiSGqMHH87JSa+1guk3l8f/Ku3YHYFv//US62
i2GAJ9X9dogmFNjiLDeDKEN0Ne77wt29P9S1deKGoIJF35LO5UWM4I/15NU0oCPNl+qBeqT+3BKE
vwqiuDbUFLfujVft2sdRCdiUIbgDgcucrxOWmkujCTrNhsBSLMGU+pCPPnVHiSb6+x/3ljbHnkD4
kFAPuAiJ7cXXwWVznMXiBc2mxcp2ztBbzyalHHdPg1t+1GYxFFipdUuOT/Cg8h3xTOqFjmyGzzjZ
KS907daoogz6p3PisoAs35jmlIVtJVwrzPXK+KvIejBQTmWWp2IeNTucEJv4Mds4C4cTspLmjSW7
OoF8zYZxhjpxWZHrWRO3dfwhCrzVRL5j8vaDVeqHgC7zjQm8tjso1VLB0VFApAhxvlae3wivcYgg
m6VUOznVznfqYmU0u44Wz5Z5K6W99mkbqYeGNjcHKd/5eJm+WrmRrIxnUtNstJEQzqsLIqzkf9mG
aKGAm0OUDn7zxVBGWtnUGunselWSI5w8dw+FUpBg+ia/kcBeCaaoJZA8QmgGT3rZQJ8czZ1slY3R
iOX5zwSZ+TYUtpoiV9e6O2CX9W4WehvPztilf37aSNLBwls0STh2F7ei7P0yb0VDkcCsReh2znAs
QUiGnjGX+/dP25XFo+wGQBBIOD2oSwMWz1DS6hpCizxP/5uG1tqbYpzoQs3FjZG2tblIL2AwYylD
wwu1ysuqoigzqNg6z2naaO2uqAuxtx1xS63/2vc43BtUT3m/3iQVXL0BrGy+Z3DQFQ2zTs6v3WDO
E8mlqL7/+eTxcNGuBXAGLupinVTQ646WE6shO5fj7DD3dxVe0E+obhuf3x9q+6vezN7GTOQOgYpw
SZFesFB0i4p6ihHkeF6YbXCw1mncl+XsYBsTGFSk5z8uLm66wVQWiT4oQZA4nZ9s5HXlKkYGBdKS
PIxJoCNKO5t7lcAxncCc3UjTrn0kCRqZC3t/y2LOxzMz+C0eyk8R+W+3m+1xfsEj3D6ynbwGDpVs
TznauDfSpiv35SadzZ3C27b1JM9HXRe7d6i8cakQie0rXC72AZozGD8jcgcGddq9v5TXtigNE3pP
vNzUAS92TVnkaYvmcx+149rsSm/Uj602/wuG+1Yf4cp8wtamz4qxEEW/S7L71lwYek/reecANGeJ
ML+WdoUqe6vrsAQ8XWpYgA6m/c/7X3jl7twkaTfqEKPTYTufUS7TpJNbVLdIa4n9QnNCY6nax7a2
103V3wqL1sno29TdjWztWjZDuI786y8gyRurAYlXTSBHDE9dObQvIyfmUR9X/EhKIz0mrjGeqLLO
H4aJMjRmJVbkFXq9L8ahjc1VDs99MKNJj9Lzv0LpcpdqRXtLcPTKfuOC4keiDrA9LhezI6zFGp2W
ZBkMzLzTnM48pZaVhE0wqJObOvrh/dV4C81ClBXFOC5ezvHG/D1fDkv6GSVn6gKGRq0+6rWWcKk0
69w/atO4vhiq6e39WATpHeXZ1ohnrZyKyBZK/jf5E5HE+z/oygHg93DGkZfdAobtz3/rThpdjjOt
zu/JlrEPK9E49LgMOwKye0sJ+tpcc7RplG/esyAPzoeywHVTaCmoFqBfkR3WjtQyVJ41AO506uyp
CKzqFgD+2qnjLSXTAOmCv8bldON6WkN6xHm3h2eN42C/s8pyiVvRri/9Zkc4Wo4Zvz+nVwflXd16
MjzllyRIv646FOowTy3TvvhaJRNOQ8Lv7nxRZwBQ03zvaMstvahrC7kJElKYRjHkDTLXH7JurAan
R/fFTkJ77vXIouRzMAftj6X62cPc8gHOKRub4fL901avypzO6GErWbREiy5/XFTwww7m9OX9mby2
ZYibUXnn9aPivf35b7vTTNZqlripozzgZkenR2QRx+pXze1xfxpIEt4f7tocckNuRHWAmuA6zodT
AwZlGQlHpKa+jHSnabE+tGRsGvx//8NQtGK20dA3vNSzqz13rJSREagbbI8FjdAdqfGPdnTF6X8Y
aWMM0Wdig5jbbv19Dv1k8lRNF3AkSwM6FeR/9yVGBAEqvR/fH+pamQbgjQs8HNj/Rlc9HyvInb6o
fI4b/JaG24TSYN4OwU6TBm4k5Tzu1eBrMUJmOBqZdX9IpWffSBau7ZmNoIWAG+1lEHznv2HwJdwJ
kyfd8Jsy6lacy03hyXChMxV3HRrW73/0tU2DXQWHjunFl+ziWpv1MnH1hpXMEiiAdpEGOxfDl9CY
gz/W5uHgbeg0zPss6k+XpfOcnMPwhxLQ/2o1O4piP4Sfdi8C0MeNSbwWNWxdUfw/N3fCS5gpxUU5
WxZxmItUdJQHff13Msv2gQpITRkqX++DEoEZYor0xh66kpqQvBLg0gJiL102Zd2lRAd4oHSTTbXx
tWlzAbQDasz7i7YtykUIzygb64e8BPmNizhzmAA9uYKqDQQD7QgUIP87txpxEP687Ky5RyXAdWBI
1ZNOn2LMbwRlV/fMBr37f8NfSrpLMeduHfCRtSVcGuGL8xeCDjKy7D4/vv+lV4+DS8OFEB7xql+i
Pr8d/3o0pNGlHP+8Xrw4U4WRhY022VGa0g8wlkW7MbVXB+TTCKs349/LLFYr8nHls7EO19ICmJrS
YzvTnSgjxItUByH//Q+8ulW30UAVbrf2xRNfON3G0GK8ts6qpyCrk4OaNhIo7/BS7pLe1l6KdRxe
VsNvbzwYv4AMl/uISA7YJtV6wFDbQv82u+4wlLXppxQa6bOo09xZk4Fy3Vp+Af+gmycSUg/tNVPL
/pqLMXN5natyV01ZgqoE/j1uNBSdHkB3ABIZJmXQt+GyLPoc9p1najtl9/pXv5hmGWo4U9s35u7a
PnSpRm7oRWS+L+k8c+X4K6YZ/HyjtXdmui4oiWo2fiBB2um3OODXVur30S5uStUWRlOY3JQSJa69
26kynIqifpV5nd8hcpgyUZ4R6VpT3NBruLYnKQ2gSEHGiCfUxRs4A4Xr54BKhDl0a0SGVh91ZFMj
v1LtPuhF9tf7e/La9cLyQpbhfedBvNgW6VoXtdJo34KZ1u4tpCP10HaV0iF5qklEHep4czwaY/al
YA3+XZQN1fX933DtIoV5txWlQdFDvj/fmmWeZZpbSjA4arU+J+YQfE4xKd29P8pbVAJvEinehumF
owUV/nwYk6Uskp5iattma3nIsSr9kcoZ0XqNY2CFmKh/qhv8jZBKruo4N6rsp5f4XU7bCHdKqocp
DZV5WepHrbGSIUZWd1LhrFnrGPqyXv8RoxjqyLdq4YVFryWojbkOG9XUjFo85b1pQDCvuqaKZ3/o
/himw96gm0odhLISsubbpv7thHudKGW9ESaXsXY/TH7C2RB6uR8G/cabe+Uw8rRv9DHat7CgtgX9
baRu7fDJEVRcys6xQ3QunCNhVhKaBUDp91ft2r211VeI0KhLk/ldbA5ERolofKoCQVIUTeQJAal3
RTXln7wwtWfarIUXpgWqrCfPWQrrNEh7/NT6Vvs0iNZlNzvpXIe545JCrTwqjz6lMhkWuhjzB9nL
+blXTOpepFg534idr+RXW3wAAnprxUFiOJ+oFciw6gvKwVVp5zuhKXWsBvcbStTB5yLJ0pxzXd9E
911L3VFOoOS3tfU3UMj5sMKr3C7PyMClVdlPWj87MU2QrA5baifQiBGNhvk/T2Xkl1DmJ6UFoSv9
dsdZN/97fwGv7BWyS5N6DtW5zdP5/LeAfR9Wbw26CNkI63ueTebO6HywsP2kylsv7JX5hj0OmI8X
HWLjJfDI16hEGP7EC5t0zYNfDlY09VO6J/1DB7My639wIx9vLPKVL2RQCuFcLISDl71W7JnQfpEr
Da65q+J2HM2TPep6FKAKvfvjydxcj6kP8IhT4d9ej98PHvJvZu/LPurtqd75gs7qVC3mDvHUW+WW
a1O5HW/gymBS3gBfV99fnLqibTeZCEYAhamiHkLTwRXAh0UeZPeend3iSF+bym0KSR3IpaE7nn/f
OvtuauIqhlBkZ0R2UQx7e/CAB+T9cCPavDoUYR//41l4wxWtZj13przpo6w2s0MaNNZhCMQcN2Nz
C/R3Ldmk6wp3BaoMJIVLCHqe6y1gAMoQTc5JK6ERRzSJst1iKsxnKoQnnbHFFDoXSxwENM71uexv
BLu/NC8vAkAqIIDyfqmZgSI9n1vbE7qYUGn9pcfe7VuW9RNFi/TzKoWHMH/pc02KUqvSo99P8B4X
XQgR1sNQ+ZG7eum9Zyw0BKkAuqe5kU4QS8TAPr+/w6/EP7iIE57+avE7lyDoKetaZENMGfkoLdP0
ydadNVqfe2lUd0ngpDeq+Fd2AQw6jEgorBMcXAJOW12BY3GpRQHYqXDhTloYmEn6IMSq33rJtgm+
WICNModQyEYTx833fAGI+qbEWig5iG5J3J2lvDE2pW0hBDZ1zXFpsFAPjSTBjtpS2qHAzbgOXc3R
9n88xVDqtmABRgRmGRcbQeAz6uULeZY+KeyEsaWPMzNXOycY5X3bdOmX98e7OsdA6DZ6jk7v4uLS
Ejppw7KSoVvB6IIyI2an8DHcTdQH/jgwIcMJLO4tFB24Py6i53ZRhjm4FuZDaRUcMQPBn8vI9H3d
Dbdwj2+/ahuKQTYBQqo3F9Fkj6E7xsuujEa9WfYOzOFQn5JxXyU3eWJvzwQVeEAitCZ5SUGvnW+c
LKCzi4SvjPQawr5uT9mJmLnc28KqIlMlzY1c61dZ9HynMoGbyijR09YJ2r79t2cGdVavpY3Gt1Hj
t6Jm8p12P2nSdsKJM/JBCdXpaLDA8Q2FM9j3bWkHeAvYftojQT+TQ1hzWk1h4jV1uUNJyror6mT6
Ufi1uU+SfChjuSzGA3OHC6FAsPmvFIWPbPf+zrty8VKx5PECbU3/n6z7/EOSVlOuXjJzpW3PPynr
16cWHbxTU8NHCz1tGHblogWHDiPeU+An+ldHOPIWNuXaVoEu9osHzVa5ZJZnbTv0dZVjgmFm+V/s
kvypcKwq9GZxywHsSuiHAgVFPiCO8ICIt86/OJCZZWnbhYYBuPPYLDPlBWsotKOostCvin3m2vOD
4/Yt8jrBtB/YsoZzUxnpbfTAz0CTzwR/ThfxklZhK5xPx4HX1UrtGT8YbzwsVTbFs+yJ3nEHOpZ2
cavaf+WcEGiCzaYQSCPlUjFGkBwtVe/IKJA+ZCCvVQ+JlfdPc1CWI4zwCeXh9zfY2zoBOo6gLWHW
clrexCuzpzdtspmddZUGVqDTVVTNJpLnHZ2wXNMcrOVmPfYms/v0/shb2HxxRDfZGvxOaKFsUP/z
daYsuIhZUIhT2bL1wNri0V9v6zNcHQaqFf+QUaAXcz5MN/blmiwBV4/doTaRuKo9+b1SW82YEMFQ
lTJ3GqqHu1RRfi1yrfg017kR60GZPQ/+VLV7mWTZfs0s//T+FFw5VrxhQIeRS9+W4eI91XokLM28
JKApWvMTSlz9zksBwMRGQr0vfn+waxt6032CKIIOE06IFxNB5ZyKGYNp+tDs6sy2o2zwvQ9DUKJK
p/FoO1TKbgx6bUP/PuhFRu907Vq7ekYnfixd+hNFFwca8YLtJuaHiRbQjWjo7XbmyG5MSYBSZK2X
eb2uz8WcltMvQ2R1Ancmwy6R2q6V5RqO3jLvKGDaBxybbzl3v/lS+hFQcSgCURclIr/4UpF7yqX3
Dy9Gy73+aNsyraHZSr+IvGRV4tisS3rL1OXNBiIbJQwidYM3CTLsorSerFlRqRTW8Ajfuj6Yo9U/
ODIx7hvXSP5YK24bDDrMpvdBHfZSkl715SDMtt0U1LT+vqxMJ5600ouDrvE+vb9X3ywjQ8GRR9tn
q6S/6fPkOpQmYjkAOPOUPeeCRgFMSkFJ21tDY4XMOC/ox/WtusVU/pXrnl1LDM09SBWP7NRBp+78
mGwak22rUSZT0je+jWab/SSgReXfVoAFiMKszSzayn9gu71+QQ4pDcJ0EcFTUkhH7USFvyXA8ES+
vD8lb47v9rt4ESgwAmtiAc5/l+fXxqINyF3hymNa1FVXa+/NUx6nE+Ga7IVDFcTAQeH9Yd9cn7T2
NolajhSIcNpTF8NuWOhgA567dVJ+bRo/M6gXErfduCjeVHG3cTDghF1JN9+8BNoSUnSSzcA4i14c
Kjvzy9Dwl9yKMtMcPueAstdwqVWAZFvTxBKt2uP7X3plz20tYhNeDpZnsA3Pv7RElRD6Cr9gTbMN
2i+HvZ+3dlh7fRB3RZfupHSppMr6Fvz87Ryj7EvuRqliC8Mvu8bdAlgq96ixpYU3PhqJpj52+XCr
C/72giKCJNwHe0No8SYkHrNC8eGk8D1t06joJ/uItd23dR2mY7ZQ9X1/Ot/uV3BlbBvgXqhhg+I/
n07sPYPRsunlY6zeIiOSDONdaQ7psbCc5CVxZvNOaoW4cf+/vRAZlZLILx8/duzFi1qLifTUAfm1
9qW5T9sa+Elt5VFeLuLGybg6FHfThmciGb4EQa5dV5pzAMTGburkW9YuyY+lqIwPk+Za3/+Hudz4
EL/qkERN53OpGdnMVNPC1FycEo5uI1Ijrs00zZBWp+x5mtNejVh94J58YxmvfiWx6NZaQaT+suM3
O1IJXLCHyO/d/DCZ4MaB/+iHtchvudG9PYCkh0ADOf6AEYn9z78yX4SjaSblHXj//kHYU5kfArlO
B8vq/J+gi1o/VMrxHu0mc280id/mWcAgYa9tO1WnI3AJmDKtec0SvwfSs5qmCIFxiC9N6cxuLFOx
fs1td6736TrJT47frP8FY6DMSOu8yflT0sb2QxAAofS9ic++WeskK+clocVa1n2NeQ6c08ioGt+6
sbBXLp1NcARa4JZvgNk6n+3UAHMKgnuIHLuW96mpdXtl5rf0oa9dOr+Psv2K3/JwyvjFJBDWibxl
LCHzYk/r9wnA8XYQwx4h8Onn+0flLUt/w8iDZfhVXabHc/FdLVVADZ4QKLSutPqQUl/nhkllek/N
4K9/T1zCd5RtDIR1/dk6ma4aHqrAyl/qpKnvvMyCXff+T7o6B+ghYPBAlsOVeD4HLVIPebnhO9qy
6r+4WlvdqdIz/u782ot9DJ9vFb6vnVnCoa1gBeIJbZLzAZ1xqOWwUh5LSi0/znS640SocrcJL53e
/7arQ22lR3ArXE9v2kODt86uD2isgzC2X72mOgFCGOLCmJ0/fp/pCsKxhNrBBUEQdP5Vbq2NxZD6
PeUqr/Jixy+wIs2ScUB72t5EZfE61mWu7+FlFIc//sxfFE+OJvka8N7zsdeNbNGgAhJNaFo+jtSO
ntPZg1IKx2b//lAo8F45mlSviAWIQ0nXLsubdo91RieB13s4O8l7bSl9bI47WrgYxljti8w0PjN1
M3M9SGMcP62YPlHL9qU2hHbmlfneAGf7UStd7ZtSS/KxlUnihugW1Eas9KSb497vjCDEc1OpgzKc
dIrzysv1gxgd8aOTli32Uo7Dvy7Y1CWUq3SzsJ/y/lnpMNei3BX2D79byh/GsBTtEcsguwq7Xix/
4T4ztiH1tC1eL6zqX8J740vjEz3RKRD+69x7U39Qa1u8bi64LVBku3ehtCblS25bhLDSxL4Kk/g+
K0IPdbjHvpgCcaTwOrlb9AlCo9BX+WOapFs9Va6n7ZWbkKgTwGIAhi1YksRLlUv3gHsn+ioWbrb7
LFj9/JgESUCa7zfeFKN+2WSRalVf7eimNGustUa+7JEQqY6BqGaKa0LzrbCuVZc+yyltX4HSpt8a
2YyvOHY67c5sa9HDB0WfL7an1XnEsBaTTWjA0xNlIkOLtWQcl0gLzMW4T4pa2CGXRPFv4wyZ9uh7
mfECxKzDoyv3ko+GFEYQj4gwoVmZVeDUe73xipcJr5hi508g/MLKadRXGANZHhIbj4p/pSu+rMs6
WSRH6Lc6KJNQNJuy/rFZNTxAVqPhN42OkSwbESv/GTReisMavP40spdy6T+IAa4gGmFobO1TpLWo
OGq5+aRhEZPfoQHXPOWel/ClWVDepY5WO/vaZ/tHvFD2azsV2bcZhuwrmMQAD3L0/3W6AoU61FKa
1i43HDoE1VKgM5fYqRMgV1LQLWhwLXy0dVvNu7T1OuQjcwNAX5pJnFiB2ar6MAgLU68mTb5O9Wo4
IA+Qz4nlbBT23hvboILD04jyEckCAwxEPWV3naGDZeMrjH06OJl9p9kLhW7AQ3YZYq+cidCfEGo5
OpOna/Ew9ibuq5SF7jSigJ+IKGGGJTIKR0zoEMwn8PQF3jmp7n2z56Bz9m4CUyisMFfyQ9NAQPtl
XJpSHfKgWvxToxyjiNGzbJ2DlST8ZZq2qLvZzh0NMYmiffbNrv2QVIUYwkqX/QO9dOtlnnMdFfax
nv9xXfr9kTmDDT5g2lWVYPQG17kz/CSxgC2RbWIsD+J/v/b+auDl4/QA23Kfz6y8Cchzli1Otxvs
FH0cR0s1xCT1dGj3lZIdGihjl/w7up4qj3aXDP+2idl8JbNcM1Dws63CAUPidq9SZfyXFW7xoPQl
5xZys24K7cWTcOy91PbCppPBxz7V2Kmt6sp+m97yuLANYWQCvH1OUoHm9UI6cLcgKewdsBQmn2xa
s/mvL2hwhMqdBhXVONKWoTZ2/cnzKssJJUF3s6+oTFG6yap6PM6Vl8QBsH1khjM/MU9gE9pyOw/T
vxSLrTGcqdq9BHhv+PEk6/mUOv78WU5aq4fKLpO/3YVdEjdYvcrTlC7ZT5Ju9bdjd24XT7U180gq
Z0Hzn0XWY+EHWh1V/hi8DO40N6C2sjI9adk6L+hlaogcmY0gM7T8WTdiyxn1NQSPYetHYg9f7gZZ
Jl3YtlClo1mhzb2TRqPh1bnqK/bCiUj9uNfbRg9lkxXdHsHssXjKshEx+D4f1RSrsqmnY54US3If
NO0s73IdBYAw83BOjNJhmaZT62sV/lFDT3FPLahYHDW1iC70Ml1b/snydKk+kd3aPwx/znAhEZls
H4EwmBTUy7WV63PPz5l3vqWojSFMv9QPRmd5y2FYsU66Z/JRsHcVMHQtCrqqGD4of7Hy+2TVpmTX
oSLX/nCtya1f06xquA6V6rQUeJvrowNxcB0ZeN/dPO3976mhBjMPh2SSCqlPtHO9r2bpoLsZzs46
ah872ymCn4pQUcR+qRqpHfQsWQwtdFRCBzRcDLOHiwXKvxQqbMA/KT1q9dItD2js99k39JP1Khys
1V9/aMY0dQ7OJ67ojknqmKl3n/gB11Vk5MGgfxqW0Vi+gFZM0BUzWmN+QlQxH36Uo5mZXzW76Kt7
jQfFihBqTJP/pIUV/LgX/oblOUhbquIZHK05Py5LpuwOylEA7Drsa0Nri1hSfGx/5sFqNg2C6UM7
fkQKPW/vy2XuPHp7/orBt6yH9BVJN0cXbB99TJ+KuRM29n/p0j6k1O1dvNdrp7c++XTRKsrx9jjB
nJktUbxolduX6a41S6vgqeqGxBdoNZiZ9pF5060YYJLZf/BpYKZauPZIX6Jis9qprSJSS6edvlYW
9KhdoTe+EtFCWRr0ukr9OTkObjlkT0MdTOJnna+bhORssfWf7G5Wzt7gbIDE0RHHRQhHp25T/KRx
0qcyniw8u08Z2XMam4lbP03mMgxHiQFfS6/ensS93yI/m4ZBjYyPFbmdaOnMmfBFvMjwVmX7YSPm
AIWfIrPHHBpqWw2PNsXU4DGrPC8NVT32CcgfS6EjFeJnGrif6j5nUUCpaXNZhsMSjOKwlEGxHMt6
tM1j6zu9fSrbxYFCrrdBsRcuQLnQrrY4ttWsqonWehz1FCeCIM1++N46pU8CtKMZrk6NPF3aTcoO
9XFETKrXMhqMpqXUh36T5ojXpCImFZXV4h5lzgKbC+Rr6/24tJYddTNCWB02p0MexBgO1jTIy9zQ
4WE3GIA0WD9tD+SaZDHmZHoaOsZYfQAPjoLzOhrFl2wABx610+BoBwts44egcVMrNFstGONpMoev
+moMU1jBGMTMQ0/nU2KaaE030lvoXOVY08R56VofVLX0r7Tz5zUabc2QIWlQstw1InBVDL9lBOiR
d2a+QwcDxSPXGyrwZ4nJv6/PVfq9dpBdiUQwpc1ROWv1gBlpXcTWItr7QTP07DGBFqB265RkHybu
PSYOpO1nZwPZZeFqlq7PW0UXMBqarqIx4fHfRnUxEhd4hWc20ZRRWY0KiVpfJFJ8KsJG73v9H1H2
NU25IZAiJEr0uzBIPGHt8dqbgoOPKIYTzn0j/NgbWm5mKTpEqjtj7HEm0Ec1fBL1MHeHPK/X+TtR
o2mH9Pmq4memzQWQEbwU5kPSQxNbntI5s8r9mq7zqoUQDebu1W+qQff2K/7aJkJwiSN3Xe/O1a4z
0kD7bkxS/1tIWP4mqvidOumznP3QBZbNucqL3NvpWNlroYLbU9P98c3hvumd4qgnTt7cTTi7+aGB
aNr4bOizrhN6O0rEqZ40684lmZP3aljUgnpQZw7EtN5Ys9WLwY5x0sNi16gDSrRuvaxD6BrTjJIy
8OMTBlDZGgdt4xi7KZeEZCGZtEyfuIyN8smc3ax8zofGaD6oFuvPXWG1so0GzV8+ouaXVEegeh5U
wioTkUhysR7snALbQ8A6HuxqddgbNgHvDqXRpXxuXWVZu0x0/l1faOtPTwB4XLotJG2qvHkqnVp+
rfDu6kOv0wlRuoXeA5DduXZD38qBpVLnrr5zaobvDowMPTS7VbgPYh3EuGv12v3P9ccUppk7d/Wd
Vbbef9Nk91mccnk+tBLltzh1S9DcNbFtHRlOW+Xx0gX1x5lr4sXuuwHiI0U03uk6b5InDA0sGfZj
ifoLAsFmFqN4Yr4sIi/akMi4/Wuted1OfWby0oqmWJM73mGJzGHWEMAOMt1EyTzFj/CdrFseAxzI
HkuxCUtJqU1lyJXatVGmdQ3uGHnd/wNbrXzmLvdXWt1N/WUpyyo/cBKyj4lw+EtHF6pmtIDtJTKb
NCV3c5GjHDalGBHu3EExfI+c8lEzjdkLaTDPGM2UwVYq7zUyMSTbgqjvnArC9JLoz1leOAVhlYGp
3eD37X26THr9lcpc/y1JuhbY4WQIeceZ9A7aCPbobzer0oyud10UIeYiyZdpKqYuBGW39nGQVlIP
CfDyfwa3G/ZaFzQiNCeA8J9W16/Xh94WWh5RAR6Gu2oZxffJClZ+MFxC4K8WZeLjYHML1EUbjPvO
k1N15+beeiolq/XSJn72YEzcjDslzdW442gmzYlCR1uHdofpyMM8rl1/8G0aCfuya/CC0ALKPwQO
w2TtBi8Q9WtvzmXzasy624QotDXFl7nW3CDS1tYuwrJoOjRMGitIwDh1w7dUqwB4kPQUuR3V8yi8
aAmI76hdmwS4SE6Y634qqtm/yyRsx6gWmS5fUdxUfph6efJqcreizFGl02e7GLK/9XKdv/qr3X3p
lNc8qVqs32hyFdXJ5+pYwnxiJ8dm7Uz1IWmz5rMHS47qZ87kNWgADd+00bPm0JKAvWe38790mRtM
x/T/ODqv5TiVLQw/EVXkcAvDBOUsyzfUlmWTGmhiN/3055tzu7fLlmage60/LnPyHReLmU9BWWz+
SzI1fpCPu+v/KSxHh4ek6YP4wjHOkRrUTKqTaYVzF0TDcFeFDFUpF0WMzHWU9svWsauficVxvIdK
Tct8VhSkc8hExdDfi9ms7Vn5snHeO7PK6al1mHfv5FbrU9PpRiIb2Kwbvkn9xzfjJk++Naj+qWMw
9e781V//VWgzp8MksAqnfoygi2FomIdsHRpK8pYA5ct9VYspyh1SFJ3Hwo2tluC5IP6xbZ28wdub
5QKOUbupakRv3680S11U3cbFIbD8eDtts1cwii2BOHVer8pzPdj1k7V1St+Gvbuo8xw7xbECjVnu
etUElxBzRpCVyjX2bcenQyH5NYSPXHynv8DDhs2l7D3vzStHwXDhLe2VEYq9T8c2NK4tA6Btai2A
iOT0Ep2Ru7PntvzrKFFTvNssFQOVp79WVYwNzTU8o420CzcfXUe+IBz1+ow707odp3FqDiryaFTw
R/7hlNCP6a/bWQVTW7HUPoJoUa+Mtov/FWjddhd3kmQYFeHk3eD8aKIMe4n2nvS8xsfJjeLiFJjO
Fek0mWbJN1oYVbp1PEwHTlAON+Y//cfxq7o/DONm2WlcxvXfoZn2Ml/DUN/Uimw3nQqn9MCNKXXV
d2Iohin1V1pRWN3rgAtlaPrhaO+U0Z1Y8hYCKWPLVGpInZ5KIvp54uHBDWiJOFOsAohmkwXPYYJJ
a7q2L4tb1zTB7d50kZ3a4NTOczPMozmCd7nBcYNl//R04u7Z2JDmebQBCcobt+kXc0B8S1xJ4dbN
374gLz9dxsFyTrzWrnPamFG6s/aJib34pdnr22bX10qbuCn8VCwkKbMDWlWcxXxH43n0qui07h52
Sk4dB5MFiUrBsSzWaszQ8zvmnszNbcn7ZHDXj8ViTswNP07OzIqvvUROMWSb9NoK6I1Fh3c0KQMC
zmxgk5l/ekxrK4peS6foo7Suyq5Ky2EFZImrcsSF1PaFlblk5D/WFi33aYtjcXr0qz06t7ZopgOQ
lfPEIS5+hXtS+amr/f67svzuJl5dVLhWV9vtRSrmRDIcr2xG0xr/pcFK9Zuf9lo10TrJfGqAJ74I
CvHeOt6+7STccRQ56TnBZ5/s9Zh6npruF5/L6Z9abP+d9GvEKkjxm4e13GLDRhIC+4Ce7b+x/PhU
im7arTLVuHZ9Z018WDS/D+oiBw/hVlG5zvPatLZ1riY62u4CmID1QPxzeNvjQ2kPQ18n8oigzXuJ
O2tKEB67zZSGoVVMLH3//26NSqwfADopX03syPkx8qm+zMfVL1Xu+3MsDuvkzK8Bh8RfszGpZgSN
dcHFE/P2bk9EoOcS6XuSx1w3Dqd/vN1pnIo8+bwnp1Ynwnof+nb9Nm6khsMiKm88Or4SWCaFbx6X
Uc7isuF7XFLuT++jcwJTHuJurYqzt/vFs3EHzeuEz+q8K8seD8NWEbVEeCh+nWqusBV4iy51uppl
9PhaS762tTDRI5JmYEMen8VNxYim5bCjrzyrjUib1JXo5XPd2/Z08FvsK0xja0+qQzvs/20obmXW
EPfYpnU01CCG3VK9kFpftKR0MUCfiScGx2mDuX1eJF63I0Dt9DYFLQIz1IjLlOFogtusqyn+YbfR
l8hif0zBEuSpq12wh2QRw/q9JO44H4fZ9uRtH5ST9Z+hVPBfMtVLkc2i8u+KScifGEy4zZtd+e/r
WtQX4xalyBkZgjoNVEURLSyx/c9rwc3yap1Ixp7GWY0ZExlMfMq3364v0+Bqc1ywMm0Hw0lx8Rmm
RY7h0H9LikFT2l1Z80fi9fpFh1w9YgcnysZyct6Gvdr8m05L8ax3VdgvIUPBerRsNWJixCwwnXbL
mx8F9gSRcrT2j5Zhecz9ceovMQSgm2nDDHkf6M6cFMGA7AnGEV3uVs3y6SJ+ni+ktooHKWYUrVEZ
LNvJsWZxjvXg1jfdVUbCkhN0A2CXGBiduCMwSxeq+9nB0XfQ5qlzs23xGOdVoTBedaFZisPuxvoz
ps1VpG0ceU9WWFfsgzq270d6KpecnEP9H7OpaDJ7YXU7RMz4IiP4SP+SSRE8kXbYdKeyjfz3KfYB
67YwbAzFEHsCAjyQrrdu9fWrdk2QXz3VX1fGo8qk6RsfE+Fqnnu/Y4Uj24JEXmMX1ZbOphyfHAsb
KLNRtPIiyC46xsov1MMWjkmJjMIsuWnWcH5YY4uJqYzH9p6xZqdVua7d7aCjUDlpAmr+NpS0nX20
Y9vxMRlhz682C9hXubO6ZNKjnvlB7vV65xMbE/A24DdvOPKk76UtZRr/xADDdtr3ST7gHQsNRACd
G49eHfLAgTPLtHGb6zBdqnE4lf0854xyhFC7Xkczrkus9+uCuKy/Dcq6OM/cKK+D6d27wb32m7nx
OiAR7pLCPFtJ5eLJofMp1eCZxBPZlnTvy9UKvgEHA3lhjw/uzTiE5VmZ0SYNgCaC3+jk2++CEwsA
G7fb3e6IekgZuOYP4dXCgr6x1H2oBotXn9YOAoj30fcyv4vr+RAXpd1greh4P3lVyTGILH4XgFcd
3e1xGfm5QxL5Y9NTrPzoBAH4xJ6sYsz4AmI7BXHyrdStYvMmp4DJYtx3VM+F5UHFzJYqSL4nHjYr
HSnLFNSDl4dNCwyUmZMs4Mijq4XxAQ7jEjS7tMFQjducwae3V+5oyzm0O6LVPKzMVt+Fzsy9o5nb
xgcQyr2524aE9Yc4YldeOqesvEPQuPtj0ZjudzNGeGW2gJ5VL6Yr8YFscj42EuxqK2vlIsy97rzu
cwuYwD5EFy7/ia0OghfheTOtg0uwOncxlbE3u/brLVfUyPBGFV7tg6X24Y9ok9JJ4cuG6r6Strpf
5hkKZZ6S9Zdb1lEDAknkHj3xJkqnbh5vZQhce+i6Sj8MRbOtr9O21HEeEGrXp75XSkgbumpuSt1W
4j3ZE3e9fq0hYf5KDV9eNHbVZWMTtnKPeP+3UeuNJ5bun+TbmwDjKF+yyw+lRPyJLZUfuu5KireT
sNDFYR30OhxC7RXyPGIo17cibvvnnQd0v/GkLN5jivD8t37oojGrYJ/1Vyib6Ya2Y8QvxvY6K+sm
V4PPbVNC+SRn/sK8xK/CiSLI6cc6YiXnApjYOvez5Vn3Alm+ur9Cif+FjRdqUiNCxpJNzq457L09
qYPagm3PLavxfnvrMlupYyX9nBZ6G+vjqCDSDsb3pg8gncQ6L+0+fTs9TMaD9LrpJ1zs5nERm4d1
D5Wrmy3ujsWzdbSSWVQn4zMcPFatqKySy06+mPvWBjU8kuMRvHUg7CJKPjUEWnsGUdbbXVyH86vo
IMy+Z39dm0w6y8BBH3b7QbAF7Ox/LODpZnQY3LoJ79O53OgEv6uNDCSwI87Cy05wt3ibq2qqU4aY
sYLbMcCpMwtekrXV5tV8itEOmB22DypQfv+cqGX4R724T2UW4i5O0660pvMCRSjP1JnyC3Hvz3w0
lWOCM8qTaM8GSiTPu1X4wyEhA+vKHhXFLWxPwD5Q98k9yTpUznd10hCMkIzjP89n4zh4/UwtbGjW
0FxtKMMzThz9ODZi0pkkFrHgBpVUYoSwU6DfHKrroYwH93xVfWHflNFaP8G2kmoGX178sdnYye3o
Igtidwknk8WhMz3UdHlOaeXU5j+YX9hBmkWDIiWllEkFaSkz6zWm8nYIt8E7z7JtPsM44eToGlP+
mbuh6HJ2bv6wQuNLOC7mPJPKFfT82HRx8WPCbvrr1yPDtmqdmjm9D559MiHHh7EugNZn6Vk546RV
Hcd67JfnYFPy7DDfGdBHEQxpVbExHcHeA3nid4lcoK9uf/U2RNMvI/v3eNq0sj4SsexOum9j4pzI
9x7lpSU6fk5bu9JPMaxLky+uGdoje/quiC8xrCygSYtN+5nDOWjm2dl/ebse4RGTXrOcxgJLgKZ7
XGcm0vbLWunov3WsnCYz/38+elwg4qDRWEN/G+W0hw1Z3i97MpUDkzGLP71TEBE9WAPezqqzw9MW
z0194K9sXsvRGp3XpKeFJFXuLOZjMo3eTLJQtIPwrB40QktJW3iELvMbYH4be4TCpWvSYChkfwP9
RHYiRWN6Osay9u1DWw7lfl8QzvlovB0ZDoeT/a+fI3En0H2vJ2E3VMu1oQ7zhiPlCkV2o0Cuwmte
JbitMjkptyHBzAPCkusS37VBLK2LJ52hyekL6uU9q2e5puz7LPJeF7YH2Dwtb5I2hnl2WU2hqWN3
G/KNSwAAubQA5kif+2/yvBbCN+4XmVe9O7KprK7s0n6T+oswhpl7T3viZFlraTheO78+J3XZzLSM
9h6fg3N9YIXU5SEsGb0uARrcOvMiBT42DwXxReAo5BGQNdb7JLC54UBURpXotB2qhLI1LihEJJ7h
pbd6rD+5GFf5MLY1fCSykipOWUzkF/Nzs6cs6iJMnYiR7NDvw/DSE0sf3zYqYguy5oCaB2K5vSMu
nG46mD5SzV0QjLLLk7KIAVACXd4midXudxYNkXfDrAz63cWFwvN1hZd/Lsd1OHNN2e+D29l/A3en
uaK6qlNBcoaOqnDhtDxvVqFbwvu6QOZz6c3HYmv7/kv3giF+awP7YV7KDim87vHb+u7kgK9a+zyl
8VDxdZAMZF0IEIFZ8FUgfOK5/Oq1rX3hHJe1gMtivFlvYbFVdZodH9rOOCV/upyR4Fw0Ul4rC3d/
kakhFXqC4dy3lxIyas5EV678h2KDhvcMgYl7FzX1kZlZhWD4FOGl7FnqkuxtEGXQbO14jfIwL1uL
vv9Q4guKz6LCh3GpdRl8jPCTN8os+5AN0PQlI9OqxHGXvWWlgmXi2nXhyPcOXOWjN7sJMktd1Qlb
HIrlUNQzqUTYyJvxxoKgfh0Zm/x3tsFZPvmeHqO/4O4VCoGohrzpAIT0QajKAeNBhsjUW6rhu12n
WWK0nV1Gd88uLkXXkCg371jjL56jKTZBw8lZDWte7P9Cy/AHN5agV0Qagnndm42XovuxWY3GJDnW
cRVEnKfd7p6FkO1rU47173KFRybCZSjRKjjJZrB29s1fOA0HgsHAxdUc5zqej7uRi3sAK0ADwTy+
0H4TmZD0z2RJbvt9ojUvohsEcVQXICfaBim/2RQYBUwciT8DvNmW6hoUKnc6ZzO3e9t6+U4B/Ibd
xR0PAdJ3eWHXWOdclJgMDhQVhjeufxUebBVneYbyYueGCyoNUy6D3s4EdafT47ATEwE2RgldOkiO
tlGgOThv68B5HU9h/4SQZ/SfbZfv6XcojTDnlbM8Tmd7q8LXJpZulBNrA4WtCXGpHuA9OOtglgHh
3Nl3E7y+pK6lJTAXb2soemCWzlEgb8L7gDni6u+Wppw+QsWx/yn8WrCCXu987ndvz9Zkmd8Q/Bdt
rhWhZwc+Zvk5qjVa7+vedpsLKAusf/f/X8XYsfD5gpl1nsvaQ2ygpWk+cRJWY9p2GtNdIsuGZN66
bjxc2EZetGbkucqs2zhzx4I4oJk8ll8+UAZPFrqQLtO0gfRHp/O5qiL+53+jCgIFqh7bb+Gg6x97
r5oyRW9ifw9zFFa3xTRSQgd5Fy5HZ5fyTU179zeWYjI5GU+NupNrtyaUnsUjaaJeRXivWckPvnGc
ufzXWXNcZYSvEfCIm9F+YQdCe05ADrJMlEQBRG2MCKsJnIX7e+ZIp/y4kConH678s6KKeltQ0St+
gcYJD7E/AkNOvm+5hynpS/VbRvPwSpd9gj7JzKU4UmDtoiuo6vDQDUTWkycyjmQV2c6EfsCMyUKz
nm+q+m4WkavTpiV56+CVM+D9CDR5ZxACICradfAPyS1hwESyj++UvE3ElEzx/tqF0nFS7h4P5rol
ZvHOSI7EQ2SWkAZT4OHifpxmIP551FaUS5Iu1e91620/25ppte+h350x93tp6ty1CvEYz72rQaoE
t1gxk6X5HCorRA887Wq8abTFyDC1k38fFt665wRfLdXB6Caxc443aadVHFBRM0LX5EMsJ3NYKtRt
V3x2v+vj2QmP274R/1gPo9zz3mrCEJ5vFx/WhjIQiGDlM28V4r/noo4SDuxVhrcFc8Jr4flovbwE
xeoGToPtpBhDdUySKXpkDBm+ILy86SGe2+a82K5W52HkryYdQ7QPjj9sJJqNUj5afRv9C41gSoBw
jfsjPLz/ODH6fkEWINvHJYPAhrhwd8xGqaM4DSoEEJfCB2GySoKv/7ZeZfa0QR0CO6qkbg9MmUhf
ZgMFIruZ2JBx7DebXFmyvQK7bGIID5uVKUV3wwxqS1TfOS243NcU7CxMogKyJu+DrkT8BZ3/MuI7
CrJFefNPsXOM3TY0AbiHwhHOdpDXTZJVtlkZrIuyflxn3U1vdYvU786inu/tqic1aezv5hyCKs9f
rLPzN1Rt5z0sotDdAdVMEeQWk+udGeBRM0dZ5q6etfZT9BBJkFbg++sdeVHTaxUEFI3xJHME7UvA
8Udfr3wYTEiPKfqLXaSb2rvfYbcG7Q33WfCtirV+2InSeUvmMSSTfA8QuiOXaN/J/d+KzLdBXFEy
2fETGL+/3FchF08qpyoJ03UNtx9T+0DyZPWU5izcqr3f7aZGJQWXD7Axzcgh4lHENwzpXnWoHBiQ
wx6W3ZvaaMs+EhIx2Y9NtXHysEtOP/2um8duKiweyZ7TPlsK0R6dhZYWCESQ2M+9J2yfjCqKnklU
KvaHQRk1/QkGox9X19viE8N94eRLsWwJ8kUr+W1kG7AQUggAqoSqyPkTecgE83bzhtO1PwOrWudV
jH4qSaqMo0jNt41X6gX2gNC7bAtr71Fawfof167a6ZHxBp27izN8lo1p0R/NCZBKn9i6vJHtOsN4
jl3y4Mg19LO9iKGWyQcT7rlMlv6d3buDktZ1+cghMBLKhrz3W+5R8+VtJWD8FRz79LuxemuKwYuy
EsyI35kUHx7Gto2PRdxWdR4Zu3wXdjU453BBcoR6SBRkaMmBA7XU8/gC9ZGkhaJVGBHp7AE+zQha
GR/i6pdYazHnbZzItwIjTHhAMRA8oYtFyOXw+z13M/XTHBVl06XrNPrz/dpZ5RcAK428dl0PpIwm
kmM2LNv5xvON3jM91GQ8Ep+n/4Lq4eGciVwV2dpAcOckpamQmJowma67SGS/tKsYXORq2qmIV7e6
B5O03q8Va4V7s8WOumFpc7nTuFW2k+sbzzy3gF//NfGurUyuEVsFa2YZHut1iz4MudLNg66NW7LB
iv4r2K1ozXXIR8IZWxu2knoe7DzaowXgpxLNem5WLLcoKbzyAhbd9MfeCZvb0EN0DCcuuFLFvoPy
GyPc/yztJ9apFKLk10lG974BZLZ4StUkD6YiHonJy3V/7bMnwhOSfnV2WQKu6/40PsXKcqt8DgKe
zBgR1hfhccCiqvR6VOOieqmnqCyzcV2DP10YoTjq6O17d7reea1ba7NQyYWk+6iE3tlsjBg9jla3
BF/Rtog/de1sH4RkhGEWDny8zGmWAcFqki1dg8j825CarCc3HC22tn717gSawV81Kr7xqKBxItQd
V9oZUm7F0UixtkTbzdRW977cM8RZJWNxL8XtUkSqz6bZbd4piXL2TBEnY51Md6X86QPanju0UXAn
RSQ+UPD4A2oEhw/KrcMAypg94qkOlpKe1zpR/212w2ljIQe4K2wUlke1q1ilYLXlV9GuNgJaK3BI
m/JEt6dWA/PO8EislCxrvP5gpN2vDiEj0qzFEXQQ+QORM/M1WOcMQDpzyjuzC2rYlM8FjzW68toC
qJinPkbS4oc9Sdir556r1bH78+gE+jGE0miyBbFPlBKeopuUpJlpuuaJRFtaBjukC+0mXfIUtYX1
glwKUUY5L837tsHR9enG1npDVELbo69SNXrnxWberRgVIY4s6Z+IuPb3wzJFychfWCKnQ/8wmHRA
P7yk1VTII+D/BGGY7JXPLrGV2++EEKo/jV9Ef9EDRbfeFAAkO4q5Hp1OHSaHOFmrJS897bqniM/g
LUpq188Rwa2Xlbic5YH2rfaPGq3KfkCMEWw386DF+lg5Mn6G7xz6TG6T+9Qo0shutsHpfvfovZFc
+TaVcp2l1gd6DUOVtqtX3yEyWUba4TvrA4awQnKMRj1zZchN4apOPA/Sir7VUC/JH8SG3nJsEJz7
8JmquUcrD/goVz/5GbYYWMlDWZZPGEspCHHbgSSvbfGtc7tvjUG/upv+JiClV5+62em6w4S60L+D
DCme1hj+/6inXgLDe2VhH/XcQO5beOIoN/Bq4CC21lcb/as4sliEx2mvbH28NpZgDjEy3lCsrRCL
LaRbn+sYKcjLNq76q5yH7XEN41Ie12IdIQjCaSyymtafIW8D3wcJ2CxvIkrQDW5LhfQvtedkoBJA
cPp8qN5vp2/C37nn9m5srINB1tbee/Hejy9BVyud2pJhAc3+1jrp2ur1EI4suSkNObWThguMNqng
6C6OsnAimBgZiIcyvlZ/Ioqzj3SquFgg1mW/LfuNo55cCKRh09CVPzUe6ZChG3jmlufCy3vVcxZC
wEoX3fHIFU5EvNgJ4w7Gb+XG2I2KQU1+FuJdB/SJt7Xi1hjb8d1ZXGAdFlXYRXW1GaAiH5fuRI3d
0J4L6rBfSop527vJr9eembpRt2hc5MdOuPrtLkrPAbCqOdbsETsklNSutHPwPRU7Oa02kX8fr8ru
T4uzqv4sh9reD/3CJAzSBBCcOrQlcWFjnDuPATJubMZeizBrcNpvliIfX9HkqDl3arQvqPArSlhR
Wla3gbDghKqoangSYk/fdz1BbjlCtD6363AYWHdjyY8i9PTl4108jnLrhkviSlhlngj4cMW3MT/P
skSIOQlf3ieS2yItrb0KU4SjU/EYbw6ZJF2x+8lTlVCGk7cr7QX30cYulFHxkRCmJ8quZ9wIxXao
dMg22iJeuoNuHoYTG+z6HKw++rTSx3ZNeFHsTheOrXlhVRuGv3EEsIXeflk4yE0S91mAmqk4BjQe
oTsR9uBcVtAJuiFiTpKNdrC3qRbtTxTBk+UUqPHyRuO8/rKA2T1OQxa+FBVmuR8HpGa01MlmRqvl
bOLdrStVHbvWsx0SF7lcc6uSAcT0uClumr6kOj5sZPxhUE4wkCdhBfrRaKT9Ct0A+8SAMLdGngtk
Vqzw/1Vst4d9K7ogU8G+PRL4IHWOR72eMmPWHYJgW3px30MeybRO3GY4tIbO2NTwuWve63bXB8hX
tBiLFVqnjVNtO87U6VTHyvhXjYFWxYOvNwk6bcmqSEdbbZ9N0E/PapgW1kb6T+tMIr0PoCzxyKRB
19Y689q1MxfF0wyY2+3Fr4B/8snzouW1m4mYyXs+CBjDaENoPIlokjceSMk9SNZKuqh/DVtwuToe
J2Xa5hhXMiLef6817hvUj1NWattuDlc3P7Qpp+Z3hGnAy0O5qJZYZ7dhHV81rTrxQBdtWvsD4tnE
51BAZDgWrNgboqgRDc5K6EzXvFpbHU2XtQjsu95dY6A1BxfjjO4R7CAYvPDWjvBf4W1QzQuF7jMM
W9TPt7rdIl5qUKrvtrCH8AgAzf8rWi7VDHBieV2YO4rUW5L6Gk0UxHmtA699jAK5vqres/Vn41Wl
e1moo0y++y3UFzF7kwVZX1T2zw5TNj30E5lYB9TvvswWpxXLqXB1e3IR6zd/nXhU4T9b2npIEQYQ
ldq4s0OdeDzaT1QlANRJMwevZvK67iNkTZ6AY+vp+qib6yMj9w7o3ZriEz+lt59xQqw3wuvK8Bx6
wkVkG5kud0DEdI5BtxNwTwQ0XkocTprfZ4JtLwDtfpVlz9lioaz/15e+/UPoIOIjYnvDxwL7ElD7
fs1QboCaktOqgLWzlSSaBZpWrMjI7cb/BD1zplxGctDQsFvwkywSOwmySdTTDoLor0VK+3cxTUl4
P4nNrJ+Ki+4X14hJDn5Ibl2GmqOUkDpd+I0zBph2wu1cP2xsrGXeOKPYM/rArZivpVVnX0IXoYiq
2vDQjyO4Rz9L+3Wq4DhP/DAoIVlY5KdAEjwfQHPdOXfpbGpyFgHxd8ap2PyzwqL/aXsUHKdmjrzl
MNAj/BLUsG3NZNj/PWCTYIFqrvYPm8eaHuGafucsSYx5bJD57je83aP8qHWEiCtV27D9BiYZl5MP
Qa5ZUP2FekKMPcu7WEu3eVlkEKxMpSHaet8k3X9F5zt33qSAiOgzw6DWxeTEF6UCTXZ229lvkSAK
kzVGrC9L1GP04O5UN72/9Wu6Wx0SSRhD3tUp8TmRvVVw9kzrEj5VodBI2a0yvp+9YYmvD8wC02OH
pmmz0puS6lfX7GWTMkJS/Ax745AyVPNtkAhV3tZICqfLskUjWvY5ZCEo4p45lEqtiTFZdrs6WD4O
lTRenWlnYvGYLfgh3CcNu7ScttrWb7xc03ZumqWxTyUX3xmmDCHVMi7uPTGnzv69QR8UOR8yQlGf
0Gq0Tusq75KWjJODE7EPXTQuQx/FD223qR60i1qscYz5b/EpJnx0KcIqThssnX8ndRcfRbO5ztEl
KvVHYVS/B2pCjK1BgPKguTI9fLw2pHGk/n8UN1sF1jys/xY7Nu/thJQ1daa1fvVJvVIHW8zTo7X7
+3DqQwH811uqI5c3KMHoPMOLflwX9AIHiuoHnbWOH/TffTSPYJDOWPwDZGkxl7jj1h7HGcdI1tY8
ZEw4bfmrEjYkGjOrSrKuN+AtTQTunJUDgpUbtYMTrd0MSqudxoZmkODy7IVNJ84NXJb3NFnKPGKy
6L1ULeF+K9jRuZIpFufWnu1qSQ0Ga6Y1v8NHWYMmhg96w+SB0Y4DIR5d+wVhhBYHh9s5ut/k1I+X
nVZLrGUksjk5+5V+ZCZt2pScgY3HQGFEBPsl8RgNV+KtB/S3tn8IFiDjQ7uU21vcMDLfOG3FouQp
q7iV3JeEFYTrp5wLODkvRGhzZMVGgLbEnBTHwnLtTzUxoqVdM66vAYa8J1zw4Cf9Vogva9mKNxsI
GRxuX9ohG8ep/AHbY5tqF2tFRMZM8Mf2QFeB7pjkoVzF/jSafeOhbzHHnGK7t8NDy930DOwSAG+v
OHdPcVwE77vX9NZ70ngF43AXxZ/DIM2vgbkRlYWpmbq2QBPYYfdELVubjbRwcrr5QfCgCqKicD+y
l6mwvisJgIAz4mcClKDE9AaUJLCP/hrb67sIuqi82GIpr99PV2EZqbTHAMtkBylyDXILx6h+BYws
6nNvt9UX9hhbg8P1E/xhgGXpyBnR9499ZwcPdOrU6EfJKnzr2t76xVfT7xkyue59uHK62eCV0d+N
6uR/w2Qz3q+e9ILDYuJJ/Kz90gTXE9RVA6SxtN8nl6q+G7TNpn+Ffw9KTp4lBrtpSKr6IQsZSy+9
DyPjb1M5DGqt7WaEkm0Isnbrf5ydV2/lSHqG/4rh6yFcLKaiYfvi5KDcCi3dEN0tiZlFFjN/vZ+z
vvH0NHqwCyywwIahDkPVV2+kSH5QeX6OgsGZHpDeOqfeENdIfBzKgkNV1VZzkC1APNOr6t0dKEKK
YnxEMQSVmoUw0sb93gmnYJ8hOItgt2Ts7shCwuCZ4Uh/bFMhfjhtPJ/a2M4BNQu4cySCy3SH67e+
R64Wa2ANsmXu3cRtnlItree+LIyz7pk7bu1WWNGhbi3rGo1n1D3JCt/dhqTS4RC2MyC2VQ7ZA1Oi
0/D44kGu8HaLs2p0gCw35A1aSdAn0gK8SRyCsg/03knjudm7czNM2zjrkYequvOyu5ConPTV0aEJ
bwEGpuHaGIbLTT35+9C6tEz08s1dMvkFWke0zNzt7O2TSMj00GJs0BeyS352aRqBodZZdw88licH
RI3pbT4vQ3IH+KCSVbr44wex/yxPCUb1yVoR1pf2Oze1Aw1OV6XLuo0Cduiqwh22rt3UDfbzBNB0
8EovqLfF7Lj7sqNDfZfEtGu8SrIjk3XTZQbOOUM7Br4FFLDpZ4XBG4UDR8TNPOokPxZ133ywdMeP
i9NZw9YuMqiq2mnxyWQ0Nn9aTOFnZPPzeNYBp961m45Bsu3txdmOsvbyTVOqTO0WO09xU0wg9kXO
faU/hR3Y8+ZygOYtbYyudmQ7R0zq6QsaEpVjslRwhQxAUfNozVb1Hc8G9A89RxOZAHNfOxhFDD7P
VGt9LuLGtndBR+3hfmyxaT+T1j12UGFg2HD3OvUZ4j2XQbmYkQeVbsirjh70Rwx6PnFkr3L05fiV
gcelhTgRjwGS3MaW/ClmUumOvoLaQ3k9hDFYmcCnxTjaf4VYLN4cNgGbF4wDNSLkLN55Dbm4F4VA
8AgNkdxMmHLoqSgaV++VVyO+HfzFgfpWtXtlM5l/yiqY7d2i4BdWDRkxP1qO98kRci7/kKmHKjEe
huE7i0g9obFnDN1hk9PfUjsNFD4XFp0VHjdpVvOCIXZTcC7EyeNVEcSyGwZv2GRLMkHSUtkwSaX+
HgTYpQ14a7DOGPjOUdwpitOMa34wCqAh06PrhQRcVLo6OiglHiq66/koi2nywClz/Tn0Qr26PZYH
QpEgdWU88d2HlsvOWLdtrfZmFkhaY7+avkNrZ80B8Zx/g/U8nW+XDunJgcM8BCPx80uPi7IT7/jO
AMfwKcSnUuAlQQhpF8V6SpzJ3mJgxZQZdL4626Bvxa5YQqyGhA+g8XNtJT/qxQ5eelP3N/C0QOSV
qoanju+45Cv3yzNmGMRuVY9LKisdOAsx5+nt2JK4s5vb2GUpiQ1K+wRx98ny2HE2tIiZWyLC6+8q
td1P0nry8zLjB4AuczWMHqbHTwrfnEeHcylsqXJba5cGnXhY8gGUUTrVUm6GngBw9Iox4hv+QM62
SCaWO75q8wPFI0UAbQUTdcjt2j8wAJChUGkLN5LVVugQyYzMNknjSO815BjVb7LYqyTRSGEyH5xu
kcNxLPLqVHkivfRyVYF7gPvW5TomdZDkCC2W9qtnzdI+IieHdyfYoES8hGCuRQrCi78ag2q64pSX
hiebI1J7PSBBvteTW9L5NZcp+7litt0qQTrfKsuG+doZLxCMnY1hsBlb1+UfYgVV/pYu+Fj2AOO8
5iq3LfNAHJGr126UhefEsi6AW+Rntx6tix8CEYng/54GZ5Go+I2TQLgQfRoV/pHAtqo41wVo9oOd
NlZ6rBaTLpsIRT8C16qygYiwuQRZVud3Jh8zewVMo9/KMIR2IsoMFnG06SncdrE9JJsct/kNJlDs
ihwrXcza/jhd4bGEew8YPOSqlmWPJLUPiKds89KdNtKeco9Nk0rTdd32w5WM2vRdqs7Vr0Ey2d8m
eKEq24iyiaot3qPkRgFvFftRzyGqPqoQwnXHQn2LGMORP/ieyuhcJlresE4mLM7aG7srzYKAobHg
99lXBdCac8r9OM2OHpzg7Zh0w7cANdK74Cz50BGz6G6nJWu/qjaNh23idtX4UCH43iTYbnHtN3Qz
VqoPwhOVmvFB6HKE9YxNsk1lpONNgKI63jmRq8ojmGvV0MYdsvry95uJcWvMn/qwFd1tkafZOeDd
meGtGrCGaKAAY98DApMVVeTF2kZRjyePRPhne7wIH1Gih0+Vwse78segeYuHxL1w0FnarbRPO946
hEVOV66Xx990BSWDegLsk2YN6IoNm8r0RWc+31eaYcdcWaxr5hhl0fDVY169i+1CMz24cnz3bDM+
Thk1HAyZvbMLsWi9ZSZtyw3iMesgqjb/pkzHgTx3qm4FmyUJUUe67GwSSOxhF7lpojdUPIuvKJ70
N8vL2jNvRMOOmGTBQ1mnIjpLmg/OJJpMzjFWxHHvUM5iiSQhqH8gDrleNhj3MKTURIlEZ05PSG6C
EsJ/NUM8tCsj/d7hHKS9V0i5MDnYvPZsgXlQPgMjtcNVjDyv2PnUkQ474hGqTwZ3z6GpIJSCXUoS
O4/bQbkHwwkIG13baCwhcorlOssuajWdZnZ5RfLcMO7ysHNgcKtC35ewkEBDdqaQ9U+Rt1xXGSM0
80zvO8eqkaFmapF5tJs9gIrtGNhyl4Bccy6Gg0AcF5XNOsfuS7dn3s24PGdpHceRAWU7dtBTKwE+
gqJg1glBE8OoOW0RkmTO3XARhEvJbkOUdBsgp4qwgaHPzG6pnoXLcrLJkEIzDpSnlfR47gjmXthr
CyJfVsTNmbdxbIvHqK3m8lTM1Xzb5lF/wxwMWem4ckY22brNVYRuFIu1FbUM4Y7V30qc/hJflTec
20qHyzPu/+UmEF2dcPSXKKcZZg2A26IwkvNJPEwBGUg7y19IBOauqIB0F1ahU6bY7fdeVxbjzoJq
ZLNFSJdtyTEob2kG5qNl63MfOCu71SGqCTQhf6upvpoiCs6LzXK/YrAtnxsnK68Hy/f0Ji6ibscp
TGFkA+Q5MuiiYMq1JkqfLjO18xjDfQ642oe2DoJmea+1i2qiXrxm06VRdEOWSRdfARV6SbY2pQj5
Wc3wbOWxd6oxeXNXodD2UzG7w7ZFRNivNHApwHwayPJdjjQMnPsMw9uwslJ30i8F6So/ysZBPWZ1
9iTxtJN5Pw6uN60q7ehgx0jH8JMRIpCvyCVsoMvyGV0iBL0db8shEmdt+xerEEa/DEG95SBDuKge
1/mE7BwPnHRBaTtSBlemnmZvE1xgGIAZN8I/h099WTUokboba0Yrclvngf+97moHjT4Dgtku7hSK
F3a4Wp0mavgWqHMW31UyaYM9bPIt9BBetpz8HD6mWlnj0Fm7umEi3HSiYQWv0HSuBd7+eB0iX8Q+
zN64nlI13ICXh3xYDXPdzuT4VNdhZU/OGTkVFeSAAw2SwzQz75Hfd/ETytGkJfylQ3bS6YZgIQW7
hbk/7w3OWwyEyV0fyfoBGdGAH5azoFqT1RH+cMde5cdAJ8N7Oc3Jda8GnzyfuvRuLcfz5LecCCTU
0QlKlVUNu9FvLkM7h4Ikx3hohtkfSQwYLy6yOfbvfUEXAJu6VQOEyr5t78sc9zwXq7CNKX9K261K
G/chulhhmbiFW245w7q4k1ukGTiYEi3uEVcgjRtErG8uvqPjVCL1AFopQThKk2BvasK0aTl6V0G6
Z2zC1+D48xe/JiX1bY5xgA1DqMq7WbtJdUyixFQfowXqv8JCAbmv4anbA/rc4Bo9ewcz1ki8DSGw
GjBQFPLll0gH72H/GWyM7In88cnieTEB7pGVM3vzI1i4e296M31PYUFfJ8uyq2cnbIbjQPsvZiyO
wSA0dVUyCgTFpx3H84eAyIlW3dK3X3L+qgs0AgW8yRMsihzIUvG11UEknRVFLYrvM+MnD/BmdRnC
lnbaQ7nPsASHS/wxTZr1CC0BnLG1YxqEEpS73Q77kDjFi2+nes/CYZIT68mlLQ4ls7+ViAnZOoWz
fEdYNCwbupqVOuU5OOTadc10bko2sW0u87ghnEpq54tfNIk5qSrqv2noDwxRpKo8X2ytKXkK6XTD
ssjQFaTs0DuTlGDPpuXITuQGYostkqukfEusmoW3F5kJj1k72vfJTH3mwebjiVfxnA83Vh/O/Tok
f4GThkeXJgoD0w9rDvf4RyEGRvybNjnECP519WEnZA6uyjD3uq1TUV1FqneMOYxfEoGBST++6lB+
vQawGjADaUIIudsFSbiJCUxJ11meTXea3oAXq5yX9rFzeE14VfnskYbWZf/EKT7rXwIffTo+2KV7
ssjqeQHvuRj4m0TfRXHOr4Er7a+I52io0qG5rF6FVed9oTaPIIIxzRa2Bk74iCJxH6h1mAl1G9qd
wQU+IfkdIA9S3V65gaOQa9hxd+dEgW92NkEVL/RT+t+43Y53cKNFcGpvMa/uhMkn/4DONjvZURLp
tdN6NsgZCAHBUB2S3/VCIz0sOGdfdR0WE2fiQSv+sbPvz+rc6Hm80nHctKcxjQJoNEVWzBokSYGP
AD/gg+U/ASeCqNc7zABYhQYKqNI1PpAeK1culnHDGEt+RzJLPrl5iCN3k7cJKt3exOgAwFOZW2sS
lBEMkJdmbydMQXskF42/tfDzMRkA9YkNLktZrpbKxVHuaCnumzbCjs06qbcYYBNr3fcIFdZpuywS
M5HKzGEcfRaZrNBx9qPkgNURvEMJ7WqYx/o1mZdQHxD4uf5KdE38mPpD/DTghIfA9MLOo1SgMt/A
q7hfKsnb17YQAooIZ0mwwkxkruDmoQY6MxPEJZ0pUXsMhs2PvCexmkQPNUerPq0wf0TYReddr4fx
fnG5mTC/MSe9BODyxfcd2sFxkNkx33KlniOfZ3GiwFiOBSucQCRpEUFXoFCyvJPCJ1yf0iIgjKBi
rm/3nN+zL3PLQr+OUbN1JNsDKm8DTP3jrqiIX1mplES4jZOE0Ze+FJl9a+vSP6IL6FM6B2W8I5E5
Lw4zharpGfkdW1uLplWcwgHMegWH1uHUCAkRRJ7k7+EljbmySVmz18oM+rEd3fDRxk7t7gxfz8X+
rq19X6dNvOcdvaz3vWVYr/s638Hv9uiIJhm8tH6J4LCdLKRMg8uHGfbS3Y9Nj3KjSGWp9oNue38z
Yi7dXYhbHC8YUS9YpQsoitVR1LupG9WDZTTyj9StumITotp/ncnwCjYFquEHNOnwThHeY0TpdDua
VV9LryQaJUHNPBmDu8eCMwmRm2LQYhBLObJNHlpCjEYT4WwXWWHS2E226shkex/YXZ8mvZA6gBRJ
Nrcj17qxF5wUW2I0rJjrFu1hxjxlnQFrHbqG8aOPiHRz7xhhVe03RZUAnbJ8jOEKH9s/FuJGpXdl
JoFAG3iqlQ3rGJ3Hua/EridkPbwk5TjuRxu46kY1nRkh5snRQT2XtbW9wscciHUahf09D28ooDUq
/T2kH/hrjbQnOAVOlImDHYo5ZICWsrpypn7x+eQ8+YbRK3hmr8/tbY/2k3NvaoffbWPZX4gJ4Bzc
6hHEo0Tja7AwvodNu8h1SbBMf1qi2I73wNnhR+3XdXK0HREThA4cb61Hp6+XbUMX0XRF/ISTbhit
mIhLPZiXxURusjKW0liZrcRGyqI8pvccNcZwtP2y4xsKi3LaORo7waaOwfm3vke+B6F7FPKiA4is
4AuZDdgw/Bgd7m4BZATe8yb3aAMG11AyLhFsHoGKp17FnJBJHiPxYJraiaI/4SrWEaSL91kzZS7M
dA/inSAYPjsKizuhsJKouAzuiPQ+aU3fyFqJnhzfqtIDvjL5HdqIdE4GtZEszl7K7QwKZ6991bYa
xsvDRpwPOclzCY4ZNnQx0D3lDZckaiTEjH4Byu9qRRBw9eli9NKnwGNKW2cl+/+W4q/gEuWX4Njk
uwo5/pNE0j8xdvGUNCWOy8adAzt7FY3fTsjXaqJR4mQp75yQmsj9xDzMGw5CUD4Q1KlBLRcXVCFn
WfhqFajPDwhlW0IlywBokTaSCkV2Jf0I13EgeOijza2+LQwkxZHppJBHzlVTfkK+Q19pDAxH/qhX
JAqHryJCAXs2ROBSNmznLBbLcg6KvsI1Ui6FusFE21U3QNH+a9BAzj1a5MGo7QyCxwUtBF5EXCw1
JimnyJa9j1cV1KxP4+Z7iADyVGLjmq8QvIll74w4iPeDMma4hVmNbnvt599F1bXpA3JwFIy8gzNg
JZ5jzhONQ62J6AcveHMA/7MT3rk027RlzFiR8wA1Vk+JKKxpdWedEhmJ53ym0vOQ91P2KHRH2MGg
9YihII9xDCmVFmduzHAXtlqnW/YgXX7PWgafbWulS7PvvXS+RllOAPlsG/9rkiM0pHW857ONTZsg
hg3i6ba66CzBotSDIKgK4690sl0D7j9CvkAlPFSxjwwDR0HeX+WhMwU7YZXVfhGchXDrioZwCp7G
2bbroVmTjBb62yFzB7UbCFRFue+R3o8BI+ur4+go80oEaA1Z4bAXHaqJLPbt2HLEOWTEQ2znLOz0
beh11VcvXfIXRXggpyE7mh/nJcv0lZwQ1m2ZbZTcxhIl8yaeljjadGpGj5kQzcS3EaPaAmO24Yw4
EsL0T0oiKCwpsU4IElrOE1FC/V6Hce6uuX/5gMs3nnhZtakeCisbrSeExtTzhhm1bVcBPZnRFh0y
wzPWI45L9jhWxYHTXG6uW6tp78Tk1MN26MYhRa+QJd7WJgPza45GK90Fbdj1e2iW5ESCHUevqZbo
PaBLSjbCxcqGbR829ZXj6NolUSZYin0bTZKv2EPPywnEKvtvXTihw6o90gAxo4dqvyBsTFacLCQn
y8UuHWIg806/TOxJCD9sqytXWIUqeDTQ+Qm/lZuVBGAEfb1C3OpMdwyFsl6TDgmkq3LtnWSG1Ps4
GD2mx5pnAWCACLa+QhM6jtsFPdN1robYux27PMyvxymdoKXzdtojJE3fR8sKBP1dGQ/Nlos8gqMR
+yT96vKBt5b3WSVDM93AAgdm116KO0+ThScQGmHEDg7J1sVbm+BPIrFaVzxb2uvBRBa/Y/sPZmAf
EnQyDKR+qvAteOXFrWZRVaS6SpAcuMBLgsHJ2L5t6zAeSSzzA29bk/bNktAxeu3sGvSI7CIi+hbH
Gt/RbXifuTY4sVWZYUB2tJ6vccAl70whdXkxwHebcJxQAl7W8g3nnwl+NpniB20ykF5kHGCDwggn
g26rzAfJZen3bKmgkiKGvn0AGpBc4RujyEGjQ+tp6eiK/ks6ak54XeJE93lj63d8OuTXNHjkp21u
t9TBJuUCvGErmzaGANwzJNVBErilWDTYiDA6PCdlo9UpinX/vFTL8oU4DZIYGMk/sE1pFp8gbGvi
GNrw4LTouIjtWeZHkTfeRdYwow30ebvuWyfJDqnlx3ecnaCi/A4L/anwWg5Ll/wxvSYojEAF19hW
tlLdYAfHusvNe9+MmCWlwWBPKG2Di0mBQ8wHgS+hfq4Lkmh3l66wb14+df2p4tvd41uOuvPUVfkn
2GIrkJlRgeYh2OgIIsWN8hkO+KbA9ND88v3GTN+DKp1mSzydDlfGicp9mIUxtVElkMhpyrLChv5b
JAiuh2cB/Uyd35BaFhc3xNWwFOshJ4DBdwB/N03BufFykh2ikxJQjFshl0BvhQkJrvUqHHUrl2BZ
lJr43LsbzZf25pqwe28CHV0RASTQN48dypC2buxLmjzHGwZ8P1+2i0rse8KgEUGZsKjv0UlAdrc8
5kNLKBhUPgfFN4ESPt8g6CXdmQxZMtiXqLbzrZU7/icPy9jriiDu5OimkwS3qQlEXEdekXtntro+
3pNM5CZ7/JQ8Av6Xw0FlVcHO5DlBexUhjr50Oc0Rr2BbqZeEGcUcYkGWtV1V1ocn6DM5LFWfyt2U
9Yu++GrKe7SvoLLco/KjMi7IpJd3y2dZErh3TZCLcXbJILofpNknHxxqppsUkeO9O2oMgFVh18+5
sp0nFr3wJu3L7muIY7LfxlaoMMuXLr6tUb7EDJLP3rKM4yomEaHjrLZk1J8Thn3M0TehjUuFy3Yu
5q7d5Jwz8Lcrhf6/q3uymSM38m4LBPcWS2jW/+DQDI9ZjKn9LUWt+Tb0TvAq6oHSCDsj9ogTd+x9
KWSPREpT58s2lfvjmaQs31kXoBNavEKOldFR61iN2xIAzF1n2JjNDrzL+rJE6fImhTFmQ2m19wpg
zmtOUxEnJSJozd1MogFhBkS3QIIjTLp1YyDxFUOMZFSq7PTGalBmrsIu1uM2tPwCDA1WaNOaVPVQ
63ARCFfl+OHOWXFHz2+E3pktjMyqyG2R0EV0L6+9YJyyK1I5xVM3MBdYQxHRKTtMgJhCwbiNXlBZ
6yh0Qv9GLaFN/mbriVcfx8M9Op4kWecIU+kiraiZJxUr6g9wIxj6q8ZSL5SqBvbGYgbcAWuSStQX
A7EjND9Nya5ix0NBgCpvjU/KZFvcYSCaXkko2wPCe4FrjlwRfGh1D4c9XUiJCroX00WB02hcpN3t
EwQGl2yAtuDMlcIGr1oPlpBEiq7sTgihxifKJ9zurXNmoh0R6lhyX9gTfUsRUKSDTrz2y+feJ0QL
dTPXvjd+ewnRLfmL5sZ073FKlA4U3mjXJ2YpfZWNnU3UxjTWH7NviSsJUAOoD1V+7eSy7ndqDtFY
53ywzhWA4ZJtPKcOWXUdduwbe0Y8sV3K1Cp3ddGrF84G1LQJQ/DiCoqJvTSdF8L8msx0xMYwAY67
Ui2M3ZGjtLmwzHG68Ua8DRs3kxfC1/Kip9mfi8+uYkr/9GzmvR2ZpHZ/LhuiblbE/RGUPzTwiSs3
W7S/rWiQHGEbwE9WSep6T2NSa5gHJUH5sybFTA4zVL/P/lJO5DTm7bhJsb0OK3LJGo9ueul/lKj9
zmZuxedFYhSv7IEzAasPEMSqJ2fw4j5CvE847Bx+sct4yO9GS/XJOW1rH0sfdn4+R4P9tdE6wyBl
4m5f0gBLtKgbFpw/rWX5noLrEIOnjb3Tsd+54DrKRSnYEal8HTUk6qxodG+Lwxh4wFo404RZRZ3l
fUkJDn7vfNKRCXMJx9s8NFG89pyWFTZK+X53XoJoYVcYb/ZWs1PrG3J3YfItklpIkp3Ei9867feO
LHK0NZIxdK/8QXxkdBoVN+y2+gZbEy3ebSTsfmuZSCCZLrAq8gPiDBCUvO6TGrvskSAUmCnC88xT
7TYdKf1zNvwgq6vRq4HCxg/jahFtCKCA0iD7TN11hZ8wHbDakmrXuNlnyCdIDrAcMvgnd/SvRgZg
3EpJH/woCbMdSJ4iRWdVcBQMVuQxsQhUhRhHvPcGZ10IAXtaGsYNjl6TyFek9PjvfovYu82Miday
iNg9tGOCa3ToWF3QJIUvqMuTgzQpuTymHDElZx7R3DTQ2YhDiC7vkO5Mit5RIxN0F7bT5NWtKGv5
Q6MOqI8h0ZElaeWteKfew3LWc1w5mEcrv8v2At36jaumstuHMlqGdWFgObczdTpij/5uvvHV1GNg
mWJ72pS5V38r4jh9jZA0Prl+OBH5Nhk+pnfaDUW5JwWqb1d+KWKB7Kbv71NKI6JDZvI8PaJ6YKZG
btcdlatt4qQQkr9MVapeFPn6zC/DMCGAKQfypu1l+JaWDtP60rXo+AqXIyfSSO9xUW4AoklAF4ZE
j74V2JguT27Bxb0nKyxwBVu5W1zaPQG6e7IMfFQTpfFRFgM5XcYAqp71F69bWBTrGs8dvGc7tDt/
qLzXPq59jOZycR79BWkhtQmx2GYw1mg2SNmQsNAup1O+ocQjeRTLxQZhcoD9ssYpCLQRNhZMq0DD
5g6E367ikqV1k4CBbUeSmnpWGzj79RAg/75BEdKRXAYdRMa1wA4h0zXXCput6Me8eIzJHIkIvJ6g
IVFRhsOW5F0cCJGfTxBzkZrLAxtyGm+AQ9zi4Djo6ra1HJzvHvR6dUWeP8N1aaxLrFWniVzPXPog
eM8s56ttYv8x4lirtk5pLwU6JTxuGydA0LFBusOEio1RX03UpTyXiCK+99pYFfyfcp/Kdh6IysCA
DTIR1/ZXAuiLBzWYGYAfqdd1SB4FKYAV5X7zqRE+LTohIPxnxbI6I3vTiSJRcajB3MnBplcjUNNT
OfTT12ZB8W6pLEeH3C7D2aQTGLPjipRAXETeTwViPHmeKCLAHMZ4dckWwGu1p5PJ3NmD5N0Y0dU9
zrWjqS/U3CCEQ3iYSWocEVURMI4Pw0fOae1QGREu1VGK+IUMuli+eX4LZj7S/XWTsID/cO1Yzjs/
I6H62sJiAlY8hypjZSXmHRywdNSdWyR4EHpcHM12odW2X2XJ7MybGB3mkc2kL0gl1cinW8v1HvrS
69nECvalGiNpv0plY+WMkr45+UMahpusSgLmE2JinG0wdcPbEszOs53Mldy0ULPBWgyN4o2O6bYj
LjedQY8rnDUO2qPyPHvCEeArYdS9JiMe7itGlfmEiVl2O+OA6cesBvjs4fAJBcfTq+8QgHI6hb9N
noYxYCUL+9jJNtBBCmA+Au7YcJrKv1qEfjRrcivnYEdzWP61Slp/IoHGmk5/NJxJOAjBMgWFxwYj
NGkdg2lIMv+jScJxbKqCJhrllOLK0CPy3bGTDAC4FHAnQ4RBgXzuxvkRdzhP8aKhYSOsYIwfag9G
h1aXDKSPhjTyQQRnd9QuPeGAb0DjvbprTFL11/DZkvFdmzh6tPtJLBuZLu4Rw1FaYrdpkmr1Rzg6
zlwx1m0Q2GRneIWQ8HBe9Xz3h10DVtRgg5skiPx3CLvuqXKy9DI7ocUS2JNf/lgWHI1icLAA+62M
mGgFikULiSswSF36uz9wUHahCKJiq32ZOGvBvnkSOSU8hwwh8/w3tVC/qDuTl141/imBIK3iUq30
/6qxWrSOuaibSwGXdF8KD6HLbhq7yTlMfVxcLejs3uYon4+d22Xnf/+3//if//ox/Wf8oe/+r87y
36q+vNMpmNd///svKqmkC//NGO+6IrR/6jocmWYCVjmuXRExP0d+sE2J/gfnvqis805tf3+9X9RE
cb3QReKI3iRUP5UBxtls6A7iBGVJqFYyGT+tvjM3nDWm0++v9JceSRYMNOiucDj/eNzZP9/VMUti
TcIWXbPGSs/j0ss9G+q4di1aIrzS+Wb8kbhz6jbOrdf/+P3F/9J5CBPHJe3ApQPWh6P+88WbZIhz
XPk0SVQmO9YipcOS4I5dG3f4Bd0hIZEnL/7Ze/uPi/KrhUBeJ8OfnuUy12OXeGjglravn4VDTHZV
N9Yt4fjpP9uuyA8LPddRDmk/FJn99BhhzaaOtgPsZnXd7qogrDYYV7vNFFGv9Ptb+Zc3JnBtcBXb
4989zxc/tX25kRxqEvGJngz8LybMiuvJaT7dcihv/vkLcZ50KaW3YVLFT+1she17yJzIDiA1t11N
oAK3kuV1BxmOV/P31/rLZ8ePcZUfeiGNewrj7p/fD/y21K+UobsOyB4lWXqWq9zRkBZohlfUYwyb
31/vL0Vil+uFl8fFAiNxzv35elndxcSecT2DNn9PAqS1dfulvP/9VX7xq2j4lCFEhQDecH96VGUT
L2zriqGTXrJ1pLNwh32UnNxOEIXijP6X31/vF6+GDAKcvqEMYIV+/sRtC1dsKVDkFaKnkd7zYXUb
worcUS3Pv7/UL34aXkvp8b4H3EP3pwc2XOCBMqV8YqkK/ymre0iHoHY/O+IK96hXk79Zl3/x02hD
R9kHRMAHJi///f/bEyzaAdgp0dRZRPMellgzlSOoWrON/10z468uRVU1lwt8NpifPzASD7qLjYH4
GVJBD9S78AX0UAg42fr17+/iry9FLu3lXyFv/p9/lYzwqeAounzLbrOyZCqOEXJCY2Xu3yxQv3pe
rBmshQhvWf1/el61RHI4JfwUg6ABvy6H7DGesn3ijeSvLU22+xd+Gcyp6/teyK38ae2l+WMshpBX
saIZeT+NTrxxKQ/bd232+S9cSYYOwSNKBGzdf76HWP5p0gmwiecGan7p42hrNKX12RSbf+VHOZgr
BbfQ95yfLhUz27t2OrFKjZLUPHIDjl6ECYMYiOBv6iP/ulvT+UzIJ9wackXabf/8qxCWo76JCBgm
GadC2jySobOLGcwh5SkO/RyNQbzXSQsmZEGlfJpDh0Pvv3BrlVChayvlqJ+b2zUH+MpMpD7IyGpo
RMJ7DmBpDkKN2d8syP/4Z/2pXTzAzSyotPAFDLC0fxpPRFx2GlLMWVdLlXy1DCzOqpsoOqrRnN2K
pMjvUmPcMwRZe0Urnrhly1220O3qiCYn+JjzevhApF0pzviItGD480OW2gC8FmaYv9mw/jKj/vTn
/vR8LAvRau4rZ53DWcRVAgsbTRQhUHuxJbxdrMu5S0keJjbk98/kHxPo726U/PObQU4KhpeRK7dE
OSJ6IGeuVLc+4Nm6sf3hHF5kAQAFn5FxzJVIy+TQ9NHf/BW/WrhY/Hle/mXhUj8tx1iJ3MxB5oPv
j6TJKCVxvEX8fyQyvPmbS10+qr/8XuIU+MIRBfv+Tx8dsEvWY+Rz11H35qHY3EPMVFC7pMrWRAr9
/u7+6mLOpWEUtQdmCPnTzBPW+f9ydma7cttMu74iAZopnXarpzU4nh3nRIj9JZrnWVf/P/QGNiy1
0MJKDrMAsymSxWLVO7SmVMOl9ZgH2rHQzPJFEXF9sYYxpR5vwkHbmZ+2NaZDyYCMRLeFvvY1dmFc
k0VgxomcS4PSL84E4LH98iZI128T3l8AUnT7jHjg8B50UfvHZAy8heYE2z2qkfZBsQL3NAEErzwo
Neq5omp+efxh5P2wWgV4xhqKKg5FP+6R5a7L5RoUqGqBkYNr6VRA8E16cKfHo2xsK+4ml6yWW0pX
1dXe9ueRNixKCMdmUlHZNdFMEZZ+gI4/nR+PtBFfieEat7vOZzfs1QZOB6MHe0cCSJuovs1h7t9K
2jxHiiqyF2Hnl77RQuQhXeUFM5H67ZGVrJqAh602UeLOjX2EDBoNoXV0lUL50NoqdAt1KosXWNjp
n4+nurG/LAyPTZ4L7C5t/ZwGLwktuGIsHaDwtQOlfKgp2FF+jdH8IC3YM+rdWEWb65ElxK/boq23
3Cv46qDvaVHbB73WPOGRjhxg2Tovte64O8so/6nVtmQoV9PJbXg+rw2dMe5p8AryuZFTQS8obaIO
1dIoRBccn7XTYKr6K2ZZyk6Y2DgNNkAmx7YA31iWJv/+Wzaa5mOF2S3Ce5bAjAg5rsjzw9J+efPC
0Z1AnVynGCMQH12OYisoy0M2JcmdffWTWZUxvQMAyFc4lokLFq+v9J1gtLl0rs2rkjtfE85qYpbR
asRA9ooaBG11UpAYe0XnxIq9CKL5258rfEBWz3Zs3SADXs6v5eEErCBHvpA3BGgj8hyBcfepLoF4
Pv6UW/MiaDmubuILK4zVvBJEtQuAyNYR+pmF3RBaxEqKWW0HANF7PNTWBS03P48HSjowP1fTgrmv
2l3HtLB8EsGxdIreAiogiitSNCo6yymEqHRw84F32jT8U9cA4HH2qZ/mTiM5f/xztmZuc5fRQCee
WtbqRmtSPKLEgGom7rvi2sGHOo9u86UboMj+h5FcF3UsMD5cFDIO/XYoeL1hV8ovIFvUsReALIbw
kQ72FX+8nW+8deyFfJ/hsUbv11ndE81YA9NqgFSUQH5vqDPSacPLyqvp4zwhI63cICo618fz24ij
ZCFkptzGXBu6sZxfIFB9nJDRBlWcBvBugWJkoa19n8zsWs6uv/Pi3ZwjLSRhkmKhbrlauAKyg6NP
qDj5UdF9EJEZH3Hkma/oayQvcAYxoEC5cOeZKM/BOp46liHhVVjKO/ZqjjOCdGDsEHJPwauifewi
bQbFKoy+P/6WW5NzhMOOZF/axLjlt0QNzfRHtDyO9mQ1X8bZ1Z/qAiBrjCvp1yF00pduUKb/PR50
6yhQVkZV1OURZ1py8r9v0DoXlTmglgAdZvSKSZmOdqrAD6BPfHnzUFQ7qcRQC5Sln9V3xGRbss1o
HUAB1ryQGuULZeXknFZ+v3MFbsyKKjlUJ1XwUiSpWc6qg8IEMatBLdZV1XMCppJWSGojge38+3hS
G5sDqh9bkYSJGoy6WrRR9f0mKbXmaAAoeVdjXD3C98zx6Xw8zkZuJnMj3YYupzKlVQB1RJUnMfK2
IF1q95oqjnI2slY9kpjT8ISf/t7oQSuUXIIYIYjkx+PhN865EKoNpIQ+mU2FcPlBnTrvrEAYnHPV
Gj4JX50/gudGttTp83M15cpOnXXjLAj8TqmLU9kynHXcTDofynFCRzHBxuoS6a74t1EgdkY09hEx
waIyi4fmjzdPkkiNBIxhGKrK82E5SeSPEe4HpX3sXQTqCpQi/rDpS5/RhETXhHfkzpr++mqryMJV
yP50DIszKFYh202HiS5pg7halyQ/rDATP2Vg/6EKaJ1Qp2o02rVwDGEwzdA9wHEFnzPqjrb3eOL3
X9sStkseYZBb4S6+Oi7QOJBwiiiPqraif8A4Mf2XRgQuqFAPnpFLsMRhgl9j7lzD95vKYlPxWuEG
ZmAhT/FvscdGYzhyMFbCwxDXMbB5k4cZZfIEk+UfNmG0M8vN4TRHdpZczeWqXA6HbKEGcwl4k9QB
/AyCx7zVqf6C7hWIIhw6S/H2+ckvitcXRHiNOS4HdGypTFwMDewfha5kzIH9NHemfYstf8BEs2h3
Zrixjpi6MabgHiFZXV2PRtVHGU5L0D/drLlGRomCPfYOnuL7yTUMFf82K4q+c2pk5FluYir5xHPe
NDzbeE8tZ0lZtqB5xFHF1wNcUz1iNJiQ5witLP9nh1X1v7ht8BCAXrRzfu6jvBzZJh/gAW4DvFqO
bKIuNNWVxYWJhumJzrO41Yajv6D1U+w0Cjf2DnVbzaAWRwGXILgcSvH1uAxNE4RDiW5jPU7zCX41
MOe5/FT4uHk/PpCbM2MFqSaBqzOt1a2SZCJU5gjQCTTn/FyQNwLw95Uz8jnpzkfcWj6Nso5ruzSb
VLHapLE+wu7IpIbMDP+vr5XgZKK9g8q38ZXGr35B1EhaJYzKTi4ng8py3/AYZkjHJXnki642azJM
uBNldQv5g6qSglPROaLSsXMk7heOVwdFY/YloebuDPYauiSQv9tj08TI6kAH8BCiKc+odaI6hDvM
zufU5E5YT0vIJxn9Jp2ceHUcarVEKLk1WrDOlhQBVeLLlIXmiUJ5D0kcIs1FLRtoAraaXasqQ640
cttT2wcG0h5D9aoirPbl8Xa6X2MbDT+dAh79Zm6Q1XYCcx1AvpNrbKo5epJZo3wOkna8oBVkf2tb
iJjXeDRQygbBTTB8PPrGEri8Lsn6+A/GxirMu8IeoeUCXVCa+a8ACWTaLRhNT5CZCIHnx4Pd50lE
IY3mLOfGMsgLlgcVv50SUUQcKlRA3VdMuRDaEfNw9TNsc6mkiVsRZAhKdm0bnywACG+vAgsOEePz
K2xE2VfnSbVqvL3yvDsWaFmcYbxrH9UqNTy0h5qdJOn+BDEUGRkUUi5vJrycaye5B4kF3kYfcxjH
VdheIrqcOzt6YxRSMN6VMjegFbFaPkyFoLMjPH7UHZi6Ew5AT2gK9qfH6yb/leWxEbLoKGcDs4X9
spxLgXAtctIjGq1S02sKjf5ma/GfxjDPl/8wkk2KZ/Cgo062SmV7lMsgrgz9cQjsCX2a2EWrxr8J
p+93RtrYi1TMeYRoKFXTT1+vT+hgTWNL/RiYuw38iM46m6M+vGo6VfpDZjTJ52yCsdeIvvrWDPbb
S8co0IEY0oEl2PQ3V+cekV6qOhkoKolXfKEJPp+KAW3KRB3N/7B+v6AK7q/VW7cB0YHpO9HpyEoE
sfZSiYT+XNbF71E83OtHyM+23iqCGUn4ioqo9GpDOj5GVdoEz7IyZuMTmnflt1Kx9W+6ArL30LeO
62VFXrz5usKXF+AaD0qNitl6MZHsGcc0MPvjCJLyGXOl0tMG19o5bFvHAJM7qn8SRUD7dnkMhglz
aNVEph2uIdqgs4FeqzHXR/z83l6aYiq8JwkftFOpAy6H0nS4ysCrATsJbEsEQq0n3PCsQ2AgyfL2
IycrKBI6QN/bWh05vW4wBuqN/lj5zXSZXdSxQ9rD57QffzweaStY0X7jmpGgKlrSy0nZrZG5c4rj
RlWX3a2tG/uYO2D8H4+ytUpcqIYFqxZlTGsVrErDp+AXw7qsHKxDUOZHDrq2quvcFv3O5Xk3FJMg
q+YljNEXuJJVljSjtdTYHf6uqtWLCxYp07UaOmoM8I9Oj2d1d67kUHw5m9Ioma65urkUzLxhFCF5
lORZcAX4HCBD1Ibv8WVrvkOSR5LA1SSr7M3D2mS5WAzRNuCWWUdJGtjsgxI/TG4Asur2T6wTtUua
Jfo/yK46BUJQVrVzzu72CQ+G3wddbX4LOZwsCEeJZDZ1ks+pPU/R0F8fT21j8ejauUzOADOjrrFH
Xe1ac4FQguygGTccjiYskrBzqytkBx4PdZfiyQmBlaQ/y2cEIbHc+D5oksgYE+nLmY44s6Hsahro
74BXUC5lr9t/kYIln0bR7Jy4u0tuNfBq16DmApbeDOdj22rDmScg4kWRBT9Tm+PyCbH10EPIC9o9
3sMvdJKznbO4sWttWXfjzNMyoRS9nDgae3NbuzidqCEeVIdIRdXSC8I0f/HRBYjhZVRogkzoWtz+
wxenAY/sFB0zks3lwKRclYZJO7LfPvoDeuQ6f+q4EF3gvwivUsV8KWrXOeEjV+4UpLemTGecaiDX
H/Cv1ScfSsXVcr+QUwbDf0SDPhpekBNXlZ9znyvv+7CJFSq4Rf3z8ZQ3Tg2PKB7AfGzXAFS3nLJd
zGY1IYBz7NDAmE9xh6zXMW7zKN2JCVsDkXQapJsuGNJ1y437Qq+cGuq0TR1K2upMtf8chlBWdhZx
cyDKb7JxouLCuJpR1M7CTP1ElcLIOLgWmDDMTb/Xkd2IA4II/v9HWR3OMEGoHc0P9YgSSHsRto+U
e+hKFSLx5poIeC+SdVoj8DLpy6zuC8SkqqwPdbA2dqF/D5VJ+6B3giYXMCLv8W7Y2IaCrBbrelt2
m9fwOdxyHDdPffWI7BuSewhXIg0+TLdYNOOtbkeQ/ahM7bx5NuIcCQt6NzI/AhuySiVUEQoFpy0N
nbms/knp5W9kEed3A5HhGfZ97lmzNJhzBcryj6e7tYi2LHFRTqDgv94qON4FbZawS7rMni4w0nFj
jCH46cjsvP12EqTtoN0ojdh3GFmXZk8dwO+Bp9QUl6LMxRmzyT3w+9aEqBaC3BMQF511wzAcaqeb
aqzcUJKqzu4sqltbFeYVf2DjrfUsdqWshkg4p+BlvArS7ohlHDZf+rG28uxUhN10xvlrusBm3KuB
bs5KEDtUUnWLl+QyRtGpKYNJYVah0pW3IhyCKwLoCPmk1bxz9WwOxfVHTZGyIG2K5VBJBD4/E6l+
bPDEvEFbMG8l7ilPNtsk39l9W4eNlSIg6mRotLWWY+GaELetzRc0jPqfBILiNWrhySW443otZhEY
V8/F5fGOl/fI4qHFqvHU+VUup5ayBgiUwNuDfCTcT67sNGlVEntTNWQ5rHk8GBGgznfQHfcdkV9D
Av6xNGIKDNnlNC386/MhBCqYoJSMPB0VB6KZc45CC805CIXaeYxwlIeV1eOcUkYawgqjq+2s7FaU
Ydq83IF30ZtZRdFEaFhEhRFgt9jR3yt4sagAMuzhQhVt+JkXrQVhCUX6vqmNvXz4fmxOPWEVDz+q
+JSQlp+gVAJ77Ccfp64irrzONMcEdbyD7p5hJDVeZYbDqaWCd3q82Pc3IcNaGtvYlNir9fsWhj7l
rA6SG7bq5klMsf+aoHh3fTzK/ZGRAwDt5gHN/aCuJ5c484SH3Ahw1rduhhHgo4W+y3ksq29vHkmY
BAD5lCY/W6cQWKJTmxuFDifR0E9uMoeXwXGrizYP9s6k7s8m/XOJ0nVskBd3YLLAjiwlbyJw+C6K
6kZeIByuKuhQ5Y5/Bv2qHATq3zsB4f5w0m4Ge8Ezlzco3Y/lNukE7O3OAqwHYzO6mhW2tjUOc9ex
hWrbRICG3/o9ZRWJVzzPQ1pM6++Z90nSYD2FLlY4d5B7x5rAUPDoeMkA0+xsxvszsBxMbqPfOoNl
54fDIOFCom7RoHYaxCGCzvDU2Rpw6YWoLwoD7y8MvXfKPFsj0ztjl9q41XKFLEcuVKu1AjqexwAx
pq9OJKCXluicokSKX+yIZmlVY3FsZXq/E/vuF9TmhoQzJQkkHHu5y36bMzzbIA8aPNWI8Dh3gIC9
jVoKYxxl5Y9JVs07G+j+KDIeTWeYKgxIuWU5XopcI0o/7oR1ju6+Ul0ecT8LDS8wu73Kwv1HFSqh
Rdd0m4cwXIvlUIjGjDOSGINnlXWPmUDftF8iF5F2rWuTDnrwaP2F00r9HGC/vrOV7j8rY7OWgJdN
yihrFlU6aWinjgXqHWVcfvSN2L/O2LU+DYbeXEJV63ay4vvPKnNEur7kOw4wxdWzEIucUbEjMXi1
URGy3Xg8oJqBs6la//n4RP7qby7vZyHhq64u+2iywbX8rGlYw0V3g8nDKxY1xiEDPHSoTbxRQfMZ
3dceaaz3NoI6f4C5nRD3j+mEHKQiNKYEOOoehjSzdxql99eI0Am7KgmyvMDWQD80ojoVkDCf21dx
GUS1JzwaQz79+3ju8gJeTR2qliWzEx79d9EPTjg2W5rZA+r3UbDOQNV6IHyq6KJhNAr8zADNABnK
8ZDmbI1DNiGP9/gnbCw0ZRY5OpU5NB/kpv/tvJquj05s4rCpLTV5ITFor2ptqU9g4o2dV+rmUDTP
YNkQ6cH1LodqYoPco9EGT5+VFvOzPNTMY9g0SDwLY+h2AsNGEkZlmMeVAdhNvu1WMwt7VkJFmQTB
o0HJj52uwY1GOufJgJV67FsNjroxRRcowc67Zq6D98Gs7VE6t1YYeizdIAeQNqSf9ZyRCtS1YsRQ
SNNeJt3AGCbCCzvPZmQJsX9F0FJXvDSFy0/u0n1+vLqbw3OuCB4wquGVLoc308YPEwKHl2c5vQzy
Ulp4PRxoJ7ZGZBFBv6fQ0qhoc/IKReyhqbeWnDcZSHiK87wEV2vQ2uA4urEevaDPyh8lFoWXlKLI
uYr1/xAhuXjYy9A+qYCseSuB1jmtPg8jaigJihlYJl+H0TbOKNpEiNvo7eXxp92aGigj2rR0LTVS
puWnjXHBTEzB9qp6d/xsM4AHibF9jstoD7axFY1kIUQmSQC71ju57VScIiOAjYlR6sUtzB1UlXA+
w2ng8ZxkqF3FI+oR3NvQWiHRrlmtIp36Mii44YrKcJ5xQ7VOfoHaUNG186fWQuAaVS339HjQjQ/J
xS1rLxJGof+CIvwWgZAzFUOQoJtnB+WAaxjmQF5pSFegukHjaycs/IK/redIQx1sERwRyS5YrtsE
tjjL1QmPZgDGg4bAee7i8DfnqjjPVa/Np8GP2gKN5Wz6gQCDhZg8qqro+lZSdWagJjocWjVG9TPB
xuIdEOx2utAA1YLz0KEdP6Or8VenChxlUWhjjfCJsecPihYo/sGqg945Ic0+tk+xHhWvTDxIUWHW
30wLZa8Y5DukRy48Bn1VYsrDok6F1aG9h/jlJ7UYnoIBVUVMs8RTauKd8OZVhPHGGxNErEWFRK7y
b6uYdBzKEGqtV2f6/NNCje+pQIPgOyLfe0jmjQ0DSd6BFApwAHLIaihKSmml5J3p6V1efkASJntu
VSu/0tEM/n48q40DIbtWlGFskpO7bLZrQpCpHUPR9R6fyakdT2vn8ClO6cZBrdRfdNyOdpL3jVyP
5JKmJl+Sfpm5Wjlj1mvhozzmZbmdf4hEREErJwmrB8DvbbsHKNya4+/DrQ5EnsqHNPV5b8bgyr22
ToCumjrjjnhwG66qnnYo1jNmqZ4ef9ytdUQJE1kA3pyUQ1c5ZoRCKqqCFHSHaVS/J5Ro/qzUoPqS
Jtn8/vFQ8p5ZHXp6KrwQTDBUQHhWc2w0FE4C+nFeNc3qqYkq3Ls7419cdXDtGhX9WOD48m/V0I14
PPDGx2VgAU6TxdTg3SyPhQUjxOn9RvOSVqC5M+jKZyBS/8IW6d+NLSBKe9Lyne+6sX9cyj1Ud2my
E+NWkx2cEoVkwZi9XztcFGiQvGYg/uJDo2PLlINFPj+e5cZKwgRXJTqE9iDF2OUsG9S/3G5Gp3RA
9+i7prbNu8mM8eylebfzvtz6oJKnzWoSxCluLYdSUshfGaoOqIu2KiKgbT047QfR5oKeR6vrR712
nPdDCSHo7XOEuGgY6C2RSVnyq/8W4KKKgo9BEonRHirPJwy7pm9VqqDQnrpZvfP+2PqgbFYKlzJb
JhIsB6uF3iaRo2po+M3jV1rOTQOnzzHPthNNOzni1he15HUIHB9kyBpek+DXR5fD0jzh+nWD8ZvW
P3fuXAOyQTnkRGtLP0H573ZaIBupqQuuhyyDYjDjrlJDouocV7WJgYFVKv1tEmlwFT5i8sdqCkCD
talufsx8w/6c9Vb3b95Qj3q8oltBgcqkBMvTgOSHLD8yFqDCGprKoPJco5Fuz5rbXcwitf5Ok1q9
WfiLn0IAfl4zBc0eeWtr+hRoADVJpugdTMHQx24s7MFAEizM09MkjKBCzVKvPiUuiFmz8JNnHAFs
j4dqf4Lnnt4ez35ri/GwRV5BSgZxjS5nn9BhR25NNQBuGrnXI/9+iErXvCpob/yH8ADzV4LkyQzu
UvNQS+JQIEjuZUOIYGPodJeMbsYtK/EzeTyrrc3MEGCbeLqTU64Ojh7gLZGJ2PAQSiw6KttJ7cF7
MH/kA/DjAzYuw3OPPfPeuPcxFzEFjg+FRTDIqM8sv2ZgFSWyYPVMWBr69x2syBM+nfjU8H/Hv0sK
Nt5bJ+qgYYV+hFRCkiI+ywGREUeFtG9mL9X0+M+q0jHk8xXtkKjYN2X4Ix4QWx53gu+vq2N5jzrU
FOncSDkHKiOrIzPqKp7PST+h8xmohTf2o/Y8mJb/9wBl/FPqT+FLGzToXk9lbl9b2C2vCQ7Hl6l3
1f89/gD3+5ckkKyB/j2EtrsWao+WKTIQCoU/JP8/q3CEf+RgA1/LvMq/PR7q/qySBErgEjcqj6J1
9qAbQW/EdTx7HZrapzHT3VOIP+2pzBrrc+REPta+CGikUaw8lyXW7Y+H39hbsuSnSgwkqdIaYh5A
g7aphqF70dZRji5DghpeDIIhORqj5V9cNy12Op33xwjNZK5yUjvggmRoy93lxKbdY1A4eZqkYPSp
XZ+MTnFPmLHMP7A7qi6JLj48nuZ9OGZMSvMOlyyJ5rpyjCmZNnYVaoR1E0Vf0kx/3/hO8ZFwqFy1
IURZlLe/55AL73zfrZ1EBAQWDOKaJ+hqskGGSacbJipWqygctaMePCspOP6kTYKde/0eV+84JC6g
KLD2YSet66pN29XpYGFjYQAABTw7xOjIJxgHOrVfvGuycTikWMp6sT6MN6EF08eItOszoqp4n7Zp
8qpXIrg+/vBb+4tGJcV6cFckAKtDjZtYjGUBoSSaIRYcQlQmMaHISafhS1n5LXctRN0ej7m12CRR
1GmgxYGTXtXF4gLLrngcZurZ5fDizpr+FWPW9OY0Rva/HJ/GZ5A7wtMSc9iJYZuz5TYCxcnLmOL2
cmtrBeJXfoUwMpX+9t3YaMWRfqzyDdGr9qkOA38neGztLsIHx8kCckunazleBh53EBFOlLBEu/M4
cuWR9OEEMTrFzp0gF2oVnQlTfE0a7ISqdS23yPDclWaYaOCO7QdaEybL2A5f3rx0VGrka4qKFJnw
6rhUKPxNThNPyMdmY3XEmlDcqhw1HNMq46uqYSfjNVGLkShkDmVn32wEJjI1SL5kxzyq1nBfCrlV
31Cn8uZgLvHIqqqbVQ76uw4DsmcK5d1h1Mbi9HjGG1uGdIJrXUKSuPVWS2jR4beiKJc6qQ32raaJ
pwYW0Ge1t744SaRfHg+3FSToYVNzkJoGFhfucssM1BzLuYdH6E6qOIIOECcqjeAVBsv+UBpd8ZeG
tLM3YYpyGlUMEE91rdrwS/3kc9SVCNNj2B3uRMlfZZX17iJM0BShc4oFkzzSvz2AyOJoWTbt5NmF
0N8nrjLfRN9Vn8C25T8CbN9O6oReajLU4Z8lT8WfMXY+KmKQZnHG1zI6zXgDvLREoKuaxMPOxtgo
91MxoVkln74mJf9VFIPyXc7C6EdvsIoGtZxyGFIvQjnne6MaijgLBTfUJxv1i59DhmvkkUal+oLu
MgoDO+u3tV+oCat062jAAhVafqkspiIcFhT9rR4vykNG1nnuUG9+lk11no5RbjxN+KldbZyQETN3
85810P/iZIxo61dCyV+Bv5qXSJTZS1IPuOx1iWLt7OqNrIYASPqE1qTsEMi//7aeUV+JOJ/U0Yv9
YiwvxmxGz/pUZM/ckO5fyLajn1ug5M6nzJFJVdvJ//r4Q20cZkkP0FGwAedEMF7+AgsRPiwh6RUH
EaHjKcAU+wnPgv6LnTp0bPoWUe0TdnzO268AOFUMKYmJYFRWV0DcVnpPcx4zPsBVmIrWmEH/E9aG
AklaB+mAnbvI9NubJ0tTXDMhVAFTM9bvXcvXML6KBtXDTagu/wqUKbzGtDqri4MPQHQIojBTn7RM
b3dmK3fb6twyMMkGTwWYSeuDAcrQxPIopxxUJ2XlTTGeobhK4wt5wJLeKPbihIyG6/HY+zyE6MmT
56yudridOnzoBFn6wkbITvOHBPvArnx2++mHAdLoHKvdex2nz5vpo8pNw7f79Phb30+ZogTsOW53
sCUo3C03lmnE8xBSmfWAk+nfKA5ZUOUs5JiaHJ3ux2NtBB7QKyp5qwRb0MxdnfbQ5YGjzpyTWR+a
4jkjNuWekYbiu9nVTf2azdPkYDtYTybG7zAYj42PvjZWNFmxh4a4zwDAfIhfbC0SWqQulxMfIgO1
EpgWeK93EwCaSgsvM044Owf3PsAth5F//y10tEMJccQxOg9QmxPQt3a656bEsACrjuZvN+7N8+OP
vDUgZ5V6ETgBGmCrPdXGdmeNWdJjMQcf0ikwAsKmFIYUxoYHH1DNTkq89R3BxMvlpIyAQN1yghho
agAQmt4z+jp4LeYm/6xb4+5FLwPN8qhQoUALw0COieTwl37cb9+RqkxHh6vDOcyss3/jEiadi7PM
+z5zERbC13l6nsMOSXwR+x+qRDFeizLIvLYbnPePP/B9Pk4tygCCQYwgn1nzD9CP7vQZBouHmxIw
06SMlW9xpounQNNAJtAex4Aj1/1/yNeTvVrYRmrB6BRskPyhf3RXnq8UZP4Dve29MMJT4ogRh/8s
hiZ5ztXWrtAaQiT2l5PhnyFmxUffLLuvbdX9zMLW+NxEc3pKynBE068XL/Rs2o+PP879TSl/nsTw
S24nVO/lbijC0cTJJ+tpLXclFWZ0fT4qdhFeJqU0DIybHQE3ph9QDYoN9ROC6tZOSri1H7miESYl
yPB4Wf0C38lNv3b5BYOF8ekh9DNQs7GzR8XdOmYQLIHdQ/aEzL4KHwmOdr2OuZunKGr/pSrUBINH
vE+nizvP1bmnjbtzK25OjEoW5Bf4Efdd9KgxUfHPew8f7uKn0WXFO8ed3l67J0OnN8m9K7X51scZ
LnVeFCHxKk9b9dQqvvCirMeTq1DejqehigBMnBIG8m68p5d7xecWd51QoFbRO/GlGAbXs0M1PPmB
W775YpcFC9ZJlpAZdLUpOiB1aWS4nQeuE3HVrmtPeqjjLB6GeyWSrY0hiLtS0lCnIrSKh2Xb1k5p
EX9NTtcfkZ2a11bHlVxXMcSGQrhDDdq4vzUIxyjIQY+lx7Pah3Qb8rLDBcjzIfCgrp3Vl3qsAg+d
Zn/nZtkIfLpK+gvkgacD6dlyvcAjGTH1rd5rhYPIqz+7xyBXYrAcfXPVA5f0XTHHE+Vjf+dM/0KB
r6K/TgObiiKtbOa62iqhDtyIrkznmUrYfMmTSUQeVpjioEXg5K5V6WrfEXbGfFrFuWw6hgPlzWYi
Q5Xe5lhBsZk7PMK4X65BCRHQexz2NlaB1iWnkisK3Mm6P1JMTtnQ2xo8gIb2Za7S7yWmPCh02zvx
dSMILAZaLXfj864eQsCNM2380UPBA7cQo7Wanerb/XuDxyHkQm51oGG0CZZr3eF9PXQKu1ifZ/Xi
9n3Nm1RTTrWp1AdHzdV3So1dzuOvuHW5QWa0qdTz0oHuttphOmX6zmiwB+1iOyyOszJhv2vM+KM7
Q67/UMpMRUNCbQ0vnspowGXFMD/kRll+REoIDWgCR5eQ5PjBc8yD8MKJGb89/o1bHwYou2yFEVDM
tfhNggmgbZaolsSaYn9OsUI9GVGnnILEpd4Rj8LDwto+PB50a3tJWB5NTooqdxqY6Njjeir83nPY
zNc4LP7q/YgCwRg0O0+SrTNObRMUjKzhUx9YrrsfNzMcF4X0wg3y73bR/5kgRHmJyjZ/Udrev1Fh
gZ1QmXs8gY1+CekqBxAAonQdWfNZS2fwW82WFypI/sbLmrp4F00icA9TMVmXqGjTY8ZTDDqIVg7X
OgWvMzQ5aFO62Hucoo0gLh9FdEzAnEpQ5PIz4CeZBn2qscpZk976uKEgEarfWlFPT/ZYNZfH6yuv
n3V4QwgDoxWZ0oFBWg6HMZLZxzCJPF0L+4/Y6kAZbrPSOllDhf85TqHRc4Ag2zv8ios/FKcd/kP8
cqiC0l6mb0NusvwBOscOTyO39RShvUsxufw6BUNJX24Yd6a6tZVR2uX2kHcJfJvlSElWhvSOGYlU
dDylGdbCil0X58QS3dsTdWCOdPzBrpGRrssIcT5PSYZnqRcJfYhOjWNh90ZJEqusprkCaWv/QVMZ
q1Bg0vq3xysqN8hqRWkWIxIoBRC0eysUPSiSLGDsLlfsc6e00ugLl95Xh/9bHc08bp9Gu9oz0tnY
SIBn6DoSLeSLfrWOoVWlnOoatmkQ2fk1UdXhEJsKb/rIV8aPozCG6tLrivFpAkuOiEFj7r1QNiII
aAxKsbbsiiGSvVxgG888Z1b8xmObJmd3Sj+JssdFeta7s1q65Q19+9BruK3fvrNAJ0iIKWEdQZ5V
6dmPRO0ObcoejiPnLyxgzUs66SVdorzbuYX1zUlCSeXOR7QXstFykrk6O/6sYm0zjML6UeMT/ERr
SL/Ufdrf5rYLvTCww6PQovxrh/Og7TkxYIlZNbEZShy/D2AI1cOtH0fDgwSSYmE25QLYUWw0f1al
EWJLlNt/DP4cGciZz/1fGczpge85D09dGlVHooTlHCgSYW4X29U1nKI9+4rNWULjlHU4GKNrXKTj
hDjHNkPr1ZZSfFbG4SlFAm2C06nXB5rbk4I95Di/Uv6sdh47GwEY9BBPHYIS0OH1RtYxEQxr0bRe
iyPUdwLnp8ooggbwKfAAK9S/PD6uG2kVFSnJrZDh/k7fo6tiJyRxbD27KXk1wxLscP7L98RKNoIf
CSIvg1+GQrzklttGVI3f56HSemrV4WGRJ1mEWVvZTE+lg4nm4zltxQIgrfISQ06TNvFyMMxVYyvt
Z15yijl9qR2zzj/MrQ99uxsa45XWCZ5lPaUELCR5TZ+GBDu8xz9hg7AC8AHVAvqHaHhTZFz+BgU1
hb43NFiNmlWNyOYj04pCQ9n4L/acG8GxDoz6q24UZvYqwkmXztt9cKz0VvvZt5Z4KeJsT8tlIzST
1NKZIVMHa7gOUGHjpshzYRYM1HF4yWJcohmqPWdBPp2iutHDA9I1eyphG6NC4pUYIpe0itbQ8kuE
euJi8ahUXl829jf4yZVxwN9s+qxFNaLG9C/c5yTsip+PV2BrWBNFXGhYtKvZ4stha6fuwY0iPd3H
joq4Kmydl6Sgl3J0MRs5Id8MVoKbauf4bg6L9h6wY6p1XEnLYQ010kLbn7EFzy33m1XpIy8H04+B
5ddBeVbbvDvbYzDuDHvvIkGwIA5KwU/aj9z9y3HVXKsTR1dAxSecrVdDa7B+7w03/TFR0/4Yu7WR
HFK41dduMnP7oCVJlXr+EFc6SPMQP1cHHVpPQ1gbCURoAzUem7h/HeZCCf55vDQbweDXY1G2oFma
dSakWUk4lO6AqlSd6xj9mqkbTe9tAxWMDIvErt4LCFsDEsbp+EkEB4Wk5ccBR1ZS5EbGShUlWHuy
6PS5TsvoKWsRH9h5SGzsAA4XhQm5Bdjyqx3QjU7jhFz3nu/H1remtr8U5Zy9Ohj3emPVl+eoCvYy
gI1LA005Mr1f1Wg2/HKCEz1DMykFjZtCwYElThuBbbeaBgcE4IZvlTvslaU3YixEYMjb8p0g3/7L
ETEhNue2zWoKV+GQwF+I5/YaOiP91CRyESebNSV8FYE5ZE/DXJlKfMhrXf/7zTsJbjVq1LScZU69
+tYR3QA/q6vK0zIAvpOojYMSCOJYiGfc+fFYW98YARz60WiNkOKtNpGbUgHgOFdeGNf9x0BLpy+J
2qO2QDPnks9luFO529hHUBexYkDjiDRgLfkqTGobIEF4EKZa9QFtPVw5RzUOR7Qk2/iPqvTJ8FDy
2yO/bGQEUh0Goh+JNKJfq9vTSLXY0htaVREYmFOIEIOnObyLH3/NjSOJjCPlanoJBtqhq/AcqW4k
3KRsvDTpCojd5vQUNyI+hm5Svf1D0omiaUBOJcdcTWgupjbrja713NyqqkOQgKxKisD5yBf4B06P
OMMwCE6P57exW1zcE6FJ0e9DYmw9v7joiwzWoGfYUf7aTzjKziZ2zNk06efB38WnbewWhDmkQNX/
u99X4zlJgoB+xXh214b/5moGUrcFLVCqxvSuitXkQ17oe7TcrUnSZ+ChJ/MJaubLINCleV2jNN16
1WiK9sQVG89Xvrb7rEZD8LXNdIjHj7/rr/C5eF/SdoAGBgUY3hLNy9VEtcSK0n7qqRjoKXIDg0Bk
4TxQAc/iQ9RrRexVjWp80SIxJzetp557DqaqvQS9SsppVqpvIJRVWPqPDIGW9H1ScQxubtho2ikY
6jj7MHMopVaD4b8Pmjz4X9iWLbZraLK/9P3sfEsLJ8uOU2OM4kwDOQ12cse7peQ4cI0D6gHyTc1Z
/v23hh/vt7GzopoZgkP5EHNPeeP/UXdey5EjWZp+lba6Rw3g0GbTcwGEpNbM5I1bCia0BhxwPP1+
UWKnyEzL3L5ca+uqZlMgAuFwP+c/v7B7MypbZz3krvrCLXj8+V39/pKo4sEmTqZqCELee5GkKzxE
XFvdTZcPgTpfh3nII1fRr0YABf26MwpqnbMJas2vysPvthsmmgxc6F85RpievdvCBxx5Zq0TdzPk
2Dtsk1OqfCb57H/xQJ7+ztt1c3IaAJdgDz9ZD7zbvocAGoHoiHvBVGTWkca8OybcuTnivv7LvJnv
HgzeFLoT2IEnSW343tgEj4zan7BEh6JZ27cFXhIXfW/fTEYqt001cRj+/PP7wfVO9eYpzJRUDRDa
t0tG+KSii+x0E00pCOFeU1dfrcM6r5DoWcP3oV3jPvDzi/5g0TAno9ikAoBk976d6LvWDHXSu5t1
WdvnRCOdbpk+MIPt8AnC0P+8tWjUf37RH3yM1DjMgYEfAOffl3INKb7TkOXeZkg741ElkMYOeW2Q
OpO0vwx8/MFmw1iM3YbuhZKOsfPb+zqIqTQJX7c30ILLNhrG1LnoSAOfI8qO/NYMugRqgUgE/Xkn
MJV209y4tho3uCOwpfomugrvAZZpZW+QqqxO5JmDWvYiEwJfLzsxDo7KRnwiZLqcTTmqpUiMJqxF
X45NHpkGtncxH13+4jWF/vjze/k98syIwyTJirafLhn86O3bc1KXio0Isk2bZOYFZH0xR+HiVidm
b5/30bwEk7ult2vPJ7fHmdLXbp9HxpL5Iykgtl8dfv6KvoeXTq/opEUHzqJXfT9FNwcn7cEnm00I
02ze8qEWwy6zk9XYYnwoGHGsK01JPUBFiAhjL18dGh4cGRPS6eI1N70h7glG7yMTFnodeVhgNyxQ
0zF3GUKAIs6GPL+pO7PMot729Efwbpd8b7zhi21DpMiDFj7eU2XhkEVBCPJ4zNY5zDD1dy00Nijl
v/z8PX+/onHOwLAcASmeKIDQbz8EXXYIn3TdbpDfebFuRHnoqxGCwzr/arb1/TaBEIgBDr0Qs/vv
RKNdjzIjqdtmI4J++pgqx0NH5VnE4GCkF5l0g794Wn+4wphr0SScKgQcUd6+OSLfSFOHjLoRYz5v
OdiL2Cn7Yhs0I6JKVSO86QITjtnqblcYG4daSxmnfpP9ycD6rzfJ7sMfSe9fmlb3Ge7q7778n+v2
tb4f+9fX8fJT+9+nX/2/P/o/b7/kN//6y5tP46c3X2zrMRv17fTa67tX4prHv9PlTz/5//rNf73+
8VcedPv679++NFM9nv5akjX1b3996/j1379xO/6xlE5//69vXn2q+L2bpvxUf/3uF14/DeO/fxPO
78zogP5B3KDZAYL89q/59fQdi+9g0cq2xnTnJFlmU6ubfkz//Zvr/B7wk39wEzgsaZZ/+9eAbp9v
OeHvpDVhk0GMGH00P/Tb32+c16ETXL3fff2veqpuGgTyA9c8gT7/exrDyT7NOaEI4/ZwYr++52ph
GWr1JiUZUQwtQknM681xl1tJLaM6MXw/qvyhL6O28MKbtUu9rV0UNvvmhHLzP+pE/ngpp0MMQjBj
mdME4e0SxUVy7gb6+Xgqe71NSl9up76/00HyKx+rt0/691d6V9j5TSc03CAMK5fK3fZJmMWU7fk1
LdavZNM/usH44xJxziyPGvf9UFGQ7jMYtWWSpzuq/aqGOV5IM92EZLVuyZ6YNtrpxigPcztKxCJ2
4aT0yz+W41+f+j8/5R+933++hnd3dnWmIQf9MXme0+zaxiRoI+vMuFssImJ+fqm3O9uft5bJGn6L
sGko9t8d1K5W1Sxb1hOK2+nC6sPBjuFJe5ia8CAYpPss869akbf1z5/XBEg9wUo0XviKv104Lj7p
jpvy9nI+xTQyOoMDyzDSeGgG48ooTBHJNFt/dUT+4NHhoQHlwxKUXui9TbZOyKAqJgz78OVqngNr
mi6SFJ3sdlCzJ3cN/HCbQPEaFbKLsewG957SPPa6D9QLwvbKO7gJvce2Mr2+2+AjSlWyQuW7H8bV
uKkhv7fXZGsV+HjotFE3Ph2IH//84/rRyjj5qILMIkz8Y5/7Z4uDlqpR8LCs2HcKoaM+SdU+LEm+
jWwOi1+UOcEft+TdbkP8KbcL+Rbb1/tyXK8Otpw40MQNTnIqGrDgCdlhsuy2CeqUWdKUtnKjnNIo
iUoQ/oUPcKuisXVbELRVen6UGA0+he0yUBVYdIQXlgFTbTP7o99BG67t8aBgkdebrh+dNAYNWx6Y
NFrkoASqeVSLv1SPa+ZkaRwmU5XFOQSKIAIgU+ogZdt9E6ghswh6Qn1Tp4hzNq5VAyJv/AwZjbYD
g6KwRRh3MJDsN4zVwBI35pTV2U3f+Lhktl0wo+TvO6uMjbpYX2oo++Wuyh3hXmKACmHAHxPjvneV
83mq3LTdSbteaRoKmXmESc/zxpRtxphiNYIvVmLWNQ2z1ZPaQOLvnXUSafb+5HbRaFF+R/x3nHC7
TsdpK8RsFJtlsooPo9mFN5NdyZGIJKd9pJcz/ctZqebWLTq32utmatjhy9V/DEdcTmJaenHt90P3
kdvkJjh2iekr6Lqvd5OTZCSsr7KU0eAn7uvspPi9zJaSuE6U5fDFc7T/nFWT9wEwZrGips29s9Yd
1y+DyPHHJQHT/uAW9XrV53PyShU536oG9Xy0drJ4KeygCTZ9va5BNCTQbsZiESmxCq37pOGYNpFq
PH2f9zVS4XZtzHuCpZJkSz+p7oOiDe5WX3GjSiX0HC15MDpYKJTroXWbssYyt5qmaDaDFToH5n4B
MKjfhXjk+EkTcVP8L169yHy/Fkb2bcwJmN8wt8ZlS3aE3LGYs5kxaD2razcZxFmXZ3MbVRy2d5yZ
frn16CX8KWr80FmfFtw71d4zFsc7S8GEnbMsUEIO0VrNKt+jSc4fa9kLPw4SeKpRnc+FijA17B8H
wqntyIfM0x5ODpDu0cH9t9n5avDSyGEoOUaTksAikapIAUkZrw+ZuJpxqQJXsYZERk5PHbjtq265
TUyzpgvkpOmils3Mji1k+qjOlqb8YqdFtmyhC9Pi9Ck2OVGo1fjSztnU7QzDWLEgVb6rD3pYXR4V
x88BYEZ/fCTkftBxiCWXHXOw4RBG2Fbhbyl1hk+kKyYEckCLiOa2qJ1IrflcEnEnjCvi3aR7EGmH
XW3vJR6a47XtvU0tWoHXqZrWZReA13mbzpYsBViuUDg4H/2wPndn180fm45yKhoNhdVL7a1duNfo
lvWlBIIyLkUPmf55CWz4DnXbud2OcNJleZVDmi/HZE75T+T7szfFdBhL+RmDs8CJw7nEHsipq+lp
8GSqrsUoivSaEbmLnwoPyrmT6HQAEkkm87aFBf3smqMMotXTTb+HBWnE5sjqTGN8Q2oSA5daJ3Au
w368YgmEz2arW3LY8OEPI792weqFJcP1uCz9mMWGn7OCPbmUG9tPnfvaEqkTwRqxcR1rQ/NSicFI
GNiZzIXGTIMLNV1oTAcvKV29VZbJDsKm2bjWs4s898bHXvwznPVVfZBVS6OIca+U3Uvjef06xs08
YeR7mQrV0TQLq3erc2nLzj80XuZhdKvU6NUN6Y6daK2IuZbvXFcFsQXuJjSHMikpnDIg+qM0KhOD
JugeD+XkTorOdfU5BWvXaSM79QifEVNRVfvZaVmEk2CUv5F5MgXxTErWQ4fhTHqocmtpo9IM1BhP
/DEUiv5SPGvXXGVkadJ7Y2OcPG8HgpzsG7kU1aUztIU4DHocmvvJ1bTLdV57T8XkqQdP1eGFYfXp
JV7iK0rDwpJ+tLpOcg59npSkwksxsSJ0cTEH7uuq2sehseW9ky6qiZJOuZt5tbwJr9+q/iTTksDe
ubMijbPg3ZC2wyOW0iCRoQbrnQP1JA098TgncoPL5bYXw7idjeWyTLvlKs/LT40jIVl0Enl2PSMx
HcYe06mhhBeUhmrniNmPDJmITToauFZhBlpCl1fKjNzJMs+xtdh2RVBszbaL1jn/mOResnHskrZt
Skf3AJ6V7Yw+DD8UU2hECPhue8bK2SFr3QvgD3mZrYvcYiCxc1WaACqY3rnRIwlZmlXt2IBQ3E0y
iVe93kvtb4LaPyWnZnpOo9b0tnlYFVsbgwvlD3sd+lg6OsplbQRJGTmpAiAoynSH08tB+t1zt6YN
W1G7BJ8GTGB2flNWBzqw6Vj0svwYLmIhidlR+2pk41oWN9iHOIpoOCur3rbO8qUOm+eikPThTbrV
dscRINriD/ZKu/PdJb/Ml7qNMt8ezouhtU0okfLFmR0LnR7EkWgKfPnZCudjbRvyUNTiSzDDjI6N
ynrpitWIR51xmg95sZ+q3kyjJp/NqJXNM+EW3rMc1vbBZteLqTGDWwPqx7bC54O57PQtT1tva4Tp
+TB0XxZf9hvVlbdN7R5DMJC9IfJnCHc3M26cBItwShene1WUuI0mBU4qa6+nMJZm3+MTXqujTHug
ETc9GzLrQZS2E9eN1cYhqtndzEjmkDvSPdMFQ7U66+w4M6DwTNQGFYeTY36QmT32G9knem/Vwr7K
kSE0ERZK+aYXM6Bjr0QZqaJ7ceouva9h3GUnJmvnbnqJu9PWT9qb0tPebuxgWVLJPpz4+Vdz5nLi
iK6+JtDnjOC4Q9WKNg6G5nOKljcP5ZnoVwP7NGs4BmOznjWJf505RNWE03CRIlGIpR8asVufthVM
RXQOd7i6aCGifKNSDD77K8nwhOgAOBAcHcObWs/z1SNIB49NIicg57MbkOHt1Aa5Gs08Rjxw4iLF
+TzSpSO3WH4e22xd793Zvp5y/9Wc+J2x1uLgDnmsGvPbTAodRdp43RrmGKs6gIVGuGxrVF9kkPcb
Zw1wLbCd63RO1IfFHYyjs6a3BV1vEXU54SZCZMbGbI3mdiXQK7L6pd54a7mzB7/fVbW/mQLY3v7Q
bSdvcaN6WmOaHRFlxrilGoS56s5i05SB2qJPvm2cPtmlfvWSDCq4t2vrrAjaOTZMDFdSKK6hDC6l
W0aj335yQkUTYwz3hsqPY6jjIUk/kDj8oCdcsFTXn7eIyTdtmnyqcs438AgrGjt5VZXG1svablsP
XQoOTHskqXom2C1DRwnezU0Q+51l7lOANnJFymDT5o1Jf+oYcTgIflgljtwnOVmi3PvM+9BoH/6Q
1t/A7rJNitR6mKo1zvrPbWW7EbHjuPB4Wdy0bcnDqV+wqp8YYE7b1QjHCzvQ7Le6uXQoiOeIzT6I
yjWZH4Mly7ztqI1+X/c24mDTm+d4bjoI/9XSGzXLPRypUsMRzshI7fghcRN8ylMn1Z/F1AHXLqNm
2+tkHuDU0GcHMP71NvNkcq+zpX5OZ0/IyHezjrtWJVi+CDsNikjNwnz1x9Rao9yb4LYxsMq7uMw8
4wR1VmMdcZRy62sMITbUJ159tNJBBJFruOv0Iez8NdubhAaFR5TN41WOnbqzs6TT3BRm30pMO0P7
gJl6eiY4gen0JEkVUd+L5WgWZXgwFsKHY/y1c1bOUBd+5ISp/TmxvLKMXaSn2TbHpfkbt7H0OSJq
E+Rdh197HVgq6uXkzFGB3QQAKbP+dAdpzn8Jp8UR0VBrVx1bWLdXA1gPt9Ew5QMYtzr5+/jiLtAZ
aRq2YeVX5qiHYtPjY/PJmmuLgwAsSrCo3SGLoU4XwJOZm8tt24sO3n9owgSGskLlKwgeWiOJAcyw
UWFrPtH63rcVyclxCIiTRebclTgz1mmuIppb/rdyVGhFKH7Sb620QJWnwUlQ+g5Gy6Cw6cwuIogq
O1q2al4S29bb2ZXiaQzdUezyyRie59CHR7XomrvkC3Tt0RwifY/bIPEustIeTZSequf/Tuuelc7R
5dPbTdWT5+vsKUsqFqolav/BChaOMRijQYarBtxrpA2yfxnaIede6Wo9EVinLm5xeLlJdReSr4ln
OGcDg2wu7o/li593gRep2moPlig1aWDC6V4lQPZLNdfqFk7M/AL7tDuWU6sJ32zqzt76Zeg+j72k
Cizrbt0X2FyMFNurv8TtDGQWiTz0xjhbJ+uzSrPw2ZEh+1HpJjn7bmEkOJTo3nscyKSjkGdhKihG
5Xzn+F3ztVBVxbaUYBsbT0unLybsgMzYWXtFuzI5brclp9Op9wYapdc+0M6LWUn3wfaqdoga6H1k
YCu3lRGezz1q1cmY2bgWXbY8ivX81Ztqmzzp+iSfHz1l3TmlP94m0q2ys4GL3JUzxUEEMGSoveOO
Bcfl7JXxmA4TCgo7WD/Lym1utYEwJu7cpHySjei+qNJcrwtG+s3pKWtd1kLSPUByHWl8vRRb9m4M
Q8iYxlyKTTINa04p41GzjOua2Hhpus6LV8tA875F9sUYSCXhxJWVw4TaHZj2pGP2rc4W+3ayISRF
zugPw4YSYf0QrE03cMz40LeGUel6P4i2fFwGaaH5waH3qzFN0OaGpO/uVLnQn6IrbtooYKdNtmVZ
m187yaQ4xol79uNBJJ6znfFvI8ZXk0Mbreusx3h1tb7ICOuZNy2Btx9LFfQWQVZG25A3I+UaqWAZ
CmJ4jaWJqqIMTq5vmqbKlT2jknTGshf/tcAm2k5wXKRznvixLUr3zq7WPIgMKvzHUjP5jawhmOjU
SPq2IgZtFUwhz6y7rcHI7KgAHpOdJugQxvboWcfK1Ym1K9J8XHYrVJdxXygR6kviP0cYip7In4wm
rPzIz5301qdstSLDnftm6zIyaTcdeUoFVPeqTgAgTp2R0Rfra2APE+TihrRf6kdl3AWpuQSRiVMI
U27Z+8UOc6750TN6r4lPPncGBXbd3Vor5tdRNutiOJzcRqu9mdjlbT8uRBKsCyPXLRlrKmNhCRBk
VZC3GqFMZTuXHOG0a2q3VuGSxHPrBc8ycxsVM+EA3UhKCTl8sGTx6T8G2OjRKZRouB0fF6632CT8
jwbACahZ8zhHATtKpInh3TOY/pWC4gfQqwvNFcdDPA/xdH2HaisvL9bpdKml1+uuq+xiY+cEGFij
Nx9Iqv4Vs+YH2OHpTTG4xNyHDL3T9/9Bj/CRBJnuCeoVfs/mzuD0nCXAQ2kY/5lkA4QXItSJxAmz
RZwyfd5dyrZnv0/TkkslgRf7JucbrM4ltlfL/ZVDwAmhfoNR4jVBkrIPdx0EG9D+7dvyGsfDAa5K
N2W9mHcrXhfHChSvYq9r5q1hT9qPRl4n5WVg5sMGwKO5ahcj2VmErz+Ioeguh2RNf5UP893Hy+tC
S4+XCzDtiaLx9nVloTsURYFuUNj6o8ryiYYKJ4pmSrItBbR58/OF+4PLYfYBin/KMDiRQt5erki6
3psWL9uEblVshNRYUoAWHZBufcOQ2t7//HKnu/rurjM1sICM4aJBfXk3n3REnQhYhNkGw145fOoa
3FCf4EM3W4cQef3iz4ZVfOoUdkGrO3p/ItP/0VDyMvvSN0PzbXw7gXw7yfz/cHTJ+v6vvyeCPxhd
9uOUfCrfDi/5lT+Hl4b3O+5BaOhR85wszSE2/z29NGzrd3hfzA1gY/CZmWw3f00vHXEaebIrYGQt
mKSfLFv+ml7a5u8n/gaBysw7sY3D7OPv1/bXHOtn08vTkv/fRcMVmJ3DUjhZgxH0apnvGO1UT+Xq
mLkfJ0PhXzG7zm7VILtdoBIoxXWGX0kL5zvq6iK7NCcvvf/Hvfrr9fxzrvaH/OTNC4DpxyA2ZIwP
+eI7N/QZukadgnbHvFLj0RgwZBsn4XDVejkq8NeIxDHKc2ccsiu3MnwaFBAasqwUVWYDwHq+uF77
VGnvo8xaKpJusecHkeRq3RstsmZC2PxtvXi/mpm9m0ueNm42N2Z03DcmZ+DEb5/vDtSS0TDNo+fp
pTpo+PLebsha2giYkf4HaDRTuQsXg6HdKFeRHRloWcW5XsTwK8/EP4yV397HE7EHetbJbQ/J57uj
q9N6QBFtzzg7YzO3DdVElePoqcD52Urzz4D57g61JJmeEr9pnH8GpeQBk4XR3C8t4epnDYe53gmD
4JO4NMy83JZzAjRMEEw2nAtznn+VMPx2y+IOIlVEIIx3FHvy6QR8eweNIhxKeMhLvLgusATqSMs7
eE3pkdxD2kAD3pog8LeSLJw3RWpS0P18+b3TpJ9eAQc9jyUugEiWOSDfvgJQ9cKz4HNQM2MyEaVq
rRNm2iEZbXapQIu7JszTM1M6yripHB06AEBTsyRMEBqPhB9RzsN2ZNzGXN8q6YONvMvGp//8ZbLc
UH7gpMis6L2nURBmXmbKdYp5koqF7jaY7s2+KXbtZJpJbIpuhIMlpkYc8tUQ6VW7Lmm+X5KWnkOY
a7dssTSxIH/VXTCiGLRn8YtT3347zD3dyhNjH50SfhrMKN6bELHMhe4b0cRh4yb9ddnZLdGS6XgC
EfXsrRu31Q1EmRBrNF9XCCi9oAS0NdC0HuqppZVK5jw4Wxs5fR4Q/+8APov5vHPLz3mXG03kLUV/
17hjF8TwMJWBDalh4MBvzNLc6j5MHGCjvFLXTByku4ej78lHaOfzow8K5EbmdOpNvKkKkl8QL95p
pHjzAJHUO1C+6OXhfb07fP21FLWefCY0Sd7mMX6CyRRVpknVPJtVwqRBdkQOzrOTb2ctzOc0UPZF
j2aDYW1Dh4VcKhf+L14WI/x3+zsuGdj4UV86UO8Rb70rxTpCu4HUdME8qyn9o9XM3XEe9ZJvQlCh
+nMuKjp7X2b1dF5W47HOSHDY5jPSKT0GN7i+kiZiqWU++m25MNEwdkPe90+TOc0P2g4/QES3j6XM
Zua91WSlJ8mzvx36frkIx5retIbk74v6OrPgUCD2H+uzPqjGvW32OdypwHxoVP21rmUd2375WCar
d6X7PgMl0TrfGnBdAW/mKpbdvNX4AzaWM963iGB3fam/qc5jINLWL4uJi+ZGMOw8n41+kCh10beL
Pi03VNfVOSoqXolhmru6G2EislzSr0XPFD1SHa+XpeoH28E8hYUZWedeonoddno9TaD8aTrTy3K3
wqvcJygODmu7tPco3e/Bt60InYZ5KJd8vXSWEl5+IOsCKVrX7tvFCz4ZCHrjPLHTS1ll1kb00nth
Lz8b7N7BhdwLD7oxk4Nbi/ps6QDHVeIX4PkjVigxEIWqNmUi3OfOY8Bc+MY9TuIhKtOxPpaWTvbW
aFa7KvN77P5xEvfHeb5rG/EYyq64FmhpcNigI9YGkF2Pt4iR1RcaatIHwtKMF8RlMD8rM2cqZubj
ap65MwLgs9Arplccaruv1Ujpvgxb2s5iP5RLeYMseNl2gazu23R8yUS47MiNerUX0Q3bsFvIjViK
ASRTm94pCqTPP5s9Jo/xwqTTBZKR+bdhHPyvHY3fTehM3nO/yOAVR+l6jAEtVeSNqXHl5F62b4dL
6g7hVNPRgwh5wGoQTrtZn5vuAFYI9EQPyuewPYl8wMXxfdjkS8pY3kuy23kc52Oy9vJoo2Jo9jPc
7CuFki7CbbkHRQyZMqu5OdpD4G1wVaz3Qnnpk61BbOvVPs8TOQPvzM5ZUqRGgH9b6ewnldZHVI7l
YdWtYteHYf7YduqLKpJ+4kOr+0+YmvSfxWwLFujsrLsgE/W9OwK3jEALHoPdBhLnilPPp7Bm5jCl
BhLvEdJCgLnYM9QxwdTkxCQ50dxP6WCGSXill883RAaCwMMdCqJuKokF8ApnynmSinrYFYvn98d0
WLL9lKOUh6LxITFc+z4AIdsaSnef2ViLw+yI7gV1cHnTKVDiwKSztnSOX4KXEYZRQaQo2GAfuhz6
2KJ9D6gkQPZtrgJCrSEK8eiSXx2lfcJe7i08siEjwmPVTcWFLrr1MgFIg1FiFrFIs8vSNZiOp054
qF3PPLcVCbwZdNY9LiWfW3OdHi3Bio2SQSxnc+b1O4XvalxVTnlWyvmGuf/HcXLUbjGD/gggmpI0
SJW8XYU1f2zWIrsNFZTLcC6s2wByxR1jAeMo1FxvtAf81Fd+eMB5pX9YgDJQI/mFc6CquuGr7Ck3
6/xQ+MpVUa0M/8gANXkofX/5rMAEP4wagINwCbQZFdK7K010zsEqRv6xpPD7eqn7r1ZTDBlgTl5/
HAutDtpgYMRN0gcJSb+IxlICXNt1Xz4W63Jrl3l1TfCc/hyuyQiBdfxcOe5r2HV4a7W2kZ4jlijv
kYUVV5PI1beFJA9qXztvLgwnCfcyN9LDEKzegTh3Pj67mIk2Y/JWx5Jz7rEa1q99lk0fHBLI7nCP
m1Eo2sEZBmNLnK6nm7BwH79gXI67aVWlJLjSrmz82qq2Sw64lrhyOJ0ejt4nVppsMSG0QWaNbIlW
lc3dljCM+kkUgX1duOkauUREXdgY+R8sMy3OhGw/WaNUtxAI8jMAw2XPxNnfea5RXPWLh6n43AMu
1v3wJOtWXpRzL446yDUEEDXedOVQXA8jV5v56WSr7CwqTgzfXi16S8pJuU8GSEJUYPNzVtTjVdGT
n7D3cHhzd7Ic8LXWRdZdB5A1oqyfMZip3CR5NXFDUcxk2fcRmV55A43E7I3h1qCG4t/hblnLV9iI
6rIK6nqbVV5/M+WqilPoXvHg5TkTbv0EM4L06oYs+WZYvA9QlsMd2DJ4XdFBVpmkJHB2MHPbiApC
J2is1G3Si+KSAXJ6Z82iP+ZkHzRo70qwOqZU2RHikPnU0ZhdyMbwLgDx/TiVKQMzLi32JQyhbe9m
/oGgNeNL76vXLGzEUWYiOKN21kvkKf7hS3Y0jHTmHrlYljPlp6Luu7bZFgzOd0sfiId2sYyVOZvz
1Rjs8CJIqwmGzDip62wSu9NoNzfa6XGoamvvKtN7aJEb7calnY5r0YgXP6x2Q4BNT5yOq/XqttDL
fS3qG+kk/Z4idPm4TO16xWxiusrcBA5Tkg1Hr2V8H3UtEe512S7ndrbqa4jF3UGN3YmSYomIHcA+
x7YsgXHWPqs1DM9wzYM6hk6quWilY074QjHlCbLiPCvpulbWyR5mVH3m1LY6VIsyiliW6H/RKLy2
njMz/JvLnXPaWwJVYR3WLcED1sQeInZcsfbzIqxdFTjNPU92eb7CgIOE3xdJHFCBR460ddQZq7PV
jWs8ja42rzKidD4uduUfGA9Y2daWMoy1XMCKVUEn1jEHeyCcoX/qEtP+YMwLu7xv5/MrkmH/xqtX
xqxDhWrPWQgTjXmaPwnl3FdBxmiVQ2jxx/BeFkv/MqkyuVegTd/mtSleMUpKb7NMFjtvNLxDMDB5
jODoIHdume3GgL3L0fOQZGRt+nX01vRYFC7O9tJEX5Yh6236tLgcT5+ZcDBoZezCWVVkbXbI8XeK
ipxHxNZmd99kzUBn4VBdLFic7/NltWLmixb0FJUlt0Jgn8GDVWRfLbCLc8RygP7kvLpfWjNjBGar
0dmOs9RPs2qNW7gf6bwxoHIxu8L/7gNsDBdBYVXcK9uF+NBk2uWuBF9TgX5mA/mSHcBh2hEthJnd
ED8x0GrDxz/T0DeuDWgTEJ3qFGSaB6vchCFP/W5aCGioVNHcYYNFukxo6q9T49ZZtFS6FzuGmP5H
kcyZH5kWKHZE+Rc8OtBckBzaYS5x6uWSNkqRcRca1bKcMRvIgycXrunOKqeQExNZMU/7DIaNF0vb
V86MxCwMQcxhtyZRv0AyulVZq7XNCkWgfugS+JmRhBXkHZhh6htWR5FcoBxP5l3eeV64mUlsc3cC
GlEVJyJoDtMwho9WOlVfhT22B0Wz9y3pUCxTW1Tj5TKtyU21WgUy2mliCg9dcGLfCaeTBMFjMDPV
9WXqT00d493zFaPJQEW5rSh5Er/7yMmbXpCjZB7MLA+TOF8IjdxPpiP1xhxGzg2GWN5eGlnLKWaj
EM5DqzPiPp+cuPg/1J3HkuVIkmV/aKwEzEC2II87J+EeG4iTCHAOA/v6Pi+rerozW7pKajcjkquM
jHT354CZqt57j47UNyE3T/NedYmzRLpTxy927w7QYtxta4PaKMGdTZvu8OwLuyPI6E3l9zib7kvZ
YTFe5p7/sboK1fw/G/ERc23BhsaaWAB+dJLnYrHiD5AtgCBXU1R7DDBLE5S4OV/mjM3te4bpzntd
9MUQLMIcx73urV4fZpTlfaBlqQOoFXsHliAqQvunjfsD96EzammgNUNxK1SKEL4KWSMf45t0dzZC
zONCsU1NAmUNl4hIWdw+d0gnfpsZ6aVsJnE7NRLcyPW6LoN1zub5VMS1+6J3bKvAC+lJ/YzQ1YoA
qrWX/6yx6F54lWtx0jShxj3lgdr2OXAD+AV8GXYBpX1fnud0G/MAKytLrVQfa6/uUOBJQIhDTi4T
wfNq1PiSqd072QQETMG6gXPGz8iqHyc7m1rlvGJAGfNQLPxGI7dVct45HcBGv56rtIc1OHpU5SSM
HqxWz25XKOKR7YE4ZEenhlWxLeTqS7wrNwIcwHvaL2IJY+WaEcva7MdmW06Jndr3hFGNU2vk4sNI
daJfo7XxgeVlPsCXaW3hN7gG9xNC7xOqG1dDZQNL0XvL+9FeBXu3sbsqapa1PyuVmB8Lh/dtU7bT
b49ZpMVrJBo8j9bIkZf2FuuhqoqeU2HMafeFParxuuIaMRcm/gqqPmdUtlusqa0DQXpAYOyQ1RD9
87nMH+Ts/z51c8Bp01QQ4CWNzST3L4pCh1Y2TLE++E7X4s/ZUrqfLMHsU+Ss/vSqHFWuxLJhcsXm
9seUbyZ+0Jl0Ble04Y2BU47JeNewptWKyCUmlW/qTOcR6Q08KFs2qndlLKUdiGKuztqa4F8f02lG
VebxJ4MnMFkGk9aVp7ksLUE22PJWOjUFMEFLN2/0uxEXy7VeKGSQEaH8l8Go62zjTx8CgHS4jWBq
gDZdI+J/nqF1deY0Gj00fI08+bI0r4JlHg/Nr3XGQMe3Mgea2eoPWPsp+LnQC79g+dQYjLLQb/BL
5Xd6mZHPZVHt8i+2bv2PIS2hY8iHV8ifSwzP+us3p2EkH9uOqm+ouvwlieE4+722ebiUq66aLnMC
trS0gJRH45azJtIp2bgQCKujN/vnT8uf9aDreBFtkRzgNRHI1PuvVNakNQx8G1fMwroi7U79mQXI
S5TY5rjbivxf8e6v8tKffi18OZP8oQ3bCtnvr2gSq4b6lGVa5cer9TGKpX0d7WELmtH2/i2F9u8/
GHXtlcpKjpW29M8PQJU0Im+StWJu4qVBtnraqavSOYCXZh3/+Az/LZnpuan4559qTP+rEvWnpNz/
G9E4JKD/9hz9D33p6Vf/mfEL+XvM7pql++Mv/CMaZxJlY4iO2qoTCTGuKbd/ROPcv6FOXAm2/Bk8
LH4n/6ktoUhdcfGMBq8AGTSm/6stITtB8bWuMWECc4xz7X9HW2KN7p+PBjguDgN+gnss8UWYIKj5
5ycDunVGOKBnPNDn04kNTiKaykaeBImBD7PR1Q+jn0t/hRTqM5X8aXqNCFJj7O+oZuMLU0XrM2Yh
eOCBgzuW6Zr+SPNt2+HJti5jnuOfTXkg3/S8GfYsBKvTs8Tlfu8ZY3mZmyH7PSeW9iDKDE/pNopb
GTNCFsPc3ep5jt0rm9U9wxUKKFu1r8MmkqCeU2a0UsnQWBwRFWM2RD2++xf2KLAYddSS46ivFX0I
nCl/05buwZWr9WT17bY3RZF/Ng57WciJzUfTZF6FujI+sE0RpWq05WHBW3FB3N6iZtiqnSSHe2kG
HN5Su08MyA2L81jqMRFgQ3+KsSEGKFAm49hF8TGY8YfnppgFGj1aYoU7OFvTYGuN75gZaT0jZWdU
6S1bbxl3dHtZXMOIW+mbNr45s7yzk5d5bR6FLPtDCp//Xq0x00NvBtKpJfP8o+6n9VLXbsJ3r8Zf
2H3ZzFFiPNY3w/RLrKtMZuf1U89T7YlgRXcUq/XcbPX8XuDQC6qEa2jWk3BOsdAaFjUQnc5DXDXG
zda47ctMBR85trIPTiOmZ0rsihxDy8Dc0Mr5RK7BDsZiUK8jBVQWzCmMycTqvDtPpV+KKkHP8alX
ZD9Z61CZgXBNiDzOGH+xjjjdA+UaH0yzBc1GkbRvY3jzbWvdSRGzQrcZ7yHSvQncQn6KB5hhvAy0
xTrWV6aR1YWzTNUtZLfXpLXJuSxakBTq0zGzR1mYWcTg7IZSpz25K6usxmpLd6aVN1Ejt/M4LeeO
0JyoZFC2/WeKm85PVFJEdTW9TAbBE3I5VH+CkpegdtfyTcCkUKFR203oFO7R7Rz1qpy8OOupO59j
TH8DsshG0KsCDE/4fqdNbRUm2G3zrI7m7hsTYeWzwHL2TQMYl9OdYszMCLombvelEfvenlkjhl3K
SOP41ChWutVTcQNoUQWZ5+bw8ty9m5uIrsk1LDULa9d0VoztkZF4OOm6ul9ndivZyd52a7pbZ91n
2ip8uZYT6S+TOk5EGpO5kgmQORq4u0jiqa5ZDp2RdSdj8n71vX4UhPADJx/PuswXfzFXRuejs9yk
dPhUKMluMq4znjk/T+Qdwk1JXjgznaLZKs4mi4FOU9mlCMDaTvY6JjWzNo8ZTPrboWlv8QBbD4so
qb6c7msQ/YvDXPeOsuoBNhfOwJEWg3QljaVubZHjiI+FdOAFo23+2F+jO/mKAd7BrMcG4Cyg7Cpt
37FXN9Ashgi8CP3HNlr2uWcOui8QI/xJUtaPcXKHUQpmRJ6+k5LS9mBn51eFKrOjpVFPBDZuRlfw
WaWIVm19csiwlrX5O6+yY89S3hsm+9YrwS4MyOXdOHhdiKMUI+J13mrO8xdZclamdJr5yl4ISHy9
m529TuzMjEHPaAnssxnKBuawUOvT53iDZjVmzb5eqwMNQDGELv3tJcuy9tWCsRUwBf8q0/yBbkfd
QxD1U8+6wbFwzNbxlYVHlZ8lOc/k2D6R/PyuV+fDUd2tnMr21sloOzHVln7VxIeUPYAn2ZIVS5Td
H0VZTK+dqKob2F5sV2O7j29sHWSipSy+zMnrL1hGNbIT5fabVq8Ia3yWEaJvci4yYhGqYHUbnbi2
+nmdx0GrW+I0tnqJ8rSwBYCZT1R32LxxvGx7zLtk7pke7JbU4zT04pRhb+qwoRw+XgG8O9Iq83Ob
LdsvZya4V2PBPgG3d17NfmNJi0gfV2qan1ljySLEg6ffTnbV3w1xdrKS4oEdpW2NG9HLdom13ZTF
GsSei/OuJjn2jbuZUefk5Rips/WW5F//CzCg/IULgUZw8x70KbcC152XT5kL92NtC9pzGZ/5QTbn
KuyEbGc6sldrjqZO6kfiJIx8neybzbQOS2XYIypGvX5t2OL52BpV+TpcrbTsWD+Sd6A1TYz6QTST
ngVr7pFEwvf/JpbrGNurorFdfmK3fcGx2YQz4rDJLD6+nbriayau5rO5DMOocMpQS8sk5d3ujI82
zYY2UMIYXjMXJy8/apxeRyKJiYuydJgXkal4rDfbBrxLbsvdD6uwjq7AfmnSc10oPwo3LFpcwZYm
XIkO2Kp3Rwjj4G2yvh+Fmo6eVzQXo2lEOFg5WruRVQbEvmTqL2Y+JDM5u954aWsuqYluG89/paZP
BWWHOVeNe0Evuvb1CuF4xuE6tgFbMcjBDGWNpDY2sfjoVKYemZj1T8J060ejTYcnShHXN8gyBKWN
IoltImZIaoKa0zi0Gk8ud8jc2w0djTqlRdnuZbwVL42lvzZdxiPG0oaz1y7mKdv65YPPI+UCtjv6
na29xkVSJjP8R2tYorO/OOuSMGlJDE5IxOFr6MG8L+p9Qy0dLEM9PRqASTpX9gFW8CxMYu8px94N
Tei26+NHUTjcxCzZVOOc75RXvrAJNP7NKNveMQg5DMO6L+W369ah0Jz9aE1Q67ZPzdhNsVOEaQq9
xYdbud7hUI8vbkGnPOXz0dKnD3cSS+VXHBQBwYz281ouns1GefdVMmARXrZ4YL0CzvRYNVjHYhGu
iWqvj++N7NTec3hHSTqGtLLTXmyJZHgG0psywrzRSo5jrViSXc3UBz7cFkEzGh6mXLdfel4nDB/j
0j3lWEQi4NnefZrUw0fWK/pUxTUTAzmK1FbYrBnJ3WMq7YZHkOovGdt+N3qz/Qvn4OcKHYUhkpr5
cBA3W41htlxlComhHrhB+4rpCUXa0Oln2WzlkywQILK460Mkhf3cbGrvpPqnk2uvnkkKuB9kfduQ
9z0k+A4WpPvlHYX7oK3dHh/6N0ikS+I2eyN2OCU9BO4NSMVrxu+498nLJGcuofrXlK9UKdvc88dt
skdIn83rQCT57obiwxFuf2dUepS3i7yYxGIfZUtkBQ0zvaebM967fprOtUBXTOzSvJvVOBwYFl6D
IYuOhLognJVj/kVKL46mwRh9yKzmy5wwakNi6tzfZlUilxiys/dGSznbNEkoLUb1ekkHPt2tyUkD
WRfW1V7OzsytZx+q2CYmwSjrHgUlxYxh9IflmvX1hjy5I1uoqijbqjZyDCVCPYlVJLlhj7WRPaiN
+LI0U+8WTCLjfdmsCJqAzF4gMA+g8apBEcUjc4GskGamiCwGk7kGPjc1ID7/xJd8MIn6OHr85JWX
zN06kA5XC2Uybh1qpjvlPsnf+JiXk/67sECAt1V6dghuna5ZynPZJp3f9dl6KNK1Ovb9VahQjvGj
c/UqQLIjMSIMlhAR1L5uwqu6wfXdLcsi5WAnCOiNkN9LGV8wwxc55X2eeJGRxeS2mM8PEeAjvBHO
5BS8pZagODOIFfp/POdZs7Y/+yUTEZntPca25g2WNZPrbc3mCnorRbGmjSyKdGucEnzKmAGGOj5X
vGhkSore0ug8UnLHSz1AYJhnr/I7kl/PXk907ogkTMBCW0nb53gKDy3iG2jsgdin1W7qx9wD4+tc
M6sCy+6ZoDuZ0p7rpDAMvtBVq93y0tTDctZiPjjNfdXHAVU3bboobk3nebUTbaFvT4rHhbDSXhBL
2aGCN4SVLIwNqy0IWxgVI6fWNZEnsg6UFDin53Jmi7dtomdy/rPyLKGQQ2XSog0Wwl0sumxnJrL/
MPKFF1rkRfPbEMP2UWAW8kdCzDvm5M8TsFZm6V4/E4ag0LBAgRPd0FlCFHfmLWKn3Fb7UknuJBOl
79bqVX/K67Z8NmgDOJho6rhArKBC04nmMrF+8umoIwk0O0yReAKAFvOubR15iQf13sJTCUt3RCjy
VCYPgJG2o6quYZxas+u7VWXGYUnV6Jtt4gUj6lLUmGI66VzOpw5RZV8S3mWdbSPwnbhJILA67dTg
amcUKhFVcW8e6zztwN1ZIkpxWYigdVT1NqytPOaty5pld/C4QfQ1bJ1qPfCvuFCJPNF4DWjZP7BD
bEVIw/qodd5nxfPrG2sN4HheCTJUSSTGrgxsgz4Z0wltUbpoHD2jtd6lbmIGrBoROASEODPub4en
LTUf5946oa7LiJgCYp31U3nf5pIcjXzYT2r2jlmVUePqmZ9p82NDx+dP5uydSFQ5/hJb2ZHnowgY
pY9vfKPvMLFlkI/NDzFnHtpnPn7gSfg15+l5qnESbOWMxLntwPbdLB38zzzGtjA46W9T8kYIDWCU
xajz0HkTnK68In/eOpfFUq/eIIyoUPArvCq+2dJiCopZVbckDWtOoNLFg7G4cUhfLG+ckbNqjcHV
OUJ7aY2MloumwrepFkONkCnVoYmIROhVUPUSeDEvlqr3Wa3X584oA7MnKbLV8qnfKrHDfrTtO12+
T3HqvnEQYpvIip+1VkOG92SeWkGe6eJVq9ctao1GIkOw5zY2BnkYWU86T3SIHG0Z5YU30ivQ0Pts
Y6wfmxiYPykV1gUyX3fQsT0tz6NOI+EJviwO9djO9/zFLtq85SnLty8iYGMIeZxRaZ2rMJ/a+L5z
JP1O57yaGVlfcnlxfrS8XH3m5NkDqY/kWXh1IrNd0Fzy1p+MRdw6zuQ9Gh4cyaAnI4kQ67tqvMmK
qrxj9etwNrvM3nWrstEWrUjKHt8LM27ojXRH5gApYHVK35MUmN1463XeV64Qm1G8JmgYQ7QIA1G3
M8LCBpWzut2LkuA6RNMHRgd9LdWH9/GaqqCp5HmV/DqAV5Ltnuzp0FnkGeE5BMac3MYMU0+TXLc7
fSl/YlbG7IN15DACIvVpXoAdMdefuuzWEH1yXOiX2VVA3+lme3llO+hr3wYMV4woT6p9ZuukhFYK
HiITFCB89WnQP7KxVxysxs9css+hniE1bGYfYkrET8JcieT2aFIRlxYCWzVGroso1JTbg67qp07v
jl3LQyYkO/rMXHIIW3q70xPrwn1L6jR+Kth8Y8yEtzS57oalzz4xSSmcPvGpnJyfzjCdR8r1jvVz
+7nnMm4K/Ym7YrhTBN1OldMwpqgNeqzZOsexgV0jrg8YHBE8rXg39Xglai+6LtCpZm89qILUezzb
ZNl0Dpykro8p876gG+W017VSPvS2le2JR607+NVsuc2vUUCp7gagBuSj3TfP4lSpCWIXMTncvIhv
CurxQxuXfbBueILManiZq3xn9vmlqfrvFmh1pDWSTpWfa78u2XYiygXMpO4fqsF5Hgm0+bJsqGNn
b9zXljvdEjA0iHCJg7K64UiLjk3GadYwJtsblFZi75rchh6Sj2tENufB6zE+5FLo7NbcPhm6k4ec
2V7aliYQBrZ647uIgSTJwKKMjqoCxSRJ2BBmTtriY+yTQbqgzmKCIwyfaEf9ymhoUo1tsFVyV2Dn
M72EfG1fMfzLsiTM4X7ftGUVh9LMX0AS3YI70A5w5yzePEY83tTT0mMCD7epSr8yrajJiuej/EjM
zAuKtH5qjeVjNLEqVhWacVFXfEbJRhSrXXDn5Uwx+rE/dvbSo5rHmPt08WjY3Qn/Ne2mbRVBYyYH
iF7dniV1cFVaqtd16XBLN6ufSO1d5+K5syr3RqOw9qY1zEe9w85TnOe6/qF6PWdHi5bhvOmzi+7i
6LNUNHOi3Box5vzrc1IfzIWnPK1ieCCj+0DhoUW28jAGmCqodGcJedNPy2pyjDQ0mIoX1KcEJFJr
ur/cNf0CQEp6s1grH2Hlul8Cm0ejuetd15mHDksDnZCX7Ts2qrCdaHyUUx/AlhhwTMjxsRoX38vK
N9PIu+NmgKatUhevj37RRPuA3rjvTWH/dnHVWlm8L9rtvZ8pJzIMQe5WWYBUGFj49DyYHG3rbZRG
8tPzWEbgkIwn0EdiPv1yuBR9ZfK5OZRkb3rFBz8NCehAGWw6/pxmyc/GOOA/Lnu/LySC7GIyM8gC
ti6WYeLU9bNVVOl+sZbzkAwuF8c677bV/OgK+wQt6AJEAZRO45tL9qusGuAk1yfQmhhWjm2ks44J
C6Osx7NUoJd61yzYfGk/LBO/Lm/uI2wclE4QP2KCmFHqwGwYizyh5awjI95ldvWc2d5RL0qDY4i+
ryzz9o/sNj09CUPzxU7N3zDGdCL+uuV3qTR3IrX7i1KNuLjDT62b3oQFSTrJzVD23bfT1dOuHdjQ
pOgFI2PLqzCdW/jn1lx/cs/mVPRFMJtmDwcCX8/mtKSoSfD33a/eMiLdXm4ZQgPeKb/UsLwZOSZH
1CYu3yo1D3mf5DcZovZF7wz5TFw9uRXYE6fC+iFU/tEYk3nwphuC8OrQtclXcV0evXbacpnXYWGd
2FLumH9Ttgy+50wXPdPOs+IyWSBerEUP06O1b6vKvgErEnlpsfHptVzTs7HtUC61d4BxvrsYMlJt
PBzMtcIp8GtoooHnv1vuWYYZzXq/N4rf64bF+X1qjPBqeNiKsg4rs/i1ynrntiUF5Fjn9/Y2lCEJ
iwGzajUxwkp/DHkpjomwN57HC1AA/VkDxeADzyi/U2XYYVWb2skB9/DAOJMVaPjy/FTrS0b4oj5R
jsaXmTcrE/UTS1BvMfbMUBY63JPAJYJ2WF7Y1oJymp7TJOHsV0KELokY2FDxGx7ZA/i0IWo2vIMW
q4lv+PiXnVDyQLydb7RJ6+feWzipWlu9KfEm4aYYK5sdSseGeVBNgV2x4mG19P7Jqhimza7BUtTt
WPAm7ilJvmyRRXGRnLXeCJSavuu4ubXwj+xoj749dBij6QhPl9pZNMm+9BI+MZBuFcQLIkiRKA0c
HXoTgjTYTvYm3SAmZb7bHG2vllg/p4tUEdwO68dKoeQj4JL+mas5IBzd+82m4SuNG/ewxANLKDRs
WuxHHR6MKRfHDMWgw+JYM721R65u1/o1SGwZTFf0ZfmCEZ/snNZa3gtedhqQPNjmJ5DNBzvjIWww
aO5VBmw7Rw7mxpU4ozPnvS1GLJD8TWWrE/yj9QbcRrJrJz2aKvwwmRNoKxMVxuIG9S/Pu7pXjrlb
vfypByQOkyupfmJjPOexYPY1P6pRsrM9nrmVe3YhUjVlK3Vz33dTUAEMPy1kicPa7Rn3Z87XUsI3
tSklVm0Q+9zp5Lm3uakYgvVna63BfSssBQ0DhM7hRfA669wxmDW59chL+0AqbY2bEY5W0Mt6Jgi+
AXCEguU0+nX8194sW9+f2QJwJVjOHCoT0zk/ToabK1qgaes+AHvBwatT+UXboA93I37AqEyF8FeL
a9Kk4zqseIxDirVnIu7mYRRVdxBCzxK/1al7UMXncEnn0bf7xrsZugm3oco93mtWVnOy5td98Hru
vGCBBMWkPDh3lFPHycntKtiufidcu6q+ifWGg4k7KIm0bnRxz9A6612xsspV9+5zZu+fQusaqjsX
B4rWVOBuupkZP9izD6tRF1HZIXtms6M3mOkPQ45GOHkc89PSqR0kzfxoLF4cxAtfggDa08i9/Itf
bhcBPoEu62BLIUyeaz9EOWjfKbXNlX1cpr+aLs3oJpmIudh+AoyLxZccLO2Slo720WebvbfrcX4j
1ry8Fsyeg7Ixm91YtOUptRnudxm+b2h95jumK/2GkZDc5z2FpuIgvIu97KViB9BlKbz6AYKG/Tlp
Q9eDuvMg7XmiDVdlpq9j3kicFuTgbuuuKm7KkVVe+sKW+1yX2c06q/ZNOZt3mkUV75hOYfB32bxl
DrFxUy8wIaqt/ki6/t7K0A9SjVnSIDuBszx3bnkg1E730BP4hWnNE2UfZOWsku8k4qqJkj6ZXxcv
z0+qsnTmTLF1t7ZwE5hFztrJazbrjP1je1py6hG71PEjV/W4ctUayZ1TUg+XTWLvieWTv3d698ds
Lf33JAcVVrHb7JrYhmWBlWNHiMvydVNxLc5bCJJEf7QKtzkaRju81YZcL+xTaM4N9MNvKL7M4DLI
rGT1krG3eKoBEcwOg2wLClLYbsMLKXyN4wYoxLfKmqutQY/3jErNc7O85kMhPpxljOmM7PFgVJp6
GBIrCd1tQZOrs3K/FHke2IPXn9l8vnCFUVwUw3x9ea6ukrJagmGiLqLG64z4Poun+aAZunVmsbcT
rIusqRCc8qvlAzhtNdIrIwaoLc7EfgJWsxWPPR1+9H8sXuQenyhLNvOJuMME3y3eBmhEy5ZEZkIK
oxRJyhFj9X/PNv9bPoz/7xjEEhPE/x7kvWnK72b6k9OCNXv/meM1tb8B3b/GqejQIFsTFPy70cKw
/8ZqM1xNOGwceY0y/pfTwv0bVgo8GDp5TKAt10jcP1K8lvybZZMKIimHPQc827+V4tXlH8z//3L7
OCyPkDgtSAZqeDcI+P8lgNY5naWy1KIzQGAT7hRPkQXW7SEnwjEBZ8SsuWeEdS8MC1BE7uhRViha
aTzvd4WlVfkBLpE27HqVwYkr3HTEBm875g9w5Jji3enb7KVi3JR3OxA8sJUcHq9kWOSrpl/3D/Tt
ubea+C3XTLoHL84ft6km3lRbN9IW3r4skuGkEVy8Nla/Wem33OjAKNnV9h0b1mTuMm0BRl+TWGNS
NKhJZ27RbdYpRYjE5WGol62pkluLQELoJOas3Uu819cJ0JQVYY4o7+7cbhbjVzNlWvqsRq9Od7Nm
ygOsIhqovqyep0b/mTaeu/gCiYnSK5nNiq6GS22HiqcddAVplCm+UJASZIPmvq0eHPZmBR/YvY5r
JSgQjTUmYQWjIJoWGasgFQ4k92yBsyMUcWk7t4cIQmhylw/ji1Glxg83UdaFFDL94uzp/OG1x0zM
mqGHPjC2VdhCWSYHk36ePhAZ6aJ7bHWR6mrnrpwqWhFnie2oKJb4bkir9hM60+xXVkU4B2/7YcTg
cJfUyOUneMzyRVb2lbDqdPSxqRMvz57Q5cNglSNALHbHfmmyRvtnpOv5rAMaTvFIA4WEbORRqXkc
KErN6kNWTnlJByFP5MQsNP9OUmx65Bg7t52+UtkXx1wR8szgk/wsYun5blJcgTM9qJjKFvI8jYU8
s2pI3HHH2eo4e/F0duZK9qFjWi+0t4cRLiHke1j4/kB0KLpmNx9X775JMJbREk9eWIwy/2n0QxqU
M0uahsK4KQiBMORuu+wy5F52WKa+YFBhz8wnaJkldP/QqiubeURiHwhPIPwx+vARYJC08Cbtxn4h
Jg0BbIcF/7w07o/EHpsQSrii1sLTTrG049ZXGA4shNr1xi7wcWeeZUeNkwO6meXeE3Ec4vmFauE6
Qc1grLfznbVizHEHg2yxsB8Y2TywLI1leEsbmv3VSVOAeCy2TPch905MQDcGDPX2niy4ADJsGhAV
13XfkpALO7wVG6sjGegZ8BvBaYXbhjliwV1/bJP8Mo/xySseWCQujyu4VV+7Gj7MQcqwjsfx5DJT
w1ysUNIh2flZ4T2hw/R7otGQgBTwn9JbxoNcSiSBKbBGY/M1FkVEDfH/iEAldXB1TQiMQ4tP5urd
bdmuS6/HoiPWSZ6F29wNa3a3LjGpFaCezTTOO3YVBMi5gcSq6onyxdPq7IXEWXYkCBsWk448WtgX
Qpy1X7sUB0Rj6B2YaQapmf3e8q0Kenf+3FrHBs7Tvxg9yZC+c1iQlb5dPeQ3TTfyhFTbdSDi4spS
y0K8YEtZjLCuxwTyhluuYAHhM3yOGHDJb1a0pKInBdCK8dAJF85WhSUCh7x86dGJJv9qs2UGkQUA
Q5bfMq7RqDAsE3FQ02IcWBmGQdou8jqYWc9I19xU4Rxnt9vGqx7w8nLXw0q10shdp/IFYZimx1AD
BCYXqM5d7ZrhqBdX/zhLFNc5Ru+Fo55YFA/XsbqpjIdtgrsmkAKCDNavIi14KiE2HSin7X2p2ULz
V8NuD23irLd6Vs4fZqzb567pDmVbpqRWWzdSBtxVum58x6TGM+9VtvD2aDvL4ml0MoZPol5KvAyF
iWiDYcw3GV1GBmzVBx4UoyWyYLxb2uoeGx7uCH6nxSiPtSVBNbbuaSz79rUVZcxBSYUodwgonkv2
Nh+RfMvOR5aBabU4pY601ffLft7wjRCGSHcEH/VjaWWMV7YFcBGrI4egwR5IGzbYHwzt4t3WllZk
pLXEK0bBH7sbrGMH8BFHVmWkdO46E2AmLBBdYw+c0dT2UTktMRcffK+pcIzbtvNayn2gVinUu8dk
EtZFeWYceczaQafNyaUpjD5MeotyvbGE+UhagMthwX4ow3GCPWavm3PXLcrbacBcbhJZxHi3edp4
DW+Gon+b1yOyIaee3R+Yd0YpDNib1rbvG2xQESk+mgMWeZ4LEoF3LEK3eALxwbN6ZClYHMZ4qqO/
C11lI9XBJR13Nc/qaLVB343iRx0n4pRqQ3NfJrrc6fka328D5xks0gigTGgoDDim3VyYcPKsVvVd
NS0AZq2qvVNttyuIy5vTHGol4RhSnaFkNhat6WRSnxbLBZdLvqsVq0gg8jAd1ceTDaL2Edaq7zjy
KVuSz8wFuAZOFdOB4/V7IsFwvDaJo7nHeVJGbWrceyaP3pq2tyyDuodj0p7M0hqPahHWU152v4dC
/42jjAAXyvYXEK86dPQOiT6/ddz/oO5MlttWsq77RPgDfTMlwV4UqdaWJwi1SCT6PoGn/xZcURHX
dtW9UcN/4oksgQQS2Zyz99pK7OoSPY3DyLuvNb402LL5oaD8uJrRTd5Qxta2XmuiInFlfuNZpQ7m
PZdH31H9Icu48RRx64ss8uqqZTqfvc2NN8Ov3VVZRMNW5zBcB9I+E9n2GBRT+WIatdi7hLVsy958
/ukHt8uK9QtWOQo4m3qCJSLq6e3M3FLVdzWhjg/ZLOPnSbVffcJCQ6O2W6tyjG6pFtVbEeD6rPN+
pPrl3qNtm1ecOMUeeHiyo1RkbYhUzWm1OUVYCilD2EcNzcRRp2/QtmfOwjdWPvpriBfT2hLitW6z
6pEzcXuXpmN1co0SQSjyp4NesVsqDDmeLYfOvM9seASY3+x5StEaRqbBnI1h5IYaSYXdUR1L3ZM3
kOU1FjEqiC5uykM5zdl7O4JdoZVL28AYn6rSeyZgZZs11ngcjMbgVUNY6w2R2iSdV246UXhPNKjH
S8Gu+CKy4snwkwxrG2xFe26hZLr2vYZubQMxsdyXelCeGuaVB9+P1WmuKFMlZYyHx/RrB07c7CUv
tWVrRtjxehAWj/vwpAUROSidpm2cKaWvQlvXhMGZkITTNcAheJPIwnRhhrymji4SLG3B69wE5Xdj
1JOzb87+eOgytEOalc2v42ClHACntv+Rt7Fz7yoaq1mnyuc8d+wrOFl/BRavPTqO9zR1mrO3WM5P
QJfQbCmh3wW1MXWrqhXsLycRv4yuGL7QuBSbXk56SOuW9RQrSHo7o4zdz74avyrg9/eDUXgn2qIJ
HioMGoIff1DJqI9o98UXMrVPmdNrKka33zd9zuF0SrsbBLnufUeHdOMx9S9BbUQhGFrjrCfY3vRH
SgRVE8hvrGWOr5074aKmopDtPRJ1wAOXI7OgbmUlNRoA/EOLPbVo4cdsOmq+TKialIfI8RXaZMdC
lyhuVdI3e9sTLveJpdtCd0alK7Vu56Y231O3cvhESPSLbm6/eEkKamOzLsgC9SQqbiewj26jvqnS
W8tGpp8dZjlq1Jb73C2eB8ZfdR397k16A+26mP2C9EocFyYS2Br3LThGp3+qghKjpp+8YPBQG4Tv
/WKdDWPhP8VQakpbP5B1fXTcAX106UU7YbbgFkaSkuf0Ju/Nmjuot49FHz/UXbl2S3FmwePwYdp3
MD5D2lg3g4cZN6VX4XyoGaUTu5BsdjeREb3PkXB3qDCuha9Tjvbm19LXbpOMEqQozHZLyoS+pU8J
CU+ni1oj3Nbslj02NeSWsnqBFIltSHKAs3NupFXtfA+Pp89isob2+FG17XcrqzHtauUTpw+a+Knm
PWsd75+XETFMM/KoTUaBWGM2LoSNRxvV61kovEl+K+nRrCgYLoCKIthjE5Rh0iALRzL9ZnmEsjl0
fVbsfJDDofTeidl4Jx6Lxp1BO5aJZ5P0brfDzbG21EjXmeqczqajQBC00eGoHtM2+jJkdaxFHBwi
zhJrbbLyB0HSwGEa6Z2qIKZElA7ZEXkpRdAxCo59BdcylUB+S0Epb0bEsVZmFG0yb0wQV2hHAgHp
xKQRFkZnRkdFJO8Kdgktfb15M8REJQfJFVJrRPdOQXDgPKY3dW8N6xo8KL5NH7VNNcGwm7rxFceB
POeaZl2YkL8VXd08FNKJdpii2HBNaXb0JmAdc6moC1qs61lHijK7ZPzDk7dqgi4/xvECccYu1Xjq
Svc+2Jej/ZgJ02BcBxCSvLCk/WXb1iGPagEfWqptnQbP+LCYyDFoG80ELsEeXATR3PAmjnsUQMI6
NJZqt+OsMY2WvQwdoZGlEBRvWu123GUtCT3CPG7IOIouvj+9+K7I9zqTtBeNoWisDSu/JsTZmZp2
n7T4hDg0AYBWVrmLqAjPriU2tELnbWPr9V6x8w8bM2j22VQ92Ra8oJwkl33Qdls/EOIp09LsRxCf
E78zaDTCXOdKi8osncawc1tzHQHsWWdBBNDWGrZofm6MkT/cVgPrTbQPYh6JAdx9wBlR9yWPtHhy
akQ3Heortir1vvTYseljj7882I4u/8808l1mpdO2Sa3nTEqwymQ1HGKwDxgju5GDp0O8WWqyNrLR
AIW4To32qDy5NVNPbLxZFtsYM+QqDzLUTNoGtQic7hx8FbAyXNkYHNui6DZGXB0TSN+hNvoIWs0m
DevJzMhhAJc5y35e4Qgs0eA7FAdBNePdP8rJdVYIIZw9ckEkj5QjV6ZRXGGz0udCO7YXeVfuJ9lG
exduMvO31mxMiC3rzGPLPG/auJgOi6xpncgExqwmP5Swrq29zcEEXGnOyv2IIWqP7f57U9GOt3Lr
R813CzMDWdLI7HAT5Jd++Bw5slKZcCCIEQsQSD2sjYg1uPqOXk/RmvmRyqrcz2a5H7ORYs5QoQpw
P8ou/6F5JpJabKQrM++fUhKaENyBem/tcHLO1NJvE9/9Zin/LaIFu5lamldgSE70FcEIS3Ueca2v
A0H2oQswCPq6w8G7mQ9WxVupVbJZs64HKEp1dZLEDmwR41sr3fSr9RQAasPkigYxtmnXoPxbs3hQ
/O6RnnG8zU9C16ewd7q7zsWfIrvh1pi7F8+cqJXX44OKCnQmaOQ5XNpUlxC/F3qNQ6fEBu8M/h1P
B7SJS9F9onzSixRCrD8fZvgfKd7rReXeUUbAawSm22ZTIYyFFJNjOJ46DrPu8J034jZBQFeqft+Z
GIlHM5jZWFYo2diuUrXp0MEN4GRk3p6y7tkP0jQchna8mpSvmPGQ1aM0PmWRg5JCQHLRocMfpjLX
VjXooZMBOizUhMampm04r1Q4wdeodJ27iRm60NujAdJ1M8kU4rJWXwfRXvJqvMRZz+GP1dMHvFL6
NLuiyBuPiFTj0BvVz4rdaaADi2PQ3SQx068bWI+ER5wFZZuVi2klhG2A/XUC8gOF298IfU72dZ0E
i1Bgujec6JI1LMVTsBetX71h1m1WJoqdc0/JhzaN/OrKDGpyrctjPacCbuVMcULj21Scs2gGBV9k
8VACyor3QYwcMST3KsF+cDQ0nca3haIKa8u7Qcj1erZhWXulQIdeYXdPSjNH9DyZ68SZrZVwjRYc
d8vOP+nUJQKtBJLKrJfDRnpm+76cRK0Hrnnn+/12SqPu/BNyr6p42KAn5F4oSUvRMB+9KjqPGet2
6bxHdbtDZ3+fcxLf1x2unREHP+cvauaddTKz6TDl8Z1fInIx8vyIYGYLAv0ZKOyHni8dEpoxYTMj
VMoGBJN21RQkNtCuJ4LL3RGrE5btNzeZbAJz5YNyyX2e3fxa+9Nb5lefjsBhH8GnXQuBmF1WwMoM
g6XUaXc1eKJCzbcliJTY8PatXhxre3z1c1aCeUIdNMVq2AiFs2gQfR6m9lyAxWdOMDn00uAxXixD
K3a2qV1b4f/IJlNjpEsqMiM5I9XVt4lakcxSyCdrykn9AsiitEF/ooCbMr5OWXRyPYV2pyEfxA+i
hHbToudXEfmqJZEVlm9N+4Tsl20/gL20su0oFFRhuz42jbWrpElYkT2Y9/RfvXXPIo7/PL5rk5RV
0ddeBj/74brBlbIzaDYvS8Ih7re5gXQcsQkepHytye5O64Znig6oIKqqQY+HaAUpGC+rG5HZMkGe
yeYUicdU0Gd01sr7NpXlVxPVTDGehaZN5NfApc8bo527wsnEC2Nk9U7Y1FJmMw6pAS+KrnZXVkm+
dds42LoTSWN4/B2B/zrWGqKdu3OfLZr8tP5UZvccN+1WSfMVEAVioghrCTB2ioBIjhpqLaFFmWvN
Il2HbQavf5j8S5ZgW3SCt37itKl67z4NoGUPXkVDhjDZkCiEjogk9o2ZR3USKMQADqHbTiVLly+d
AzlWCt1Jc++3Otx0HfR1aTG8M9k94LaT5FcQfj1N5KhoHcYAU6+hcBiUfSNLQv2LFjJeVj9po/4j
Jal1FanEesys6pkzWRBWCEzQysrbutQe6Lr96Lri3StUGBuooFxrQIQ4JcMKLi5eG5QJiH28D2Cl
JLJ3SDSBR26bMb+4U5eFKkaLTUE6WScGphN+kaKtGYVVilKF0Vw4qBcLd6rWA5dbF4WcVvTtaNJO
k7FBWumwEQf6YtE+Z8RD8Gy1iHFTax92RLPWTBxMjD5OR89CPQO3ol2TSIU7yey+pSYe+dji2M3J
xyRmzNZGm7mOiBTM3dka6Tp2Ox0lGYVSDotMd4EZ2nFnAAUwkMzDQN0KGXXrVk4SRicuq7HSvjw5
HLQ6/fQrxTKBGlalh8brX2MfBxFcpefEg2poW+IySRKXECH3qjtlLa/cbNSEbXRjvS5Z5i9piR/K
8ZFQw5LSYR3yDnu5mLZC94NNQIFq7dCVXTtTMa7J5rmnJLHqO+YbuzpI+PPPoqcJ71ZvnJ1HPHY3
gxp2ImiuSWw/qXSyTwM5wVSHoyO4ZJwun5ORvBuVPApn+N6DDzDqV3Bs3/y8/zHYkfucdwSsed7s
HQ2dNYYEnUNXCwiFTD5rAR90l+oTKguyNcPWK/aGP++wqT47pv2GAek5la3Y0z4KuVsIbTWW+fIT
vT9Wmoz2RQZyr5l+dE27uDTM7xwUEQAhsSEMdV5EnJyvuxjxAGM/HF3r2LrVO4kGYxiYqTr6NK0Q
GZskdNWIDjhCoMQwxstIHe9VLjXdOm/upl6j/J49+qN151doVizPB0yhlRuTvKhNXbHNcZz5Q+hd
fY4GjefQkxEAmtwfMBzoQETWnogQuhMOwwMkoEXNPpg+zSb1I5YnlQUnG/wRgkRjTdo6MDGcmWYp
CDwm3hNKSJ4yzWn1pzePalpFjdg2rnOxPRjWbZTeqb6j9QLyx+jjxzKyr3lvX5WMr2zwFOYMlLj+
OO+L3Ll0pYUeyEEQ3OqVzSLjTgDZu3zvs5VAGA8/LEjYgzmjcUe+zMzFISPgSQ77pA2diO2QXiDJ
k1WAu6f1EDO7JIPpaMjvBdUIytiYHku9ptNJM/R/6vj+V1v9L/mz/7/1hZde6X9vC+8+m/y1mP5q
wF9+4V/+e8MBxkxTGNX6wr4AAvPvtrDz/3wXGEZAi5RiGg1bfuff0bT8kmtYLljnxWlv6Jj2/90W
9iBCUy7zLMeio+uS4v0/wJ1/hX96xJGarv/Tzg9a3nes33rCsxcBSOrmhPyEKPaYLlz84bhFI51q
ga2cBnWYo94Nyhz/wjTwmOPP8j9gnX8F+/68MnfF9HWHuGTXsumJ/wK2H/HOoDygf9LmVCo8Nv9v
nHkjbxNzmujZ6bkBRWGiQj7pu+Hm/ssT+g+XN35l0S7XBytsLzHUpkdO5k9W7V/A+p1N5kjlSli0
HmySxfVCa9PHg7SD0hY8dZNB2jYeClxHKSQrYsuNcte1sAj//oP8ivz4+TnoyNu044F1U5r87T5U
tAdp46AyS3MIwo9+NPkhrQNJpc5CfwX61VH/Umb811v/K/bj5yU900BWoPP9GZG/EV8HvYRAOmly
LeXsnHQrFZx7+vHYC6Ul/3Cf/xxglgdOH+Q0soNF4/DrY27VqLpel2hTsXfQTkMNkB6ybsC11CVE
GOCF0nHxzK3+9vf39T99Sdt1ec4O2AvLWn7+l+fbFkTPmBUJ3PQIGvfWVTKSRwvbHVxKSOb/+9fk
Peb9IaCPyzm/3dKKFdqfUitfQ9akm81RfxPjrsC7Kz/yxggO6XKr//4bLrfur3oORjABCibKEmIo
bNtbRvhfvqGa9R7XH42RCjnKm2OUPDzJfPEPl/nzRbV13VnCLnzeE/uP0TJhqYWqnK1JVXNOhMx9
SLvv+u2sMOIORrrFdoaMO6Oa+A9TxJ+P0IbEinAF7DdTp/cbGqSwWnBCFbE/o8P0sNJS2oQRgV8f
M5GxzT88wd/4zMtbwYPjMo5jM/eShfHr7fSIPihqk20cZmz57A2gYRG0kxNmGEmPXQUBBRsVnLxo
U3uLRvfYYSTCDa2oc5FIh1NQFGP9Dx/rz3vggQTy0XbxuH0UXr9+qtTXY8iRmFF6UBTTiVidaV10
QTqek0QE/zAX/aeLWUv8h46Jkaia3y42Tzq5jJhD1wGahVNX04si+gsnf2uP1cv/OnqXxc2wSRZg
+uP48+sXQ0KM+QJZxRrlRLADdsjozasKBfPfX+fP4esR5GG5AfR9g9Xmt+/URYYitj0m54dsqLOc
tGw3j8SLZTPFSaoiQfyuY3F+zMlNkv9w7T/nds9g+IJDZWllsfltDuqKFvsyikb4eiarG1u1iWO6
m2AkAOWdnnvsYPo/DJg/ZwW0Xeg9wel4/p8vTW2gYykipLDCnNVVo5X+zMzrh39/V/+Y1l3dXmJE
gmVuQA+2/Pwvcw/4EYQXfGPyfQ2NmoKMzlHt28c0oXYP/xHyNS/v5e8v+hO1/8uMxwTkYQReSFLL
VZf7/Zerlg1MFk6jBIBmgQhIUo39PVLJapW2Yvb3WgaKezekPrAI8osZUBPIiI+EHCkKKeBBD2QI
p9Y+7cHd/MOj/vlu/PLZeNBu4OFisTBB/7Gfsco06KZBmzAqVeWORA057KS7qMMNc/DJovXkCSeE
uEY5LtFJzsWhlQOFdhJ9P2k1o+p2UKaXC5gt+af3+o+XwENGqLPjMZc5zrV/u3EDNivoLZQjOuBm
35puyH/MINHcDaCA5I7iuaafk0xjYBpQPYHuzY0yN9NsAgFkg/jN8UacZL03eJhBBvPo0X0YNzhr
vZgyR6MmRLEVU3LqmC5GAdkPAK3hYdNk4mapEGR2+lE2DKb1YKYDwF3lo/0Zi0XyX2m4CKiiUW4G
L6T08+gq/3PIjULtW+wEcvH9LoYK0+f/mZMZeJzqaNzEE4bcbby8Ww0mbLnCe8OHQFd9rxojuepW
VGzNPFni9GCJvHsG9m19hM699lUuSLrknkQYKQZ1LalaAotVln8yIQkVq6GCuUhQTu6nL9KV6jbR
sT5t/n5E//5cmNXZxwckIejkDfHvrwMa3IkSZJ0CILxFIwQUz8o2dlhSx/n76yyrBX/qL+OT3hN/
n9wBF6qc4fj2b/OgVH3TBVBpKNMlrnjVTG0hkypqTPgcE1oeM7q5JVUv2eBorzrMYdY1SvBak+VG
sBxObesGeZpz6xZxVYSxGwj0JfM2S5EiKFNb2ZgHyTIYYZmwpkX3MyEiOBh48cRGIEen4Jhnu8WJ
B3cY/Mx27JIfszngDiDxvFrDokMxV0GXTBCtvY7ttC9VLb/rkE8bgPnp+JDYA7xUtlo48rmbyHUq
xGDtZJC/6tb13TIlJltyjWxS5mki17PpDyBtiIEm29htdrLTI2g4vmDuJ1iQdna6iBEKG/J/5HnF
TBplOuqbiEy6u7FqnDPsjrWZUrveAl/X6SkFGtB+DZXiTohJbW3PaUAz98b8zYpR2tmVNb/y0A3q
J65jhjV+sHZHZxEfU8vK02y1LB8eUQoHZF5ia1tg11R4JgkGBpLRquNTTBgVXIC9weyDACWLJZRO
1t5F1GHuaxuwAL2p/NNue7hYgagXkU3mtMY6rqTaRX186YOqtnZN5jcVmW9t8EVTqaFIr2nOd9oX
alqXxozHLbEUtEirRT1Db7O/6vQT7gwQPgeXcXJDhRgSW2dt3Sbwt42Fvp2br98Wk92AydHkLvH7
Fr6W4XTNJi5qu9vrhvMpoumHJgWdTrivwfeGEXUvSBdclX2/uGITCmPZaFgvnV4b+zHwqXdk0TNK
SvPa6MAyh9n8MBCXbIC6+ZQZZ83A7zrR1g/gguirmLrKecpdeUKV4dxXAQjr1dzHbkefykJZpznN
F0B6clchD7rmbvB7I73Nogpvn4tVGqZD35jjhJkjp9dgzxkANN8ynquRRJkdCdEmDfxKvzOlHQOg
cGgPxxWoiWR+b8aB/ZgjITEPVF+q1OrvUXp1mywN6h0lPCpanKXKHewKckgYiF3IrNU667TnDkqN
JJhW07ojwvAu3xRRCpI+SRrv0YjlozCjLj5yaMmIcNYt3CxFgmMqqBy5mUHMf2tVN3MnUydjxohj
lhHNzkBRlT14X03fZWrUw94ARARtSR05Zru83MnLYAlUFrIBtQwyocNtT9OcuuP83EjnWXJKXXFX
HapfxYECqtqMrOOrkYmLkvyIhEbL0y0UFQOc/hA4H6YM5nqdl52Rha1VqAtyZ6KCZ4HYUgFCW8cO
cOskU7juYFNvFnHwHUBo7ULkBkd4aDyRCXtgcMRTgdr4gPPqARBnfddPdfIhQCwdijK7kR2iCcDg
oZubDFPntVJAIWBxUFgr0uEHu52PwGZxU9rwBsbF/i6R4jGebfug5qUXMeT3SBEu2lSSCFHb2jcZ
zRdHYaFO4+TFAICP5tSPgw8xYjKZ/ek46fGZSSpeef2w8ToaM9Rxw8Cti41q7ZcYXSkJDubF0Ehs
7ZwKd9L8ZHk4MHJan7GrzkWMusFwQbNohrVDmvTVE+pe+eZL4FRv6JCeAmcxWbklEuieFlAbq1c9
8HpQPNX0zv7uXlnzo68Tz6S11D9Mg5RcWiHFuixopUI/uqkYY5mIVkNj3NcREbCChRefNZQLo6KR
Mih33UBcDWmlXTJYDxUZ5LhoZHzD9pMOCT5r3IvoCcdy0m7BQYxEQeCANCB4cwXdOSpX6KFJWRXB
IApdAZqijq3ytjACDE51RFvfoo8xdtae/D7s9pZ8RJG0Y6szs0Eg9pQaJw28TF8BXnkwLd4hvygv
iMjW6PhzdsLJpy+EfWD35vghAqKF3Gs4HykbDyAwuaY+uszpvjsQro4R79kNXcNqbZOfYkBYDkel
EexbDRcSXbX1oJnqwdYaoi/y4kmfhtPsNc2mCZZDRoyQFNYNYvj5wG7iPLfkctBa/mxno0JFQ9ps
ZuanwcAUlEbHlmjQHYHGxUrDCN3B8INS6wUUkpWFFDQRmwrr2G1GJg1yoRKiiqHzYHLvsV6ytou2
BwhpbDUnvsvYf62oUqhV5ox3qfTfY5cuD3NsDOoP8ValiffWRHSEhcDYF4WH9biJ6XRomHUohMdn
zLvvpkAEKFL/CGoA8WlWfPnoFmic5skXx0OxtjNyjvypBOYezcWpyZx869tB9kAibPY0RzUPxaRm
PVTavNErmAodiTxhGqfwZfUdu2YEUiZyetf8NAkLZ9Rx8u+RbZ+TvPAPTTXdC8PeG+PwkBfVTddX
90Wr5Hel6rskThxczN5E6wVI4EQYZiky6zCDIqe4RFSPC4qe/gPm5QwbO7mwtzOz8z2WxnvdKQkH
GdXOdWHslOps1YjPnMp+KsEKRH4Qr/w6vspUHGvNuZnVcGeKmomuH25NO71NvQqmHfAfh3rJPh2H
r3LGOFtW042IDeaNorgZ4GjhOhcl0mD9C/tVNfFQTDIEllaSY46nlFiKVZmb0GSyEQ90vKsX4TC7
DO+AUesOaBKAM5Ac9SpbHniOPiEecJuAWsLgYS9iaZHeIsoD06y7+KyL4gkJ0TsnG1zSTUv/PUVw
HTZU4RiLs02kFeLsup2OXRPgrOyDFyZwAnCS+Uc0ANpYGTGLuOVK9ilajKXZ1JcMoWpl4k8t/bm/
GwktQV4GkA8507QSCTG52D4JrIZnGopyQjQYye2ApKPW0x0uXXzmkKcKet8pWqB15aArbar8ddQC
DyJe8aETp76iGhBsgX6sSFwn/scWgFIG61Kwj16PY/ToFjW2PElRBmEeuoPqNR6N0xAH6pJGab93
YtsIaeDXZOZo34YKuXOWT3SEq+gW2UUE7Au8RJ4e9Owx8uJ9NE7hNBDSA4YLe87Zg7Kq+w2rcVH0
a4KNsWCnNbLOyNogLPnA0//ueskBLArScHd+dHSsM/g6vMOI52Td5g2/kVOraszMIB2uIgsHayXs
up02ZpKOkXn1yZ9x9Ae6W9iTUQa4lvYccWrDCLpGdXVlp7HVgxnFSlqFVDQ+zGw4tkl5mnW4mbpJ
FBTMdiR02jZGwDR4/pWq8hPhzh+ysLdO52yoHG3oYm3K0nsYnfyC/y5bzXn64jVzWFvjU+knTN2s
sC3IVnuw7W2HMGlr+dmV+mm2Vf1AIysnuq+24E1GBYw5o+dxAI4Py0K2t5Bq2bC77Yp8A3wREYqu
JSw5KawdbT9a2WPzUBO81GhatfWpp62cYdnwaOWz3kFl8ZR+Q6DfvRl7t3ZOuclV2glg3uLzSdF5
E6HAkEJ+UmbxSbMT4HQO2jGj0wrMj27wI6Hag+d7goGJGDVUwXQlm+s0+8VN6qrhFtLBuzeBwvRI
R7gpfXbk7KZpQtZXD4XupZ9dyE3kl1g69G0PemFDggwG/Eh7SjiVPMZ+8OYivieJ4QDM/N53tUcn
0tZdS4EQQdBXgt2WY6jF0c3zfugB0pXEpTsNlAYivjUjaTOLtckiwBZ7eKHW/drjV6BT51Ubt/Af
3RHjiDDM7ZJ4uVMzaTR+bj2msf9AOqpHWaO+o3+DNFSVt7qJX5wo9h/2qB2brjLXZMYTZ2t59ypD
geQBJ97kMRLzlJCCFrIltVnvwCZth7ayJfOxwZYknCykaH7B3+mtW/j2W9otd2Ut39Kmd0kaEJeS
gEr2fSpTkGBoaBsZ5gq054o6Er3o6rnVTfCMU/VRWuOdUQX2oUKZ94Q8Pwd70sGZjWLic4xWHYdx
vnQ4Z0LNjIctweY40+spJx9F1K+Ii2/MrDonLGCIe7QIKYPuov8aE31FLTA9M+4AFCfDS1dAySry
iXmO7cjMFHrjBXScwxxSyj4S5bvW0brtugVfL5JL3UUXrCXHcej7VZXLYFeVHavOhPRPs8d0De0C
R5+PMQamjUQwNjcof9wolE1KiLbMn+u53aP+ZzpjZlnptbeZCAy+yRyJcMsyAcEWT2isPmen9q96
3IqzTrf0WHoESeQJj1nhpd1k7hifrQF/YhodxGjuaAyhRym4sJtp0Pg93iB/jHZFpl2lD8mhnZ5R
ZzyXAU3VcYoPngc3ZNJCvSMSpVXWTdm1d9gCshVygxtrxjLioExBlOKweLHJAQJy3wfeY4nXZ+3M
zRUh7fepWFDF1r7P9YXmyW3SfF+FWT9CIGqf7Fl7MpJaP9V+eQeA5b42iGbqkZBiBnsBpL+zCt47
7F03sLIVwDLz2DjBcZ7Vxq8x6usNxxJOMCzVW/gbzFGlt7X7hvQataGOccjmjk503Ba3PpkSxhrc
3HRjNs6wqYcF7BXdGTYxlwMKBCom0SGo8i1+g+c8y7F0ZoClDQ61KvU5KRtfXaWWdxfagNA9d+Nl
HmjljDhEwoQiU+fMWg6WzxnVTBFwyxEupYbTp0eCMQZPHBi7h4Boa4z9upbmJFFUgllFwv8CSm3o
8y3RjFN67yYNy/TUBVm7d9JBnBGSpXcqLvGMlAOTn9a0bBlrK7FuTYRsVLN+Ks8Iu2KjGRNL9EEl
x3nWhlztNV2Mt/B2YlJAlKeeq0hWlyoh4mytG4mWbROnN69RpUUs1sYQuUSzZhmaeIKsQl4pH/11
O6Li7Y3HEimWcYNy0Xt0q05ciTKNwz6eLrMZPaL1uTOo8L8ppeyw9l+Z76q1nBY40WX0GqyCtSmP
bkyY4CKlkRnICr17wV6P01G11iqIIOag/RvuHHSbW496ltZyWJCkBWrxo0JUMJPCuFYqu484PGdz
fzVRxVEILtZTA8M5D5yLEhmlj6mUZ/BeeJPiqI3eHCHTi5DVppQevkgUqxFp9uFU2291g5krN6Px
AEK7Ym5H88wvzUCmNMbu2mlYZZoxPs6WjIn6UEgKiuYElOJbmmCNamu9f2w886Xwq2eyRijCZQWl
8Ep4b1I5GmeOyCCkRM6nJADJIz3xTaROTfWx0YlmYi6BW+g8Z5OfPeRV/N3MeWEZG6WzAu62tjVU
eF7W4WsYJCzJqCzgug0zkNs4roUViqEZ8foXe8hZB82q75PeunRzmYQCwfmJ9vpbmcoSCuOkHkSl
5cNNr/rilXNZ/FYXjX/NFquOSvzsPq5MKruJgq+N5YNewnhPgRLUqU/cjztf1QC8ErjYtCt7l/lM
GpykpMBGU8TOAy/4a9uoa8Ju/lIEII3R1ZXpRhZKe+IgTMU1orHzgNIQgqPegBRiYX2sMKDcZPMs
r57XT0dvDr7NOpkwYM2vsSW/2TyHU2kT3y28YH7W3JyBwKat3bTABZ8yHBArVLBiM4oufwKqu2zA
c+fBiGO+gmtA4qbdd1Ad/DXluOO1mgPxDqHLfXfIuHvuMwcPamc/14bunwTJIBcZoynCSSXPmR8N
bCXoomOD0leyVoCZJvPkNwPas8rBxgguQhcGTfxWvUuvPfNY6KCNzStt5ixsnOpurMsRlDDVJ96Y
LcrYmlqbLU60R4pNg2rnMBRdf/BLAAfJgCOgrJzhyULFLtdN4H43jc7c4ABHDNbMxtYOcgMpgdlv
0iBPN14QbBJKQysbiTc2HQwKuIGJD+rpsevT/OAOiViXppUeZ71Fy45jeJWAu1l5yOlXjd9+h8n/
Ja1iO/mYATP2iusMufImEZYVZuXUyt2EM7V8iBs918LcdJtzV2EoWlmwxJ4worMumBUZaYD1XiiS
oKMaXcRfiAGMk5kofUcaPfUzbcIh3vXXyWInjeQ6Owy4hcPO0RfiXaOG7aBX7R4epBcqIrGQ5ptg
hMrJlbdN7qJpj5G6we4hP7d0rXiNkjJ+8PTUOcMBxNpo5iGBuNlL1iXipYDqiKavHXHFVgBHTJE2
YBcD65OwCIMmgaUQncVJ83/cncly41ibnm9FUZvujjDUmIfF3xEpihQlSkplSjluGJCEIkBiIgYS
oMMR3vgivPbqX3jnpXd1J74SP4cUqwSKlcoU4Eq5tOj+M5V1AJzhO9/wvu/nOrQ21s8Btut96ugw
MKdZrtylItNMvDSfHtOJF0eFszPRoXH4UzZkbUCRqvEFcRerOjW1AcKjCxJItgV6GJOmS9a7RA7i
mLa/OhtyWMP6pH8NWWvO9xIxrUkxhaMlL2qT4GTlO3jc9iQdnynIdiWnizHMMrLU5HaFyGage0Wx
XHB6wXZDrEeTJPsKVC5bftaQgtMuadSmTW4dFfb9uUx/LajFUZmDOKSs8DGPinVVAnR3vwTxhuwk
cHW5xyVBLbLG6y/wtWXlZD4fa8Ypd4WZEALRN/RajnTzdhJNzCtUCFaTobUuJ2TzWT49xT2tdRyK
OB+WNBK034ULnLwzmvch+jNGUnU5BJFffErQNfF78czkL6pFpUGKrSvwBSRC4Oic+SrtjgQIT9P8
Xq6iJna2zOowuoSDW12FdTnNBlopa0N/sTARIaBFNfEVeUfy2VlUy7d0sJHpjynbiVcgZoTCygIS
aX9q0EWSUpkhT47nk6VUDWhCVs6HpOXRd6p8E11SipeRc8TNBVfIWoAlO9OCcWH34WLxepJ6TLh9
oqykdzW9ceDPz28jyzrR1OUJaoHvq+UM/Zop6WdHuZOg40dJ/jabpegQ5uggFinmhv5gwwUp5ndI
BcIByH1lxGp/8fFq/UXp2YW86s+s5epLDkZYt8lG1khn4gSRuyPiIt/Qr5dEPkW1NKEskXARQbw/
gJ1pEWp+zfwlCoHwoCkbTXJlQBQ/jgCv0tt3kt3T2GBIj4evyqQwLxMTMcQZTWonC8ih/Cf6NSnz
2Y3mlEK+Ip0OS6O6tQvYtlN/ZQ3neNt9Qii/PKI/uXWW8K5H05lls8SkKWlvrMXk62YLJCtRdCwS
E+Z9aFuIb6BYNakysz7J9QXSdXFaVxwReltp56Ulx7cTnZ7qPShSC/1sni8jjVyDKLcOlKU6XQ6B
/xHQI0Sf2cexXxAXJJZGeELcWJZkd0LnJEnsWofmi7w00EfbcHp+ltIKQlvOTWsUB1IOw4FWwtGA
DWPnA22xqOSRFeWS8ZZeGJY5VJNAsvq6BMRgHK+A2yvoIJqjZSprySnLG9DTdKGqKxqJQlY9t6w5
sDHQKlRhQXPQow6WqYrYAGj1yU0R1qF2PqtkTIG5kPi/NVYIxoKcOIgJpTnU+VU8Ps+Q5i8GFV2J
/IFv6KmMdbHR+aT1XaKdRwrqedfgwTNl5BRGHg7lIFwthzY9BVMYlWszsbCnZfR1YZrz4ErP0Rq+
QPjUQtZ1Webp9Ah5Ezi6jhnJ0oVjIv06ZGR6cILWhMJZIEJfaNn87UTPiLBUa1afGdBD7mx9lr9l
D6+KQbbQCgmp1BTtotJBTlPLqhQ8puTnw0giDAzR4hxfzWSoQeDIlqLm83Fe5NAxxmkO0WJJ9XKC
33m5mqAsRS3uV8dafeJKJcjCAR/NM61+i/EuRgFtJGKw8sPId8wT4AoC+bEklwPZ8yRSE0T/Vj6d
QyUkipS5g28U60ukl2gemYnie11R1+oZZqndl/ZUGlAzH38ew0xURFrN/xzlgb8coM2/pHcBTgft
PycVviVCofV5nKU+Tl3AXjBybT4KLY1EkB+azmVU1dVQDWxYDaUDA2hlxGOIFbMa+kpa47lHeZzf
iLLKoKS/0Ocqm8FziVHXv5tLMyQ6M+N8Mp7NkDdVahDijvpukdPH52SJXEnPQiP+dCXL16UK/0Iy
0KMEnmGSyFk3FQjzMcRWWI3SpFTPYKnJc3DOtXSilqFHMxckI5zx/FrNVKIaEnI6X1KvloR/2VeH
Rbv2KZ98nQWx4Lk7+XER6zEsLSNU6JcjMadQivFm0Vu4WWWii3euBWf0NqiuLCLVK4t913NU7ZNO
I46gR6VWvQ3JIlA4s5AHo8JRf5hRaP3oz7Tk3UyxPmuIaB0vlQjFg2oxRuSjTKv+zK6v6KouYxno
XU7v8/TCzjKLZH1hv5055RLqJulsyAmgp/04ny1OISKGJ7Y5c26XZVicoEmQQLyL80t6ddJKiAwl
0behwk0W1m7uf1TksTay0vI2m6lhH1jhqRWMq3MUQc1jbgwkeQtLOwNelFJhylLXCmYBksJzte7P
sljkSOn9mAyoJmr90JhDA0FeSL8tJX9S9iQnnsP3nkXssNnSrN25NZsuUWyWVML+aXAlujF99vW6
+LwMba4JTX4nMdIFvevMtyX0NajyqIafyVSOoZtSMrtc4ooMaMS3uIdRn7+LaZV3JWXl2VSxyBsp
5hJFXwcY4ZGRaSSKlKmh04w4WWlffAEkL5AQ7iPZGV/mOtqrmQUOAHorV3NPKaezk2gq07cQoA5s
Z3nlf/XHpo3eZSKP4eBXE0qwaYpdtYGDRwjuHy0hFIA5U1HdJGeoOKZKmiRCq2WZGjLZ/eWE9q2Z
bR/TYs261uSYcAD05gkFSVR6Y3+snvgh3DW6WYZInCzj1QBp4vnFRFpktzB0tcvpbOGVILXBec9R
T4SH3UO3ogiOtUiS6TaUVMi94ogaNIgcKQG5LDhQxgk4+EA6KlZj/V2lWssvaZ6qzvF4gfIMnaqN
9/FkieeRpWEfcq19SQLHhiM3HsKmHRK/BYNcLmlDKlfvwYRICLrHxbuMqhjua5CIhr7AIxCaHswR
B/yUIwRH5DY2tNOJwU48qqrEej8OQADYyTQ8dbKFM0ynJfIHU4sMHVyyqS0nZxzZ01nsr76ApiOr
PSH3KE/N7J2ko83k4/YT0ebT2XWpLZXPS4QmLukMu+BuVn3yOKb6Vq2cjzNT5FfhYE1PSkMJjuUE
bAFwPAQ7cfCJ7XJ1SCcL7WTsz8qrVQpRpxehV0y90vG05Ti/B5TvhVOoFNm8LN3FVLUguehz+MF0
giBJV/IcanoUuyFkUBLv2UsV/i5o4LPaygd2qCC7g5qGPpdQk4wXp8jKQ1mrjDNVhdKhWYjbOUn9
JVcR5gZI8iGKUPJDow5jIrr4pTryQPJ5YiC3iLsAXnCs0tdJnqMMAzAoKgZSJPwbSQqP41pQocnT
nc+IxukbVvnvSYXHI3pvvl/gOS9sGq7DLSOckErKkRqw27OkktmsRk3IPEF+xx/lGUL6DiSQETiP
goXAJjpLhws4IoeFwMj1Sl4mKD06aGKzidFKogcGOhx95KduLHl6G4EXG9AscXJMQbCP76V8QIlm
SKp9ehY59dcUaUchBKh4EoIWvUBDBAWaUP1hZadLuvWi4Eq5IF/V9L6obP+MJr7OJ7i4EQlLqw74
L5QptnIR5dNje0xgUCL56kMwiaVRKBFWJ9AUb6o8Lc5U9AxHE67no8wvZ0Pa5tBcHsr023xuk1Cy
0JmmTOyP7Bmd4n2Ampd2mJJDJ+1cI1x0Qk6RIISwC8qQBvLPWciwF6P0JpAl4EoY1T7iecYg4RYc
6HSt79dSZB2n5F4u0P8jFyzTqTQO6CSl5JYzKuKMW9BAF0IeW/U5HXTnH4wxQWxEpvKzZEqndS2d
JXUpoxU5TZJzstiwf7KvQWlEV2VpOCNUSYIzVTGU4TyT8g9jW1dG2Vy2z5PJfH5P8lgeBdJ8MkJs
eQF/K4DTNZnKb0F4SeM+9oyqA2Uyij6TuGcU02iYQjQ+cmzhMyYr+hZX2qxfw+saqKpkoLwwM4qr
0oylSzugbDEh8L9JpdS+GoM47YfwUYfqZFUJqlqYvJfV1LW1PD7PEY5IBnmNLoeVJjBK9XqK8iL9
52nkMqatWkZ+Gqmus2mkjsyK0OuiJs39Hu1TKsMr0WWgtyDVeyYtSDUKl5EKUAIvc67MjseyVZ2Q
M1HOrGVIB6gxXxBnALCmSzKbg1mY52dmVTn0kalr+yyhw54ocidfayxNNeRUO9dZMgvpQpxGFYIH
eU6fg5L+r3WlYAMg8fdr4GrDCGZvH2wCpy0wsuzTOMPFJPdh0/Z3IS+g8JG5k0dVJumw/LWp2tMg
O37QJ6r8q2/Dgy0yfLJF7evyh9Qw83dLXZc+xEGpXmSxlZ2titWn6dyOLipCrHfoumdoO5v0zotq
aMXpJNJOTWteZqTRVYSqlhTHjrV4QWQvVzWK4UbYNwgM5SMIQGpyGpoxVh4Gs0L+epJBj5SKCfLX
ZiGXvcRI4zsac/ll31FX4w/+vJj9ik6CQ01F4i6w0VbpFYXMtsmdBcTXOEBR5ShNgumNmtaGfgQq
TrWhhs0NfGAlHxV5PjvBoOGzhcYKDBhx4xLIr6UM8mIFvY9C+zUYhop8dplcST7Rwk20xPpB9eNz
xrRMejsnoTcFQIMAzEcdTAXO09ScnNlxLBoSlaY2VGMSDXIaBcVR5SeUPPRqgQ6Sv0iVuqfo5cSD
owW9UEUoLE0RllC1GO32fDk/o/Uw9sHQKqoY2uoc2RQizXARX9CvYvxJXa1ufeQRqMhT+54Z2DH6
mZ7TvKe61Cp5NrBSaYnYtymiZD2514XSi5yOhb7PRWKVXwI2OdnEKoByLGjISWDY/Xml0yNtnKaI
i4O6it8aIKYmfUBoWD287aECt5h+8QGZpVKbzuGXjpMTZRJBzDZrGLL4KhIdCyQb5WrTgsuWBwPa
rpzkhrHs+2WcX4RTZFOyEJojkQHpQlSPj2QFdMs0M5wBqmtI/xA09LTKvnMs6HyI6Ogn0VwpPk0l
ZXLqJMjuokozz4ako+YcIIAQBLvo7M6ryRXzDY4IPN5oRlNnsKfLBHE4iDgDWt6QPF6xSJJfpMcr
qhjSyJFXQvaQ2BOIzdJW+GV8sdKV1ZXtpBpZ+Xoirc6wq9RoUUYXPbBJelEfpQUevRzYfHa/Corp
KTIHEIX5ndzPMdIUkKM5GgglEBUCkslwYWp0TDDk5YIWlibKizBASwRt9PdLyowDeAbUhywdEFZl
fKXLuyFx+YvdpxrWkAir+LyKg+VQ0dIQx8GO0TWiS+JnrTQoqKaJbn3OUMVF0SmrowvUdqejpVzx
Hjh9Y2pexMuTUl7AgpevmG2Mc55MWcM4WZ0GJGCfBV0+gVyC0jFlGa6WTexr78C/k6Qs9EWWPMDp
VzYk+94yMk0aFGHkSMbgImCzRNRZWEIyxS5civUWheAizyDIOETBwyWKwezYKgbgijWsrhwqknhj
0ypGdrzQStEQsPAlL0J5koZqZRItN/jhHyL2tWmp2+D+nXjJpRt5+W533lfZdxcU7Z/z/i6oKHix
N8mSx9Q/VRBxHnrvyoeaoSL7KnOhAA5XgckDJir+8YuC7iukBItMHr9DQ4ffbJvvaoeGAXkeFga8
CAeK1h/cP+XQJuOrICGLoKwqaIE/wP3j3zc3qArLRbVNywLHAEcCshS/f4SnlwxJNUoIur2QbDXl
zCSTi165gBtHgwQQPUcVlb2vehGQZS8XNUzWyZQGSThU9CQfhoo6Nftkr/Ajo1SV+/HENs/zvMhX
wDZJ8RyvkFW80dUVNdzIzKz7mWYvHWAZiLScG2qxPF6CT4qO6akzR09SzzxLr9TqhLqGNYjqwiBj
PEato6Q0SK+wyXLxVo91Uork/yPk/ZC4+xBWEG/GwXw1ppnofOWf2KVuD5IFyOQepBUNh1wCjM6N
XVG4opYCq7vKvtYwKy90+AMgGnIr/6DpcycAsQvFoGeNdQpTegpwtAeFn25ahhLhhSmA77jSJXlI
2KS9S0D0euacG4Q7LEvOCBGQPCSgDFDetAP7S1EVQIfoF4dG6HhqcaxjTKWQkjIQc3Hk2Zktp2l5
GdaFap9Y88QfagjQUkZZGao81GkTdxOuNDo6yOWqgskdUqIDrxxd0hudxLjPdH+hl6nxKUf0i7xx
WScjC2AU8K0ywWwWNPOZ95HJ6pM5RCaOfGBawBaLTLjqS3VxJdsprgDx0OIDAqT0iQC6CWZ3YozJ
rzpj2rkdlRY6GEepDn5xVhr6RWVUs7d0z9JujbjUSqJdGx/TTkqHyKSkc8lFjbr2mRosVKRPw1IZ
UpMJj2lPXb1LyHeW/XhVcbvNFHz6xdI3EZmjbHsVJ3D8AekprDPdjuFdB5/moBk+mmoh041hLIPV
ptSgH4WBA8uCvnZQsAi131szKfzIBqc4US5MYKu2hOJUXxrHQMbysZE6x+jAZdnlrIqzqxUlthFt
sKi2g1hYlMckTOc2bdNS5WMESojtbyjoxlCjnvQnxnw+7VMopRJA4cuVzTEaTfSGVj7oprRwA9nR
V8cklGi7GM6BhZDv1Qt0p3ChUMapHTLnfmplX0g40BZoVZTVxWQmoU+LCC8l+hmO7fvZpECbZFrL
PMMBWUOk4qPuQgY2PI1ikwgnQNrewVFFOvRIssvZVe7EVtqzUYbibpO5+Hr2SjhhJBCJY5coZgGu
k3KeYEiYkiPqUualHUuoySpAtN/q00VCB7pquYA9X8mBB1fIT8i6pYsLR8onZwYWaGip0jREYKGI
o2Oye1l0luhaeponVjQfGJGCtKkTT5AOUeSFSAOW2kU9Bno8cebVO2tp53iZyzk4sjrQ6bUT+bn8
LgpkOT5NNak6j+B8sYljmQbO6txR9JsisuhNhBVFJmttl3/oAvu5zPSHVz12C7cPrq6o35VeVr/3
cpJ1NJnfcHfFb69goxU3ycv+0bcHemgQf1On3j9+uUvKuBBvADI1fnx/KeKaaFx661dav++3Rghd
Pqu8Z2hTP6RrhmJDQvvlIEziycPfS9x60HEpIVqKs/l5vIzf+vpvf9hmGr/9b7716t56RU7v//EL
BJ1Wn66rh4bOlU9rRUAa/MBZfTQDyqFhGUyLDAGL5zzaFH+27N/+qO4+XPAvW325JhZd1WQo7Jsv
x2159OWadqjoBmleBYdY/DAxr2sGhDfVbgp061ABe2GAkNjs7ub2V5xDRPnpAkAs8Dp3P1oSLWdA
P6QbpqZbOK7rH87To02gWIcGiQUoUbDPXtnqb95oxw7/gNFj8Q0bzSNZ31l1nY0vQ57XjFe68R3u
VuKTtkuP5bNBp5KS33yn2lh6VT50ILEjBbH57Ws8/62Nv3GomYJaaXEBrH8aU4ASDF3BDSZhc8xe
kfW3Wh9851CceWRslM36Nq0/n65pNgoLr9b6s2nbHgCDC5DV1dWH1W/aAVU/pLjowMB+rb6PyFu0
cgEM+5DtTYcZjMD6Z8cEiE2gwOAXJPSH4/HaLgG2basp0JkCzoChWc1v5+7HLUS5AJ7P+uf1uT/6
5pVefgMarK/OupLN2nxj0waoGrtjPb2vyPCRF2i74qysTTyDItdmUzePvaYg10WeDXmvza83l8wr
mgKz7Qyw7mhKICNGVmr909z69iEOBp6Bszlbr+jLRdK11Wk3tUPkKywMHuIa4qf55aqYGNK1W3P4
+nweu7XXS2szhFgQcmtuexVzZ3MTbA+Fs3EvX9HiO229PU1sbKGf5hDMPwpyVAU/QOTUue3XP6/u
xCtK22/XqVGo1AtlW99sfGzIoylQVDrhiV88HIvXt/EVs+1NryHfaKMJa1sPU9C87RT9UNcJeADN
v7Y7j3C0pd0zzEMWHh61Ke578dNYflxdpPCwisrmanlFp36Td3u5j6Mrh2Jfc91tvnvny3HzxN8j
NPYwMa/v7Fttp8BQufQMkzYyTZNPdItjT7F7m916dSYfjGZ7y6fQyxPjjojWww5obn3l0FKEpOYj
w/i6YhxVbWv5dE4/8Aii/b2xvn1IFpgeqEjnbX42XtYrMgIQT9saQM65omnk+B9uuJ37Tz4UkA/z
wcd4TZ/utPb2Of6K4ZDjfcjkNX1eLKBC4ZtdJuwkP6/uChBKsK28fmo8Jrqk8OF2rj2DSBAtY0KC
13blrzEpbT/asUGqGHLT6ouiBrKaIr/9+j667V7Xyd1TzcDJ2173TWMvg9RRSHsCq3+de/2JbvmP
lnIN/B3Rn9qibrX+2Vl9AE42NlAIGL7OGSDb3va4m4cKKVvUWx9M2hNHn8wHdwGpvc3PqzsHbY+B
IR8i/kZpZxvNNzcBiW1TRLvbPSC/OktAxbHtJqC+QTZDpU3UZpFx7B8FvCanBIeIpkWbY/D6bj3o
bi2nwHAOTQtZaFXAG8RPcwoIeMn/sQusrd/32s6B2TbrQeRDxwbB9HqwBE3XR7IOqezryLk+lD9e
3y4gRdtyF1DmVjEDfOFe90+1D9GcBvb26gLfdbjazgXishMxz+8FvOYBkARuVwdFuy2Bvr7lV/W2
y29ohw6aIGjibWzAjhGQAAEY6GDr290hMuKvK/5VHhJyL88BaRhClPgdy2jeg+L88wtOx3ZyNrfO
d4V/3/GPfocJ9vwgvF8DBAMv34cj/LN/sAWTPf39AzpuDYHDoRUa5qh2IV7PdwJAb/yHAj+4eZcN
bk78+T8acMI1sO3RL7dAt/VzH/7zhw9++iq/w+Ke/qoJd/vx3z/6SkvTaC1BFygLXL5DQofT+jf8
SpL0UAxUKlAkPTQ8uL/lV8qaQq6FjAxOOhvXodHC328tRVZRV20a6dAQiogUoN1f/JUbk9k4dttp
HgZe5mZ3fr02S/XDQRM8n3/8AuEnmwTuY4yxzdX5h314Akb+/Zr+1rDvyzxvjqqKyKPtsDe//e9s
FtTediRhElWRM/r2wPvM2V9jyUzRWETnFeHzAUSgDYX1F++Lfd/+6Fra7pHGxvmu3z/MuVgCU6TU
uVx1XCwLvh5Wu/VXsp//WNTmDbZhpz367Q9eYS88Km8iLwvu3Pjg2o2SxokRoPw/XudlJ+aIPnXl
fWNYtYNhrxOkjpP44DQP3fg+376nWDWtg+F7yV2SH/zryPNC+vT8277HiGij7eRcJlnhe1l8cOFm
gRu7+54joqe2z+klyWzv2B18w4Du4ds3FNNvdTGmd49pL7z7g+uC/5cfJL8erKk0sbdjfkX3kraz
M8i8+M4/QP2/fjp+B7P/MP411Nv1YrNhD97EBVdXEdwdnO/uX0HZbftJJ6UbbUcRi4Lhaj3m0HOz
+4dddCC+4eIOnWc33P5d4xBCuWn/xFGQBbcwfLYjiS+hArb9415O0Xdd40iPBXkRufnD52xH3Dyg
gze/9JYHPTf07pO46S5wVW4f9vLXvwxKbzvK+pVFl7q2W+ajG5duUW4H2owLVKvtuJdumTVH7eLM
ign+6rnC+G9fcf3GoiLU9o2vguLORdZ3n8XEB+7gAW5augfiE07KIPYal6Oy7uK65oa9fINcMTHN
OXeM9q/NJZX7bhjunRdRl2w78dcuNMSDoRd6sfufDt7kdx4C3VzywtjciBOLk3LvHtAq2G/MGaFJ
+4ffJDNvZ9ZIuXYxbjxpvq3WxduWCzdsLLEqmvy2XYFPLG+Qryd8UBboDm+HFIeLiH77x5dvzSdO
pipYgG3fmw5ZaeplcNv3WHQDowtACDIUoGAQZIaAYrR9Ino7j/yTiwAhhYO3JaqS+Iv7DggP5cmo
K1Cysh2Rs332s/eFOH9NeCf6cZp/x1Anm4h1b27rLowHLSiCRfOmVzs4LEeZuwrC7WYVZ1DrwB8V
MbH3eFCBHWl7HnoiILttToHRgaHr35UuXRq3LyjmwOzgdR98cu5fwq7HgwuoYtu5GLjhTHgm++yA
9eyx34Tx38pCnZT1zltTBG7/2tdlxtGIGlsDbnH7ga/czJ2Ubr0daeOpdeCRXHm7rmUXlj0rd192
ja5quys+ItuzKvExHk8DmePtH//sTv151wDAAsoyuOuNbJp4z/+npZiX5rGy8rYxtx3sXML0gM2w
doiO3Ox2N5P13No9f5bfIP8VhM1NoXRwNMTbYjibQXkHqZkb3zs4cn2X4Hn78WvfsIt7ya0jPPw9
KT0BpWl7/Ho7u6MLZ/aYHncxudPt261vpw4i0O248cF7D7HkMLhrPKGD7XFCzsttpmUFSrftJJN3
uvfoJ5U2LhFBVmo78tANdhJBXRReztjHO+uHLln7tyVUxs0M5jt5GqODeFIIwOVeRnp0+5rr61T0
eW87x1fIAxXJwfvgrikuJwAVbcfexPajoCg24eWltwiaFkSAfLt5ynl513REoUS1H5sMRBzcu/eb
dERy606asyQUFtq+/02ZzTbz02NfUoLYYwyh+rd/0GY5PgYxOZZi/UXkpg82VoGUVHNluih1HGWc
39w/+Ej37mCvkUelo/13fbj+5hM62Mg0qSA52LBvqiDet136Xpm5d25zS1kd3CXXbtMrUq0O7Nu1
SNTRmobqTFA2N4vg27edi83uxIUp/N/+GXpRI3IwuihLrj/gwuUJXkOITLCIOrNDm1vg4F8Hmcs5
+7ftvAh7rZGTevZW/HmeP5X9DlA7eL9/7IRXUevuETc3vR6tA2OK2fTi3VKEgPz98fUvK55feNXO
Xax0kfzYHK8r4DOZt7b9F8JTAVq+feO1R//8/nw+umlkSRuj6x1YoR7zm7nhwQOCoTE+0vTfMsrY
rO+rFFKYv7313MbU/B4X//kCb8b/eQcY0DCVxu+J20U+lHl8Ap9sHt7kjjl45t804Jg/C8zyq8Cy
PN4JlsAfNw/iwyd/5xb4vVTfGBbw3xPL8YPj7kAZYA21HJEuRkkz8qIML8Rm2nz+GqOy94it74hW
Y7/Bg+AA7zjrHN2WE7GGWux7501ho9U7vxUnofnG+3BirZ5xhSbrZBc6sA9zt/OU8g911e81cOwZ
d2cj7gN9tn/QkUubx7sHQM92S4qLhibdT5C07R934eUJDZ3dqLlUMImegJM7eJg78TPvtvFVe7De
7R/U215HoAcEmEg4Haz05nyLybT3AOmfe+zPu6WgCHNLf88t9WhnP7mFHr//Q3L68V/1McvFlrTQ
eNb2N9u//FbN5Qgk4KoZ9XXhwSSEUCLh0rhbhFLpZkn/rCbwvOfVD8Fzhovd2lkXkSpJvsKLgJhs
31JsvKe34aMl+86bdpjE98IcPR6Xgv32jy+fjEsmeF2C2g4l3lj5poP4na98RUARNSaC1oHbp/zZ
C+/bnX9NYX/jD2z3+xoc/XBimu5ew5V7cuC+8W9/ltsX3j65lJ9bhefP0JuYynPWWN0O8ohrp6d5
KykdHHgM1CQoG6hPQb9ta0doRYG3s44Sh1628ibJYgc/0UXek5d3s51E0hMf8McNylEZTrgxGyv4
PK3i+Y1x7MWRm822syusiVA0bDvXpxnT0AQ0Cv5w22H7Obio5iR0gULtrbw7f2fYDnJ/g+BJKqUL
vNbAzRJvXzq9C4DDJsG3XamNH7b9059dAs/vspPgluAInPh2qPU920GS/IQ6T5x7dWPcZ2+t73hh
uB5u3By2A8sm0mt3DddLMIDbngr62pK8bpgGRe5g3GEJ3jNrTMJa5b/t+57ePTEO664Zrcct3LD5
tl0Uy868bGeDId7VftHOwAdcuHUzZ7/WNm87DedusQPgW0sWth42KPxy1zVRnuZkyj8i9+/0PK/D
ZOHOdjaw3sEcnwfYdcoieeEFzbSn3oF5Py8rL7pNymyy3Q1rX7wLhMdFEt4zJ41xu2BPUXF3mxVx
xejAUFwI2954WaEP2nbD/UleQOkC10gqcLmD4uviaoZ4teP1KF1gUa4g15UTtwGfXQsxtJ3i9wm3
XPPgrZX8244rTrS3O7CQkmo98NpqAl9oVpe7iDquUzgb2zcUJ3ktedL6hSE33MI2awzcCW10CbOw
+b5dBEnXy6BYbbJxzVfu4EB/mGVMccP9WQvIt53jh9LcCL7CfdIMG59WTMofvp4+4lwJUnGPtmON
ORGtJdu++7eaYIpsX/1yp/vay3ZQ7Ejpt39jcDzemsW6U0k0lC54ApsazYV7t4dwuNGfbTvjoyRP
Fg3z8XsHn7ZD//bfhPnfF5rR3YUuBoh+KRoakKqmP60L7W7Mn5da0y1EmP4/yWW7vrAp2129dsA6
AL306nQnh9MFtevEXblUjbIgbbxvF5jEU3A5jUGVDnLNp3nmek2nQ4hWtz0lvOt8O8p6wbq4t86S
7H5nCrowR6NyCVq38bZdkBPPPZK8TZAKPLXtY15u8t/izm1HWU+t2UHS4h0l3EbiBu2u7UNe/qrX
bnkfHLzJ3N07qgu6/XW9kypV1Q6czwc/Q7zzQT8KhKxDvp2ItcPYBd76Ew2uoSXEjZQspd7tg14+
41+8aMdh7CLTe5kcsOn+JT/YjXy45tq/84kIqA6uy9t7ONPgYRpHUVfphtr+GTdlfLvvzhZShYrV
Rfz25rY8uCjzZoi8Gb2DOfrP7/vX/fcf+8f/5UBsHiHC8mT/AxaAr6sJoVm6DNBj71WTtQQg6W9Y
2dsKpTT2AT1Nn9vCP88TFKiGv+VS7ENrdZGfIHz5NQm3CkXbhRWXA8q3KgxEh9Ynii7amdrPXqI/
cd0FgO9veAJ/nfjku4T6xuOl6SCMf0PO5NYNps2BO7i032Rc2s0M3bP75vnyFv7FJITflvuP56GL
ssYFfG4Kyo1hu3hhv9xdtA4826OsjL3g8btqHbxrz6UqcN9cM9Ezqm3cdJ0FQmJr1rg+ukhwAZ5p
Kgd0UR0BATU5GIn/c/3m/fbj1zGJ3MHKnYJneaJwpnShf8HIzaVTlA7sw5mbNk0DLZC2k/Jyj35U
Z5N6tWvO6BLffuhNHm6UZDuaTl0o/mwwzXvG7mBjjMixzPynU9LBuT53dzjoWielM5hyT45IF3Ij
ZJYnaLk0rIXSBR6Tat99sGiGvorZwV3HwG69g+BWuuCwXXrpTvGsC2lHoQUCkmFv6NiFQu8VNfEn
G9np4GxfoZqDyNQTcmwnyisUYdwUs7E1QevESBcyEDe+G+zmGFTRN7XtvXrjToOnM62qHZzuGzdY
Nu0+/b07eGO41cIt3N0dahcW6cPq1tszHV3AGj4GXgHIeDsB663Rhal7S24oWRycFugzpgf/ftAv
kiwpyoeT+fhxoslyBwvw8MARsnK5H2Q8cvs/g30PtfQu8BDXKRnHsN5nb6CddOH7XAT39xT3+m7e
zLOt60F/fs5Ign4XA/Fh1q79YAadJWbWfv+fG3GAxytFDgjJ/Q7Se+tbxWWBsiD8P//1v+czt3aR
B6hhz/IGQ/cWDMR21RrpXHIfptaFoNhNECWZdC5yc4+/0KIRkNaF9Me1R1Aw2273/N+PAzepiZeC
g3dlfN8k4ou2G6rVgUd7nMzuEybwxp0RRgZN5gA9fFBV72DxRm6Jcm4jFy66RJk0CtpO5cvd5ytX
CgPpDuSvlOfldrxNjLJ+xrOZuecj7Wsi7T0jd2CDzt20QMN0z+DPXlw/L7EkKKx/w7xSOEF4vuFp
d7A90dOi+vF4fTs4UEdJkeOSNIZVuhgXd6SRVOvCfTriPiccfzwFXXg4Pd+9fzxmFxjWrbqVQMYI
/ZmeiL4aD+nC5npRcocTAPn0+ed1sAPJZHlZ0qxTP184et4o9mh4kDWD6S4Uc34XUVgz5/crjnVR
SO25qXfw0cvuG9e5aGfVNhQ5ngYAipvqYGYHiaL+pE6L7euJC66LqLo/hz2ZYPfCPeLfz2sCP79N
+ggt7eSfugCw9Qs/SNKmue7CIxJ6gifkfpsjd6GyfoKT2jCuz9eOnp/dE0ohjWvgeUjadwz6VAVe
7iBj0fvtfxXewf2/nC6SHcEqestu9/XLHcGRF9eNqdijX1H+MG70PLjd9QqULtL1BBJJ4TcuF6WL
MIX33ZmFLtTSLoizJm4Oa3m7TmsHu4trBPpMUjRjKloJbx/z8u0gIsZlw+tQupDYZNidQTu4MS64
SO92KR0dHIkLel2gNVA2ImLF7OAsb0bepR0oXVxzF8lK2N9drcoumKeXAS7+dmutd3AXV8Z61OZ9
oXShOrdpxiEdBXm+2z2jg5j2/W//LGO6WTSmowsi43sik6ammdpFsfDaq+98Lwy9xmam2/L2A15u
Kh7keZ5INalyB2eQvI63w/pRu1EMFKKrB+ceJdTtFIgtrXZR6bwmnbZTdVK7ACNfI1jd2HG0Vt2+
/MvX7yZpRmmq1oG3ff3b/0gObpLot3+uxQaust/+Z3wXNOWs1C6aP4FcDHbqZVALOpgVN17tGmha
Frcf+MPkyQHvAhlBnmAGhOFg4OYNt0jtAshAF85gx6dXuyij9snDCGXl7ayuT2AXF+zXJzGI2kX5
4WsQ3bq3y6bF6AJfvrGhT893FzzPI4ozNzhzjTQpONjtpL/ccry5rZvQIYuKIdALerfT350es3uk
33ZjiBfmYff9Z48agtLRQPyLu5Aud//xfwEAAP//</cx:binary>
              </cx:geoCache>
            </cx:geography>
          </cx:layoutPr>
          <cx:valueColors>
            <cx:minColor>
              <a:schemeClr val="tx2"/>
            </cx:minColor>
            <cx:midColor>
              <a:schemeClr val="accent1">
                <a:lumMod val="20000"/>
                <a:lumOff val="80000"/>
              </a:schemeClr>
            </cx:midColor>
            <cx:maxColor>
              <a:srgbClr val="4C6C9C"/>
            </cx:maxColor>
          </cx:valueColors>
          <cx:valueColorPositions count="3">
            <cx:minPosition>
              <cx:number val="1"/>
            </cx:minPosition>
            <cx:midPosition>
              <cx:number val="2"/>
            </cx:midPosition>
            <cx:maxPosition>
              <cx:number val="4"/>
            </cx:maxPosition>
          </cx:valueColorPositions>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31"/>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omments/modernComment_7FFFF162_A759465E.xml><?xml version="1.0" encoding="utf-8"?>
<p188:cmLst xmlns:a="http://schemas.openxmlformats.org/drawingml/2006/main" xmlns:r="http://schemas.openxmlformats.org/officeDocument/2006/relationships" xmlns:p188="http://schemas.microsoft.com/office/powerpoint/2018/8/main">
  <p188:cm id="{F051A2E4-A955-4315-9D1D-5250CA8F78C9}" authorId="{0075010A-C945-AD21-3E5D-022A6FF92A1F}" status="resolved" created="2025-08-25T16:31:18.988" complete="100000">
    <ac:txMkLst xmlns:ac="http://schemas.microsoft.com/office/drawing/2013/main/command">
      <pc:docMk xmlns:pc="http://schemas.microsoft.com/office/powerpoint/2013/main/command"/>
      <pc:sldMk xmlns:pc="http://schemas.microsoft.com/office/powerpoint/2013/main/command" cId="2807645790" sldId="2147479906"/>
      <ac:spMk id="94" creationId="{9823C0B4-E90C-2B49-A866-8C4D7541F7F4}"/>
      <ac:txMk cp="175" len="6">
        <ac:context len="199" hash="3449904727"/>
      </ac:txMk>
    </ac:txMkLst>
    <p188:pos x="680252" y="788696"/>
    <p188:txBody>
      <a:bodyPr/>
      <a:lstStyle/>
      <a:p>
        <a:r>
          <a:rPr lang="en-US"/>
          <a:t>The country has developed or is developing two SMR designs?</a:t>
        </a:r>
      </a:p>
    </p188:txBody>
  </p188:cm>
</p188:cmLst>
</file>

<file path=ppt/comments/modernComment_7FFFF163_511D0173.xml><?xml version="1.0" encoding="utf-8"?>
<p188:cmLst xmlns:a="http://schemas.openxmlformats.org/drawingml/2006/main" xmlns:r="http://schemas.openxmlformats.org/officeDocument/2006/relationships" xmlns:p188="http://schemas.microsoft.com/office/powerpoint/2018/8/main">
  <p188:cm id="{2DD61EB9-9819-43C7-915F-3C5E2BAF7082}" authorId="{0075010A-C945-AD21-3E5D-022A6FF92A1F}" status="resolved" created="2025-08-25T17:54:08.838" complete="100000">
    <ac:deMkLst xmlns:ac="http://schemas.microsoft.com/office/drawing/2013/main/command">
      <pc:docMk xmlns:pc="http://schemas.microsoft.com/office/powerpoint/2013/main/command"/>
      <pc:sldMk xmlns:pc="http://schemas.microsoft.com/office/powerpoint/2013/main/command" cId="1360855411" sldId="2147479907"/>
      <ac:graphicFrameMk id="59" creationId="{00000000-0000-0000-0000-000000000000}"/>
    </ac:deMkLst>
    <p188:txBody>
      <a:bodyPr/>
      <a:lstStyle/>
      <a:p>
        <a:r>
          <a:rPr lang="en-US"/>
          <a:t>The years along bottom axis appear to crash into each other – any way to space out a bit? (maybe label every 5 years)</a:t>
        </a:r>
      </a:p>
    </p188:txBody>
  </p188:cm>
</p188:cmLst>
</file>

<file path=ppt/comments/modernComment_7FFFF178_18835E18.xml><?xml version="1.0" encoding="utf-8"?>
<p188:cmLst xmlns:a="http://schemas.openxmlformats.org/drawingml/2006/main" xmlns:r="http://schemas.openxmlformats.org/officeDocument/2006/relationships" xmlns:p188="http://schemas.microsoft.com/office/powerpoint/2018/8/main">
  <p188:cm id="{73419BD1-5F4F-472F-B1FA-E4C67F7B8271}" authorId="{0075010A-C945-AD21-3E5D-022A6FF92A1F}" status="resolved" created="2025-08-27T21:31:16.199" complete="100000">
    <ac:txMkLst xmlns:ac="http://schemas.microsoft.com/office/drawing/2013/main/command">
      <pc:docMk xmlns:pc="http://schemas.microsoft.com/office/powerpoint/2013/main/command"/>
      <pc:sldMk xmlns:pc="http://schemas.microsoft.com/office/powerpoint/2013/main/command" cId="411262488" sldId="2147479928"/>
      <ac:spMk id="7" creationId="{5E01044C-B2AA-FB68-7C38-4A76F9414F78}"/>
      <ac:txMk cp="15" len="50">
        <ac:context len="480" hash="4246262148"/>
      </ac:txMk>
    </ac:txMkLst>
    <p188:pos x="3181097" y="268224"/>
    <p188:txBody>
      <a:bodyPr/>
      <a:lstStyle/>
      <a:p>
        <a:r>
          <a:rPr lang="en-US"/>
          <a:t>Link doesn’t work</a:t>
        </a:r>
      </a:p>
    </p188:txBody>
  </p188:cm>
</p188:cmLst>
</file>

<file path=ppt/comments/modernComment_7FFFFF51_5D8498FA.xml><?xml version="1.0" encoding="utf-8"?>
<p188:cmLst xmlns:a="http://schemas.openxmlformats.org/drawingml/2006/main" xmlns:r="http://schemas.openxmlformats.org/officeDocument/2006/relationships" xmlns:p188="http://schemas.microsoft.com/office/powerpoint/2018/8/main">
  <p188:cm id="{ADA50939-EF91-45A9-B678-2A6D93A0FD5C}" authorId="{0075010A-C945-AD21-3E5D-022A6FF92A1F}" status="resolved" created="2025-08-25T17:34:27.419" complete="100000">
    <ac:txMkLst xmlns:ac="http://schemas.microsoft.com/office/drawing/2013/main/command">
      <pc:docMk xmlns:pc="http://schemas.microsoft.com/office/powerpoint/2013/main/command"/>
      <pc:sldMk xmlns:pc="http://schemas.microsoft.com/office/powerpoint/2013/main/command" cId="1568971002" sldId="2147483473"/>
      <ac:graphicFrameMk id="2" creationId="{F0662181-517A-878F-CF71-E2FBA3F27AB7}"/>
      <ac:tblMk/>
      <ac:tcMk rowId="1498815543" colId="1110654787"/>
      <ac:txMk cp="80">
        <ac:context len="81" hash="1228386481"/>
      </ac:txMk>
    </ac:txMkLst>
    <p188:pos x="3259546" y="1966925"/>
    <p188:txBody>
      <a:bodyPr/>
      <a:lstStyle/>
      <a:p>
        <a:r>
          <a:rPr lang="en-US"/>
          <a:t>Why ellipsis her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9481DBE8-F946-45E1-9C39-F42D6A176899}" type="datetimeFigureOut">
              <a:rPr lang="en-US" smtClean="0"/>
              <a:t>5/22/26</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7C7120ED-20B9-4CC8-A606-12D10436DCAF}" type="slidenum">
              <a:rPr lang="en-US" smtClean="0"/>
              <a:t>‹#›</a:t>
            </a:fld>
            <a:endParaRPr lang="en-US"/>
          </a:p>
        </p:txBody>
      </p:sp>
    </p:spTree>
    <p:extLst>
      <p:ext uri="{BB962C8B-B14F-4D97-AF65-F5344CB8AC3E}">
        <p14:creationId xmlns:p14="http://schemas.microsoft.com/office/powerpoint/2010/main" val="788393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a:t>
            </a:fld>
            <a:endParaRPr lang="en-US"/>
          </a:p>
        </p:txBody>
      </p:sp>
    </p:spTree>
    <p:extLst>
      <p:ext uri="{BB962C8B-B14F-4D97-AF65-F5344CB8AC3E}">
        <p14:creationId xmlns:p14="http://schemas.microsoft.com/office/powerpoint/2010/main" val="38539287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6F2A7-BB9C-D54F-94A8-64E8BAC3F8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2794B0-DAB4-F2E1-3D0E-C108297EBC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EB5F82-A357-E00C-1EB0-BC0DDB35CDF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A45DD96-FE92-E2A9-A697-E072CBD7D19D}"/>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65434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175272-6158-3D34-275C-34724EA024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9C9349-CCDD-7E22-4A06-DB31558E6D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7FC195-5BD6-CB6C-9213-DCA4DABF3F7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2F7AD9E-2515-2DD4-D3A1-00747A21EA2D}"/>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09043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9D86F7-8F8F-624F-D33D-0AEB15AAA9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86F109-7C48-4C3D-1053-98DC2B3DBC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A64BED-05F2-BF10-D240-01E7FE0B12A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06DB55A-8EE9-92DF-C096-9688D575E2F8}"/>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16700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3</a:t>
            </a:fld>
            <a:endParaRPr lang="en-US"/>
          </a:p>
        </p:txBody>
      </p:sp>
    </p:spTree>
    <p:extLst>
      <p:ext uri="{BB962C8B-B14F-4D97-AF65-F5344CB8AC3E}">
        <p14:creationId xmlns:p14="http://schemas.microsoft.com/office/powerpoint/2010/main" val="3524658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D6D726-85BA-1DCB-F5E2-3E8BB6B60B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33E2D3-D5EF-BE74-980D-29AE186B6F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824D1D-A48C-EDDC-ADAA-165A1EB2602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E31F575-7ACC-7609-AC2D-69893AF251F3}"/>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2335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8E70A7-24D7-BF27-37D2-38B003885B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F70F3F-2BB5-9B29-9267-18AF6B998A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267416-566E-7D4E-2553-D34BD1D49F6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9112A48-CED1-BE1F-8770-3FE8F7590EE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48511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18</a:t>
            </a:fld>
            <a:endParaRPr lang="en-US"/>
          </a:p>
        </p:txBody>
      </p:sp>
    </p:spTree>
    <p:extLst>
      <p:ext uri="{BB962C8B-B14F-4D97-AF65-F5344CB8AC3E}">
        <p14:creationId xmlns:p14="http://schemas.microsoft.com/office/powerpoint/2010/main" val="9343746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9</a:t>
            </a:fld>
            <a:endParaRPr lang="en-US"/>
          </a:p>
        </p:txBody>
      </p:sp>
    </p:spTree>
    <p:extLst>
      <p:ext uri="{BB962C8B-B14F-4D97-AF65-F5344CB8AC3E}">
        <p14:creationId xmlns:p14="http://schemas.microsoft.com/office/powerpoint/2010/main" val="36153024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3D803D-134B-0397-4259-DA24D42EFA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95158A-FC77-B141-878A-621C452A57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A3CA24-BD58-88F2-F748-8FB116A78CF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96BF4A7-47D1-FCC0-795F-F6820BAB0414}"/>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38826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3F24B4-E836-B4FC-F013-FD4BF6C6BE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411F3C-BE0F-3D56-258A-8BB510F78B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6352CE-E440-98AE-635A-848E383990F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CEFC209-AFF0-9876-3818-72E512F01E6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2DF57D-4D84-2F49-A6C0-4F3FE24A16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64249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a:t>
            </a:fld>
            <a:endParaRPr lang="en-US"/>
          </a:p>
        </p:txBody>
      </p:sp>
    </p:spTree>
    <p:extLst>
      <p:ext uri="{BB962C8B-B14F-4D97-AF65-F5344CB8AC3E}">
        <p14:creationId xmlns:p14="http://schemas.microsoft.com/office/powerpoint/2010/main" val="12968356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97F53-E217-1483-DF49-14D7F94F0C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AF8A17-3496-5601-210F-0EE4583ED2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902D94-DE45-EFAE-DF7F-4822A707BA9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A30B57E-D821-6AEA-67BE-B2F2BBDF3B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2DF57D-4D84-2F49-A6C0-4F3FE24A16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73596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D4B58-FFA4-3097-36B0-6CDAF9F1D2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83DC24-31B0-F650-7B3E-A7E9A538BF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59C653-073D-1576-C5D1-966F1B52A517}"/>
              </a:ext>
            </a:extLst>
          </p:cNvPr>
          <p:cNvSpPr>
            <a:spLocks noGrp="1"/>
          </p:cNvSpPr>
          <p:nvPr>
            <p:ph type="body" idx="1"/>
          </p:nvPr>
        </p:nvSpPr>
        <p:spPr/>
        <p:txBody>
          <a:bodyPr/>
          <a:lstStyle/>
          <a:p>
            <a:endParaRPr lang="en-US"/>
          </a:p>
          <a:p>
            <a:endParaRPr lang="en-US"/>
          </a:p>
        </p:txBody>
      </p:sp>
      <p:sp>
        <p:nvSpPr>
          <p:cNvPr id="4" name="Slide Number Placeholder 3">
            <a:extLst>
              <a:ext uri="{FF2B5EF4-FFF2-40B4-BE49-F238E27FC236}">
                <a16:creationId xmlns:a16="http://schemas.microsoft.com/office/drawing/2014/main" id="{BE383746-3EE5-F39D-E30E-49C34856F7AD}"/>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92699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2DF57D-4D84-2F49-A6C0-4F3FE24A16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20828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5</a:t>
            </a:fld>
            <a:endParaRPr lang="en-US"/>
          </a:p>
        </p:txBody>
      </p:sp>
    </p:spTree>
    <p:extLst>
      <p:ext uri="{BB962C8B-B14F-4D97-AF65-F5344CB8AC3E}">
        <p14:creationId xmlns:p14="http://schemas.microsoft.com/office/powerpoint/2010/main" val="30361800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401C7F-4777-E744-A418-FAED91B706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A70F0E-E144-69EE-00D1-04EC3D5D5B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499174-34DC-0721-FCCA-57D6A038DB8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F5F095F-16DB-04D9-02A1-103C7E8FC39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98661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F247D-F734-FD8B-BBA9-74CD2C671B1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60E2788-719D-5821-35E5-5CB9C563E7F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57E06BC-ADF6-6633-B4F9-501E768C268F}"/>
              </a:ext>
            </a:extLst>
          </p:cNvPr>
          <p:cNvSpPr>
            <a:spLocks noGrp="1"/>
          </p:cNvSpPr>
          <p:nvPr>
            <p:ph type="body" idx="1"/>
          </p:nvPr>
        </p:nvSpPr>
        <p:spPr/>
        <p:txBody>
          <a:bodyPr/>
          <a:lstStyle/>
          <a:p>
            <a:endParaRPr lang="en-US">
              <a:ea typeface="Calibri"/>
              <a:cs typeface="Calibri"/>
            </a:endParaRPr>
          </a:p>
        </p:txBody>
      </p:sp>
      <p:sp>
        <p:nvSpPr>
          <p:cNvPr id="4" name="Marcador de número de diapositiva 3">
            <a:extLst>
              <a:ext uri="{FF2B5EF4-FFF2-40B4-BE49-F238E27FC236}">
                <a16:creationId xmlns:a16="http://schemas.microsoft.com/office/drawing/2014/main" id="{991A95A2-B588-DC6E-A853-C7B1C858904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57165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118BF8-5280-308A-D3E5-B2514BD3DAD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6DB47EB-DCA7-AAC6-B6E3-0F6BFE11EC9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DDFEBA3-3943-5C73-B9E7-7BEE07E05E52}"/>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826A24C3-DA4C-6423-FC48-163BADA7384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64547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325D0-4B47-8E4F-7C4F-AAB6D3A405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7F18C8-43D9-69E9-382B-C7896FDAE3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076335-29E0-EF27-F6F9-8B68AD979B32}"/>
              </a:ext>
            </a:extLst>
          </p:cNvPr>
          <p:cNvSpPr>
            <a:spLocks noGrp="1"/>
          </p:cNvSpPr>
          <p:nvPr>
            <p:ph type="body" idx="1"/>
          </p:nvPr>
        </p:nvSpPr>
        <p:spPr/>
        <p:txBody>
          <a:bodyPr/>
          <a:lstStyle/>
          <a:p>
            <a:pPr marL="0" indent="0">
              <a:buFontTx/>
              <a:buNone/>
            </a:pPr>
            <a:endParaRPr lang="en-US"/>
          </a:p>
        </p:txBody>
      </p:sp>
      <p:sp>
        <p:nvSpPr>
          <p:cNvPr id="4" name="Slide Number Placeholder 3">
            <a:extLst>
              <a:ext uri="{FF2B5EF4-FFF2-40B4-BE49-F238E27FC236}">
                <a16:creationId xmlns:a16="http://schemas.microsoft.com/office/drawing/2014/main" id="{1323495A-1D73-85C9-EB44-B0C2FDA925A6}"/>
              </a:ext>
            </a:extLst>
          </p:cNvPr>
          <p:cNvSpPr>
            <a:spLocks noGrp="1"/>
          </p:cNvSpPr>
          <p:nvPr>
            <p:ph type="sldNum" sz="quarter" idx="5"/>
          </p:nvPr>
        </p:nvSpPr>
        <p:spPr/>
        <p:txBody>
          <a:bodyPr/>
          <a:lstStyle/>
          <a:p>
            <a:fld id="{7C7120ED-20B9-4CC8-A606-12D10436DCAF}" type="slidenum">
              <a:rPr lang="en-US" smtClean="0"/>
              <a:t>30</a:t>
            </a:fld>
            <a:endParaRPr lang="en-US"/>
          </a:p>
        </p:txBody>
      </p:sp>
    </p:spTree>
    <p:extLst>
      <p:ext uri="{BB962C8B-B14F-4D97-AF65-F5344CB8AC3E}">
        <p14:creationId xmlns:p14="http://schemas.microsoft.com/office/powerpoint/2010/main" val="3358571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3C6A0-E7D2-A116-F1D1-201466DEA4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34B86F-952B-5D63-7E4D-8F2C866510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E34937-5BF2-89B1-4B42-3AB4F4E810B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8A7A664-AD9C-A0DA-3DD3-767D7B68BC8D}"/>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839434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2</a:t>
            </a:fld>
            <a:endParaRPr lang="en-US"/>
          </a:p>
        </p:txBody>
      </p:sp>
    </p:spTree>
    <p:extLst>
      <p:ext uri="{BB962C8B-B14F-4D97-AF65-F5344CB8AC3E}">
        <p14:creationId xmlns:p14="http://schemas.microsoft.com/office/powerpoint/2010/main" val="32366194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a:t>
            </a:fld>
            <a:endParaRPr lang="en-US"/>
          </a:p>
        </p:txBody>
      </p:sp>
    </p:spTree>
    <p:extLst>
      <p:ext uri="{BB962C8B-B14F-4D97-AF65-F5344CB8AC3E}">
        <p14:creationId xmlns:p14="http://schemas.microsoft.com/office/powerpoint/2010/main" val="13105269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BA0BB-9A1A-37C3-D130-A21DDECA716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AF2AC43-15CE-5790-6524-A5C1D193155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325E448-B689-0F63-AC8A-A56C53D248BA}"/>
              </a:ext>
            </a:extLst>
          </p:cNvPr>
          <p:cNvSpPr>
            <a:spLocks noGrp="1"/>
          </p:cNvSpPr>
          <p:nvPr>
            <p:ph type="body" idx="1"/>
          </p:nvPr>
        </p:nvSpPr>
        <p:spPr/>
        <p:txBody>
          <a:bodyPr/>
          <a:lstStyle/>
          <a:p>
            <a:endParaRPr lang="en-US">
              <a:ea typeface="Calibri"/>
              <a:cs typeface="Calibri"/>
            </a:endParaRPr>
          </a:p>
        </p:txBody>
      </p:sp>
      <p:sp>
        <p:nvSpPr>
          <p:cNvPr id="4" name="Marcador de número de diapositiva 3">
            <a:extLst>
              <a:ext uri="{FF2B5EF4-FFF2-40B4-BE49-F238E27FC236}">
                <a16:creationId xmlns:a16="http://schemas.microsoft.com/office/drawing/2014/main" id="{3346F07F-ABA6-18BE-5AD7-2DE05612F724}"/>
              </a:ext>
            </a:extLst>
          </p:cNvPr>
          <p:cNvSpPr>
            <a:spLocks noGrp="1"/>
          </p:cNvSpPr>
          <p:nvPr>
            <p:ph type="sldNum" sz="quarter" idx="10"/>
          </p:nvPr>
        </p:nvSpPr>
        <p:spPr/>
        <p:txBody>
          <a:bodyPr/>
          <a:lstStyle/>
          <a:p>
            <a:fld id="{7C7120ED-20B9-4CC8-A606-12D10436DCAF}" type="slidenum">
              <a:rPr lang="en-US" smtClean="0"/>
              <a:t>33</a:t>
            </a:fld>
            <a:endParaRPr lang="en-US"/>
          </a:p>
        </p:txBody>
      </p:sp>
    </p:spTree>
    <p:extLst>
      <p:ext uri="{BB962C8B-B14F-4D97-AF65-F5344CB8AC3E}">
        <p14:creationId xmlns:p14="http://schemas.microsoft.com/office/powerpoint/2010/main" val="12416638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66503-CB6B-2FCF-403F-F64139166E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940DC8-0F21-1D2B-BD40-5CC874111F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EE9044-2D37-B4E5-A8DA-69E97D65465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40723A2-D6FE-9003-C77F-C052A1444973}"/>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5419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77D8A2-44F4-E5B8-469E-52AA6D31D5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C84308-C071-BC35-5386-18FED0088F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093B7D-DA38-983A-827A-950BE74E9EBE}"/>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4729D774-CD07-E43A-5BB4-628741A10AA1}"/>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32665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7C5450-53CE-BFD9-5D0F-704C1A168D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DA1F7E-A250-FBBB-68B0-0F53B10F80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E57950-2EDC-F429-CDF6-D85D1512BB6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47EC92C-5DBB-FE5C-6783-98445FE65B9F}"/>
              </a:ext>
            </a:extLst>
          </p:cNvPr>
          <p:cNvSpPr>
            <a:spLocks noGrp="1"/>
          </p:cNvSpPr>
          <p:nvPr>
            <p:ph type="sldNum" sz="quarter" idx="5"/>
          </p:nvPr>
        </p:nvSpPr>
        <p:spPr/>
        <p:txBody>
          <a:bodyPr/>
          <a:lstStyle/>
          <a:p>
            <a:fld id="{7C7120ED-20B9-4CC8-A606-12D10436DCAF}" type="slidenum">
              <a:rPr lang="en-US" smtClean="0"/>
              <a:t>36</a:t>
            </a:fld>
            <a:endParaRPr lang="en-US"/>
          </a:p>
        </p:txBody>
      </p:sp>
    </p:spTree>
    <p:extLst>
      <p:ext uri="{BB962C8B-B14F-4D97-AF65-F5344CB8AC3E}">
        <p14:creationId xmlns:p14="http://schemas.microsoft.com/office/powerpoint/2010/main" val="9585313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01EFD1-3518-B5E8-360B-0BA8C836C7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6F2C8B-2253-219C-FFE6-E021C36486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01B435-F90B-CBC9-9A73-4393C780F8D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E084909-8BBC-50DE-D904-A8934C8DBED4}"/>
              </a:ext>
            </a:extLst>
          </p:cNvPr>
          <p:cNvSpPr>
            <a:spLocks noGrp="1"/>
          </p:cNvSpPr>
          <p:nvPr>
            <p:ph type="sldNum" sz="quarter" idx="10"/>
          </p:nvPr>
        </p:nvSpPr>
        <p:spPr/>
        <p:txBody>
          <a:bodyPr/>
          <a:lstStyle/>
          <a:p>
            <a:fld id="{7C7120ED-20B9-4CC8-A606-12D10436DCAF}" type="slidenum">
              <a:rPr lang="en-US" smtClean="0"/>
              <a:t>38</a:t>
            </a:fld>
            <a:endParaRPr lang="en-US"/>
          </a:p>
        </p:txBody>
      </p:sp>
    </p:spTree>
    <p:extLst>
      <p:ext uri="{BB962C8B-B14F-4D97-AF65-F5344CB8AC3E}">
        <p14:creationId xmlns:p14="http://schemas.microsoft.com/office/powerpoint/2010/main" val="14617815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3F486-709E-534E-924B-00851B76FF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484833-FAFE-EB7D-E671-5383486EDF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A702D0-33EB-EF91-E7A0-127CE79BE7AA}"/>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93BB2FB6-BDFA-467B-3DD0-7D2D99DCD603}"/>
              </a:ext>
            </a:extLst>
          </p:cNvPr>
          <p:cNvSpPr>
            <a:spLocks noGrp="1"/>
          </p:cNvSpPr>
          <p:nvPr>
            <p:ph type="sldNum" sz="quarter" idx="5"/>
          </p:nvPr>
        </p:nvSpPr>
        <p:spPr/>
        <p:txBody>
          <a:bodyPr/>
          <a:lstStyle/>
          <a:p>
            <a:fld id="{4E8835E5-D0DF-49C6-9C58-4292A89EE293}" type="slidenum">
              <a:rPr lang="en-US" smtClean="0"/>
              <a:t>39</a:t>
            </a:fld>
            <a:endParaRPr lang="en-US"/>
          </a:p>
        </p:txBody>
      </p:sp>
    </p:spTree>
    <p:extLst>
      <p:ext uri="{BB962C8B-B14F-4D97-AF65-F5344CB8AC3E}">
        <p14:creationId xmlns:p14="http://schemas.microsoft.com/office/powerpoint/2010/main" val="26055829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1</a:t>
            </a:fld>
            <a:endParaRPr lang="en-US"/>
          </a:p>
        </p:txBody>
      </p:sp>
    </p:spTree>
    <p:extLst>
      <p:ext uri="{BB962C8B-B14F-4D97-AF65-F5344CB8AC3E}">
        <p14:creationId xmlns:p14="http://schemas.microsoft.com/office/powerpoint/2010/main" val="34042240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2</a:t>
            </a:fld>
            <a:endParaRPr lang="en-US"/>
          </a:p>
        </p:txBody>
      </p:sp>
    </p:spTree>
    <p:extLst>
      <p:ext uri="{BB962C8B-B14F-4D97-AF65-F5344CB8AC3E}">
        <p14:creationId xmlns:p14="http://schemas.microsoft.com/office/powerpoint/2010/main" val="12697940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135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7E0D95-91D1-F103-8529-4AE70CA708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358610-D139-620F-35A2-EC771498C4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3D8B82-3B25-870D-D4E5-38044284E43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4082098-8592-8A11-E281-3A415F1B7985}"/>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12160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DAF65C-4FA8-4CB5-30F1-7C0EC6214D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60F705-620D-6E01-13F0-0DE41E3936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4C16F7-BD20-3606-7B69-C635495E3AB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B4929ED-E615-F674-7B5D-2E01C2345CBB}"/>
              </a:ext>
            </a:extLst>
          </p:cNvPr>
          <p:cNvSpPr>
            <a:spLocks noGrp="1"/>
          </p:cNvSpPr>
          <p:nvPr>
            <p:ph type="sldNum" sz="quarter" idx="10"/>
          </p:nvPr>
        </p:nvSpPr>
        <p:spPr/>
        <p:txBody>
          <a:bodyPr/>
          <a:lstStyle/>
          <a:p>
            <a:fld id="{7C7120ED-20B9-4CC8-A606-12D10436DCAF}" type="slidenum">
              <a:rPr lang="en-US" smtClean="0"/>
              <a:t>4</a:t>
            </a:fld>
            <a:endParaRPr lang="en-US"/>
          </a:p>
        </p:txBody>
      </p:sp>
    </p:spTree>
    <p:extLst>
      <p:ext uri="{BB962C8B-B14F-4D97-AF65-F5344CB8AC3E}">
        <p14:creationId xmlns:p14="http://schemas.microsoft.com/office/powerpoint/2010/main" val="1354339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6</a:t>
            </a:fld>
            <a:endParaRPr lang="en-US"/>
          </a:p>
        </p:txBody>
      </p:sp>
    </p:spTree>
    <p:extLst>
      <p:ext uri="{BB962C8B-B14F-4D97-AF65-F5344CB8AC3E}">
        <p14:creationId xmlns:p14="http://schemas.microsoft.com/office/powerpoint/2010/main" val="4538418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A008D5-6259-26DD-D76C-537BBF901E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FAC728-D520-FC47-0C9B-3F2977BB7B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3996D6-80AE-5EA2-5367-77BC88A7AA6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D778F91-1736-198C-7633-EBCB0812AEB3}"/>
              </a:ext>
            </a:extLst>
          </p:cNvPr>
          <p:cNvSpPr>
            <a:spLocks noGrp="1"/>
          </p:cNvSpPr>
          <p:nvPr>
            <p:ph type="sldNum" sz="quarter" idx="5"/>
          </p:nvPr>
        </p:nvSpPr>
        <p:spPr/>
        <p:txBody>
          <a:bodyPr/>
          <a:lstStyle/>
          <a:p>
            <a:fld id="{7C7120ED-20B9-4CC8-A606-12D10436DCAF}" type="slidenum">
              <a:rPr lang="en-US" smtClean="0"/>
              <a:t>47</a:t>
            </a:fld>
            <a:endParaRPr lang="en-US"/>
          </a:p>
        </p:txBody>
      </p:sp>
    </p:spTree>
    <p:extLst>
      <p:ext uri="{BB962C8B-B14F-4D97-AF65-F5344CB8AC3E}">
        <p14:creationId xmlns:p14="http://schemas.microsoft.com/office/powerpoint/2010/main" val="19472775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08FAD0-2C99-525A-FFAF-4ECE61ECDC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7244D1-D25C-C16B-34A0-DC9B67B8B0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D87946-86F4-E06C-8ED0-4B2A50E62C6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F366515-C489-0F91-CD81-A94229862E67}"/>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394061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59C341-F9F6-E64E-F46F-DBEF9A1D03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A7A632-92D8-4F07-4AA1-ACE9D46220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17D0DD-4D10-1275-F7A7-7A4E0646BA8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D871EB5-248D-0D76-17E7-EB2EEEFA78E4}"/>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77497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03183B-256A-E3BD-B437-D95D8AC5FC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A68D16-5785-996D-3711-A75519216E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654846-BC13-28BA-D340-885224C7441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2094538-5F84-DC90-3FC3-CF59586D0DA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72349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990003-E28B-9AA7-8044-B2D161BD17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A0E3F5-907B-A759-3E50-D953C0E881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D28381-10A3-5B3F-4E5C-B1E2539AC5E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9B3D025-F825-9928-710E-D528BEEDAEB7}"/>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31468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12C960-079A-FECA-661E-E797DAADCF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D752E1-8648-61D8-F51A-B8836C8560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FDBA8E-0BA6-50FE-5C32-8685FFF4CBEE}"/>
              </a:ext>
            </a:extLst>
          </p:cNvPr>
          <p:cNvSpPr>
            <a:spLocks noGrp="1"/>
          </p:cNvSpPr>
          <p:nvPr>
            <p:ph type="body" idx="1"/>
          </p:nvPr>
        </p:nvSpPr>
        <p:spPr/>
        <p:txBody>
          <a:bodyPr/>
          <a:lstStyle/>
          <a:p>
            <a:endParaRPr lang="en-US" dirty="0"/>
          </a:p>
          <a:p>
            <a:endParaRPr lang="en-US" dirty="0"/>
          </a:p>
        </p:txBody>
      </p:sp>
      <p:sp>
        <p:nvSpPr>
          <p:cNvPr id="4" name="Slide Number Placeholder 3">
            <a:extLst>
              <a:ext uri="{FF2B5EF4-FFF2-40B4-BE49-F238E27FC236}">
                <a16:creationId xmlns:a16="http://schemas.microsoft.com/office/drawing/2014/main" id="{ACB371D4-00DF-1737-B7E8-AB2D76332A4D}"/>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63885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2F5D2C-6633-7D93-2984-7C72A2E677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C21C5C-CF73-15A6-9BD9-F51B7AA33B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428A67-8317-E72D-2F66-71C97D9FFE2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D53A3F0-6B43-D31D-483B-CC6593E7246B}"/>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596253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0628A8-B4AE-0603-91BD-24AF0F1357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96A10E-4827-1A9F-F9A2-125804F3CF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A1866E-B217-0585-C407-564FC158770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F0E6839-4CFC-2CB5-C2FA-445C21052E3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834446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D5AE0-E391-A47A-0A1B-7232B1867D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C372A1-6D9E-6128-270C-B67C845A4C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CC2483-6C5D-1760-EED4-FB1009DB685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5EECE3B-6F4B-6A7B-B1F6-8901F964355A}"/>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1173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6D86C2-2239-5DE3-16AA-60E9FF0BF2D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3027A22-F28B-1B31-9276-ADD8AA16D56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A5284D4-5C90-DCEF-3F7E-7874F2340D0E}"/>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4EC673D3-55D4-D105-0CC5-A4B814066F3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57196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72DF57D-4D84-2F49-A6C0-4F3FE24A161C}" type="slidenum">
              <a:rPr lang="en-US" smtClean="0"/>
              <a:t>57</a:t>
            </a:fld>
            <a:endParaRPr lang="en-US"/>
          </a:p>
        </p:txBody>
      </p:sp>
    </p:spTree>
    <p:extLst>
      <p:ext uri="{BB962C8B-B14F-4D97-AF65-F5344CB8AC3E}">
        <p14:creationId xmlns:p14="http://schemas.microsoft.com/office/powerpoint/2010/main" val="6839123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BFF268-0E34-E2DF-1271-612196BD7F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A8A172-6C90-C0C7-3034-740562F039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3A547B-A928-6ED3-14FB-5A0CF01906B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40E8CC7-2B9A-B364-7C7B-51419D773D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2DF57D-4D84-2F49-A6C0-4F3FE24A16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875890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68FAD-1858-03FD-0CD7-001305A60A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949B29-64D0-916D-33BE-CEA158B9F7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A98FB8-43FF-5DD1-5BFD-4222180378D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011D72C-0E81-EFF2-BAFD-A2C3EADC4F37}"/>
              </a:ext>
            </a:extLst>
          </p:cNvPr>
          <p:cNvSpPr>
            <a:spLocks noGrp="1"/>
          </p:cNvSpPr>
          <p:nvPr>
            <p:ph type="sldNum" sz="quarter" idx="5"/>
          </p:nvPr>
        </p:nvSpPr>
        <p:spPr/>
        <p:txBody>
          <a:bodyPr/>
          <a:lstStyle/>
          <a:p>
            <a:fld id="{7C7120ED-20B9-4CC8-A606-12D10436DCAF}" type="slidenum">
              <a:rPr lang="en-US" smtClean="0"/>
              <a:t>60</a:t>
            </a:fld>
            <a:endParaRPr lang="en-US"/>
          </a:p>
        </p:txBody>
      </p:sp>
    </p:spTree>
    <p:extLst>
      <p:ext uri="{BB962C8B-B14F-4D97-AF65-F5344CB8AC3E}">
        <p14:creationId xmlns:p14="http://schemas.microsoft.com/office/powerpoint/2010/main" val="270858339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F9F1C7-3F57-7827-2E64-258E3B1AF0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9EFB48-6EC8-BA57-FB31-AD863C0BF4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6408B3-CCED-02D0-2D91-6AE12F188D7E}"/>
              </a:ext>
            </a:extLst>
          </p:cNvPr>
          <p:cNvSpPr>
            <a:spLocks noGrp="1"/>
          </p:cNvSpPr>
          <p:nvPr>
            <p:ph type="body" idx="1"/>
          </p:nvPr>
        </p:nvSpPr>
        <p:spPr/>
        <p:txBody>
          <a:bodyPr/>
          <a:lstStyle/>
          <a:p>
            <a:pPr marL="0" indent="0">
              <a:buFontTx/>
              <a:buNone/>
            </a:pPr>
            <a:endParaRPr lang="en-US"/>
          </a:p>
        </p:txBody>
      </p:sp>
      <p:sp>
        <p:nvSpPr>
          <p:cNvPr id="4" name="Slide Number Placeholder 3">
            <a:extLst>
              <a:ext uri="{FF2B5EF4-FFF2-40B4-BE49-F238E27FC236}">
                <a16:creationId xmlns:a16="http://schemas.microsoft.com/office/drawing/2014/main" id="{C5989D65-D7BA-49E4-D7B3-D3641EAD358E}"/>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772180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E7293-60AC-5A16-AEF7-BC0CCDAADB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0EF9B2-A065-0B05-D770-76143C2A00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8D25E2-95B3-68D9-E731-3D9B61034755}"/>
              </a:ext>
            </a:extLst>
          </p:cNvPr>
          <p:cNvSpPr>
            <a:spLocks noGrp="1"/>
          </p:cNvSpPr>
          <p:nvPr>
            <p:ph type="body" idx="1"/>
          </p:nvPr>
        </p:nvSpPr>
        <p:spPr/>
        <p:txBody>
          <a:bodyPr/>
          <a:lstStyle/>
          <a:p>
            <a:endParaRPr lang="en-US">
              <a:ea typeface="Calibri"/>
              <a:cs typeface="Calibri"/>
            </a:endParaRPr>
          </a:p>
          <a:p>
            <a:endParaRPr lang="en-US">
              <a:ea typeface="Calibri"/>
              <a:cs typeface="Calibri"/>
            </a:endParaRPr>
          </a:p>
        </p:txBody>
      </p:sp>
      <p:sp>
        <p:nvSpPr>
          <p:cNvPr id="4" name="Slide Number Placeholder 3">
            <a:extLst>
              <a:ext uri="{FF2B5EF4-FFF2-40B4-BE49-F238E27FC236}">
                <a16:creationId xmlns:a16="http://schemas.microsoft.com/office/drawing/2014/main" id="{EC0D60F0-0CCC-B1BE-978A-D039115085B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2026DD-9B05-49FD-8387-C9B0870D6C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039726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8F74D-E3E9-8CE3-4E26-DFF968BE48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83ED42-E179-B7FB-E288-461D0BC558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B4E75D-A07B-EB8E-5B01-FE6A78A2F794}"/>
              </a:ext>
            </a:extLst>
          </p:cNvPr>
          <p:cNvSpPr>
            <a:spLocks noGrp="1"/>
          </p:cNvSpPr>
          <p:nvPr>
            <p:ph type="body" idx="1"/>
          </p:nvPr>
        </p:nvSpPr>
        <p:spPr/>
        <p:txBody>
          <a:bodyPr/>
          <a:lstStyle/>
          <a:p>
            <a:endParaRPr lang="en-US"/>
          </a:p>
          <a:p>
            <a:endParaRPr lang="en-US">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313D9665-7837-6666-5706-C83FBEF28E0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04086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8F5619-816D-D2D7-ACF4-6C1B6DCDD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119E16-2C4B-6EC6-5F77-24EA5A870B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BB930E-5BA7-3E74-269B-9330EA7B6EA2}"/>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914E5B85-8E01-9407-5E59-180CA7468CF8}"/>
              </a:ext>
            </a:extLst>
          </p:cNvPr>
          <p:cNvSpPr>
            <a:spLocks noGrp="1"/>
          </p:cNvSpPr>
          <p:nvPr>
            <p:ph type="sldNum" sz="quarter" idx="5"/>
          </p:nvPr>
        </p:nvSpPr>
        <p:spPr/>
        <p:txBody>
          <a:bodyPr/>
          <a:lstStyle/>
          <a:p>
            <a:fld id="{4E8835E5-D0DF-49C6-9C58-4292A89EE293}" type="slidenum">
              <a:rPr lang="en-US" smtClean="0"/>
              <a:t>68</a:t>
            </a:fld>
            <a:endParaRPr lang="en-US"/>
          </a:p>
        </p:txBody>
      </p:sp>
    </p:spTree>
    <p:extLst>
      <p:ext uri="{BB962C8B-B14F-4D97-AF65-F5344CB8AC3E}">
        <p14:creationId xmlns:p14="http://schemas.microsoft.com/office/powerpoint/2010/main" val="334446250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9</a:t>
            </a:fld>
            <a:endParaRPr lang="en-US"/>
          </a:p>
        </p:txBody>
      </p:sp>
    </p:spTree>
    <p:extLst>
      <p:ext uri="{BB962C8B-B14F-4D97-AF65-F5344CB8AC3E}">
        <p14:creationId xmlns:p14="http://schemas.microsoft.com/office/powerpoint/2010/main" val="9219926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64A74-1710-7927-FB56-1722D72781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513AA3-2EFF-C085-F21D-22E1B388C6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D704AB-0D2C-F4F4-2B0C-5BE140FF2B9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03F2C90-6888-24C5-1063-9411C11A5534}"/>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169822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85690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EAC67-B2DD-679C-7C18-7EE55D24C3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55E342-7F3E-47AE-790C-6BF9A949A4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D324E3-95F4-2ABC-F222-9B232F4ECA4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4ED5814-6893-27B7-332A-32A4954C8AA5}"/>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C375B6E9-55A5-4211-8954-2EB0961095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926359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E7115-EB6A-B257-5980-CACABB9287D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A2E4A10-8B07-A4B2-B44C-BD440AFE83E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D98698B-45DF-6346-6AF0-0C833A7D551E}"/>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CFA6400F-0B83-DD5A-F34C-D05628AE152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0083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2345EE-3264-E87A-FD91-3320296826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C3C404-1F49-4BD7-54B6-CB752AFDB3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803BF0-6E10-39C4-8F8D-3D15BA7F361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B74A210-3963-FFBC-68DF-4953507386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7018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4C6D48-C9AB-A411-7F18-9A5232D568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F6DC9D-B5BA-BDF8-DEBC-FDFDAE954D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7454F2-7925-B4A9-E6B0-BB520FDB30EC}"/>
              </a:ext>
            </a:extLst>
          </p:cNvPr>
          <p:cNvSpPr>
            <a:spLocks noGrp="1"/>
          </p:cNvSpPr>
          <p:nvPr>
            <p:ph type="body" idx="1"/>
          </p:nvPr>
        </p:nvSpPr>
        <p:spPr/>
        <p:txBody>
          <a:bodyPr/>
          <a:lstStyle/>
          <a:p>
            <a:pPr rtl="0" fontAlgn="base"/>
            <a:endParaRPr lang="en-US" sz="1200" b="0" i="0" kern="120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B0845849-EEC0-90E5-73CA-12F881CD9886}"/>
              </a:ext>
            </a:extLst>
          </p:cNvPr>
          <p:cNvSpPr>
            <a:spLocks noGrp="1"/>
          </p:cNvSpPr>
          <p:nvPr>
            <p:ph type="sldNum" sz="quarter" idx="5"/>
          </p:nvPr>
        </p:nvSpPr>
        <p:spPr/>
        <p:txBody>
          <a:bodyPr/>
          <a:lstStyle/>
          <a:p>
            <a:fld id="{7C7120ED-20B9-4CC8-A606-12D10436DCAF}" type="slidenum">
              <a:rPr lang="en-US" smtClean="0"/>
              <a:t>8</a:t>
            </a:fld>
            <a:endParaRPr lang="en-US"/>
          </a:p>
        </p:txBody>
      </p:sp>
    </p:spTree>
    <p:extLst>
      <p:ext uri="{BB962C8B-B14F-4D97-AF65-F5344CB8AC3E}">
        <p14:creationId xmlns:p14="http://schemas.microsoft.com/office/powerpoint/2010/main" val="27904255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F8426-2325-D596-321F-5C3A3F15A6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539A4B-5BF4-5C4E-BC11-26B82BD408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96533F-ACE2-148D-0B3C-9950FEC7DB8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1A32837-2933-3521-0CFE-FCB58A2CAF12}"/>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2208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8.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9.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9.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9.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9.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6.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2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8.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9.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image" Target="../media/image7.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3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33.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9.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37.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38.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3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40.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4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43.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9.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44.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9.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47.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8.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48.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9.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49.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9.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50.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9.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51.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7.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ck title">
    <p:bg>
      <p:bgPr>
        <a:solidFill>
          <a:srgbClr val="009BDB"/>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BEEFE8-08DB-4323-1C3F-1B2713BA00FD}"/>
              </a:ext>
            </a:extLst>
          </p:cNvPr>
          <p:cNvGraphicFramePr>
            <a:graphicFrameLocks noChangeAspect="1"/>
          </p:cNvGraphicFramePr>
          <p:nvPr>
            <p:custDataLst>
              <p:tags r:id="rId1"/>
            </p:custDataLst>
            <p:extLst>
              <p:ext uri="{D42A27DB-BD31-4B8C-83A1-F6EECF244321}">
                <p14:modId xmlns:p14="http://schemas.microsoft.com/office/powerpoint/2010/main" val="1046823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15BEEFE8-08DB-4323-1C3F-1B2713BA00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7FC975-48D4-E344-AA0E-6BF906D04B8F}"/>
              </a:ext>
            </a:extLst>
          </p:cNvPr>
          <p:cNvSpPr>
            <a:spLocks noGrp="1"/>
          </p:cNvSpPr>
          <p:nvPr>
            <p:ph type="title" hasCustomPrompt="1"/>
          </p:nvPr>
        </p:nvSpPr>
        <p:spPr>
          <a:xfrm>
            <a:off x="5280951" y="3302241"/>
            <a:ext cx="6432630" cy="1605426"/>
          </a:xfrm>
        </p:spPr>
        <p:txBody>
          <a:bodyPr vert="horz" lIns="0" tIns="91440" rIns="0" bIns="0" anchor="t" anchorCtr="0">
            <a:normAutofit/>
          </a:bodyPr>
          <a:lstStyle>
            <a:lvl1pPr>
              <a:lnSpc>
                <a:spcPts val="3600"/>
              </a:lnSpc>
              <a:defRPr sz="4800">
                <a:solidFill>
                  <a:srgbClr val="F1F4F7"/>
                </a:solidFill>
              </a:defRPr>
            </a:lvl1pPr>
          </a:lstStyle>
          <a:p>
            <a:r>
              <a:rPr lang="en-US"/>
              <a:t>Deck Title </a:t>
            </a:r>
          </a:p>
        </p:txBody>
      </p:sp>
      <p:cxnSp>
        <p:nvCxnSpPr>
          <p:cNvPr id="3" name="Straight Connector 2">
            <a:extLst>
              <a:ext uri="{FF2B5EF4-FFF2-40B4-BE49-F238E27FC236}">
                <a16:creationId xmlns:a16="http://schemas.microsoft.com/office/drawing/2014/main" id="{25822FE9-D507-C840-A53B-A87F0DAB04F1}"/>
              </a:ext>
            </a:extLst>
          </p:cNvPr>
          <p:cNvCxnSpPr/>
          <p:nvPr/>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Authors</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5280951" y="493776"/>
            <a:ext cx="2699675" cy="477345"/>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Date</a:t>
            </a:r>
          </a:p>
        </p:txBody>
      </p:sp>
      <p:sp>
        <p:nvSpPr>
          <p:cNvPr id="9" name="Rectangle 8"/>
          <p:cNvSpPr/>
          <p:nvPr/>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299870128"/>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37619273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580582723"/>
      </p:ext>
    </p:extLst>
  </p:cSld>
  <p:clrMapOvr>
    <a:masterClrMapping/>
  </p:clrMapOvr>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539530187"/>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4558348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15038403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custDataLst>
      <p:tags r:id="rId1"/>
    </p:custDataLst>
    <p:extLst>
      <p:ext uri="{BB962C8B-B14F-4D97-AF65-F5344CB8AC3E}">
        <p14:creationId xmlns:p14="http://schemas.microsoft.com/office/powerpoint/2010/main" val="39338541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60327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ey Message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5B8BD8-E431-D455-1ED2-406291B065BB}"/>
              </a:ext>
            </a:extLst>
          </p:cNvPr>
          <p:cNvGraphicFramePr>
            <a:graphicFrameLocks noChangeAspect="1"/>
          </p:cNvGraphicFramePr>
          <p:nvPr userDrawn="1">
            <p:custDataLst>
              <p:tags r:id="rId1"/>
            </p:custDataLst>
            <p:extLst>
              <p:ext uri="{D42A27DB-BD31-4B8C-83A1-F6EECF244321}">
                <p14:modId xmlns:p14="http://schemas.microsoft.com/office/powerpoint/2010/main" val="3810513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95B8BD8-E431-D455-1ED2-406291B065B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045F9B6-796B-AD17-FD3C-8E2FC7947FC7}"/>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6" name="Picture Placeholder 28">
            <a:extLst>
              <a:ext uri="{FF2B5EF4-FFF2-40B4-BE49-F238E27FC236}">
                <a16:creationId xmlns:a16="http://schemas.microsoft.com/office/drawing/2014/main" id="{8D15BC06-EE81-73BA-5732-C5A6FE9E4950}"/>
              </a:ext>
            </a:extLst>
          </p:cNvPr>
          <p:cNvSpPr>
            <a:spLocks noGrp="1"/>
          </p:cNvSpPr>
          <p:nvPr>
            <p:ph type="pic" sz="quarter" idx="12"/>
          </p:nvPr>
        </p:nvSpPr>
        <p:spPr>
          <a:xfrm>
            <a:off x="330200" y="768350"/>
            <a:ext cx="3510784" cy="4981062"/>
          </a:xfrm>
        </p:spPr>
        <p:txBody>
          <a:bodyPr/>
          <a:lstStyle/>
          <a:p>
            <a:r>
              <a:rPr lang="en-US"/>
              <a:t>Click icon to add picture</a:t>
            </a:r>
          </a:p>
        </p:txBody>
      </p:sp>
      <p:sp>
        <p:nvSpPr>
          <p:cNvPr id="7" name="Title 2">
            <a:extLst>
              <a:ext uri="{FF2B5EF4-FFF2-40B4-BE49-F238E27FC236}">
                <a16:creationId xmlns:a16="http://schemas.microsoft.com/office/drawing/2014/main" id="{00C511C6-4B4D-BFFD-D831-47A5849E34EF}"/>
              </a:ext>
            </a:extLst>
          </p:cNvPr>
          <p:cNvSpPr>
            <a:spLocks noGrp="1"/>
          </p:cNvSpPr>
          <p:nvPr>
            <p:ph type="title" hasCustomPrompt="1"/>
          </p:nvPr>
        </p:nvSpPr>
        <p:spPr>
          <a:xfrm>
            <a:off x="501445" y="4826613"/>
            <a:ext cx="3165987" cy="882788"/>
          </a:xfrm>
          <a:prstGeom prst="rect">
            <a:avLst/>
          </a:prstGeom>
        </p:spPr>
        <p:txBody>
          <a:bodyPr vert="horz" anchor="t">
            <a:noAutofit/>
          </a:bodyPr>
          <a:lstStyle>
            <a:lvl1pPr>
              <a:defRPr>
                <a:solidFill>
                  <a:schemeClr val="tx1"/>
                </a:solidFill>
              </a:defRPr>
            </a:lvl1pPr>
          </a:lstStyle>
          <a:p>
            <a:r>
              <a:rPr lang="en-US" sz="2400">
                <a:solidFill>
                  <a:schemeClr val="bg1"/>
                </a:solidFill>
              </a:rPr>
              <a:t>Key messages</a:t>
            </a:r>
            <a:br>
              <a:rPr lang="en-US" sz="2400">
                <a:solidFill>
                  <a:schemeClr val="bg1"/>
                </a:solidFill>
              </a:rPr>
            </a:br>
            <a:r>
              <a:rPr lang="en-US" sz="2400" b="0">
                <a:solidFill>
                  <a:schemeClr val="bg1"/>
                </a:solidFill>
              </a:rPr>
              <a:t>Section title</a:t>
            </a:r>
            <a:endParaRPr lang="en-US" sz="2400">
              <a:solidFill>
                <a:schemeClr val="bg1"/>
              </a:solidFill>
            </a:endParaRPr>
          </a:p>
        </p:txBody>
      </p:sp>
      <p:sp>
        <p:nvSpPr>
          <p:cNvPr id="8" name="Text Placeholder 2">
            <a:extLst>
              <a:ext uri="{FF2B5EF4-FFF2-40B4-BE49-F238E27FC236}">
                <a16:creationId xmlns:a16="http://schemas.microsoft.com/office/drawing/2014/main" id="{1BB0C580-AC9F-ECD5-99CE-AEC9A368329A}"/>
              </a:ext>
            </a:extLst>
          </p:cNvPr>
          <p:cNvSpPr>
            <a:spLocks noGrp="1"/>
          </p:cNvSpPr>
          <p:nvPr>
            <p:ph type="body" sz="quarter" idx="13"/>
          </p:nvPr>
        </p:nvSpPr>
        <p:spPr>
          <a:xfrm>
            <a:off x="4183267" y="768350"/>
            <a:ext cx="7502525" cy="95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75370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Tree>
    <p:extLst>
      <p:ext uri="{BB962C8B-B14F-4D97-AF65-F5344CB8AC3E}">
        <p14:creationId xmlns:p14="http://schemas.microsoft.com/office/powerpoint/2010/main" val="23272936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ith subtitl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12" name="Text Placeholder 11">
            <a:extLst>
              <a:ext uri="{FF2B5EF4-FFF2-40B4-BE49-F238E27FC236}">
                <a16:creationId xmlns:a16="http://schemas.microsoft.com/office/drawing/2014/main" id="{88BF458D-A3E1-842C-53A3-F0B8A02FFCAD}"/>
              </a:ext>
            </a:extLst>
          </p:cNvPr>
          <p:cNvSpPr>
            <a:spLocks noGrp="1"/>
          </p:cNvSpPr>
          <p:nvPr>
            <p:ph type="body" sz="quarter" idx="13"/>
          </p:nvPr>
        </p:nvSpPr>
        <p:spPr>
          <a:xfrm>
            <a:off x="9308592" y="1554480"/>
            <a:ext cx="2551176" cy="4262438"/>
          </a:xfrm>
          <a:solidFill>
            <a:srgbClr val="E4E8EF"/>
          </a:solidFill>
        </p:spPr>
        <p:txBody>
          <a:bodyPr lIns="137160" tIns="137160" rIns="274320" bIns="137160"/>
          <a:lstStyle>
            <a:lvl1pPr marL="285750" indent="-285750">
              <a:buFont typeface="Arial" panose="020B0604020202020204" pitchFamily="34" charset="0"/>
              <a:buChar char="•"/>
              <a:defRPr sz="1250" b="1"/>
            </a:lvl1pPr>
            <a:lvl2pPr marL="361950" indent="-180975">
              <a:buFont typeface="Arial" panose="020B0604020202020204" pitchFamily="34" charset="0"/>
              <a:buChar char="•"/>
              <a:defRPr/>
            </a:lvl2pPr>
            <a:lvl3pPr marL="534988" indent="-173038">
              <a:buFont typeface="Arial" panose="020B0604020202020204" pitchFamily="34" charset="0"/>
              <a:buChar char="•"/>
              <a:defRPr/>
            </a:lvl3pPr>
            <a:lvl4pPr marL="715963" indent="-180975">
              <a:buFont typeface="Arial" panose="020B0604020202020204" pitchFamily="34" charset="0"/>
              <a:buChar char="•"/>
              <a:defRPr/>
            </a:lvl4pPr>
            <a:lvl5pPr marL="898525" indent="-182563">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35655760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dividers">
    <p:bg>
      <p:bgPr>
        <a:solidFill>
          <a:srgbClr val="009BDB"/>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noChangeAspect="1"/>
          </p:cNvGraphicFramePr>
          <p:nvPr>
            <p:custDataLst>
              <p:tags r:id="rId1"/>
            </p:custDataLst>
            <p:extLst>
              <p:ext uri="{D42A27DB-BD31-4B8C-83A1-F6EECF244321}">
                <p14:modId xmlns:p14="http://schemas.microsoft.com/office/powerpoint/2010/main" val="23066408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10A01E-DF31-B94D-94BE-4ECDF48E0CA8}"/>
              </a:ext>
            </a:extLst>
          </p:cNvPr>
          <p:cNvSpPr>
            <a:spLocks noGrp="1"/>
          </p:cNvSpPr>
          <p:nvPr>
            <p:ph type="title" hasCustomPrompt="1"/>
          </p:nvPr>
        </p:nvSpPr>
        <p:spPr>
          <a:xfrm>
            <a:off x="831850" y="3362700"/>
            <a:ext cx="10515600" cy="2436792"/>
          </a:xfrm>
          <a:prstGeom prst="rect">
            <a:avLst/>
          </a:prstGeom>
        </p:spPr>
        <p:txBody>
          <a:bodyPr vert="horz" lIns="0" bIns="0" anchor="b">
            <a:noAutofit/>
          </a:bodyPr>
          <a:lstStyle>
            <a:lvl1pPr>
              <a:defRPr sz="4800">
                <a:solidFill>
                  <a:schemeClr val="bg1"/>
                </a:solidFill>
              </a:defRPr>
            </a:lvl1pPr>
          </a:lstStyle>
          <a:p>
            <a:r>
              <a:rPr lang="en-US"/>
              <a:t>Section title slide:</a:t>
            </a:r>
            <a:br>
              <a:rPr lang="en-US"/>
            </a:br>
            <a:r>
              <a:rPr lang="en-US"/>
              <a:t>Use a representative photo for the background</a:t>
            </a:r>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11521056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th subtitle, underlin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 with underline (this layout only works if keeping observations box width</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12" name="Text Placeholder 11">
            <a:extLst>
              <a:ext uri="{FF2B5EF4-FFF2-40B4-BE49-F238E27FC236}">
                <a16:creationId xmlns:a16="http://schemas.microsoft.com/office/drawing/2014/main" id="{88BF458D-A3E1-842C-53A3-F0B8A02FFCAD}"/>
              </a:ext>
            </a:extLst>
          </p:cNvPr>
          <p:cNvSpPr>
            <a:spLocks noGrp="1"/>
          </p:cNvSpPr>
          <p:nvPr>
            <p:ph type="body" sz="quarter" idx="13"/>
          </p:nvPr>
        </p:nvSpPr>
        <p:spPr>
          <a:xfrm>
            <a:off x="9308592" y="1554480"/>
            <a:ext cx="2551176" cy="4262438"/>
          </a:xfrm>
          <a:solidFill>
            <a:srgbClr val="E4E8EF"/>
          </a:solidFill>
        </p:spPr>
        <p:txBody>
          <a:bodyPr lIns="137160" tIns="137160" rIns="274320" bIns="137160"/>
          <a:lstStyle>
            <a:lvl1pPr marL="285750" indent="-285750">
              <a:buFont typeface="Arial" panose="020B0604020202020204" pitchFamily="34" charset="0"/>
              <a:buChar char="•"/>
              <a:defRPr sz="1250" b="1"/>
            </a:lvl1pPr>
            <a:lvl2pPr marL="361950" indent="-180975">
              <a:buFont typeface="Arial" panose="020B0604020202020204" pitchFamily="34" charset="0"/>
              <a:buChar char="•"/>
              <a:defRPr/>
            </a:lvl2pPr>
            <a:lvl3pPr marL="534988" indent="-173038">
              <a:buFont typeface="Arial" panose="020B0604020202020204" pitchFamily="34" charset="0"/>
              <a:buChar char="•"/>
              <a:defRPr/>
            </a:lvl3pPr>
            <a:lvl4pPr marL="715963" indent="-180975">
              <a:buFont typeface="Arial" panose="020B0604020202020204" pitchFamily="34" charset="0"/>
              <a:buChar char="•"/>
              <a:defRPr/>
            </a:lvl4pPr>
            <a:lvl5pPr marL="898525" indent="-182563">
              <a:buFont typeface="Arial" panose="020B0604020202020204" pitchFamily="34" charset="0"/>
              <a:buChar char="•"/>
              <a:defRPr/>
            </a:lvl5pPr>
          </a:lstStyle>
          <a:p>
            <a:pPr lvl="0"/>
            <a:r>
              <a:rPr lang="en-US"/>
              <a:t>Click to edit Master text styles</a:t>
            </a:r>
          </a:p>
        </p:txBody>
      </p:sp>
      <p:cxnSp>
        <p:nvCxnSpPr>
          <p:cNvPr id="2" name="btfpColumnHeaderBoxLine984923">
            <a:extLst>
              <a:ext uri="{FF2B5EF4-FFF2-40B4-BE49-F238E27FC236}">
                <a16:creationId xmlns:a16="http://schemas.microsoft.com/office/drawing/2014/main" id="{A57A790C-5AD8-5931-341B-931E147F71EC}"/>
              </a:ext>
            </a:extLst>
          </p:cNvPr>
          <p:cNvCxnSpPr>
            <a:cxnSpLocks/>
          </p:cNvCxnSpPr>
          <p:nvPr userDrawn="1"/>
        </p:nvCxnSpPr>
        <p:spPr bwMode="gray">
          <a:xfrm flipV="1">
            <a:off x="323333" y="1829068"/>
            <a:ext cx="74803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8807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ith category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915706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12" name="Text Placeholder 11">
            <a:extLst>
              <a:ext uri="{FF2B5EF4-FFF2-40B4-BE49-F238E27FC236}">
                <a16:creationId xmlns:a16="http://schemas.microsoft.com/office/drawing/2014/main" id="{88BF458D-A3E1-842C-53A3-F0B8A02FFCAD}"/>
              </a:ext>
            </a:extLst>
          </p:cNvPr>
          <p:cNvSpPr>
            <a:spLocks noGrp="1"/>
          </p:cNvSpPr>
          <p:nvPr>
            <p:ph type="body" sz="quarter" idx="13"/>
          </p:nvPr>
        </p:nvSpPr>
        <p:spPr>
          <a:xfrm>
            <a:off x="9308592" y="1554480"/>
            <a:ext cx="2551176" cy="4262438"/>
          </a:xfrm>
          <a:solidFill>
            <a:srgbClr val="E4E8EF"/>
          </a:solidFill>
        </p:spPr>
        <p:txBody>
          <a:bodyPr lIns="137160" tIns="137160" rIns="274320" bIns="137160"/>
          <a:lstStyle>
            <a:lvl1pPr marL="285750" indent="-285750">
              <a:buFont typeface="Arial" panose="020B0604020202020204" pitchFamily="34" charset="0"/>
              <a:buChar char="•"/>
              <a:defRPr sz="1250" b="1"/>
            </a:lvl1pPr>
            <a:lvl2pPr marL="361950" indent="-180975">
              <a:buFont typeface="Arial" panose="020B0604020202020204" pitchFamily="34" charset="0"/>
              <a:buChar char="•"/>
              <a:defRPr/>
            </a:lvl2pPr>
            <a:lvl3pPr marL="534988" indent="-173038">
              <a:buFont typeface="Arial" panose="020B0604020202020204" pitchFamily="34" charset="0"/>
              <a:buChar char="•"/>
              <a:defRPr/>
            </a:lvl3pPr>
            <a:lvl4pPr marL="715963" indent="-180975">
              <a:buFont typeface="Arial" panose="020B0604020202020204" pitchFamily="34" charset="0"/>
              <a:buChar char="•"/>
              <a:defRPr/>
            </a:lvl4pPr>
            <a:lvl5pPr marL="898525" indent="-182563">
              <a:buFont typeface="Arial" panose="020B0604020202020204" pitchFamily="34" charset="0"/>
              <a:buChar char="•"/>
              <a:defRPr/>
            </a:lvl5pPr>
          </a:lstStyle>
          <a:p>
            <a:pPr lvl="0"/>
            <a:r>
              <a:rPr lang="en-US"/>
              <a:t>Click to edit Master text styles</a:t>
            </a:r>
          </a:p>
        </p:txBody>
      </p:sp>
      <p:sp>
        <p:nvSpPr>
          <p:cNvPr id="6" name="Content Placeholder 5">
            <a:extLst>
              <a:ext uri="{FF2B5EF4-FFF2-40B4-BE49-F238E27FC236}">
                <a16:creationId xmlns:a16="http://schemas.microsoft.com/office/drawing/2014/main" id="{309A90EF-FF8B-AFA1-8B21-8596D5C804A2}"/>
              </a:ext>
            </a:extLst>
          </p:cNvPr>
          <p:cNvSpPr>
            <a:spLocks noGrp="1"/>
          </p:cNvSpPr>
          <p:nvPr>
            <p:ph sz="quarter" idx="14" hasCustomPrompt="1"/>
          </p:nvPr>
        </p:nvSpPr>
        <p:spPr>
          <a:xfrm>
            <a:off x="-1" y="0"/>
            <a:ext cx="3886200" cy="320040"/>
          </a:xfrm>
          <a:solidFill>
            <a:schemeClr val="accent6"/>
          </a:solidFill>
        </p:spPr>
        <p:txBody>
          <a:bodyPr lIns="36576" tIns="36576" rIns="36576" bIns="36576">
            <a:noAutofit/>
          </a:bodyPr>
          <a:lstStyle>
            <a:lvl2pPr marL="180975" indent="0" algn="ctr">
              <a:buNone/>
              <a:defRPr sz="1600" b="1">
                <a:solidFill>
                  <a:schemeClr val="bg1"/>
                </a:solidFill>
              </a:defRPr>
            </a:lvl2pPr>
          </a:lstStyle>
          <a:p>
            <a:pPr lvl="1"/>
            <a:r>
              <a:rPr lang="en-US" b="1"/>
              <a:t>Category 1</a:t>
            </a:r>
            <a:endParaRPr lang="en-US"/>
          </a:p>
        </p:txBody>
      </p:sp>
    </p:spTree>
    <p:extLst>
      <p:ext uri="{BB962C8B-B14F-4D97-AF65-F5344CB8AC3E}">
        <p14:creationId xmlns:p14="http://schemas.microsoft.com/office/powerpoint/2010/main" val="10015674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1A985-EBD8-A488-C7BF-B06827C1D34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C411614-91C2-4CA6-68FF-FBE4BA3858B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9DF89BD-EDFA-5F4A-DA01-85C5D3C4C5D6}"/>
              </a:ext>
            </a:extLst>
          </p:cNvPr>
          <p:cNvSpPr>
            <a:spLocks noGrp="1"/>
          </p:cNvSpPr>
          <p:nvPr>
            <p:ph type="dt" sz="half" idx="10"/>
          </p:nvPr>
        </p:nvSpPr>
        <p:spPr/>
        <p:txBody>
          <a:bodyPr/>
          <a:lstStyle/>
          <a:p>
            <a:fld id="{0C69F9C6-1120-F94F-8D44-5FAD32EEB7E1}" type="datetimeFigureOut">
              <a:rPr lang="en-US" smtClean="0"/>
              <a:t>5/22/26</a:t>
            </a:fld>
            <a:endParaRPr lang="en-US"/>
          </a:p>
        </p:txBody>
      </p:sp>
      <p:sp>
        <p:nvSpPr>
          <p:cNvPr id="5" name="Footer Placeholder 4">
            <a:extLst>
              <a:ext uri="{FF2B5EF4-FFF2-40B4-BE49-F238E27FC236}">
                <a16:creationId xmlns:a16="http://schemas.microsoft.com/office/drawing/2014/main" id="{400045E6-99EA-1B77-5059-373B2BFA38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8FF1D5-7C9A-2CB8-754B-F6B219A34773}"/>
              </a:ext>
            </a:extLst>
          </p:cNvPr>
          <p:cNvSpPr>
            <a:spLocks noGrp="1"/>
          </p:cNvSpPr>
          <p:nvPr>
            <p:ph type="sldNum" sz="quarter" idx="12"/>
          </p:nvPr>
        </p:nvSpPr>
        <p:spPr/>
        <p:txBody>
          <a:bodyPr/>
          <a:lstStyle/>
          <a:p>
            <a:fld id="{CB78A1FF-2A3A-1542-BC26-E8EDA5E1EE60}" type="slidenum">
              <a:rPr lang="en-US" smtClean="0"/>
              <a:t>‹#›</a:t>
            </a:fld>
            <a:endParaRPr lang="en-US"/>
          </a:p>
        </p:txBody>
      </p:sp>
    </p:spTree>
    <p:extLst>
      <p:ext uri="{BB962C8B-B14F-4D97-AF65-F5344CB8AC3E}">
        <p14:creationId xmlns:p14="http://schemas.microsoft.com/office/powerpoint/2010/main" val="28631888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69F2C-4BBB-7F45-7F01-0784E3206EC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F1DB01-9937-295A-E01A-AA3312402C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8518FF-C185-6ED1-45A4-1CFCEDE42709}"/>
              </a:ext>
            </a:extLst>
          </p:cNvPr>
          <p:cNvSpPr>
            <a:spLocks noGrp="1"/>
          </p:cNvSpPr>
          <p:nvPr>
            <p:ph type="dt" sz="half" idx="10"/>
          </p:nvPr>
        </p:nvSpPr>
        <p:spPr/>
        <p:txBody>
          <a:bodyPr/>
          <a:lstStyle/>
          <a:p>
            <a:fld id="{0C69F9C6-1120-F94F-8D44-5FAD32EEB7E1}" type="datetimeFigureOut">
              <a:rPr lang="en-US" smtClean="0"/>
              <a:t>5/22/26</a:t>
            </a:fld>
            <a:endParaRPr lang="en-US"/>
          </a:p>
        </p:txBody>
      </p:sp>
      <p:sp>
        <p:nvSpPr>
          <p:cNvPr id="5" name="Footer Placeholder 4">
            <a:extLst>
              <a:ext uri="{FF2B5EF4-FFF2-40B4-BE49-F238E27FC236}">
                <a16:creationId xmlns:a16="http://schemas.microsoft.com/office/drawing/2014/main" id="{0DAB61B3-D89C-9315-2064-625932984C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864332-A54C-66AB-D2EC-12FD3668A4B6}"/>
              </a:ext>
            </a:extLst>
          </p:cNvPr>
          <p:cNvSpPr>
            <a:spLocks noGrp="1"/>
          </p:cNvSpPr>
          <p:nvPr>
            <p:ph type="sldNum" sz="quarter" idx="12"/>
          </p:nvPr>
        </p:nvSpPr>
        <p:spPr/>
        <p:txBody>
          <a:bodyPr/>
          <a:lstStyle/>
          <a:p>
            <a:fld id="{CB78A1FF-2A3A-1542-BC26-E8EDA5E1EE60}" type="slidenum">
              <a:rPr lang="en-US" smtClean="0"/>
              <a:t>‹#›</a:t>
            </a:fld>
            <a:endParaRPr lang="en-US"/>
          </a:p>
        </p:txBody>
      </p:sp>
    </p:spTree>
    <p:extLst>
      <p:ext uri="{BB962C8B-B14F-4D97-AF65-F5344CB8AC3E}">
        <p14:creationId xmlns:p14="http://schemas.microsoft.com/office/powerpoint/2010/main" val="16604879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8C2D0-9B0C-485F-5CCF-B0437E09059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2C927A6-1088-904F-05F1-61069206CD7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5A8C52B-401D-9687-0410-EF4201AA632D}"/>
              </a:ext>
            </a:extLst>
          </p:cNvPr>
          <p:cNvSpPr>
            <a:spLocks noGrp="1"/>
          </p:cNvSpPr>
          <p:nvPr>
            <p:ph type="dt" sz="half" idx="10"/>
          </p:nvPr>
        </p:nvSpPr>
        <p:spPr/>
        <p:txBody>
          <a:bodyPr/>
          <a:lstStyle/>
          <a:p>
            <a:fld id="{0C69F9C6-1120-F94F-8D44-5FAD32EEB7E1}" type="datetimeFigureOut">
              <a:rPr lang="en-US" smtClean="0"/>
              <a:t>5/22/26</a:t>
            </a:fld>
            <a:endParaRPr lang="en-US"/>
          </a:p>
        </p:txBody>
      </p:sp>
      <p:sp>
        <p:nvSpPr>
          <p:cNvPr id="5" name="Footer Placeholder 4">
            <a:extLst>
              <a:ext uri="{FF2B5EF4-FFF2-40B4-BE49-F238E27FC236}">
                <a16:creationId xmlns:a16="http://schemas.microsoft.com/office/drawing/2014/main" id="{CDFCD7D6-B1B4-B26D-2DB7-8AF4E85E82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470F33-9567-95D7-A366-4243E1722405}"/>
              </a:ext>
            </a:extLst>
          </p:cNvPr>
          <p:cNvSpPr>
            <a:spLocks noGrp="1"/>
          </p:cNvSpPr>
          <p:nvPr>
            <p:ph type="sldNum" sz="quarter" idx="12"/>
          </p:nvPr>
        </p:nvSpPr>
        <p:spPr/>
        <p:txBody>
          <a:bodyPr/>
          <a:lstStyle/>
          <a:p>
            <a:fld id="{CB78A1FF-2A3A-1542-BC26-E8EDA5E1EE60}" type="slidenum">
              <a:rPr lang="en-US" smtClean="0"/>
              <a:t>‹#›</a:t>
            </a:fld>
            <a:endParaRPr lang="en-US"/>
          </a:p>
        </p:txBody>
      </p:sp>
    </p:spTree>
    <p:extLst>
      <p:ext uri="{BB962C8B-B14F-4D97-AF65-F5344CB8AC3E}">
        <p14:creationId xmlns:p14="http://schemas.microsoft.com/office/powerpoint/2010/main" val="19235160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215FA-D622-C363-BB5B-32E44558D6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AF067D-DA8C-34C5-6332-7992993BEF7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435BEC8-469F-2B79-CC15-A86CD8CBC2C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4D98747-F065-C89C-E483-CD710AC0A25E}"/>
              </a:ext>
            </a:extLst>
          </p:cNvPr>
          <p:cNvSpPr>
            <a:spLocks noGrp="1"/>
          </p:cNvSpPr>
          <p:nvPr>
            <p:ph type="dt" sz="half" idx="10"/>
          </p:nvPr>
        </p:nvSpPr>
        <p:spPr/>
        <p:txBody>
          <a:bodyPr/>
          <a:lstStyle/>
          <a:p>
            <a:fld id="{0C69F9C6-1120-F94F-8D44-5FAD32EEB7E1}" type="datetimeFigureOut">
              <a:rPr lang="en-US" smtClean="0"/>
              <a:t>5/22/26</a:t>
            </a:fld>
            <a:endParaRPr lang="en-US"/>
          </a:p>
        </p:txBody>
      </p:sp>
      <p:sp>
        <p:nvSpPr>
          <p:cNvPr id="6" name="Footer Placeholder 5">
            <a:extLst>
              <a:ext uri="{FF2B5EF4-FFF2-40B4-BE49-F238E27FC236}">
                <a16:creationId xmlns:a16="http://schemas.microsoft.com/office/drawing/2014/main" id="{C1C40638-326B-2B09-EF9D-6BA72E8BC5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AFCB433-D6C7-3B80-F070-0945A927D38D}"/>
              </a:ext>
            </a:extLst>
          </p:cNvPr>
          <p:cNvSpPr>
            <a:spLocks noGrp="1"/>
          </p:cNvSpPr>
          <p:nvPr>
            <p:ph type="sldNum" sz="quarter" idx="12"/>
          </p:nvPr>
        </p:nvSpPr>
        <p:spPr/>
        <p:txBody>
          <a:bodyPr/>
          <a:lstStyle/>
          <a:p>
            <a:fld id="{CB78A1FF-2A3A-1542-BC26-E8EDA5E1EE60}" type="slidenum">
              <a:rPr lang="en-US" smtClean="0"/>
              <a:t>‹#›</a:t>
            </a:fld>
            <a:endParaRPr lang="en-US"/>
          </a:p>
        </p:txBody>
      </p:sp>
    </p:spTree>
    <p:extLst>
      <p:ext uri="{BB962C8B-B14F-4D97-AF65-F5344CB8AC3E}">
        <p14:creationId xmlns:p14="http://schemas.microsoft.com/office/powerpoint/2010/main" val="17171867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C3AD3-B473-D8F4-4E1E-EA99AA46994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B863A02-F6F7-3026-4D31-F5F7864A02A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EEB0BFF-8B23-2DBE-C408-395D2DB36CB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DD57751-B7A8-7EF8-51C6-76DF2E86F5E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31FF9FA-102D-7072-BD32-FDF48B6E88B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18D4FD4-1130-4F13-A051-EA574164DF0D}"/>
              </a:ext>
            </a:extLst>
          </p:cNvPr>
          <p:cNvSpPr>
            <a:spLocks noGrp="1"/>
          </p:cNvSpPr>
          <p:nvPr>
            <p:ph type="dt" sz="half" idx="10"/>
          </p:nvPr>
        </p:nvSpPr>
        <p:spPr/>
        <p:txBody>
          <a:bodyPr/>
          <a:lstStyle/>
          <a:p>
            <a:fld id="{0C69F9C6-1120-F94F-8D44-5FAD32EEB7E1}" type="datetimeFigureOut">
              <a:rPr lang="en-US" smtClean="0"/>
              <a:t>5/22/26</a:t>
            </a:fld>
            <a:endParaRPr lang="en-US"/>
          </a:p>
        </p:txBody>
      </p:sp>
      <p:sp>
        <p:nvSpPr>
          <p:cNvPr id="8" name="Footer Placeholder 7">
            <a:extLst>
              <a:ext uri="{FF2B5EF4-FFF2-40B4-BE49-F238E27FC236}">
                <a16:creationId xmlns:a16="http://schemas.microsoft.com/office/drawing/2014/main" id="{4A33385E-1774-FB2A-B60A-E9668DABA78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E93D497-85F4-6B5B-DD36-F50AED976653}"/>
              </a:ext>
            </a:extLst>
          </p:cNvPr>
          <p:cNvSpPr>
            <a:spLocks noGrp="1"/>
          </p:cNvSpPr>
          <p:nvPr>
            <p:ph type="sldNum" sz="quarter" idx="12"/>
          </p:nvPr>
        </p:nvSpPr>
        <p:spPr/>
        <p:txBody>
          <a:bodyPr/>
          <a:lstStyle/>
          <a:p>
            <a:fld id="{CB78A1FF-2A3A-1542-BC26-E8EDA5E1EE60}" type="slidenum">
              <a:rPr lang="en-US" smtClean="0"/>
              <a:t>‹#›</a:t>
            </a:fld>
            <a:endParaRPr lang="en-US"/>
          </a:p>
        </p:txBody>
      </p:sp>
    </p:spTree>
    <p:extLst>
      <p:ext uri="{BB962C8B-B14F-4D97-AF65-F5344CB8AC3E}">
        <p14:creationId xmlns:p14="http://schemas.microsoft.com/office/powerpoint/2010/main" val="338692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C86C3C-6AE2-E58A-1ECC-21706D593D4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126FDCC-F057-1050-354B-845D21BF66BF}"/>
              </a:ext>
            </a:extLst>
          </p:cNvPr>
          <p:cNvSpPr>
            <a:spLocks noGrp="1"/>
          </p:cNvSpPr>
          <p:nvPr>
            <p:ph type="dt" sz="half" idx="10"/>
          </p:nvPr>
        </p:nvSpPr>
        <p:spPr/>
        <p:txBody>
          <a:bodyPr/>
          <a:lstStyle/>
          <a:p>
            <a:fld id="{0C69F9C6-1120-F94F-8D44-5FAD32EEB7E1}" type="datetimeFigureOut">
              <a:rPr lang="en-US" smtClean="0"/>
              <a:t>5/22/26</a:t>
            </a:fld>
            <a:endParaRPr lang="en-US"/>
          </a:p>
        </p:txBody>
      </p:sp>
      <p:sp>
        <p:nvSpPr>
          <p:cNvPr id="4" name="Footer Placeholder 3">
            <a:extLst>
              <a:ext uri="{FF2B5EF4-FFF2-40B4-BE49-F238E27FC236}">
                <a16:creationId xmlns:a16="http://schemas.microsoft.com/office/drawing/2014/main" id="{A3E49961-D925-9C3A-FABC-CDBD8076C9A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1FFBE7C-2C6A-BCA6-3989-607686283306}"/>
              </a:ext>
            </a:extLst>
          </p:cNvPr>
          <p:cNvSpPr>
            <a:spLocks noGrp="1"/>
          </p:cNvSpPr>
          <p:nvPr>
            <p:ph type="sldNum" sz="quarter" idx="12"/>
          </p:nvPr>
        </p:nvSpPr>
        <p:spPr/>
        <p:txBody>
          <a:bodyPr/>
          <a:lstStyle/>
          <a:p>
            <a:fld id="{CB78A1FF-2A3A-1542-BC26-E8EDA5E1EE60}" type="slidenum">
              <a:rPr lang="en-US" smtClean="0"/>
              <a:t>‹#›</a:t>
            </a:fld>
            <a:endParaRPr lang="en-US"/>
          </a:p>
        </p:txBody>
      </p:sp>
    </p:spTree>
    <p:extLst>
      <p:ext uri="{BB962C8B-B14F-4D97-AF65-F5344CB8AC3E}">
        <p14:creationId xmlns:p14="http://schemas.microsoft.com/office/powerpoint/2010/main" val="1368568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CD2BB06-CDDC-6217-90D2-6326AA0FEF23}"/>
              </a:ext>
            </a:extLst>
          </p:cNvPr>
          <p:cNvSpPr>
            <a:spLocks noGrp="1"/>
          </p:cNvSpPr>
          <p:nvPr>
            <p:ph type="dt" sz="half" idx="10"/>
          </p:nvPr>
        </p:nvSpPr>
        <p:spPr/>
        <p:txBody>
          <a:bodyPr/>
          <a:lstStyle/>
          <a:p>
            <a:fld id="{0C69F9C6-1120-F94F-8D44-5FAD32EEB7E1}" type="datetimeFigureOut">
              <a:rPr lang="en-US" smtClean="0"/>
              <a:t>5/22/26</a:t>
            </a:fld>
            <a:endParaRPr lang="en-US"/>
          </a:p>
        </p:txBody>
      </p:sp>
      <p:sp>
        <p:nvSpPr>
          <p:cNvPr id="3" name="Footer Placeholder 2">
            <a:extLst>
              <a:ext uri="{FF2B5EF4-FFF2-40B4-BE49-F238E27FC236}">
                <a16:creationId xmlns:a16="http://schemas.microsoft.com/office/drawing/2014/main" id="{1619358A-7A20-6BDD-2F54-AFBF46123F6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276C151-8611-74DF-3BEE-8F1B64D0A59C}"/>
              </a:ext>
            </a:extLst>
          </p:cNvPr>
          <p:cNvSpPr>
            <a:spLocks noGrp="1"/>
          </p:cNvSpPr>
          <p:nvPr>
            <p:ph type="sldNum" sz="quarter" idx="12"/>
          </p:nvPr>
        </p:nvSpPr>
        <p:spPr/>
        <p:txBody>
          <a:bodyPr/>
          <a:lstStyle/>
          <a:p>
            <a:fld id="{CB78A1FF-2A3A-1542-BC26-E8EDA5E1EE60}" type="slidenum">
              <a:rPr lang="en-US" smtClean="0"/>
              <a:t>‹#›</a:t>
            </a:fld>
            <a:endParaRPr lang="en-US"/>
          </a:p>
        </p:txBody>
      </p:sp>
    </p:spTree>
    <p:extLst>
      <p:ext uri="{BB962C8B-B14F-4D97-AF65-F5344CB8AC3E}">
        <p14:creationId xmlns:p14="http://schemas.microsoft.com/office/powerpoint/2010/main" val="8714275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84408-E799-03AF-30A6-0699A5D43F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38CA69A-4298-923B-0BD7-EAC263F38A1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3CA3976-5281-9AFC-94EA-18DA5F24E4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DBF2BB0-7E05-39CE-9352-D15ADED2F499}"/>
              </a:ext>
            </a:extLst>
          </p:cNvPr>
          <p:cNvSpPr>
            <a:spLocks noGrp="1"/>
          </p:cNvSpPr>
          <p:nvPr>
            <p:ph type="dt" sz="half" idx="10"/>
          </p:nvPr>
        </p:nvSpPr>
        <p:spPr/>
        <p:txBody>
          <a:bodyPr/>
          <a:lstStyle/>
          <a:p>
            <a:fld id="{0C69F9C6-1120-F94F-8D44-5FAD32EEB7E1}" type="datetimeFigureOut">
              <a:rPr lang="en-US" smtClean="0"/>
              <a:t>5/22/26</a:t>
            </a:fld>
            <a:endParaRPr lang="en-US"/>
          </a:p>
        </p:txBody>
      </p:sp>
      <p:sp>
        <p:nvSpPr>
          <p:cNvPr id="6" name="Footer Placeholder 5">
            <a:extLst>
              <a:ext uri="{FF2B5EF4-FFF2-40B4-BE49-F238E27FC236}">
                <a16:creationId xmlns:a16="http://schemas.microsoft.com/office/drawing/2014/main" id="{8694B641-E786-837D-B58E-629C618041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A01489-7B32-D8D9-F291-3F04836AB566}"/>
              </a:ext>
            </a:extLst>
          </p:cNvPr>
          <p:cNvSpPr>
            <a:spLocks noGrp="1"/>
          </p:cNvSpPr>
          <p:nvPr>
            <p:ph type="sldNum" sz="quarter" idx="12"/>
          </p:nvPr>
        </p:nvSpPr>
        <p:spPr/>
        <p:txBody>
          <a:bodyPr/>
          <a:lstStyle/>
          <a:p>
            <a:fld id="{CB78A1FF-2A3A-1542-BC26-E8EDA5E1EE60}" type="slidenum">
              <a:rPr lang="en-US" smtClean="0"/>
              <a:t>‹#›</a:t>
            </a:fld>
            <a:endParaRPr lang="en-US"/>
          </a:p>
        </p:txBody>
      </p:sp>
    </p:spTree>
    <p:extLst>
      <p:ext uri="{BB962C8B-B14F-4D97-AF65-F5344CB8AC3E}">
        <p14:creationId xmlns:p14="http://schemas.microsoft.com/office/powerpoint/2010/main" val="38559301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ingle Talking Poin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67B3B-0E9A-5C17-0EEA-5D0883E7FB35}"/>
              </a:ext>
            </a:extLst>
          </p:cNvPr>
          <p:cNvGraphicFramePr>
            <a:graphicFrameLocks noChangeAspect="1"/>
          </p:cNvGraphicFramePr>
          <p:nvPr>
            <p:custDataLst>
              <p:tags r:id="rId1"/>
            </p:custDataLst>
            <p:extLst>
              <p:ext uri="{D42A27DB-BD31-4B8C-83A1-F6EECF244321}">
                <p14:modId xmlns:p14="http://schemas.microsoft.com/office/powerpoint/2010/main" val="32438409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73B67B3B-0E9A-5C17-0EEA-5D0883E7FB3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B920ED7-C5A1-2544-9572-F2AF41CB5A8C}"/>
              </a:ext>
            </a:extLst>
          </p:cNvPr>
          <p:cNvSpPr/>
          <p:nvPr/>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329184" y="521208"/>
            <a:ext cx="8004858" cy="1230315"/>
          </a:xfrm>
        </p:spPr>
        <p:txBody>
          <a:bodyPr vert="horz">
            <a:normAutofit/>
          </a:bodyPr>
          <a:lstStyle>
            <a:lvl1pPr>
              <a:lnSpc>
                <a:spcPts val="4000"/>
              </a:lnSpc>
              <a:defRPr sz="28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sp>
        <p:nvSpPr>
          <p:cNvPr id="3" name="Rectangle 2">
            <a:extLst>
              <a:ext uri="{FF2B5EF4-FFF2-40B4-BE49-F238E27FC236}">
                <a16:creationId xmlns:a16="http://schemas.microsoft.com/office/drawing/2014/main" id="{354AAA08-91D1-5D48-447B-A684A50D7464}"/>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17CC340C-3B93-DE27-8EA4-866BCF4165BE}"/>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D44F36C-82A8-7B05-EFCE-A849930D685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13" name="Picture 1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32517262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FCDBB1-6D60-7754-52CA-C34CD9DECAC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EA46D7D-3020-BB9D-17B4-4D1D36F6583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91AF06B-0BDB-CBD2-2756-F183C53A6C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16307F4-ECE5-3E8E-5F18-80FD6C2C15A1}"/>
              </a:ext>
            </a:extLst>
          </p:cNvPr>
          <p:cNvSpPr>
            <a:spLocks noGrp="1"/>
          </p:cNvSpPr>
          <p:nvPr>
            <p:ph type="dt" sz="half" idx="10"/>
          </p:nvPr>
        </p:nvSpPr>
        <p:spPr/>
        <p:txBody>
          <a:bodyPr/>
          <a:lstStyle/>
          <a:p>
            <a:fld id="{0C69F9C6-1120-F94F-8D44-5FAD32EEB7E1}" type="datetimeFigureOut">
              <a:rPr lang="en-US" smtClean="0"/>
              <a:t>5/22/26</a:t>
            </a:fld>
            <a:endParaRPr lang="en-US"/>
          </a:p>
        </p:txBody>
      </p:sp>
      <p:sp>
        <p:nvSpPr>
          <p:cNvPr id="6" name="Footer Placeholder 5">
            <a:extLst>
              <a:ext uri="{FF2B5EF4-FFF2-40B4-BE49-F238E27FC236}">
                <a16:creationId xmlns:a16="http://schemas.microsoft.com/office/drawing/2014/main" id="{74CD500E-CAB0-94BB-C5C6-64B476FCFB3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54666F9-4F48-423E-FDA2-EBCF5E744B6B}"/>
              </a:ext>
            </a:extLst>
          </p:cNvPr>
          <p:cNvSpPr>
            <a:spLocks noGrp="1"/>
          </p:cNvSpPr>
          <p:nvPr>
            <p:ph type="sldNum" sz="quarter" idx="12"/>
          </p:nvPr>
        </p:nvSpPr>
        <p:spPr/>
        <p:txBody>
          <a:bodyPr/>
          <a:lstStyle/>
          <a:p>
            <a:fld id="{CB78A1FF-2A3A-1542-BC26-E8EDA5E1EE60}" type="slidenum">
              <a:rPr lang="en-US" smtClean="0"/>
              <a:t>‹#›</a:t>
            </a:fld>
            <a:endParaRPr lang="en-US"/>
          </a:p>
        </p:txBody>
      </p:sp>
    </p:spTree>
    <p:extLst>
      <p:ext uri="{BB962C8B-B14F-4D97-AF65-F5344CB8AC3E}">
        <p14:creationId xmlns:p14="http://schemas.microsoft.com/office/powerpoint/2010/main" val="10280921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C5462-F2C7-3989-81D6-F354C2FA848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A0D8337-0C11-E46F-A417-24E37105C7A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52F0EE-39B7-432E-9BF7-A2CAA850B72F}"/>
              </a:ext>
            </a:extLst>
          </p:cNvPr>
          <p:cNvSpPr>
            <a:spLocks noGrp="1"/>
          </p:cNvSpPr>
          <p:nvPr>
            <p:ph type="dt" sz="half" idx="10"/>
          </p:nvPr>
        </p:nvSpPr>
        <p:spPr/>
        <p:txBody>
          <a:bodyPr/>
          <a:lstStyle/>
          <a:p>
            <a:fld id="{0C69F9C6-1120-F94F-8D44-5FAD32EEB7E1}" type="datetimeFigureOut">
              <a:rPr lang="en-US" smtClean="0"/>
              <a:t>5/22/26</a:t>
            </a:fld>
            <a:endParaRPr lang="en-US"/>
          </a:p>
        </p:txBody>
      </p:sp>
      <p:sp>
        <p:nvSpPr>
          <p:cNvPr id="5" name="Footer Placeholder 4">
            <a:extLst>
              <a:ext uri="{FF2B5EF4-FFF2-40B4-BE49-F238E27FC236}">
                <a16:creationId xmlns:a16="http://schemas.microsoft.com/office/drawing/2014/main" id="{256516E4-2F0B-3E08-347B-DFD44E5F54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8DB27F-B167-9CF6-4EEA-B00F33193049}"/>
              </a:ext>
            </a:extLst>
          </p:cNvPr>
          <p:cNvSpPr>
            <a:spLocks noGrp="1"/>
          </p:cNvSpPr>
          <p:nvPr>
            <p:ph type="sldNum" sz="quarter" idx="12"/>
          </p:nvPr>
        </p:nvSpPr>
        <p:spPr/>
        <p:txBody>
          <a:bodyPr/>
          <a:lstStyle/>
          <a:p>
            <a:fld id="{CB78A1FF-2A3A-1542-BC26-E8EDA5E1EE60}" type="slidenum">
              <a:rPr lang="en-US" smtClean="0"/>
              <a:t>‹#›</a:t>
            </a:fld>
            <a:endParaRPr lang="en-US"/>
          </a:p>
        </p:txBody>
      </p:sp>
    </p:spTree>
    <p:extLst>
      <p:ext uri="{BB962C8B-B14F-4D97-AF65-F5344CB8AC3E}">
        <p14:creationId xmlns:p14="http://schemas.microsoft.com/office/powerpoint/2010/main" val="12496746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04D909D-08FD-00BE-978C-FF2D36AE07B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68BD908-0A2D-E6C5-B7BA-735A4A32740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877318-EF1B-9B2C-0F84-5256B2115C4B}"/>
              </a:ext>
            </a:extLst>
          </p:cNvPr>
          <p:cNvSpPr>
            <a:spLocks noGrp="1"/>
          </p:cNvSpPr>
          <p:nvPr>
            <p:ph type="dt" sz="half" idx="10"/>
          </p:nvPr>
        </p:nvSpPr>
        <p:spPr/>
        <p:txBody>
          <a:bodyPr/>
          <a:lstStyle/>
          <a:p>
            <a:fld id="{0C69F9C6-1120-F94F-8D44-5FAD32EEB7E1}" type="datetimeFigureOut">
              <a:rPr lang="en-US" smtClean="0"/>
              <a:t>5/22/26</a:t>
            </a:fld>
            <a:endParaRPr lang="en-US"/>
          </a:p>
        </p:txBody>
      </p:sp>
      <p:sp>
        <p:nvSpPr>
          <p:cNvPr id="5" name="Footer Placeholder 4">
            <a:extLst>
              <a:ext uri="{FF2B5EF4-FFF2-40B4-BE49-F238E27FC236}">
                <a16:creationId xmlns:a16="http://schemas.microsoft.com/office/drawing/2014/main" id="{658F1DBF-5D4F-64DC-7975-C8C465F5F4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6D7DA8-2B44-455D-B804-813FBDFC1F08}"/>
              </a:ext>
            </a:extLst>
          </p:cNvPr>
          <p:cNvSpPr>
            <a:spLocks noGrp="1"/>
          </p:cNvSpPr>
          <p:nvPr>
            <p:ph type="sldNum" sz="quarter" idx="12"/>
          </p:nvPr>
        </p:nvSpPr>
        <p:spPr/>
        <p:txBody>
          <a:bodyPr/>
          <a:lstStyle/>
          <a:p>
            <a:fld id="{CB78A1FF-2A3A-1542-BC26-E8EDA5E1EE60}" type="slidenum">
              <a:rPr lang="en-US" smtClean="0"/>
              <a:t>‹#›</a:t>
            </a:fld>
            <a:endParaRPr lang="en-US"/>
          </a:p>
        </p:txBody>
      </p:sp>
    </p:spTree>
    <p:extLst>
      <p:ext uri="{BB962C8B-B14F-4D97-AF65-F5344CB8AC3E}">
        <p14:creationId xmlns:p14="http://schemas.microsoft.com/office/powerpoint/2010/main" val="32629738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314182323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Arial (body)"/>
              </a:rPr>
              <a:pPr marL="0" indent="0" algn="r">
                <a:buNone/>
              </a:pPr>
              <a:t>‹#›</a:t>
            </a:fld>
            <a:r>
              <a:rPr lang="en-US" sz="800" b="0" baseline="0" dirty="0">
                <a:solidFill>
                  <a:schemeClr val="tx1"/>
                </a:solidFill>
                <a:latin typeface="Arial (body)"/>
              </a:rPr>
              <a:t> of 73</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2049755268"/>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ck title">
    <p:bg>
      <p:bgPr>
        <a:solidFill>
          <a:srgbClr val="009BDB"/>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BEEFE8-08DB-4323-1C3F-1B2713BA00FD}"/>
              </a:ext>
            </a:extLst>
          </p:cNvPr>
          <p:cNvGraphicFramePr>
            <a:graphicFrameLocks noChangeAspect="1"/>
          </p:cNvGraphicFramePr>
          <p:nvPr>
            <p:custDataLst>
              <p:tags r:id="rId1"/>
            </p:custDataLst>
            <p:extLst>
              <p:ext uri="{D42A27DB-BD31-4B8C-83A1-F6EECF244321}">
                <p14:modId xmlns:p14="http://schemas.microsoft.com/office/powerpoint/2010/main" val="1046823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15BEEFE8-08DB-4323-1C3F-1B2713BA00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7FC975-48D4-E344-AA0E-6BF906D04B8F}"/>
              </a:ext>
            </a:extLst>
          </p:cNvPr>
          <p:cNvSpPr>
            <a:spLocks noGrp="1"/>
          </p:cNvSpPr>
          <p:nvPr>
            <p:ph type="title" hasCustomPrompt="1"/>
          </p:nvPr>
        </p:nvSpPr>
        <p:spPr>
          <a:xfrm>
            <a:off x="5280951" y="3302241"/>
            <a:ext cx="6432630" cy="1605426"/>
          </a:xfrm>
        </p:spPr>
        <p:txBody>
          <a:bodyPr vert="horz" lIns="0" tIns="91440" rIns="0" bIns="0" anchor="t" anchorCtr="0">
            <a:normAutofit/>
          </a:bodyPr>
          <a:lstStyle>
            <a:lvl1pPr>
              <a:lnSpc>
                <a:spcPts val="3600"/>
              </a:lnSpc>
              <a:defRPr sz="4800">
                <a:solidFill>
                  <a:srgbClr val="F1F4F7"/>
                </a:solidFill>
              </a:defRPr>
            </a:lvl1pPr>
          </a:lstStyle>
          <a:p>
            <a:r>
              <a:rPr lang="en-US"/>
              <a:t>Deck Title </a:t>
            </a:r>
          </a:p>
        </p:txBody>
      </p:sp>
      <p:cxnSp>
        <p:nvCxnSpPr>
          <p:cNvPr id="3" name="Straight Connector 2">
            <a:extLst>
              <a:ext uri="{FF2B5EF4-FFF2-40B4-BE49-F238E27FC236}">
                <a16:creationId xmlns:a16="http://schemas.microsoft.com/office/drawing/2014/main" id="{25822FE9-D507-C840-A53B-A87F0DAB04F1}"/>
              </a:ext>
            </a:extLst>
          </p:cNvPr>
          <p:cNvCxnSpPr/>
          <p:nvPr/>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Authors</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5280951" y="493776"/>
            <a:ext cx="2699675" cy="477345"/>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Date</a:t>
            </a:r>
          </a:p>
        </p:txBody>
      </p:sp>
      <p:sp>
        <p:nvSpPr>
          <p:cNvPr id="9" name="Rectangle 8"/>
          <p:cNvSpPr/>
          <p:nvPr/>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91546600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ection dividers">
    <p:bg>
      <p:bgPr>
        <a:solidFill>
          <a:srgbClr val="009BDB"/>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noChangeAspect="1"/>
          </p:cNvGraphicFramePr>
          <p:nvPr>
            <p:custDataLst>
              <p:tags r:id="rId1"/>
            </p:custDataLst>
            <p:extLst>
              <p:ext uri="{D42A27DB-BD31-4B8C-83A1-F6EECF244321}">
                <p14:modId xmlns:p14="http://schemas.microsoft.com/office/powerpoint/2010/main" val="23066408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10A01E-DF31-B94D-94BE-4ECDF48E0CA8}"/>
              </a:ext>
            </a:extLst>
          </p:cNvPr>
          <p:cNvSpPr>
            <a:spLocks noGrp="1"/>
          </p:cNvSpPr>
          <p:nvPr>
            <p:ph type="title" hasCustomPrompt="1"/>
          </p:nvPr>
        </p:nvSpPr>
        <p:spPr>
          <a:xfrm>
            <a:off x="831850" y="3362700"/>
            <a:ext cx="10515600" cy="2436792"/>
          </a:xfrm>
          <a:prstGeom prst="rect">
            <a:avLst/>
          </a:prstGeom>
        </p:spPr>
        <p:txBody>
          <a:bodyPr vert="horz" lIns="0" bIns="0" anchor="b">
            <a:noAutofit/>
          </a:bodyPr>
          <a:lstStyle>
            <a:lvl1pPr>
              <a:defRPr sz="4800">
                <a:solidFill>
                  <a:schemeClr val="bg1"/>
                </a:solidFill>
              </a:defRPr>
            </a:lvl1pPr>
          </a:lstStyle>
          <a:p>
            <a:r>
              <a:rPr lang="en-US"/>
              <a:t>Section title slide:</a:t>
            </a:r>
            <a:br>
              <a:rPr lang="en-US"/>
            </a:br>
            <a:r>
              <a:rPr lang="en-US"/>
              <a:t>Use a representative photo for the background</a:t>
            </a:r>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697753664"/>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ingle Talking Poin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67B3B-0E9A-5C17-0EEA-5D0883E7FB35}"/>
              </a:ext>
            </a:extLst>
          </p:cNvPr>
          <p:cNvGraphicFramePr>
            <a:graphicFrameLocks noChangeAspect="1"/>
          </p:cNvGraphicFramePr>
          <p:nvPr>
            <p:custDataLst>
              <p:tags r:id="rId1"/>
            </p:custDataLst>
            <p:extLst>
              <p:ext uri="{D42A27DB-BD31-4B8C-83A1-F6EECF244321}">
                <p14:modId xmlns:p14="http://schemas.microsoft.com/office/powerpoint/2010/main" val="32438409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73B67B3B-0E9A-5C17-0EEA-5D0883E7FB3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B920ED7-C5A1-2544-9572-F2AF41CB5A8C}"/>
              </a:ext>
            </a:extLst>
          </p:cNvPr>
          <p:cNvSpPr/>
          <p:nvPr/>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329184" y="521208"/>
            <a:ext cx="8004858" cy="1230315"/>
          </a:xfrm>
        </p:spPr>
        <p:txBody>
          <a:bodyPr vert="horz">
            <a:normAutofit/>
          </a:bodyPr>
          <a:lstStyle>
            <a:lvl1pPr>
              <a:lnSpc>
                <a:spcPts val="4000"/>
              </a:lnSpc>
              <a:defRPr sz="28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sp>
        <p:nvSpPr>
          <p:cNvPr id="3" name="Rectangle 2">
            <a:extLst>
              <a:ext uri="{FF2B5EF4-FFF2-40B4-BE49-F238E27FC236}">
                <a16:creationId xmlns:a16="http://schemas.microsoft.com/office/drawing/2014/main" id="{354AAA08-91D1-5D48-447B-A684A50D7464}"/>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17CC340C-3B93-DE27-8EA4-866BCF4165BE}"/>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D44F36C-82A8-7B05-EFCE-A849930D685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12" name="Picture 1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20276384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Appendix">
    <p:bg>
      <p:bgPr>
        <a:solidFill>
          <a:srgbClr val="687078"/>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noChangeAspect="1"/>
          </p:cNvGraphicFramePr>
          <p:nvPr>
            <p:custDataLst>
              <p:tags r:id="rId1"/>
            </p:custDataLst>
            <p:extLst>
              <p:ext uri="{D42A27DB-BD31-4B8C-83A1-F6EECF244321}">
                <p14:modId xmlns:p14="http://schemas.microsoft.com/office/powerpoint/2010/main" val="1619911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ext Placeholder 5">
            <a:extLst>
              <a:ext uri="{FF2B5EF4-FFF2-40B4-BE49-F238E27FC236}">
                <a16:creationId xmlns:a16="http://schemas.microsoft.com/office/drawing/2014/main" id="{FCAC3596-1183-E1C5-279E-EF9E70AF08E9}"/>
              </a:ext>
            </a:extLst>
          </p:cNvPr>
          <p:cNvSpPr>
            <a:spLocks noGrp="1"/>
          </p:cNvSpPr>
          <p:nvPr>
            <p:ph type="title" idx="4294967295" hasCustomPrompt="1"/>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a:defRPr sz="4800"/>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mn-ea"/>
                <a:cs typeface="+mn-cs"/>
              </a:rPr>
              <a:t>Appendix</a:t>
            </a:r>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348691775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19671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ppendix">
    <p:bg>
      <p:bgPr>
        <a:solidFill>
          <a:srgbClr val="687078"/>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noChangeAspect="1"/>
          </p:cNvGraphicFramePr>
          <p:nvPr>
            <p:custDataLst>
              <p:tags r:id="rId1"/>
            </p:custDataLst>
            <p:extLst>
              <p:ext uri="{D42A27DB-BD31-4B8C-83A1-F6EECF244321}">
                <p14:modId xmlns:p14="http://schemas.microsoft.com/office/powerpoint/2010/main" val="1619911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ext Placeholder 5">
            <a:extLst>
              <a:ext uri="{FF2B5EF4-FFF2-40B4-BE49-F238E27FC236}">
                <a16:creationId xmlns:a16="http://schemas.microsoft.com/office/drawing/2014/main" id="{FCAC3596-1183-E1C5-279E-EF9E70AF08E9}"/>
              </a:ext>
            </a:extLst>
          </p:cNvPr>
          <p:cNvSpPr>
            <a:spLocks noGrp="1"/>
          </p:cNvSpPr>
          <p:nvPr>
            <p:ph type="title" idx="4294967295" hasCustomPrompt="1"/>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a:defRPr sz="4800"/>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mn-ea"/>
                <a:cs typeface="+mn-cs"/>
              </a:rPr>
              <a:t>Appendix</a:t>
            </a:r>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49574907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3315448962"/>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73</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3154905803"/>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9" name="Do not remove" hidden="1">
            <a:extLst>
              <a:ext uri="{FF2B5EF4-FFF2-40B4-BE49-F238E27FC236}">
                <a16:creationId xmlns:a16="http://schemas.microsoft.com/office/drawing/2014/main" id="{62EC59FB-ED46-DFEB-6961-719C0DDFB4F3}"/>
              </a:ext>
            </a:extLst>
          </p:cNvPr>
          <p:cNvSpPr/>
          <p:nvPr userDrawn="1">
            <p:custDataLst>
              <p:tags r:id="rId2"/>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659434"/>
          </a:xfrm>
          <a:prstGeom prst="rect">
            <a:avLst/>
          </a:prstGeom>
        </p:spPr>
        <p:txBody>
          <a:bodyPr tIns="0" anchor="t">
            <a:normAutofit/>
          </a:bodyPr>
          <a:lstStyle>
            <a:lvl1pPr>
              <a:defRPr sz="2800"/>
            </a:lvl1pPr>
          </a:lstStyle>
          <a:p>
            <a:r>
              <a:rPr lang="en-US"/>
              <a:t>Click to edit Master title style</a:t>
            </a:r>
          </a:p>
        </p:txBody>
      </p:sp>
      <p:cxnSp>
        <p:nvCxnSpPr>
          <p:cNvPr id="4" name="Straight Connector 3">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73</a:t>
            </a:r>
            <a:endParaRPr lang="en-US" sz="800" dirty="0">
              <a:solidFill>
                <a:schemeClr val="tx1"/>
              </a:solidFill>
            </a:endParaRPr>
          </a:p>
        </p:txBody>
      </p:sp>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909557402"/>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329650031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77568704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85078272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420224195"/>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4498729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14768207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custDataLst>
      <p:tags r:id="rId1"/>
    </p:custDataLst>
    <p:extLst>
      <p:ext uri="{BB962C8B-B14F-4D97-AF65-F5344CB8AC3E}">
        <p14:creationId xmlns:p14="http://schemas.microsoft.com/office/powerpoint/2010/main" val="36090543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81249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56388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7EA8D-FF6D-2835-A3DE-3B01EFC5A16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DEC1D22-4E9D-68EB-1CB0-960EF543F4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35B951-F800-C744-3E4A-BC74BEA3781A}"/>
              </a:ext>
            </a:extLst>
          </p:cNvPr>
          <p:cNvSpPr>
            <a:spLocks noGrp="1"/>
          </p:cNvSpPr>
          <p:nvPr>
            <p:ph type="dt" sz="half" idx="10"/>
          </p:nvPr>
        </p:nvSpPr>
        <p:spPr/>
        <p:txBody>
          <a:bodyPr/>
          <a:lstStyle/>
          <a:p>
            <a:fld id="{DE634234-8E63-BD49-8CD3-F09F0FAC4A4B}" type="datetimeFigureOut">
              <a:rPr lang="en-US" smtClean="0"/>
              <a:t>5/22/26</a:t>
            </a:fld>
            <a:endParaRPr lang="en-US"/>
          </a:p>
        </p:txBody>
      </p:sp>
      <p:sp>
        <p:nvSpPr>
          <p:cNvPr id="5" name="Footer Placeholder 4">
            <a:extLst>
              <a:ext uri="{FF2B5EF4-FFF2-40B4-BE49-F238E27FC236}">
                <a16:creationId xmlns:a16="http://schemas.microsoft.com/office/drawing/2014/main" id="{A0592145-34BD-B98F-BFB2-E1531CE7AA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2B64BA-13E2-283A-1A1A-5C12B8616B94}"/>
              </a:ext>
            </a:extLst>
          </p:cNvPr>
          <p:cNvSpPr>
            <a:spLocks noGrp="1"/>
          </p:cNvSpPr>
          <p:nvPr>
            <p:ph type="sldNum" sz="quarter" idx="12"/>
          </p:nvPr>
        </p:nvSpPr>
        <p:spPr/>
        <p:txBody>
          <a:bodyPr/>
          <a:lstStyle/>
          <a:p>
            <a:fld id="{5FACD765-62B6-AB41-A909-5D99359709F4}" type="slidenum">
              <a:rPr lang="en-US" smtClean="0"/>
              <a:t>‹#›</a:t>
            </a:fld>
            <a:endParaRPr lang="en-US"/>
          </a:p>
        </p:txBody>
      </p:sp>
    </p:spTree>
    <p:extLst>
      <p:ext uri="{BB962C8B-B14F-4D97-AF65-F5344CB8AC3E}">
        <p14:creationId xmlns:p14="http://schemas.microsoft.com/office/powerpoint/2010/main" val="30666824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With subtitl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12" name="Text Placeholder 11">
            <a:extLst>
              <a:ext uri="{FF2B5EF4-FFF2-40B4-BE49-F238E27FC236}">
                <a16:creationId xmlns:a16="http://schemas.microsoft.com/office/drawing/2014/main" id="{88BF458D-A3E1-842C-53A3-F0B8A02FFCAD}"/>
              </a:ext>
            </a:extLst>
          </p:cNvPr>
          <p:cNvSpPr>
            <a:spLocks noGrp="1"/>
          </p:cNvSpPr>
          <p:nvPr>
            <p:ph type="body" sz="quarter" idx="13"/>
          </p:nvPr>
        </p:nvSpPr>
        <p:spPr>
          <a:xfrm>
            <a:off x="9308592" y="1554480"/>
            <a:ext cx="2551176" cy="4262438"/>
          </a:xfrm>
          <a:solidFill>
            <a:srgbClr val="E4E8EF"/>
          </a:solidFill>
        </p:spPr>
        <p:txBody>
          <a:bodyPr lIns="137160" tIns="137160" rIns="274320" bIns="137160"/>
          <a:lstStyle>
            <a:lvl1pPr marL="285750" indent="-285750">
              <a:buFont typeface="Arial" panose="020B0604020202020204" pitchFamily="34" charset="0"/>
              <a:buChar char="•"/>
              <a:defRPr sz="1250" b="1"/>
            </a:lvl1pPr>
            <a:lvl2pPr marL="361950" indent="-180975">
              <a:buFont typeface="Arial" panose="020B0604020202020204" pitchFamily="34" charset="0"/>
              <a:buChar char="•"/>
              <a:defRPr/>
            </a:lvl2pPr>
            <a:lvl3pPr marL="534988" indent="-173038">
              <a:buFont typeface="Arial" panose="020B0604020202020204" pitchFamily="34" charset="0"/>
              <a:buChar char="•"/>
              <a:defRPr/>
            </a:lvl3pPr>
            <a:lvl4pPr marL="715963" indent="-180975">
              <a:buFont typeface="Arial" panose="020B0604020202020204" pitchFamily="34" charset="0"/>
              <a:buChar char="•"/>
              <a:defRPr/>
            </a:lvl4pPr>
            <a:lvl5pPr marL="898525" indent="-182563">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3733734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eck title">
    <p:bg>
      <p:bgPr>
        <a:solidFill>
          <a:srgbClr val="009BDB"/>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BEEFE8-08DB-4323-1C3F-1B2713BA00FD}"/>
              </a:ext>
            </a:extLst>
          </p:cNvPr>
          <p:cNvGraphicFramePr>
            <a:graphicFrameLocks noChangeAspect="1"/>
          </p:cNvGraphicFramePr>
          <p:nvPr>
            <p:custDataLst>
              <p:tags r:id="rId1"/>
            </p:custDataLst>
            <p:extLst>
              <p:ext uri="{D42A27DB-BD31-4B8C-83A1-F6EECF244321}">
                <p14:modId xmlns:p14="http://schemas.microsoft.com/office/powerpoint/2010/main" val="16008056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15BEEFE8-08DB-4323-1C3F-1B2713BA00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7FC975-48D4-E344-AA0E-6BF906D04B8F}"/>
              </a:ext>
            </a:extLst>
          </p:cNvPr>
          <p:cNvSpPr>
            <a:spLocks noGrp="1"/>
          </p:cNvSpPr>
          <p:nvPr>
            <p:ph type="title" hasCustomPrompt="1"/>
          </p:nvPr>
        </p:nvSpPr>
        <p:spPr>
          <a:xfrm>
            <a:off x="5280951" y="3302241"/>
            <a:ext cx="6432630" cy="1605426"/>
          </a:xfrm>
        </p:spPr>
        <p:txBody>
          <a:bodyPr vert="horz" lIns="0" tIns="91440" rIns="0" bIns="0" anchor="t" anchorCtr="0">
            <a:normAutofit/>
          </a:bodyPr>
          <a:lstStyle>
            <a:lvl1pPr>
              <a:lnSpc>
                <a:spcPts val="3600"/>
              </a:lnSpc>
              <a:defRPr sz="4800">
                <a:solidFill>
                  <a:srgbClr val="F1F4F7"/>
                </a:solidFill>
              </a:defRPr>
            </a:lvl1pPr>
          </a:lstStyle>
          <a:p>
            <a:r>
              <a:rPr lang="en-US"/>
              <a:t>Deck Title </a:t>
            </a:r>
          </a:p>
        </p:txBody>
      </p:sp>
      <p:cxnSp>
        <p:nvCxnSpPr>
          <p:cNvPr id="3" name="Straight Connector 2">
            <a:extLst>
              <a:ext uri="{FF2B5EF4-FFF2-40B4-BE49-F238E27FC236}">
                <a16:creationId xmlns:a16="http://schemas.microsoft.com/office/drawing/2014/main" id="{25822FE9-D507-C840-A53B-A87F0DAB04F1}"/>
              </a:ext>
            </a:extLst>
          </p:cNvPr>
          <p:cNvCxnSpPr/>
          <p:nvPr/>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Authors</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5280951" y="493776"/>
            <a:ext cx="2699675" cy="477345"/>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Date</a:t>
            </a:r>
          </a:p>
        </p:txBody>
      </p:sp>
      <p:sp>
        <p:nvSpPr>
          <p:cNvPr id="9" name="Rectangle 8"/>
          <p:cNvSpPr/>
          <p:nvPr/>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925785328"/>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Section dividers">
    <p:bg>
      <p:bgPr>
        <a:solidFill>
          <a:srgbClr val="009BDB"/>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noChangeAspect="1"/>
          </p:cNvGraphicFramePr>
          <p:nvPr>
            <p:custDataLst>
              <p:tags r:id="rId1"/>
            </p:custDataLst>
            <p:extLst>
              <p:ext uri="{D42A27DB-BD31-4B8C-83A1-F6EECF244321}">
                <p14:modId xmlns:p14="http://schemas.microsoft.com/office/powerpoint/2010/main" val="18399639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10A01E-DF31-B94D-94BE-4ECDF48E0CA8}"/>
              </a:ext>
            </a:extLst>
          </p:cNvPr>
          <p:cNvSpPr>
            <a:spLocks noGrp="1"/>
          </p:cNvSpPr>
          <p:nvPr>
            <p:ph type="title" hasCustomPrompt="1"/>
          </p:nvPr>
        </p:nvSpPr>
        <p:spPr>
          <a:xfrm>
            <a:off x="831850" y="3362700"/>
            <a:ext cx="10515600" cy="2436792"/>
          </a:xfrm>
          <a:prstGeom prst="rect">
            <a:avLst/>
          </a:prstGeom>
        </p:spPr>
        <p:txBody>
          <a:bodyPr vert="horz" lIns="0" bIns="0" anchor="b">
            <a:noAutofit/>
          </a:bodyPr>
          <a:lstStyle>
            <a:lvl1pPr>
              <a:defRPr sz="4800">
                <a:solidFill>
                  <a:schemeClr val="bg1"/>
                </a:solidFill>
              </a:defRPr>
            </a:lvl1pPr>
          </a:lstStyle>
          <a:p>
            <a:r>
              <a:rPr lang="en-US"/>
              <a:t>Section title slide:</a:t>
            </a:r>
            <a:br>
              <a:rPr lang="en-US"/>
            </a:br>
            <a:r>
              <a:rPr lang="en-US"/>
              <a:t>Use a representative photo for the background</a:t>
            </a:r>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430018252"/>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ingle Talking Poin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67B3B-0E9A-5C17-0EEA-5D0883E7FB35}"/>
              </a:ext>
            </a:extLst>
          </p:cNvPr>
          <p:cNvGraphicFramePr>
            <a:graphicFrameLocks noChangeAspect="1"/>
          </p:cNvGraphicFramePr>
          <p:nvPr>
            <p:custDataLst>
              <p:tags r:id="rId1"/>
            </p:custDataLst>
            <p:extLst>
              <p:ext uri="{D42A27DB-BD31-4B8C-83A1-F6EECF244321}">
                <p14:modId xmlns:p14="http://schemas.microsoft.com/office/powerpoint/2010/main" val="23162063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73B67B3B-0E9A-5C17-0EEA-5D0883E7FB3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B920ED7-C5A1-2544-9572-F2AF41CB5A8C}"/>
              </a:ext>
            </a:extLst>
          </p:cNvPr>
          <p:cNvSpPr/>
          <p:nvPr/>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329184" y="521208"/>
            <a:ext cx="8004858" cy="1230315"/>
          </a:xfrm>
        </p:spPr>
        <p:txBody>
          <a:bodyPr vert="horz">
            <a:normAutofit/>
          </a:bodyPr>
          <a:lstStyle>
            <a:lvl1pPr>
              <a:lnSpc>
                <a:spcPts val="4000"/>
              </a:lnSpc>
              <a:defRPr sz="28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sp>
        <p:nvSpPr>
          <p:cNvPr id="3" name="Rectangle 2">
            <a:extLst>
              <a:ext uri="{FF2B5EF4-FFF2-40B4-BE49-F238E27FC236}">
                <a16:creationId xmlns:a16="http://schemas.microsoft.com/office/drawing/2014/main" id="{354AAA08-91D1-5D48-447B-A684A50D7464}"/>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17CC340C-3B93-DE27-8EA4-866BCF4165BE}"/>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D44F36C-82A8-7B05-EFCE-A849930D685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12" name="Picture 1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13708893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Appendix">
    <p:bg>
      <p:bgPr>
        <a:solidFill>
          <a:srgbClr val="687078"/>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3C4170-CB53-6C4B-961F-E3486FD41555}"/>
              </a:ext>
            </a:extLst>
          </p:cNvPr>
          <p:cNvGraphicFramePr>
            <a:graphicFrameLocks noChangeAspect="1"/>
          </p:cNvGraphicFramePr>
          <p:nvPr>
            <p:custDataLst>
              <p:tags r:id="rId1"/>
            </p:custDataLst>
            <p:extLst>
              <p:ext uri="{D42A27DB-BD31-4B8C-83A1-F6EECF244321}">
                <p14:modId xmlns:p14="http://schemas.microsoft.com/office/powerpoint/2010/main" val="11188510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33C4170-CB53-6C4B-961F-E3486FD415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ext Placeholder 5">
            <a:extLst>
              <a:ext uri="{FF2B5EF4-FFF2-40B4-BE49-F238E27FC236}">
                <a16:creationId xmlns:a16="http://schemas.microsoft.com/office/drawing/2014/main" id="{FCAC3596-1183-E1C5-279E-EF9E70AF08E9}"/>
              </a:ext>
            </a:extLst>
          </p:cNvPr>
          <p:cNvSpPr>
            <a:spLocks noGrp="1"/>
          </p:cNvSpPr>
          <p:nvPr>
            <p:ph type="title" idx="4294967295" hasCustomPrompt="1"/>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a:defRPr sz="4800"/>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mn-ea"/>
                <a:cs typeface="+mn-cs"/>
              </a:rPr>
              <a:t>Appendix</a:t>
            </a:r>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87443526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36704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7642682"/>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73</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4213187580"/>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3201384482"/>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82867716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1762831906"/>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681348142"/>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2406063597"/>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36259665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587" y="6392206"/>
            <a:ext cx="2302327" cy="385640"/>
          </a:xfrm>
          <a:prstGeom prst="rect">
            <a:avLst/>
          </a:prstGeom>
        </p:spPr>
      </p:pic>
    </p:spTree>
    <p:extLst>
      <p:ext uri="{BB962C8B-B14F-4D97-AF65-F5344CB8AC3E}">
        <p14:creationId xmlns:p14="http://schemas.microsoft.com/office/powerpoint/2010/main" val="28788547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custDataLst>
      <p:tags r:id="rId1"/>
    </p:custDataLst>
    <p:extLst>
      <p:ext uri="{BB962C8B-B14F-4D97-AF65-F5344CB8AC3E}">
        <p14:creationId xmlns:p14="http://schemas.microsoft.com/office/powerpoint/2010/main" val="241554000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25329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7EA8D-FF6D-2835-A3DE-3B01EFC5A16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DEC1D22-4E9D-68EB-1CB0-960EF543F4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35B951-F800-C744-3E4A-BC74BEA3781A}"/>
              </a:ext>
            </a:extLst>
          </p:cNvPr>
          <p:cNvSpPr>
            <a:spLocks noGrp="1"/>
          </p:cNvSpPr>
          <p:nvPr>
            <p:ph type="dt" sz="half" idx="10"/>
          </p:nvPr>
        </p:nvSpPr>
        <p:spPr/>
        <p:txBody>
          <a:bodyPr/>
          <a:lstStyle/>
          <a:p>
            <a:fld id="{DE634234-8E63-BD49-8CD3-F09F0FAC4A4B}" type="datetimeFigureOut">
              <a:rPr lang="en-US" smtClean="0"/>
              <a:t>5/22/26</a:t>
            </a:fld>
            <a:endParaRPr lang="en-US"/>
          </a:p>
        </p:txBody>
      </p:sp>
      <p:sp>
        <p:nvSpPr>
          <p:cNvPr id="5" name="Footer Placeholder 4">
            <a:extLst>
              <a:ext uri="{FF2B5EF4-FFF2-40B4-BE49-F238E27FC236}">
                <a16:creationId xmlns:a16="http://schemas.microsoft.com/office/drawing/2014/main" id="{A0592145-34BD-B98F-BFB2-E1531CE7AA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2B64BA-13E2-283A-1A1A-5C12B8616B94}"/>
              </a:ext>
            </a:extLst>
          </p:cNvPr>
          <p:cNvSpPr>
            <a:spLocks noGrp="1"/>
          </p:cNvSpPr>
          <p:nvPr>
            <p:ph type="sldNum" sz="quarter" idx="12"/>
          </p:nvPr>
        </p:nvSpPr>
        <p:spPr/>
        <p:txBody>
          <a:bodyPr/>
          <a:lstStyle/>
          <a:p>
            <a:fld id="{5FACD765-62B6-AB41-A909-5D99359709F4}" type="slidenum">
              <a:rPr lang="en-US" smtClean="0"/>
              <a:t>‹#›</a:t>
            </a:fld>
            <a:endParaRPr lang="en-US"/>
          </a:p>
        </p:txBody>
      </p:sp>
    </p:spTree>
    <p:extLst>
      <p:ext uri="{BB962C8B-B14F-4D97-AF65-F5344CB8AC3E}">
        <p14:creationId xmlns:p14="http://schemas.microsoft.com/office/powerpoint/2010/main" val="34247275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ith subtitl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12" name="Text Placeholder 11">
            <a:extLst>
              <a:ext uri="{FF2B5EF4-FFF2-40B4-BE49-F238E27FC236}">
                <a16:creationId xmlns:a16="http://schemas.microsoft.com/office/drawing/2014/main" id="{88BF458D-A3E1-842C-53A3-F0B8A02FFCAD}"/>
              </a:ext>
            </a:extLst>
          </p:cNvPr>
          <p:cNvSpPr>
            <a:spLocks noGrp="1"/>
          </p:cNvSpPr>
          <p:nvPr>
            <p:ph type="body" sz="quarter" idx="13"/>
          </p:nvPr>
        </p:nvSpPr>
        <p:spPr>
          <a:xfrm>
            <a:off x="9308592" y="1554480"/>
            <a:ext cx="2551176" cy="4262438"/>
          </a:xfrm>
          <a:solidFill>
            <a:srgbClr val="E4E8EF"/>
          </a:solidFill>
        </p:spPr>
        <p:txBody>
          <a:bodyPr lIns="137160" tIns="137160" rIns="274320" bIns="137160"/>
          <a:lstStyle>
            <a:lvl1pPr marL="285750" indent="-285750">
              <a:buFont typeface="Arial" panose="020B0604020202020204" pitchFamily="34" charset="0"/>
              <a:buChar char="•"/>
              <a:defRPr sz="1250" b="1"/>
            </a:lvl1pPr>
            <a:lvl2pPr marL="361950" indent="-180975">
              <a:buFont typeface="Arial" panose="020B0604020202020204" pitchFamily="34" charset="0"/>
              <a:buChar char="•"/>
              <a:defRPr/>
            </a:lvl2pPr>
            <a:lvl3pPr marL="534988" indent="-173038">
              <a:buFont typeface="Arial" panose="020B0604020202020204" pitchFamily="34" charset="0"/>
              <a:buChar char="•"/>
              <a:defRPr/>
            </a:lvl3pPr>
            <a:lvl4pPr marL="715963" indent="-180975">
              <a:buFont typeface="Arial" panose="020B0604020202020204" pitchFamily="34" charset="0"/>
              <a:buChar char="•"/>
              <a:defRPr/>
            </a:lvl4pPr>
            <a:lvl5pPr marL="898525" indent="-182563">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70155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73</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3919028051"/>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ith subtitle, underlin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 with underline (this layout only works if keeping observations box width</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12" name="Text Placeholder 11">
            <a:extLst>
              <a:ext uri="{FF2B5EF4-FFF2-40B4-BE49-F238E27FC236}">
                <a16:creationId xmlns:a16="http://schemas.microsoft.com/office/drawing/2014/main" id="{88BF458D-A3E1-842C-53A3-F0B8A02FFCAD}"/>
              </a:ext>
            </a:extLst>
          </p:cNvPr>
          <p:cNvSpPr>
            <a:spLocks noGrp="1"/>
          </p:cNvSpPr>
          <p:nvPr>
            <p:ph type="body" sz="quarter" idx="13"/>
          </p:nvPr>
        </p:nvSpPr>
        <p:spPr>
          <a:xfrm>
            <a:off x="9308592" y="1554480"/>
            <a:ext cx="2551176" cy="4262438"/>
          </a:xfrm>
          <a:solidFill>
            <a:srgbClr val="E4E8EF"/>
          </a:solidFill>
        </p:spPr>
        <p:txBody>
          <a:bodyPr lIns="137160" tIns="137160" rIns="274320" bIns="137160"/>
          <a:lstStyle>
            <a:lvl1pPr marL="285750" indent="-285750">
              <a:buFont typeface="Arial" panose="020B0604020202020204" pitchFamily="34" charset="0"/>
              <a:buChar char="•"/>
              <a:defRPr sz="1250" b="1"/>
            </a:lvl1pPr>
            <a:lvl2pPr marL="361950" indent="-180975">
              <a:buFont typeface="Arial" panose="020B0604020202020204" pitchFamily="34" charset="0"/>
              <a:buChar char="•"/>
              <a:defRPr/>
            </a:lvl2pPr>
            <a:lvl3pPr marL="534988" indent="-173038">
              <a:buFont typeface="Arial" panose="020B0604020202020204" pitchFamily="34" charset="0"/>
              <a:buChar char="•"/>
              <a:defRPr/>
            </a:lvl3pPr>
            <a:lvl4pPr marL="715963" indent="-180975">
              <a:buFont typeface="Arial" panose="020B0604020202020204" pitchFamily="34" charset="0"/>
              <a:buChar char="•"/>
              <a:defRPr/>
            </a:lvl4pPr>
            <a:lvl5pPr marL="898525" indent="-182563">
              <a:buFont typeface="Arial" panose="020B0604020202020204" pitchFamily="34" charset="0"/>
              <a:buChar char="•"/>
              <a:defRPr/>
            </a:lvl5pPr>
          </a:lstStyle>
          <a:p>
            <a:pPr lvl="0"/>
            <a:r>
              <a:rPr lang="en-US"/>
              <a:t>Click to edit Master text styles</a:t>
            </a:r>
          </a:p>
        </p:txBody>
      </p:sp>
      <p:cxnSp>
        <p:nvCxnSpPr>
          <p:cNvPr id="2" name="btfpColumnHeaderBoxLine984923">
            <a:extLst>
              <a:ext uri="{FF2B5EF4-FFF2-40B4-BE49-F238E27FC236}">
                <a16:creationId xmlns:a16="http://schemas.microsoft.com/office/drawing/2014/main" id="{A57A790C-5AD8-5931-341B-931E147F71EC}"/>
              </a:ext>
            </a:extLst>
          </p:cNvPr>
          <p:cNvCxnSpPr>
            <a:cxnSpLocks/>
          </p:cNvCxnSpPr>
          <p:nvPr userDrawn="1"/>
        </p:nvCxnSpPr>
        <p:spPr bwMode="gray">
          <a:xfrm flipV="1">
            <a:off x="323333" y="1829068"/>
            <a:ext cx="74803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535980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Message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5B8BD8-E431-D455-1ED2-406291B065BB}"/>
              </a:ext>
            </a:extLst>
          </p:cNvPr>
          <p:cNvGraphicFramePr>
            <a:graphicFrameLocks noChangeAspect="1"/>
          </p:cNvGraphicFramePr>
          <p:nvPr userDrawn="1">
            <p:custDataLst>
              <p:tags r:id="rId1"/>
            </p:custDataLst>
            <p:extLst>
              <p:ext uri="{D42A27DB-BD31-4B8C-83A1-F6EECF244321}">
                <p14:modId xmlns:p14="http://schemas.microsoft.com/office/powerpoint/2010/main" val="32777870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95B8BD8-E431-D455-1ED2-406291B065B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045F9B6-796B-AD17-FD3C-8E2FC7947FC7}"/>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6" name="Picture Placeholder 28">
            <a:extLst>
              <a:ext uri="{FF2B5EF4-FFF2-40B4-BE49-F238E27FC236}">
                <a16:creationId xmlns:a16="http://schemas.microsoft.com/office/drawing/2014/main" id="{8D15BC06-EE81-73BA-5732-C5A6FE9E4950}"/>
              </a:ext>
            </a:extLst>
          </p:cNvPr>
          <p:cNvSpPr>
            <a:spLocks noGrp="1"/>
          </p:cNvSpPr>
          <p:nvPr>
            <p:ph type="pic" sz="quarter" idx="12"/>
          </p:nvPr>
        </p:nvSpPr>
        <p:spPr>
          <a:xfrm>
            <a:off x="330200" y="768350"/>
            <a:ext cx="3510784" cy="4981062"/>
          </a:xfrm>
        </p:spPr>
        <p:txBody>
          <a:bodyPr/>
          <a:lstStyle/>
          <a:p>
            <a:r>
              <a:rPr lang="en-US"/>
              <a:t>Click icon to add picture</a:t>
            </a:r>
          </a:p>
        </p:txBody>
      </p:sp>
      <p:sp>
        <p:nvSpPr>
          <p:cNvPr id="7" name="Title 2">
            <a:extLst>
              <a:ext uri="{FF2B5EF4-FFF2-40B4-BE49-F238E27FC236}">
                <a16:creationId xmlns:a16="http://schemas.microsoft.com/office/drawing/2014/main" id="{00C511C6-4B4D-BFFD-D831-47A5849E34EF}"/>
              </a:ext>
            </a:extLst>
          </p:cNvPr>
          <p:cNvSpPr>
            <a:spLocks noGrp="1"/>
          </p:cNvSpPr>
          <p:nvPr>
            <p:ph type="title" hasCustomPrompt="1"/>
          </p:nvPr>
        </p:nvSpPr>
        <p:spPr>
          <a:xfrm>
            <a:off x="501445" y="4826613"/>
            <a:ext cx="3165987" cy="882788"/>
          </a:xfrm>
          <a:prstGeom prst="rect">
            <a:avLst/>
          </a:prstGeom>
        </p:spPr>
        <p:txBody>
          <a:bodyPr vert="horz" anchor="t">
            <a:noAutofit/>
          </a:bodyPr>
          <a:lstStyle>
            <a:lvl1pPr>
              <a:defRPr>
                <a:solidFill>
                  <a:schemeClr val="tx1"/>
                </a:solidFill>
              </a:defRPr>
            </a:lvl1pPr>
          </a:lstStyle>
          <a:p>
            <a:r>
              <a:rPr lang="en-US" sz="2400">
                <a:solidFill>
                  <a:schemeClr val="bg1"/>
                </a:solidFill>
              </a:rPr>
              <a:t>Key messages</a:t>
            </a:r>
            <a:br>
              <a:rPr lang="en-US" sz="2400">
                <a:solidFill>
                  <a:schemeClr val="bg1"/>
                </a:solidFill>
              </a:rPr>
            </a:br>
            <a:r>
              <a:rPr lang="en-US" sz="2400" b="0">
                <a:solidFill>
                  <a:schemeClr val="bg1"/>
                </a:solidFill>
              </a:rPr>
              <a:t>Section title</a:t>
            </a:r>
            <a:endParaRPr lang="en-US" sz="2400">
              <a:solidFill>
                <a:schemeClr val="bg1"/>
              </a:solidFill>
            </a:endParaRPr>
          </a:p>
        </p:txBody>
      </p:sp>
      <p:sp>
        <p:nvSpPr>
          <p:cNvPr id="8" name="Text Placeholder 2">
            <a:extLst>
              <a:ext uri="{FF2B5EF4-FFF2-40B4-BE49-F238E27FC236}">
                <a16:creationId xmlns:a16="http://schemas.microsoft.com/office/drawing/2014/main" id="{1BB0C580-AC9F-ECD5-99CE-AEC9A368329A}"/>
              </a:ext>
            </a:extLst>
          </p:cNvPr>
          <p:cNvSpPr>
            <a:spLocks noGrp="1"/>
          </p:cNvSpPr>
          <p:nvPr>
            <p:ph type="body" sz="quarter" idx="13"/>
          </p:nvPr>
        </p:nvSpPr>
        <p:spPr>
          <a:xfrm>
            <a:off x="4183267" y="768350"/>
            <a:ext cx="7502525" cy="95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270413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17229536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Tree>
    <p:extLst>
      <p:ext uri="{BB962C8B-B14F-4D97-AF65-F5344CB8AC3E}">
        <p14:creationId xmlns:p14="http://schemas.microsoft.com/office/powerpoint/2010/main" val="692003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ith subtitl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22792092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12" name="Text Placeholder 11">
            <a:extLst>
              <a:ext uri="{FF2B5EF4-FFF2-40B4-BE49-F238E27FC236}">
                <a16:creationId xmlns:a16="http://schemas.microsoft.com/office/drawing/2014/main" id="{88BF458D-A3E1-842C-53A3-F0B8A02FFCAD}"/>
              </a:ext>
            </a:extLst>
          </p:cNvPr>
          <p:cNvSpPr>
            <a:spLocks noGrp="1"/>
          </p:cNvSpPr>
          <p:nvPr>
            <p:ph type="body" sz="quarter" idx="13"/>
          </p:nvPr>
        </p:nvSpPr>
        <p:spPr>
          <a:xfrm>
            <a:off x="9308592" y="1554480"/>
            <a:ext cx="2551176" cy="4262438"/>
          </a:xfrm>
          <a:solidFill>
            <a:srgbClr val="E4E8EF"/>
          </a:solidFill>
        </p:spPr>
        <p:txBody>
          <a:bodyPr lIns="137160" tIns="137160" rIns="274320" bIns="137160"/>
          <a:lstStyle>
            <a:lvl1pPr marL="285750" indent="-285750">
              <a:buFont typeface="Arial" panose="020B0604020202020204" pitchFamily="34" charset="0"/>
              <a:buChar char="•"/>
              <a:defRPr sz="1250" b="1"/>
            </a:lvl1pPr>
            <a:lvl2pPr marL="361950" indent="-180975">
              <a:buFont typeface="Arial" panose="020B0604020202020204" pitchFamily="34" charset="0"/>
              <a:buChar char="•"/>
              <a:defRPr/>
            </a:lvl2pPr>
            <a:lvl3pPr marL="534988" indent="-173038">
              <a:buFont typeface="Arial" panose="020B0604020202020204" pitchFamily="34" charset="0"/>
              <a:buChar char="•"/>
              <a:defRPr/>
            </a:lvl3pPr>
            <a:lvl4pPr marL="715963" indent="-180975">
              <a:buFont typeface="Arial" panose="020B0604020202020204" pitchFamily="34" charset="0"/>
              <a:buChar char="•"/>
              <a:defRPr/>
            </a:lvl4pPr>
            <a:lvl5pPr marL="898525" indent="-182563">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3105854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ith subtitle, underlin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40390508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 with underline (this layout only works if keeping observations box width</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12" name="Text Placeholder 11">
            <a:extLst>
              <a:ext uri="{FF2B5EF4-FFF2-40B4-BE49-F238E27FC236}">
                <a16:creationId xmlns:a16="http://schemas.microsoft.com/office/drawing/2014/main" id="{88BF458D-A3E1-842C-53A3-F0B8A02FFCAD}"/>
              </a:ext>
            </a:extLst>
          </p:cNvPr>
          <p:cNvSpPr>
            <a:spLocks noGrp="1"/>
          </p:cNvSpPr>
          <p:nvPr>
            <p:ph type="body" sz="quarter" idx="13"/>
          </p:nvPr>
        </p:nvSpPr>
        <p:spPr>
          <a:xfrm>
            <a:off x="9308592" y="1554480"/>
            <a:ext cx="2551176" cy="4262438"/>
          </a:xfrm>
          <a:solidFill>
            <a:srgbClr val="E4E8EF"/>
          </a:solidFill>
        </p:spPr>
        <p:txBody>
          <a:bodyPr lIns="137160" tIns="137160" rIns="274320" bIns="137160"/>
          <a:lstStyle>
            <a:lvl1pPr marL="285750" indent="-285750">
              <a:buFont typeface="Arial" panose="020B0604020202020204" pitchFamily="34" charset="0"/>
              <a:buChar char="•"/>
              <a:defRPr sz="1250" b="1"/>
            </a:lvl1pPr>
            <a:lvl2pPr marL="361950" indent="-180975">
              <a:buFont typeface="Arial" panose="020B0604020202020204" pitchFamily="34" charset="0"/>
              <a:buChar char="•"/>
              <a:defRPr/>
            </a:lvl2pPr>
            <a:lvl3pPr marL="534988" indent="-173038">
              <a:buFont typeface="Arial" panose="020B0604020202020204" pitchFamily="34" charset="0"/>
              <a:buChar char="•"/>
              <a:defRPr/>
            </a:lvl3pPr>
            <a:lvl4pPr marL="715963" indent="-180975">
              <a:buFont typeface="Arial" panose="020B0604020202020204" pitchFamily="34" charset="0"/>
              <a:buChar char="•"/>
              <a:defRPr/>
            </a:lvl4pPr>
            <a:lvl5pPr marL="898525" indent="-182563">
              <a:buFont typeface="Arial" panose="020B0604020202020204" pitchFamily="34" charset="0"/>
              <a:buChar char="•"/>
              <a:defRPr/>
            </a:lvl5pPr>
          </a:lstStyle>
          <a:p>
            <a:pPr lvl="0"/>
            <a:r>
              <a:rPr lang="en-US"/>
              <a:t>Click to edit Master text styles</a:t>
            </a:r>
          </a:p>
        </p:txBody>
      </p:sp>
      <p:cxnSp>
        <p:nvCxnSpPr>
          <p:cNvPr id="2" name="btfpColumnHeaderBoxLine984923">
            <a:extLst>
              <a:ext uri="{FF2B5EF4-FFF2-40B4-BE49-F238E27FC236}">
                <a16:creationId xmlns:a16="http://schemas.microsoft.com/office/drawing/2014/main" id="{A57A790C-5AD8-5931-341B-931E147F71EC}"/>
              </a:ext>
            </a:extLst>
          </p:cNvPr>
          <p:cNvCxnSpPr>
            <a:cxnSpLocks/>
          </p:cNvCxnSpPr>
          <p:nvPr userDrawn="1"/>
        </p:nvCxnSpPr>
        <p:spPr bwMode="gray">
          <a:xfrm flipV="1">
            <a:off x="323333" y="1829068"/>
            <a:ext cx="74803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65606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ith category labe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extLst>
              <p:ext uri="{D42A27DB-BD31-4B8C-83A1-F6EECF244321}">
                <p14:modId xmlns:p14="http://schemas.microsoft.com/office/powerpoint/2010/main" val="22041754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12" name="Text Placeholder 11">
            <a:extLst>
              <a:ext uri="{FF2B5EF4-FFF2-40B4-BE49-F238E27FC236}">
                <a16:creationId xmlns:a16="http://schemas.microsoft.com/office/drawing/2014/main" id="{88BF458D-A3E1-842C-53A3-F0B8A02FFCAD}"/>
              </a:ext>
            </a:extLst>
          </p:cNvPr>
          <p:cNvSpPr>
            <a:spLocks noGrp="1"/>
          </p:cNvSpPr>
          <p:nvPr>
            <p:ph type="body" sz="quarter" idx="13"/>
          </p:nvPr>
        </p:nvSpPr>
        <p:spPr>
          <a:xfrm>
            <a:off x="9308592" y="1554480"/>
            <a:ext cx="2551176" cy="4262438"/>
          </a:xfrm>
          <a:solidFill>
            <a:srgbClr val="E4E8EF"/>
          </a:solidFill>
        </p:spPr>
        <p:txBody>
          <a:bodyPr lIns="137160" tIns="137160" rIns="274320" bIns="137160"/>
          <a:lstStyle>
            <a:lvl1pPr marL="285750" indent="-285750">
              <a:buFont typeface="Arial" panose="020B0604020202020204" pitchFamily="34" charset="0"/>
              <a:buChar char="•"/>
              <a:defRPr sz="1250" b="1"/>
            </a:lvl1pPr>
            <a:lvl2pPr marL="361950" indent="-180975">
              <a:buFont typeface="Arial" panose="020B0604020202020204" pitchFamily="34" charset="0"/>
              <a:buChar char="•"/>
              <a:defRPr/>
            </a:lvl2pPr>
            <a:lvl3pPr marL="534988" indent="-173038">
              <a:buFont typeface="Arial" panose="020B0604020202020204" pitchFamily="34" charset="0"/>
              <a:buChar char="•"/>
              <a:defRPr/>
            </a:lvl3pPr>
            <a:lvl4pPr marL="715963" indent="-180975">
              <a:buFont typeface="Arial" panose="020B0604020202020204" pitchFamily="34" charset="0"/>
              <a:buChar char="•"/>
              <a:defRPr/>
            </a:lvl4pPr>
            <a:lvl5pPr marL="898525" indent="-182563">
              <a:buFont typeface="Arial" panose="020B0604020202020204" pitchFamily="34" charset="0"/>
              <a:buChar char="•"/>
              <a:defRPr/>
            </a:lvl5pPr>
          </a:lstStyle>
          <a:p>
            <a:pPr lvl="0"/>
            <a:r>
              <a:rPr lang="en-US"/>
              <a:t>Click to edit Master text styles</a:t>
            </a:r>
          </a:p>
        </p:txBody>
      </p:sp>
      <p:sp>
        <p:nvSpPr>
          <p:cNvPr id="6" name="Content Placeholder 5">
            <a:extLst>
              <a:ext uri="{FF2B5EF4-FFF2-40B4-BE49-F238E27FC236}">
                <a16:creationId xmlns:a16="http://schemas.microsoft.com/office/drawing/2014/main" id="{309A90EF-FF8B-AFA1-8B21-8596D5C804A2}"/>
              </a:ext>
            </a:extLst>
          </p:cNvPr>
          <p:cNvSpPr>
            <a:spLocks noGrp="1"/>
          </p:cNvSpPr>
          <p:nvPr>
            <p:ph sz="quarter" idx="14" hasCustomPrompt="1"/>
          </p:nvPr>
        </p:nvSpPr>
        <p:spPr>
          <a:xfrm>
            <a:off x="-1" y="0"/>
            <a:ext cx="3886200" cy="320040"/>
          </a:xfrm>
          <a:solidFill>
            <a:schemeClr val="accent6"/>
          </a:solidFill>
        </p:spPr>
        <p:txBody>
          <a:bodyPr lIns="36576" tIns="36576" rIns="36576" bIns="36576">
            <a:noAutofit/>
          </a:bodyPr>
          <a:lstStyle>
            <a:lvl2pPr marL="180975" indent="0" algn="ctr">
              <a:buNone/>
              <a:defRPr sz="1600" b="1">
                <a:solidFill>
                  <a:schemeClr val="bg1"/>
                </a:solidFill>
              </a:defRPr>
            </a:lvl2pPr>
          </a:lstStyle>
          <a:p>
            <a:pPr lvl="1"/>
            <a:r>
              <a:rPr lang="en-US" b="1"/>
              <a:t>Category 1</a:t>
            </a:r>
            <a:endParaRPr lang="en-US"/>
          </a:p>
        </p:txBody>
      </p:sp>
    </p:spTree>
    <p:extLst>
      <p:ext uri="{BB962C8B-B14F-4D97-AF65-F5344CB8AC3E}">
        <p14:creationId xmlns:p14="http://schemas.microsoft.com/office/powerpoint/2010/main" val="3425697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9" name="Do not remove" hidden="1">
            <a:extLst>
              <a:ext uri="{FF2B5EF4-FFF2-40B4-BE49-F238E27FC236}">
                <a16:creationId xmlns:a16="http://schemas.microsoft.com/office/drawing/2014/main" id="{62EC59FB-ED46-DFEB-6961-719C0DDFB4F3}"/>
              </a:ext>
            </a:extLst>
          </p:cNvPr>
          <p:cNvSpPr/>
          <p:nvPr userDrawn="1">
            <p:custDataLst>
              <p:tags r:id="rId2"/>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659434"/>
          </a:xfrm>
          <a:prstGeom prst="rect">
            <a:avLst/>
          </a:prstGeom>
        </p:spPr>
        <p:txBody>
          <a:bodyPr tIns="0" anchor="t">
            <a:normAutofit/>
          </a:bodyPr>
          <a:lstStyle>
            <a:lvl1pPr>
              <a:defRPr sz="2800"/>
            </a:lvl1pPr>
          </a:lstStyle>
          <a:p>
            <a:r>
              <a:rPr lang="en-US"/>
              <a:t>Click to edit Master title style</a:t>
            </a:r>
          </a:p>
        </p:txBody>
      </p:sp>
      <p:cxnSp>
        <p:nvCxnSpPr>
          <p:cNvPr id="4" name="Straight Connector 3">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73</a:t>
            </a:r>
            <a:endParaRPr lang="en-US" sz="800" dirty="0">
              <a:solidFill>
                <a:schemeClr val="tx1"/>
              </a:solidFill>
            </a:endParaRPr>
          </a:p>
        </p:txBody>
      </p:sp>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1"/>
    </p:custDataLst>
    <p:extLst>
      <p:ext uri="{BB962C8B-B14F-4D97-AF65-F5344CB8AC3E}">
        <p14:creationId xmlns:p14="http://schemas.microsoft.com/office/powerpoint/2010/main" val="834894458"/>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850036" cy="477381"/>
          </a:xfrm>
          <a:prstGeom prst="rect">
            <a:avLst/>
          </a:prstGeom>
        </p:spPr>
      </p:pic>
    </p:spTree>
    <p:extLst>
      <p:ext uri="{BB962C8B-B14F-4D97-AF65-F5344CB8AC3E}">
        <p14:creationId xmlns:p14="http://schemas.microsoft.com/office/powerpoint/2010/main" val="305047507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2.bin"/><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7.png"/><Relationship Id="rId3" Type="http://schemas.openxmlformats.org/officeDocument/2006/relationships/slideLayout" Target="../slideLayouts/slideLayout19.xml"/><Relationship Id="rId7" Type="http://schemas.openxmlformats.org/officeDocument/2006/relationships/tags" Target="../tags/tag13.xml"/><Relationship Id="rId12" Type="http://schemas.openxmlformats.org/officeDocument/2006/relationships/hyperlink" Target="mailto:gwagner@columbia.edu" TargetMode="Externa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2.xml"/><Relationship Id="rId11" Type="http://schemas.openxmlformats.org/officeDocument/2006/relationships/hyperlink" Target="https://creativecommons.org/licenses/by/4.0/" TargetMode="External"/><Relationship Id="rId5" Type="http://schemas.openxmlformats.org/officeDocument/2006/relationships/slideLayout" Target="../slideLayouts/slideLayout21.xml"/><Relationship Id="rId10" Type="http://schemas.openxmlformats.org/officeDocument/2006/relationships/image" Target="../media/image1.emf"/><Relationship Id="rId4" Type="http://schemas.openxmlformats.org/officeDocument/2006/relationships/slideLayout" Target="../slideLayouts/slideLayout20.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image" Target="../media/image10.emf"/><Relationship Id="rId2" Type="http://schemas.openxmlformats.org/officeDocument/2006/relationships/slideLayout" Target="../slideLayouts/slideLayout23.xml"/><Relationship Id="rId16" Type="http://schemas.openxmlformats.org/officeDocument/2006/relationships/oleObject" Target="../embeddings/oleObject6.bin"/><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tags" Target="../tags/tag20.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tags" Target="../tags/tag23.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oleObject" Target="../embeddings/oleObject2.bin"/><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tags" Target="../tags/tag22.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emf"/><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oleObject" Target="../embeddings/oleObject1.bin"/><Relationship Id="rId10" Type="http://schemas.openxmlformats.org/officeDocument/2006/relationships/slideLayout" Target="../slideLayouts/slideLayout44.xml"/><Relationship Id="rId19" Type="http://schemas.openxmlformats.org/officeDocument/2006/relationships/theme" Target="../theme/theme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tags" Target="../tags/tag2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tags" Target="../tags/tag3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oleObject" Target="../embeddings/oleObject2.bin"/><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tags" Target="../tags/tag3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image" Target="../media/image1.emf"/><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oleObject" Target="../embeddings/oleObject1.bin"/><Relationship Id="rId10" Type="http://schemas.openxmlformats.org/officeDocument/2006/relationships/slideLayout" Target="../slideLayouts/slideLayout62.xml"/><Relationship Id="rId19" Type="http://schemas.openxmlformats.org/officeDocument/2006/relationships/theme" Target="../theme/theme5.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tags" Target="../tags/tag36.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image" Target="../media/image7.png"/><Relationship Id="rId3" Type="http://schemas.openxmlformats.org/officeDocument/2006/relationships/slideLayout" Target="../slideLayouts/slideLayout73.xml"/><Relationship Id="rId7" Type="http://schemas.openxmlformats.org/officeDocument/2006/relationships/tags" Target="../tags/tag45.xml"/><Relationship Id="rId12" Type="http://schemas.openxmlformats.org/officeDocument/2006/relationships/hyperlink" Target="mailto:gwagner@columbia.edu" TargetMode="Externa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theme" Target="../theme/theme6.xml"/><Relationship Id="rId11" Type="http://schemas.openxmlformats.org/officeDocument/2006/relationships/hyperlink" Target="https://creativecommons.org/licenses/by/4.0/" TargetMode="External"/><Relationship Id="rId5" Type="http://schemas.openxmlformats.org/officeDocument/2006/relationships/slideLayout" Target="../slideLayouts/slideLayout75.xml"/><Relationship Id="rId10" Type="http://schemas.openxmlformats.org/officeDocument/2006/relationships/image" Target="../media/image1.emf"/><Relationship Id="rId4" Type="http://schemas.openxmlformats.org/officeDocument/2006/relationships/slideLayout" Target="../slideLayouts/slideLayout74.xml"/><Relationship Id="rId9"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p:custDataLst>
              <p:tags r:id="rId19"/>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503" imgH="503" progId="TCLayout.ActiveDocument.1">
                  <p:embed/>
                </p:oleObj>
              </mc:Choice>
              <mc:Fallback>
                <p:oleObj name="think-cell Slide" r:id="rId21"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a:p>
            <a:pPr marL="0" indent="0">
              <a:buNone/>
            </a:pPr>
            <a:r>
              <a:rPr lang="en-US" sz="100">
                <a:solidFill>
                  <a:schemeClr val="bg1">
                    <a:alpha val="0"/>
                  </a:schemeClr>
                </a:solidFill>
              </a:rPr>
              <a:t>  &lt;template version="2.3.3" type="branded" </a:t>
            </a:r>
            <a:r>
              <a:rPr lang="en-US" sz="100" err="1">
                <a:solidFill>
                  <a:schemeClr val="bg1">
                    <a:alpha val="0"/>
                  </a:schemeClr>
                </a:solidFill>
              </a:rPr>
              <a:t>pageSize</a:t>
            </a:r>
            <a:r>
              <a:rPr lang="en-US" sz="100">
                <a:solidFill>
                  <a:schemeClr val="bg1">
                    <a:alpha val="0"/>
                  </a:schemeClr>
                </a:solidFill>
              </a:rPr>
              <a:t>="widescreen" /&gt;</a:t>
            </a:r>
          </a:p>
          <a:p>
            <a:pPr marL="0" indent="0">
              <a:buNone/>
            </a:pPr>
            <a:r>
              <a:rPr lang="en-US" sz="100">
                <a:solidFill>
                  <a:schemeClr val="bg1">
                    <a:alpha val="0"/>
                  </a:schemeClr>
                </a:solidFill>
              </a:rPr>
              <a:t>  &lt;!--BTFPCONFIGURATION:3C627466703E0D0A20203C74656D706C6174652076657273696F6E3D22322E332E342220747970653D226272616E66656622207061676553697A653D227769666573637265656E22202F3E0D0A3C2F627466703E--&gt;</a:t>
            </a:r>
          </a:p>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p:txBody>
      </p:sp>
      <p:sp>
        <p:nvSpPr>
          <p:cNvPr id="8" name="CreatedFooter"/>
          <p:cNvSpPr/>
          <p:nvPr/>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7" name="OfficeCode"/>
          <p:cNvSpPr/>
          <p:nvPr/>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graphicFrame>
        <p:nvGraphicFramePr>
          <p:cNvPr id="2" name="think-cell data - do not delete" hidden="1">
            <a:extLst>
              <a:ext uri="{FF2B5EF4-FFF2-40B4-BE49-F238E27FC236}">
                <a16:creationId xmlns:a16="http://schemas.microsoft.com/office/drawing/2014/main" id="{4636565C-8558-7A15-DFC2-FDFB04642811}"/>
              </a:ext>
            </a:extLst>
          </p:cNvPr>
          <p:cNvGraphicFramePr>
            <a:graphicFrameLocks noChangeAspect="1"/>
          </p:cNvGraphicFramePr>
          <p:nvPr userDrawn="1">
            <p:custDataLst>
              <p:tags r:id="rId20"/>
            </p:custDataLst>
            <p:extLst>
              <p:ext uri="{D42A27DB-BD31-4B8C-83A1-F6EECF244321}">
                <p14:modId xmlns:p14="http://schemas.microsoft.com/office/powerpoint/2010/main" val="3361925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503" imgH="503" progId="TCLayout.ActiveDocument.1">
                  <p:embed/>
                </p:oleObj>
              </mc:Choice>
              <mc:Fallback>
                <p:oleObj name="think-cell Slide" r:id="rId23" imgW="503" imgH="503" progId="TCLayout.ActiveDocument.1">
                  <p:embed/>
                  <p:pic>
                    <p:nvPicPr>
                      <p:cNvPr id="2" name="think-cell data - do not delete" hidden="1">
                        <a:extLst>
                          <a:ext uri="{FF2B5EF4-FFF2-40B4-BE49-F238E27FC236}">
                            <a16:creationId xmlns:a16="http://schemas.microsoft.com/office/drawing/2014/main" id="{4636565C-8558-7A15-DFC2-FDFB04642811}"/>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BtfpConfiguration" hidden="1">
            <a:extLst>
              <a:ext uri="{FF2B5EF4-FFF2-40B4-BE49-F238E27FC236}">
                <a16:creationId xmlns:a16="http://schemas.microsoft.com/office/drawing/2014/main" id="{605CE243-AD21-AAD1-C34D-EA973E0B1A18}"/>
              </a:ext>
            </a:extLst>
          </p:cNvPr>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a:p>
            <a:pPr marL="0" indent="0">
              <a:buNone/>
            </a:pPr>
            <a:r>
              <a:rPr lang="en-US" sz="100">
                <a:solidFill>
                  <a:schemeClr val="bg1">
                    <a:alpha val="0"/>
                  </a:schemeClr>
                </a:solidFill>
              </a:rPr>
              <a:t>  &lt;template version="2.3.3" type="branded" </a:t>
            </a:r>
            <a:r>
              <a:rPr lang="en-US" sz="100" err="1">
                <a:solidFill>
                  <a:schemeClr val="bg1">
                    <a:alpha val="0"/>
                  </a:schemeClr>
                </a:solidFill>
              </a:rPr>
              <a:t>pageSize</a:t>
            </a:r>
            <a:r>
              <a:rPr lang="en-US" sz="100">
                <a:solidFill>
                  <a:schemeClr val="bg1">
                    <a:alpha val="0"/>
                  </a:schemeClr>
                </a:solidFill>
              </a:rPr>
              <a:t>="widescreen" /&gt;</a:t>
            </a:r>
          </a:p>
          <a:p>
            <a:pPr marL="0" indent="0">
              <a:buNone/>
            </a:pPr>
            <a:r>
              <a:rPr lang="en-US" sz="100">
                <a:solidFill>
                  <a:schemeClr val="bg1">
                    <a:alpha val="0"/>
                  </a:schemeClr>
                </a:solidFill>
              </a:rPr>
              <a:t>  &lt;!--BTFPCONFIGURATION:3C627466703E0D0A20203C74656D706C6174652076657273696F6E3D22322E332E342220747970653D226272616E66656622207061676553697A653D227769666573637265656E22202F3E0D0A3C2F627466703E--&gt;</a:t>
            </a:r>
          </a:p>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p:txBody>
      </p:sp>
      <p:sp>
        <p:nvSpPr>
          <p:cNvPr id="6" name="CreatedFooter">
            <a:extLst>
              <a:ext uri="{FF2B5EF4-FFF2-40B4-BE49-F238E27FC236}">
                <a16:creationId xmlns:a16="http://schemas.microsoft.com/office/drawing/2014/main" id="{E112567E-82B6-79C1-C013-1743727F986E}"/>
              </a:ext>
            </a:extLst>
          </p:cNvP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9" name="OfficeCode">
            <a:extLst>
              <a:ext uri="{FF2B5EF4-FFF2-40B4-BE49-F238E27FC236}">
                <a16:creationId xmlns:a16="http://schemas.microsoft.com/office/drawing/2014/main" id="{96D9871C-A4D9-E8AE-F492-A8CA1F4EFF08}"/>
              </a:ext>
            </a:extLst>
          </p:cNvPr>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Tree>
    <p:custDataLst>
      <p:tags r:id="rId18"/>
    </p:custDataLst>
    <p:extLst>
      <p:ext uri="{BB962C8B-B14F-4D97-AF65-F5344CB8AC3E}">
        <p14:creationId xmlns:p14="http://schemas.microsoft.com/office/powerpoint/2010/main" val="2277532209"/>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65" r:id="rId11"/>
    <p:sldLayoutId id="2147483666" r:id="rId12"/>
    <p:sldLayoutId id="2147483667" r:id="rId13"/>
    <p:sldLayoutId id="2147483671" r:id="rId14"/>
    <p:sldLayoutId id="2147483673" r:id="rId15"/>
    <p:sldLayoutId id="2147483672" r:id="rId16"/>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p:custDataLst>
              <p:tags r:id="rId8"/>
            </p:custDataLst>
            <p:extLst>
              <p:ext uri="{D42A27DB-BD31-4B8C-83A1-F6EECF244321}">
                <p14:modId xmlns:p14="http://schemas.microsoft.com/office/powerpoint/2010/main" val="1833228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03" imgH="503" progId="TCLayout.ActiveDocument.1">
                  <p:embed/>
                </p:oleObj>
              </mc:Choice>
              <mc:Fallback>
                <p:oleObj name="think-cell Slide" r:id="rId9"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a:p>
            <a:pPr marL="0" indent="0">
              <a:buNone/>
            </a:pPr>
            <a:r>
              <a:rPr lang="en-US" sz="100">
                <a:solidFill>
                  <a:schemeClr val="bg1">
                    <a:alpha val="0"/>
                  </a:schemeClr>
                </a:solidFill>
              </a:rPr>
              <a:t>  &lt;template version="2.3.3" type="branded" </a:t>
            </a:r>
            <a:r>
              <a:rPr lang="en-US" sz="100" err="1">
                <a:solidFill>
                  <a:schemeClr val="bg1">
                    <a:alpha val="0"/>
                  </a:schemeClr>
                </a:solidFill>
              </a:rPr>
              <a:t>pageSize</a:t>
            </a:r>
            <a:r>
              <a:rPr lang="en-US" sz="100">
                <a:solidFill>
                  <a:schemeClr val="bg1">
                    <a:alpha val="0"/>
                  </a:schemeClr>
                </a:solidFill>
              </a:rPr>
              <a:t>="widescreen" /&gt;</a:t>
            </a:r>
          </a:p>
          <a:p>
            <a:pPr marL="0" indent="0">
              <a:buNone/>
            </a:pPr>
            <a:r>
              <a:rPr lang="en-US" sz="100">
                <a:solidFill>
                  <a:schemeClr val="bg1">
                    <a:alpha val="0"/>
                  </a:schemeClr>
                </a:solidFill>
              </a:rPr>
              <a:t>  &lt;!--BTFPCONFIGURATION:3C627466703E0D0A20203C74656D706C6174652076657273696F6E3D22322E332E342220747970653D226272616E66656622207061676553697A653D227769666573637265656E22202F3E0D0A3C2F627466703E--&gt;</a:t>
            </a:r>
          </a:p>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p:txBody>
      </p:sp>
      <p:sp>
        <p:nvSpPr>
          <p:cNvPr id="8" name="CreatedFooter"/>
          <p:cNvSpPr/>
          <p:nvPr/>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7" name="OfficeCode"/>
          <p:cNvSpPr/>
          <p:nvPr/>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11"/>
              </a:rPr>
              <a:t>with attribution</a:t>
            </a:r>
            <a:r>
              <a:rPr lang="en-US" sz="800">
                <a:solidFill>
                  <a:srgbClr val="000000"/>
                </a:solidFill>
              </a:rPr>
              <a:t>. Contact: </a:t>
            </a:r>
            <a:r>
              <a:rPr lang="en-US" sz="800">
                <a:solidFill>
                  <a:srgbClr val="000000"/>
                </a:solidFill>
                <a:hlinkClick r:id="rId12"/>
              </a:rPr>
              <a:t>gwagner@columbia.edu</a:t>
            </a:r>
            <a:r>
              <a:rPr lang="en-US" sz="800">
                <a:solidFill>
                  <a:srgbClr val="000000"/>
                </a:solidFill>
              </a:rPr>
              <a:t> </a:t>
            </a:r>
          </a:p>
        </p:txBody>
      </p:sp>
      <p:cxnSp>
        <p:nvCxnSpPr>
          <p:cNvPr id="9" name="Straight Connector 8">
            <a:extLst>
              <a:ext uri="{FF2B5EF4-FFF2-40B4-BE49-F238E27FC236}">
                <a16:creationId xmlns:a16="http://schemas.microsoft.com/office/drawing/2014/main" id="{7395F338-471E-FA38-41D0-3375145984BA}"/>
              </a:ext>
            </a:extLst>
          </p:cNvPr>
          <p:cNvCxnSpPr/>
          <p:nvPr/>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81021E2-9353-F5D6-4831-71C13B1AC983}"/>
              </a:ext>
            </a:extLst>
          </p:cNvPr>
          <p:cNvSpPr txBox="1"/>
          <p:nvPr/>
        </p:nvSpPr>
        <p:spPr bwMode="gray">
          <a:xfrm>
            <a:off x="10777929" y="272597"/>
            <a:ext cx="1079110" cy="215444"/>
          </a:xfrm>
          <a:prstGeom prst="rect">
            <a:avLst/>
          </a:prstGeom>
          <a:noFill/>
        </p:spPr>
        <p:txBody>
          <a:bodyPr wrap="square" lIns="91440" tIns="45720" rIns="91440" bIns="45720" rtlCol="0" anchor="ctr">
            <a:spAutoFit/>
          </a:bodyPr>
          <a:lstStyle/>
          <a:p>
            <a:pPr marL="0" indent="0" algn="r">
              <a:spcBef>
                <a:spcPts val="600"/>
              </a:spcBef>
              <a:spcAft>
                <a:spcPts val="600"/>
              </a:spcAft>
              <a:buNone/>
            </a:pPr>
            <a:fld id="{DBBFD4BF-CE92-6F42-B836-6FA9C3EC13F8}" type="slidenum">
              <a:rPr lang="en-US" sz="800" b="0" smtClean="0">
                <a:latin typeface="+mn-lt"/>
              </a:rPr>
              <a:pPr marL="0" indent="0" algn="r">
                <a:spcBef>
                  <a:spcPts val="600"/>
                </a:spcBef>
                <a:spcAft>
                  <a:spcPts val="600"/>
                </a:spcAft>
                <a:buNone/>
              </a:pPr>
              <a:t>‹#›</a:t>
            </a:fld>
            <a:r>
              <a:rPr lang="en-US" sz="800" b="0" dirty="0">
                <a:latin typeface="+mn-lt"/>
              </a:rPr>
              <a:t> of 73</a:t>
            </a:r>
          </a:p>
        </p:txBody>
      </p:sp>
      <p:pic>
        <p:nvPicPr>
          <p:cNvPr id="11" name="Picture 10"/>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7"/>
    </p:custDataLst>
    <p:extLst>
      <p:ext uri="{BB962C8B-B14F-4D97-AF65-F5344CB8AC3E}">
        <p14:creationId xmlns:p14="http://schemas.microsoft.com/office/powerpoint/2010/main" val="34156443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CB7DBE4-8682-1B6B-D63F-265B8142DAB1}"/>
              </a:ext>
            </a:extLst>
          </p:cNvPr>
          <p:cNvGraphicFramePr>
            <a:graphicFrameLocks/>
          </p:cNvGraphicFramePr>
          <p:nvPr userDrawn="1">
            <p:custDataLst>
              <p:tags r:id="rId15"/>
            </p:custDataLst>
            <p:extLst>
              <p:ext uri="{D42A27DB-BD31-4B8C-83A1-F6EECF244321}">
                <p14:modId xmlns:p14="http://schemas.microsoft.com/office/powerpoint/2010/main" val="3668720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8" name="think-cell data - do not delete" hidden="1">
                        <a:extLst>
                          <a:ext uri="{FF2B5EF4-FFF2-40B4-BE49-F238E27FC236}">
                            <a16:creationId xmlns:a16="http://schemas.microsoft.com/office/drawing/2014/main" id="{5CB7DBE4-8682-1B6B-D63F-265B8142DAB1}"/>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6E2FBD-5854-8B2B-5C7F-D0B30AEFE8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361157A-E7A4-CC45-F2D2-F10B43433B2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CF770A-BD26-6411-FBCF-738B3C5D7C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C69F9C6-1120-F94F-8D44-5FAD32EEB7E1}" type="datetimeFigureOut">
              <a:rPr lang="en-US" smtClean="0"/>
              <a:t>5/22/26</a:t>
            </a:fld>
            <a:endParaRPr lang="en-US"/>
          </a:p>
        </p:txBody>
      </p:sp>
      <p:sp>
        <p:nvSpPr>
          <p:cNvPr id="5" name="Footer Placeholder 4">
            <a:extLst>
              <a:ext uri="{FF2B5EF4-FFF2-40B4-BE49-F238E27FC236}">
                <a16:creationId xmlns:a16="http://schemas.microsoft.com/office/drawing/2014/main" id="{DCD41BA0-B759-D441-AB99-B3D710F5D1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3E52253D-0C3E-3C22-F504-4B878C56DFA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B78A1FF-2A3A-1542-BC26-E8EDA5E1EE60}" type="slidenum">
              <a:rPr lang="en-US" smtClean="0"/>
              <a:t>‹#›</a:t>
            </a:fld>
            <a:endParaRPr lang="en-US"/>
          </a:p>
        </p:txBody>
      </p:sp>
    </p:spTree>
    <p:extLst>
      <p:ext uri="{BB962C8B-B14F-4D97-AF65-F5344CB8AC3E}">
        <p14:creationId xmlns:p14="http://schemas.microsoft.com/office/powerpoint/2010/main" val="153373267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p:custDataLst>
              <p:tags r:id="rId21"/>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503" imgH="503" progId="TCLayout.ActiveDocument.1">
                  <p:embed/>
                </p:oleObj>
              </mc:Choice>
              <mc:Fallback>
                <p:oleObj name="think-cell Slide" r:id="rId23"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a:p>
            <a:pPr marL="0" indent="0">
              <a:buNone/>
            </a:pPr>
            <a:r>
              <a:rPr lang="en-US" sz="100">
                <a:solidFill>
                  <a:schemeClr val="bg1">
                    <a:alpha val="0"/>
                  </a:schemeClr>
                </a:solidFill>
              </a:rPr>
              <a:t>  &lt;template version="2.3.3" type="branded" </a:t>
            </a:r>
            <a:r>
              <a:rPr lang="en-US" sz="100" err="1">
                <a:solidFill>
                  <a:schemeClr val="bg1">
                    <a:alpha val="0"/>
                  </a:schemeClr>
                </a:solidFill>
              </a:rPr>
              <a:t>pageSize</a:t>
            </a:r>
            <a:r>
              <a:rPr lang="en-US" sz="100">
                <a:solidFill>
                  <a:schemeClr val="bg1">
                    <a:alpha val="0"/>
                  </a:schemeClr>
                </a:solidFill>
              </a:rPr>
              <a:t>="widescreen" /&gt;</a:t>
            </a:r>
          </a:p>
          <a:p>
            <a:pPr marL="0" indent="0">
              <a:buNone/>
            </a:pPr>
            <a:r>
              <a:rPr lang="en-US" sz="100">
                <a:solidFill>
                  <a:schemeClr val="bg1">
                    <a:alpha val="0"/>
                  </a:schemeClr>
                </a:solidFill>
              </a:rPr>
              <a:t>  &lt;!--BTFPCONFIGURATION:3C627466703E0D0A20203C74656D706C6174652076657273696F6E3D22322E332E342220747970653D226272616E66656622207061676553697A653D227769666573637265656E22202F3E0D0A3C2F627466703E--&gt;</a:t>
            </a:r>
          </a:p>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p:txBody>
      </p:sp>
      <p:sp>
        <p:nvSpPr>
          <p:cNvPr id="8" name="CreatedFooter"/>
          <p:cNvSpPr/>
          <p:nvPr/>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7" name="OfficeCode"/>
          <p:cNvSpPr/>
          <p:nvPr/>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graphicFrame>
        <p:nvGraphicFramePr>
          <p:cNvPr id="2" name="think-cell data - do not delete" hidden="1">
            <a:extLst>
              <a:ext uri="{FF2B5EF4-FFF2-40B4-BE49-F238E27FC236}">
                <a16:creationId xmlns:a16="http://schemas.microsoft.com/office/drawing/2014/main" id="{4636565C-8558-7A15-DFC2-FDFB04642811}"/>
              </a:ext>
            </a:extLst>
          </p:cNvPr>
          <p:cNvGraphicFramePr>
            <a:graphicFrameLocks noChangeAspect="1"/>
          </p:cNvGraphicFramePr>
          <p:nvPr userDrawn="1">
            <p:custDataLst>
              <p:tags r:id="rId22"/>
            </p:custDataLst>
            <p:extLst>
              <p:ext uri="{D42A27DB-BD31-4B8C-83A1-F6EECF244321}">
                <p14:modId xmlns:p14="http://schemas.microsoft.com/office/powerpoint/2010/main" val="3361925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03" imgH="503" progId="TCLayout.ActiveDocument.1">
                  <p:embed/>
                </p:oleObj>
              </mc:Choice>
              <mc:Fallback>
                <p:oleObj name="think-cell Slide" r:id="rId25" imgW="503" imgH="503" progId="TCLayout.ActiveDocument.1">
                  <p:embed/>
                  <p:pic>
                    <p:nvPicPr>
                      <p:cNvPr id="2" name="think-cell data - do not delete" hidden="1">
                        <a:extLst>
                          <a:ext uri="{FF2B5EF4-FFF2-40B4-BE49-F238E27FC236}">
                            <a16:creationId xmlns:a16="http://schemas.microsoft.com/office/drawing/2014/main" id="{4636565C-8558-7A15-DFC2-FDFB0464281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BtfpConfiguration" hidden="1">
            <a:extLst>
              <a:ext uri="{FF2B5EF4-FFF2-40B4-BE49-F238E27FC236}">
                <a16:creationId xmlns:a16="http://schemas.microsoft.com/office/drawing/2014/main" id="{605CE243-AD21-AAD1-C34D-EA973E0B1A18}"/>
              </a:ext>
            </a:extLst>
          </p:cNvPr>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a:p>
            <a:pPr marL="0" indent="0">
              <a:buNone/>
            </a:pPr>
            <a:r>
              <a:rPr lang="en-US" sz="100">
                <a:solidFill>
                  <a:schemeClr val="bg1">
                    <a:alpha val="0"/>
                  </a:schemeClr>
                </a:solidFill>
              </a:rPr>
              <a:t>  &lt;template version="2.3.3" type="branded" </a:t>
            </a:r>
            <a:r>
              <a:rPr lang="en-US" sz="100" err="1">
                <a:solidFill>
                  <a:schemeClr val="bg1">
                    <a:alpha val="0"/>
                  </a:schemeClr>
                </a:solidFill>
              </a:rPr>
              <a:t>pageSize</a:t>
            </a:r>
            <a:r>
              <a:rPr lang="en-US" sz="100">
                <a:solidFill>
                  <a:schemeClr val="bg1">
                    <a:alpha val="0"/>
                  </a:schemeClr>
                </a:solidFill>
              </a:rPr>
              <a:t>="widescreen" /&gt;</a:t>
            </a:r>
          </a:p>
          <a:p>
            <a:pPr marL="0" indent="0">
              <a:buNone/>
            </a:pPr>
            <a:r>
              <a:rPr lang="en-US" sz="100">
                <a:solidFill>
                  <a:schemeClr val="bg1">
                    <a:alpha val="0"/>
                  </a:schemeClr>
                </a:solidFill>
              </a:rPr>
              <a:t>  &lt;!--BTFPCONFIGURATION:3C627466703E0D0A20203C74656D706C6174652076657273696F6E3D22322E332E342220747970653D226272616E66656622207061676553697A653D227769666573637265656E22202F3E0D0A3C2F627466703E--&gt;</a:t>
            </a:r>
          </a:p>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p:txBody>
      </p:sp>
      <p:sp>
        <p:nvSpPr>
          <p:cNvPr id="6" name="CreatedFooter">
            <a:extLst>
              <a:ext uri="{FF2B5EF4-FFF2-40B4-BE49-F238E27FC236}">
                <a16:creationId xmlns:a16="http://schemas.microsoft.com/office/drawing/2014/main" id="{E112567E-82B6-79C1-C013-1743727F986E}"/>
              </a:ext>
            </a:extLst>
          </p:cNvP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9" name="OfficeCode">
            <a:extLst>
              <a:ext uri="{FF2B5EF4-FFF2-40B4-BE49-F238E27FC236}">
                <a16:creationId xmlns:a16="http://schemas.microsoft.com/office/drawing/2014/main" id="{96D9871C-A4D9-E8AE-F492-A8CA1F4EFF08}"/>
              </a:ext>
            </a:extLst>
          </p:cNvPr>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Tree>
    <p:custDataLst>
      <p:tags r:id="rId20"/>
    </p:custDataLst>
    <p:extLst>
      <p:ext uri="{BB962C8B-B14F-4D97-AF65-F5344CB8AC3E}">
        <p14:creationId xmlns:p14="http://schemas.microsoft.com/office/powerpoint/2010/main" val="1258076702"/>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67" r:id="rId18"/>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p:custDataLst>
              <p:tags r:id="rId21"/>
            </p:custDataLst>
            <p:extLst>
              <p:ext uri="{D42A27DB-BD31-4B8C-83A1-F6EECF244321}">
                <p14:modId xmlns:p14="http://schemas.microsoft.com/office/powerpoint/2010/main" val="3957579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503" imgH="503" progId="TCLayout.ActiveDocument.1">
                  <p:embed/>
                </p:oleObj>
              </mc:Choice>
              <mc:Fallback>
                <p:oleObj name="think-cell Slide" r:id="rId23"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a:p>
            <a:pPr marL="0" indent="0">
              <a:buNone/>
            </a:pPr>
            <a:r>
              <a:rPr lang="en-US" sz="100">
                <a:solidFill>
                  <a:schemeClr val="bg1">
                    <a:alpha val="0"/>
                  </a:schemeClr>
                </a:solidFill>
              </a:rPr>
              <a:t>  &lt;template version="2.3.3" type="branded" </a:t>
            </a:r>
            <a:r>
              <a:rPr lang="en-US" sz="100" err="1">
                <a:solidFill>
                  <a:schemeClr val="bg1">
                    <a:alpha val="0"/>
                  </a:schemeClr>
                </a:solidFill>
              </a:rPr>
              <a:t>pageSize</a:t>
            </a:r>
            <a:r>
              <a:rPr lang="en-US" sz="100">
                <a:solidFill>
                  <a:schemeClr val="bg1">
                    <a:alpha val="0"/>
                  </a:schemeClr>
                </a:solidFill>
              </a:rPr>
              <a:t>="widescreen" /&gt;</a:t>
            </a:r>
          </a:p>
          <a:p>
            <a:pPr marL="0" indent="0">
              <a:buNone/>
            </a:pPr>
            <a:r>
              <a:rPr lang="en-US" sz="100">
                <a:solidFill>
                  <a:schemeClr val="bg1">
                    <a:alpha val="0"/>
                  </a:schemeClr>
                </a:solidFill>
              </a:rPr>
              <a:t>  &lt;!--BTFPCONFIGURATION:3C627466703E0D0A20203C74656D706C6174652076657273696F6E3D22322E332E342220747970653D226272616E66656622207061676553697A653D227769666573637265656E22202F3E0D0A3C2F627466703E--&gt;</a:t>
            </a:r>
          </a:p>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p:txBody>
      </p:sp>
      <p:sp>
        <p:nvSpPr>
          <p:cNvPr id="8" name="CreatedFooter"/>
          <p:cNvSpPr/>
          <p:nvPr/>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7" name="OfficeCode"/>
          <p:cNvSpPr/>
          <p:nvPr/>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graphicFrame>
        <p:nvGraphicFramePr>
          <p:cNvPr id="2" name="think-cell data - do not delete" hidden="1">
            <a:extLst>
              <a:ext uri="{FF2B5EF4-FFF2-40B4-BE49-F238E27FC236}">
                <a16:creationId xmlns:a16="http://schemas.microsoft.com/office/drawing/2014/main" id="{4636565C-8558-7A15-DFC2-FDFB04642811}"/>
              </a:ext>
            </a:extLst>
          </p:cNvPr>
          <p:cNvGraphicFramePr>
            <a:graphicFrameLocks noChangeAspect="1"/>
          </p:cNvGraphicFramePr>
          <p:nvPr userDrawn="1">
            <p:custDataLst>
              <p:tags r:id="rId22"/>
            </p:custDataLst>
            <p:extLst>
              <p:ext uri="{D42A27DB-BD31-4B8C-83A1-F6EECF244321}">
                <p14:modId xmlns:p14="http://schemas.microsoft.com/office/powerpoint/2010/main" val="2736475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03" imgH="503" progId="TCLayout.ActiveDocument.1">
                  <p:embed/>
                </p:oleObj>
              </mc:Choice>
              <mc:Fallback>
                <p:oleObj name="think-cell Slide" r:id="rId25" imgW="503" imgH="503" progId="TCLayout.ActiveDocument.1">
                  <p:embed/>
                  <p:pic>
                    <p:nvPicPr>
                      <p:cNvPr id="2" name="think-cell data - do not delete" hidden="1">
                        <a:extLst>
                          <a:ext uri="{FF2B5EF4-FFF2-40B4-BE49-F238E27FC236}">
                            <a16:creationId xmlns:a16="http://schemas.microsoft.com/office/drawing/2014/main" id="{4636565C-8558-7A15-DFC2-FDFB0464281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BtfpConfiguration" hidden="1">
            <a:extLst>
              <a:ext uri="{FF2B5EF4-FFF2-40B4-BE49-F238E27FC236}">
                <a16:creationId xmlns:a16="http://schemas.microsoft.com/office/drawing/2014/main" id="{605CE243-AD21-AAD1-C34D-EA973E0B1A18}"/>
              </a:ext>
            </a:extLst>
          </p:cNvPr>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a:p>
            <a:pPr marL="0" indent="0">
              <a:buNone/>
            </a:pPr>
            <a:r>
              <a:rPr lang="en-US" sz="100">
                <a:solidFill>
                  <a:schemeClr val="bg1">
                    <a:alpha val="0"/>
                  </a:schemeClr>
                </a:solidFill>
              </a:rPr>
              <a:t>  &lt;template version="2.3.3" type="branded" </a:t>
            </a:r>
            <a:r>
              <a:rPr lang="en-US" sz="100" err="1">
                <a:solidFill>
                  <a:schemeClr val="bg1">
                    <a:alpha val="0"/>
                  </a:schemeClr>
                </a:solidFill>
              </a:rPr>
              <a:t>pageSize</a:t>
            </a:r>
            <a:r>
              <a:rPr lang="en-US" sz="100">
                <a:solidFill>
                  <a:schemeClr val="bg1">
                    <a:alpha val="0"/>
                  </a:schemeClr>
                </a:solidFill>
              </a:rPr>
              <a:t>="widescreen" /&gt;</a:t>
            </a:r>
          </a:p>
          <a:p>
            <a:pPr marL="0" indent="0">
              <a:buNone/>
            </a:pPr>
            <a:r>
              <a:rPr lang="en-US" sz="100">
                <a:solidFill>
                  <a:schemeClr val="bg1">
                    <a:alpha val="0"/>
                  </a:schemeClr>
                </a:solidFill>
              </a:rPr>
              <a:t>  &lt;!--BTFPCONFIGURATION:3C627466703E0D0A20203C74656D706C6174652076657273696F6E3D22322E332E342220747970653D226272616E66656622207061676553697A653D227769666573637265656E22202F3E0D0A3C2F627466703E--&gt;</a:t>
            </a:r>
          </a:p>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p:txBody>
      </p:sp>
      <p:sp>
        <p:nvSpPr>
          <p:cNvPr id="6" name="CreatedFooter">
            <a:extLst>
              <a:ext uri="{FF2B5EF4-FFF2-40B4-BE49-F238E27FC236}">
                <a16:creationId xmlns:a16="http://schemas.microsoft.com/office/drawing/2014/main" id="{E112567E-82B6-79C1-C013-1743727F986E}"/>
              </a:ext>
            </a:extLst>
          </p:cNvP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9" name="OfficeCode">
            <a:extLst>
              <a:ext uri="{FF2B5EF4-FFF2-40B4-BE49-F238E27FC236}">
                <a16:creationId xmlns:a16="http://schemas.microsoft.com/office/drawing/2014/main" id="{96D9871C-A4D9-E8AE-F492-A8CA1F4EFF08}"/>
              </a:ext>
            </a:extLst>
          </p:cNvPr>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Tree>
    <p:custDataLst>
      <p:tags r:id="rId20"/>
    </p:custDataLst>
    <p:extLst>
      <p:ext uri="{BB962C8B-B14F-4D97-AF65-F5344CB8AC3E}">
        <p14:creationId xmlns:p14="http://schemas.microsoft.com/office/powerpoint/2010/main" val="1187751839"/>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p:custDataLst>
              <p:tags r:id="rId8"/>
            </p:custDataLst>
            <p:extLst>
              <p:ext uri="{D42A27DB-BD31-4B8C-83A1-F6EECF244321}">
                <p14:modId xmlns:p14="http://schemas.microsoft.com/office/powerpoint/2010/main" val="1525637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03" imgH="503" progId="TCLayout.ActiveDocument.1">
                  <p:embed/>
                </p:oleObj>
              </mc:Choice>
              <mc:Fallback>
                <p:oleObj name="think-cell Slide" r:id="rId9"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a:p>
            <a:pPr marL="0" indent="0">
              <a:buNone/>
            </a:pPr>
            <a:r>
              <a:rPr lang="en-US" sz="100">
                <a:solidFill>
                  <a:schemeClr val="bg1">
                    <a:alpha val="0"/>
                  </a:schemeClr>
                </a:solidFill>
              </a:rPr>
              <a:t>  &lt;template version="2.3.3" type="branded" </a:t>
            </a:r>
            <a:r>
              <a:rPr lang="en-US" sz="100" err="1">
                <a:solidFill>
                  <a:schemeClr val="bg1">
                    <a:alpha val="0"/>
                  </a:schemeClr>
                </a:solidFill>
              </a:rPr>
              <a:t>pageSize</a:t>
            </a:r>
            <a:r>
              <a:rPr lang="en-US" sz="100">
                <a:solidFill>
                  <a:schemeClr val="bg1">
                    <a:alpha val="0"/>
                  </a:schemeClr>
                </a:solidFill>
              </a:rPr>
              <a:t>="widescreen" /&gt;</a:t>
            </a:r>
          </a:p>
          <a:p>
            <a:pPr marL="0" indent="0">
              <a:buNone/>
            </a:pPr>
            <a:r>
              <a:rPr lang="en-US" sz="100">
                <a:solidFill>
                  <a:schemeClr val="bg1">
                    <a:alpha val="0"/>
                  </a:schemeClr>
                </a:solidFill>
              </a:rPr>
              <a:t>  &lt;!--BTFPCONFIGURATION:3C627466703E0D0A20203C74656D706C6174652076657273696F6E3D22322E332E342220747970653D226272616E66656622207061676553697A653D227769666573637265656E22202F3E0D0A3C2F627466703E--&gt;</a:t>
            </a:r>
          </a:p>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p:txBody>
      </p:sp>
      <p:sp>
        <p:nvSpPr>
          <p:cNvPr id="8" name="CreatedFooter"/>
          <p:cNvSpPr/>
          <p:nvPr/>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7" name="OfficeCode"/>
          <p:cNvSpPr/>
          <p:nvPr/>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354FF811-E56F-469F-16DD-4B5262FACA7F}"/>
              </a:ext>
            </a:extLst>
          </p:cNvPr>
          <p:cNvSpPr>
            <a:spLocks noGrp="1"/>
          </p:cNvSpPr>
          <p:nvPr>
            <p:ph type="ftr" sz="quarter" idx="3"/>
          </p:nvPr>
        </p:nvSpPr>
        <p:spPr>
          <a:xfrm>
            <a:off x="329184" y="6356350"/>
            <a:ext cx="11532616" cy="274320"/>
          </a:xfrm>
          <a:prstGeom prst="rect">
            <a:avLst/>
          </a:prstGeom>
        </p:spPr>
        <p:txBody>
          <a:bodyPr vert="horz" lIns="0" tIns="0" rIns="0" bIns="0" rtlCol="0" anchor="t"/>
          <a:lstStyle>
            <a:lvl1pPr algn="l">
              <a:defRPr sz="800">
                <a:solidFill>
                  <a:schemeClr val="tx1">
                    <a:tint val="82000"/>
                  </a:schemeClr>
                </a:solidFill>
              </a:defRPr>
            </a:lvl1p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11"/>
              </a:rPr>
              <a:t>with attribution</a:t>
            </a:r>
            <a:r>
              <a:rPr lang="en-US" sz="800">
                <a:solidFill>
                  <a:srgbClr val="000000"/>
                </a:solidFill>
              </a:rPr>
              <a:t>. Contact: </a:t>
            </a:r>
            <a:r>
              <a:rPr lang="en-US" sz="800">
                <a:solidFill>
                  <a:srgbClr val="000000"/>
                </a:solidFill>
                <a:hlinkClick r:id="rId12"/>
              </a:rPr>
              <a:t>gwagner@columbia.edu</a:t>
            </a:r>
            <a:r>
              <a:rPr lang="en-US" sz="800">
                <a:solidFill>
                  <a:srgbClr val="000000"/>
                </a:solidFill>
              </a:rPr>
              <a:t> </a:t>
            </a:r>
          </a:p>
        </p:txBody>
      </p:sp>
      <p:cxnSp>
        <p:nvCxnSpPr>
          <p:cNvPr id="9" name="Straight Connector 8">
            <a:extLst>
              <a:ext uri="{FF2B5EF4-FFF2-40B4-BE49-F238E27FC236}">
                <a16:creationId xmlns:a16="http://schemas.microsoft.com/office/drawing/2014/main" id="{7395F338-471E-FA38-41D0-3375145984BA}"/>
              </a:ext>
            </a:extLst>
          </p:cNvPr>
          <p:cNvCxnSpPr/>
          <p:nvPr/>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81021E2-9353-F5D6-4831-71C13B1AC983}"/>
              </a:ext>
            </a:extLst>
          </p:cNvPr>
          <p:cNvSpPr txBox="1"/>
          <p:nvPr/>
        </p:nvSpPr>
        <p:spPr bwMode="gray">
          <a:xfrm>
            <a:off x="10777929" y="272597"/>
            <a:ext cx="1079110" cy="215444"/>
          </a:xfrm>
          <a:prstGeom prst="rect">
            <a:avLst/>
          </a:prstGeom>
          <a:noFill/>
        </p:spPr>
        <p:txBody>
          <a:bodyPr wrap="square" lIns="91440" tIns="45720" rIns="91440" bIns="45720" rtlCol="0" anchor="ctr">
            <a:spAutoFit/>
          </a:bodyPr>
          <a:lstStyle/>
          <a:p>
            <a:pPr marL="0" indent="0" algn="r">
              <a:spcBef>
                <a:spcPts val="600"/>
              </a:spcBef>
              <a:spcAft>
                <a:spcPts val="600"/>
              </a:spcAft>
              <a:buNone/>
            </a:pPr>
            <a:fld id="{DBBFD4BF-CE92-6F42-B836-6FA9C3EC13F8}" type="slidenum">
              <a:rPr lang="en-US" sz="800" b="0" smtClean="0">
                <a:latin typeface="+mn-lt"/>
              </a:rPr>
              <a:pPr marL="0" indent="0" algn="r">
                <a:spcBef>
                  <a:spcPts val="600"/>
                </a:spcBef>
                <a:spcAft>
                  <a:spcPts val="600"/>
                </a:spcAft>
                <a:buNone/>
              </a:pPr>
              <a:t>‹#›</a:t>
            </a:fld>
            <a:r>
              <a:rPr lang="en-US" sz="800" b="0" dirty="0">
                <a:latin typeface="+mn-lt"/>
              </a:rPr>
              <a:t> of 73</a:t>
            </a:r>
          </a:p>
        </p:txBody>
      </p:sp>
      <p:pic>
        <p:nvPicPr>
          <p:cNvPr id="11" name="Picture 10"/>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9559473" y="6392206"/>
            <a:ext cx="2302327" cy="385640"/>
          </a:xfrm>
          <a:prstGeom prst="rect">
            <a:avLst/>
          </a:prstGeom>
        </p:spPr>
      </p:pic>
    </p:spTree>
    <p:custDataLst>
      <p:tags r:id="rId7"/>
    </p:custDataLst>
    <p:extLst>
      <p:ext uri="{BB962C8B-B14F-4D97-AF65-F5344CB8AC3E}">
        <p14:creationId xmlns:p14="http://schemas.microsoft.com/office/powerpoint/2010/main" val="319654761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Lst>
  <p:hf hdr="0" dt="0"/>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6" Type="http://schemas.openxmlformats.org/officeDocument/2006/relationships/tags" Target="../tags/tag270.xml"/><Relationship Id="rId21" Type="http://schemas.openxmlformats.org/officeDocument/2006/relationships/tags" Target="../tags/tag265.xml"/><Relationship Id="rId42" Type="http://schemas.openxmlformats.org/officeDocument/2006/relationships/tags" Target="../tags/tag286.xml"/><Relationship Id="rId47" Type="http://schemas.openxmlformats.org/officeDocument/2006/relationships/tags" Target="../tags/tag291.xml"/><Relationship Id="rId63" Type="http://schemas.openxmlformats.org/officeDocument/2006/relationships/tags" Target="../tags/tag307.xml"/><Relationship Id="rId68" Type="http://schemas.openxmlformats.org/officeDocument/2006/relationships/tags" Target="../tags/tag312.xml"/><Relationship Id="rId84" Type="http://schemas.openxmlformats.org/officeDocument/2006/relationships/tags" Target="../tags/tag328.xml"/><Relationship Id="rId89" Type="http://schemas.openxmlformats.org/officeDocument/2006/relationships/tags" Target="../tags/tag333.xml"/><Relationship Id="rId16" Type="http://schemas.openxmlformats.org/officeDocument/2006/relationships/tags" Target="../tags/tag260.xml"/><Relationship Id="rId11" Type="http://schemas.openxmlformats.org/officeDocument/2006/relationships/tags" Target="../tags/tag255.xml"/><Relationship Id="rId32" Type="http://schemas.openxmlformats.org/officeDocument/2006/relationships/tags" Target="../tags/tag276.xml"/><Relationship Id="rId37" Type="http://schemas.openxmlformats.org/officeDocument/2006/relationships/tags" Target="../tags/tag281.xml"/><Relationship Id="rId53" Type="http://schemas.openxmlformats.org/officeDocument/2006/relationships/tags" Target="../tags/tag297.xml"/><Relationship Id="rId58" Type="http://schemas.openxmlformats.org/officeDocument/2006/relationships/tags" Target="../tags/tag302.xml"/><Relationship Id="rId74" Type="http://schemas.openxmlformats.org/officeDocument/2006/relationships/tags" Target="../tags/tag318.xml"/><Relationship Id="rId79" Type="http://schemas.openxmlformats.org/officeDocument/2006/relationships/tags" Target="../tags/tag323.xml"/><Relationship Id="rId102" Type="http://schemas.openxmlformats.org/officeDocument/2006/relationships/chart" Target="../charts/chart10.xml"/><Relationship Id="rId5" Type="http://schemas.openxmlformats.org/officeDocument/2006/relationships/tags" Target="../tags/tag249.xml"/><Relationship Id="rId90" Type="http://schemas.openxmlformats.org/officeDocument/2006/relationships/slideLayout" Target="../slideLayouts/slideLayout7.xml"/><Relationship Id="rId95" Type="http://schemas.openxmlformats.org/officeDocument/2006/relationships/hyperlink" Target="https://www.iaea.org/topics/nuclear-power-and-climate-change/climate-change-and-nuclear-power-2022" TargetMode="External"/><Relationship Id="rId22" Type="http://schemas.openxmlformats.org/officeDocument/2006/relationships/tags" Target="../tags/tag266.xml"/><Relationship Id="rId27" Type="http://schemas.openxmlformats.org/officeDocument/2006/relationships/tags" Target="../tags/tag271.xml"/><Relationship Id="rId43" Type="http://schemas.openxmlformats.org/officeDocument/2006/relationships/tags" Target="../tags/tag287.xml"/><Relationship Id="rId48" Type="http://schemas.openxmlformats.org/officeDocument/2006/relationships/tags" Target="../tags/tag292.xml"/><Relationship Id="rId64" Type="http://schemas.openxmlformats.org/officeDocument/2006/relationships/tags" Target="../tags/tag308.xml"/><Relationship Id="rId69" Type="http://schemas.openxmlformats.org/officeDocument/2006/relationships/tags" Target="../tags/tag313.xml"/><Relationship Id="rId80" Type="http://schemas.openxmlformats.org/officeDocument/2006/relationships/tags" Target="../tags/tag324.xml"/><Relationship Id="rId85" Type="http://schemas.openxmlformats.org/officeDocument/2006/relationships/tags" Target="../tags/tag329.xml"/><Relationship Id="rId12" Type="http://schemas.openxmlformats.org/officeDocument/2006/relationships/tags" Target="../tags/tag256.xml"/><Relationship Id="rId17" Type="http://schemas.openxmlformats.org/officeDocument/2006/relationships/tags" Target="../tags/tag261.xml"/><Relationship Id="rId25" Type="http://schemas.openxmlformats.org/officeDocument/2006/relationships/tags" Target="../tags/tag269.xml"/><Relationship Id="rId33" Type="http://schemas.openxmlformats.org/officeDocument/2006/relationships/tags" Target="../tags/tag277.xml"/><Relationship Id="rId38" Type="http://schemas.openxmlformats.org/officeDocument/2006/relationships/tags" Target="../tags/tag282.xml"/><Relationship Id="rId46" Type="http://schemas.openxmlformats.org/officeDocument/2006/relationships/tags" Target="../tags/tag290.xml"/><Relationship Id="rId59" Type="http://schemas.openxmlformats.org/officeDocument/2006/relationships/tags" Target="../tags/tag303.xml"/><Relationship Id="rId67" Type="http://schemas.openxmlformats.org/officeDocument/2006/relationships/tags" Target="../tags/tag311.xml"/><Relationship Id="rId20" Type="http://schemas.openxmlformats.org/officeDocument/2006/relationships/tags" Target="../tags/tag264.xml"/><Relationship Id="rId41" Type="http://schemas.openxmlformats.org/officeDocument/2006/relationships/tags" Target="../tags/tag285.xml"/><Relationship Id="rId54" Type="http://schemas.openxmlformats.org/officeDocument/2006/relationships/tags" Target="../tags/tag298.xml"/><Relationship Id="rId62" Type="http://schemas.openxmlformats.org/officeDocument/2006/relationships/tags" Target="../tags/tag306.xml"/><Relationship Id="rId70" Type="http://schemas.openxmlformats.org/officeDocument/2006/relationships/tags" Target="../tags/tag314.xml"/><Relationship Id="rId75" Type="http://schemas.openxmlformats.org/officeDocument/2006/relationships/tags" Target="../tags/tag319.xml"/><Relationship Id="rId83" Type="http://schemas.openxmlformats.org/officeDocument/2006/relationships/tags" Target="../tags/tag327.xml"/><Relationship Id="rId88" Type="http://schemas.openxmlformats.org/officeDocument/2006/relationships/tags" Target="../tags/tag332.xml"/><Relationship Id="rId91" Type="http://schemas.openxmlformats.org/officeDocument/2006/relationships/notesSlide" Target="../notesSlides/notesSlide10.xml"/><Relationship Id="rId96" Type="http://schemas.openxmlformats.org/officeDocument/2006/relationships/hyperlink" Target="https://eneroutlook.enerdata.net/total-electricity-generation-projections.html" TargetMode="External"/><Relationship Id="rId1" Type="http://schemas.openxmlformats.org/officeDocument/2006/relationships/tags" Target="../tags/tag245.xml"/><Relationship Id="rId6" Type="http://schemas.openxmlformats.org/officeDocument/2006/relationships/tags" Target="../tags/tag250.xml"/><Relationship Id="rId15" Type="http://schemas.openxmlformats.org/officeDocument/2006/relationships/tags" Target="../tags/tag259.xml"/><Relationship Id="rId23" Type="http://schemas.openxmlformats.org/officeDocument/2006/relationships/tags" Target="../tags/tag267.xml"/><Relationship Id="rId28" Type="http://schemas.openxmlformats.org/officeDocument/2006/relationships/tags" Target="../tags/tag272.xml"/><Relationship Id="rId36" Type="http://schemas.openxmlformats.org/officeDocument/2006/relationships/tags" Target="../tags/tag280.xml"/><Relationship Id="rId49" Type="http://schemas.openxmlformats.org/officeDocument/2006/relationships/tags" Target="../tags/tag293.xml"/><Relationship Id="rId57" Type="http://schemas.openxmlformats.org/officeDocument/2006/relationships/tags" Target="../tags/tag301.xml"/><Relationship Id="rId10" Type="http://schemas.openxmlformats.org/officeDocument/2006/relationships/tags" Target="../tags/tag254.xml"/><Relationship Id="rId31" Type="http://schemas.openxmlformats.org/officeDocument/2006/relationships/tags" Target="../tags/tag275.xml"/><Relationship Id="rId44" Type="http://schemas.openxmlformats.org/officeDocument/2006/relationships/tags" Target="../tags/tag288.xml"/><Relationship Id="rId52" Type="http://schemas.openxmlformats.org/officeDocument/2006/relationships/tags" Target="../tags/tag296.xml"/><Relationship Id="rId60" Type="http://schemas.openxmlformats.org/officeDocument/2006/relationships/tags" Target="../tags/tag304.xml"/><Relationship Id="rId65" Type="http://schemas.openxmlformats.org/officeDocument/2006/relationships/tags" Target="../tags/tag309.xml"/><Relationship Id="rId73" Type="http://schemas.openxmlformats.org/officeDocument/2006/relationships/tags" Target="../tags/tag317.xml"/><Relationship Id="rId78" Type="http://schemas.openxmlformats.org/officeDocument/2006/relationships/tags" Target="../tags/tag322.xml"/><Relationship Id="rId81" Type="http://schemas.openxmlformats.org/officeDocument/2006/relationships/tags" Target="../tags/tag325.xml"/><Relationship Id="rId86" Type="http://schemas.openxmlformats.org/officeDocument/2006/relationships/tags" Target="../tags/tag330.xml"/><Relationship Id="rId94" Type="http://schemas.openxmlformats.org/officeDocument/2006/relationships/hyperlink" Target="https://www.energy.gov/eere/solar/federal-solar-tax-credits-businesses#:~:text=Solar%20systems%20that%20are%20placed,)%5B5%5D%20in%20size." TargetMode="External"/><Relationship Id="rId99" Type="http://schemas.openxmlformats.org/officeDocument/2006/relationships/hyperlink" Target="https://business.columbia.edu/faculty/people/gernot-wagner" TargetMode="External"/><Relationship Id="rId101" Type="http://schemas.openxmlformats.org/officeDocument/2006/relationships/chart" Target="../charts/chart9.xml"/><Relationship Id="rId4" Type="http://schemas.openxmlformats.org/officeDocument/2006/relationships/tags" Target="../tags/tag248.xml"/><Relationship Id="rId9" Type="http://schemas.openxmlformats.org/officeDocument/2006/relationships/tags" Target="../tags/tag253.xml"/><Relationship Id="rId13" Type="http://schemas.openxmlformats.org/officeDocument/2006/relationships/tags" Target="../tags/tag257.xml"/><Relationship Id="rId18" Type="http://schemas.openxmlformats.org/officeDocument/2006/relationships/tags" Target="../tags/tag262.xml"/><Relationship Id="rId39" Type="http://schemas.openxmlformats.org/officeDocument/2006/relationships/tags" Target="../tags/tag283.xml"/><Relationship Id="rId34" Type="http://schemas.openxmlformats.org/officeDocument/2006/relationships/tags" Target="../tags/tag278.xml"/><Relationship Id="rId50" Type="http://schemas.openxmlformats.org/officeDocument/2006/relationships/tags" Target="../tags/tag294.xml"/><Relationship Id="rId55" Type="http://schemas.openxmlformats.org/officeDocument/2006/relationships/tags" Target="../tags/tag299.xml"/><Relationship Id="rId76" Type="http://schemas.openxmlformats.org/officeDocument/2006/relationships/tags" Target="../tags/tag320.xml"/><Relationship Id="rId97" Type="http://schemas.openxmlformats.org/officeDocument/2006/relationships/hyperlink" Target="https://www-pub.iaea.org/MTCD/Publications/PDF/RDS-1-44_web.pdf" TargetMode="External"/><Relationship Id="rId7" Type="http://schemas.openxmlformats.org/officeDocument/2006/relationships/tags" Target="../tags/tag251.xml"/><Relationship Id="rId71" Type="http://schemas.openxmlformats.org/officeDocument/2006/relationships/tags" Target="../tags/tag315.xml"/><Relationship Id="rId92" Type="http://schemas.openxmlformats.org/officeDocument/2006/relationships/oleObject" Target="../embeddings/oleObject16.bin"/><Relationship Id="rId2" Type="http://schemas.openxmlformats.org/officeDocument/2006/relationships/tags" Target="../tags/tag246.xml"/><Relationship Id="rId29" Type="http://schemas.openxmlformats.org/officeDocument/2006/relationships/tags" Target="../tags/tag273.xml"/><Relationship Id="rId24" Type="http://schemas.openxmlformats.org/officeDocument/2006/relationships/tags" Target="../tags/tag268.xml"/><Relationship Id="rId40" Type="http://schemas.openxmlformats.org/officeDocument/2006/relationships/tags" Target="../tags/tag284.xml"/><Relationship Id="rId45" Type="http://schemas.openxmlformats.org/officeDocument/2006/relationships/tags" Target="../tags/tag289.xml"/><Relationship Id="rId66" Type="http://schemas.openxmlformats.org/officeDocument/2006/relationships/tags" Target="../tags/tag310.xml"/><Relationship Id="rId87" Type="http://schemas.openxmlformats.org/officeDocument/2006/relationships/tags" Target="../tags/tag331.xml"/><Relationship Id="rId61" Type="http://schemas.openxmlformats.org/officeDocument/2006/relationships/tags" Target="../tags/tag305.xml"/><Relationship Id="rId82" Type="http://schemas.openxmlformats.org/officeDocument/2006/relationships/tags" Target="../tags/tag326.xml"/><Relationship Id="rId19" Type="http://schemas.openxmlformats.org/officeDocument/2006/relationships/tags" Target="../tags/tag263.xml"/><Relationship Id="rId14" Type="http://schemas.openxmlformats.org/officeDocument/2006/relationships/tags" Target="../tags/tag258.xml"/><Relationship Id="rId30" Type="http://schemas.openxmlformats.org/officeDocument/2006/relationships/tags" Target="../tags/tag274.xml"/><Relationship Id="rId35" Type="http://schemas.openxmlformats.org/officeDocument/2006/relationships/tags" Target="../tags/tag279.xml"/><Relationship Id="rId56" Type="http://schemas.openxmlformats.org/officeDocument/2006/relationships/tags" Target="../tags/tag300.xml"/><Relationship Id="rId77" Type="http://schemas.openxmlformats.org/officeDocument/2006/relationships/tags" Target="../tags/tag321.xml"/><Relationship Id="rId100" Type="http://schemas.openxmlformats.org/officeDocument/2006/relationships/hyperlink" Target="https://business.columbia.edu/insights/climate/cki" TargetMode="External"/><Relationship Id="rId8" Type="http://schemas.openxmlformats.org/officeDocument/2006/relationships/tags" Target="../tags/tag252.xml"/><Relationship Id="rId51" Type="http://schemas.openxmlformats.org/officeDocument/2006/relationships/tags" Target="../tags/tag295.xml"/><Relationship Id="rId72" Type="http://schemas.openxmlformats.org/officeDocument/2006/relationships/tags" Target="../tags/tag316.xml"/><Relationship Id="rId93" Type="http://schemas.openxmlformats.org/officeDocument/2006/relationships/image" Target="../media/image15.emf"/><Relationship Id="rId98" Type="http://schemas.openxmlformats.org/officeDocument/2006/relationships/hyperlink" Target="https://eneroutlook.enerdata.net/forecast-world-co2-intensity-of-electricity-generation.html" TargetMode="External"/><Relationship Id="rId3" Type="http://schemas.openxmlformats.org/officeDocument/2006/relationships/tags" Target="../tags/tag247.xml"/></Relationships>
</file>

<file path=ppt/slides/_rels/slide11.xml.rels><?xml version="1.0" encoding="UTF-8" standalone="yes"?>
<Relationships xmlns="http://schemas.openxmlformats.org/package/2006/relationships"><Relationship Id="rId8" Type="http://schemas.openxmlformats.org/officeDocument/2006/relationships/hyperlink" Target="https://www.energy.gov/eere/solar/federal-solar-tax-credits-businesses#:~:text=Solar%20systems%20that%20are%20placed,)%5B5%5D%20in%20size." TargetMode="External"/><Relationship Id="rId13" Type="http://schemas.openxmlformats.org/officeDocument/2006/relationships/hyperlink" Target="https://www.nucnet.org/news/capital-costs-are-high-but-can-be-reduced-to-economically-competitive-level-10-4-2021" TargetMode="External"/><Relationship Id="rId18" Type="http://schemas.openxmlformats.org/officeDocument/2006/relationships/hyperlink" Target="https://business.columbia.edu/faculty/people/gernot-wagner" TargetMode="External"/><Relationship Id="rId3" Type="http://schemas.openxmlformats.org/officeDocument/2006/relationships/tags" Target="../tags/tag336.xml"/><Relationship Id="rId7" Type="http://schemas.openxmlformats.org/officeDocument/2006/relationships/image" Target="../media/image15.emf"/><Relationship Id="rId12" Type="http://schemas.openxmlformats.org/officeDocument/2006/relationships/hyperlink" Target="https://www.lazard.com/media/xemfey0k/lazards-lcoeplus-june-2024-_vf.pdf" TargetMode="External"/><Relationship Id="rId17" Type="http://schemas.openxmlformats.org/officeDocument/2006/relationships/hyperlink" Target="https://fisa-euradwaste2025.ncbj.gov.pl/sites/fisa-euradwaste2025.ncbj.gov.pl/files/2025-05/162_poster.pdf" TargetMode="External"/><Relationship Id="rId2" Type="http://schemas.openxmlformats.org/officeDocument/2006/relationships/tags" Target="../tags/tag335.xml"/><Relationship Id="rId16" Type="http://schemas.openxmlformats.org/officeDocument/2006/relationships/hyperlink" Target="https://iea.blob.core.windows.net/assets/b6a6fc8c-c62e-411d-a15c-bf211ccc06f3/ThePathtoaNewEraforNuclearEnergy.pdf" TargetMode="External"/><Relationship Id="rId1" Type="http://schemas.openxmlformats.org/officeDocument/2006/relationships/tags" Target="../tags/tag334.xml"/><Relationship Id="rId6" Type="http://schemas.openxmlformats.org/officeDocument/2006/relationships/oleObject" Target="../embeddings/oleObject17.bin"/><Relationship Id="rId11" Type="http://schemas.openxmlformats.org/officeDocument/2006/relationships/hyperlink" Target="https://www.fusionindustryassociation.org/wp-content/uploads/2024/07/2024-annual-global-fusion-industry-report.pdf" TargetMode="External"/><Relationship Id="rId5" Type="http://schemas.openxmlformats.org/officeDocument/2006/relationships/notesSlide" Target="../notesSlides/notesSlide11.xml"/><Relationship Id="rId15" Type="http://schemas.openxmlformats.org/officeDocument/2006/relationships/hyperlink" Target="https://iea.blob.core.windows.net/assets/ae17da3d-e8a5-4163-a3ec-2e6fb0b5677d/Projected-Costs-of-Generating-Electricity-2020.pdf" TargetMode="External"/><Relationship Id="rId10" Type="http://schemas.openxmlformats.org/officeDocument/2006/relationships/hyperlink" Target="https://www-pub.iaea.org/MTCD/Publications/PDF/PUB1911_web.pdf" TargetMode="External"/><Relationship Id="rId19" Type="http://schemas.openxmlformats.org/officeDocument/2006/relationships/hyperlink" Target="https://business.columbia.edu/insights/climate/cki" TargetMode="External"/><Relationship Id="rId4" Type="http://schemas.openxmlformats.org/officeDocument/2006/relationships/slideLayout" Target="../slideLayouts/slideLayout7.xml"/><Relationship Id="rId9" Type="http://schemas.openxmlformats.org/officeDocument/2006/relationships/hyperlink" Target="https://www.iea.org/reports/nuclear-power-and-secure-energy-transitions" TargetMode="External"/><Relationship Id="rId14" Type="http://schemas.openxmlformats.org/officeDocument/2006/relationships/hyperlink" Target="https://gain.inl.gov/content/uploads/4/2024/11/INL-RPT-23-72972-Literature-Review-of-Adv-Reactor-Cost-Estimates.pdf" TargetMode="External"/></Relationships>
</file>

<file path=ppt/slides/_rels/slide12.xml.rels><?xml version="1.0" encoding="UTF-8" standalone="yes"?>
<Relationships xmlns="http://schemas.openxmlformats.org/package/2006/relationships"><Relationship Id="rId13" Type="http://schemas.openxmlformats.org/officeDocument/2006/relationships/tags" Target="../tags/tag349.xml"/><Relationship Id="rId18" Type="http://schemas.openxmlformats.org/officeDocument/2006/relationships/tags" Target="../tags/tag354.xml"/><Relationship Id="rId26" Type="http://schemas.openxmlformats.org/officeDocument/2006/relationships/tags" Target="../tags/tag362.xml"/><Relationship Id="rId39" Type="http://schemas.openxmlformats.org/officeDocument/2006/relationships/oleObject" Target="../embeddings/oleObject18.bin"/><Relationship Id="rId21" Type="http://schemas.openxmlformats.org/officeDocument/2006/relationships/tags" Target="../tags/tag357.xml"/><Relationship Id="rId34" Type="http://schemas.openxmlformats.org/officeDocument/2006/relationships/tags" Target="../tags/tag370.xml"/><Relationship Id="rId42" Type="http://schemas.openxmlformats.org/officeDocument/2006/relationships/hyperlink" Target="https://world-nuclear.org/our-association/publications/global-trends-reports/world-nuclear-performance-report-2024" TargetMode="External"/><Relationship Id="rId47" Type="http://schemas.openxmlformats.org/officeDocument/2006/relationships/image" Target="../media/image19.png"/><Relationship Id="rId7" Type="http://schemas.openxmlformats.org/officeDocument/2006/relationships/tags" Target="../tags/tag343.xml"/><Relationship Id="rId2" Type="http://schemas.openxmlformats.org/officeDocument/2006/relationships/tags" Target="../tags/tag338.xml"/><Relationship Id="rId16" Type="http://schemas.openxmlformats.org/officeDocument/2006/relationships/tags" Target="../tags/tag352.xml"/><Relationship Id="rId29" Type="http://schemas.openxmlformats.org/officeDocument/2006/relationships/tags" Target="../tags/tag365.xml"/><Relationship Id="rId1" Type="http://schemas.openxmlformats.org/officeDocument/2006/relationships/tags" Target="../tags/tag337.xml"/><Relationship Id="rId6" Type="http://schemas.openxmlformats.org/officeDocument/2006/relationships/tags" Target="../tags/tag342.xml"/><Relationship Id="rId11" Type="http://schemas.openxmlformats.org/officeDocument/2006/relationships/tags" Target="../tags/tag347.xml"/><Relationship Id="rId24" Type="http://schemas.openxmlformats.org/officeDocument/2006/relationships/tags" Target="../tags/tag360.xml"/><Relationship Id="rId32" Type="http://schemas.openxmlformats.org/officeDocument/2006/relationships/tags" Target="../tags/tag368.xml"/><Relationship Id="rId37" Type="http://schemas.openxmlformats.org/officeDocument/2006/relationships/slideLayout" Target="../slideLayouts/slideLayout7.xml"/><Relationship Id="rId40" Type="http://schemas.openxmlformats.org/officeDocument/2006/relationships/image" Target="../media/image15.emf"/><Relationship Id="rId45" Type="http://schemas.openxmlformats.org/officeDocument/2006/relationships/hyperlink" Target="https://business.columbia.edu/insights/climate/cki" TargetMode="External"/><Relationship Id="rId5" Type="http://schemas.openxmlformats.org/officeDocument/2006/relationships/tags" Target="../tags/tag341.xml"/><Relationship Id="rId15" Type="http://schemas.openxmlformats.org/officeDocument/2006/relationships/tags" Target="../tags/tag351.xml"/><Relationship Id="rId23" Type="http://schemas.openxmlformats.org/officeDocument/2006/relationships/tags" Target="../tags/tag359.xml"/><Relationship Id="rId28" Type="http://schemas.openxmlformats.org/officeDocument/2006/relationships/tags" Target="../tags/tag364.xml"/><Relationship Id="rId36" Type="http://schemas.openxmlformats.org/officeDocument/2006/relationships/tags" Target="../tags/tag372.xml"/><Relationship Id="rId10" Type="http://schemas.openxmlformats.org/officeDocument/2006/relationships/tags" Target="../tags/tag346.xml"/><Relationship Id="rId19" Type="http://schemas.openxmlformats.org/officeDocument/2006/relationships/tags" Target="../tags/tag355.xml"/><Relationship Id="rId31" Type="http://schemas.openxmlformats.org/officeDocument/2006/relationships/tags" Target="../tags/tag367.xml"/><Relationship Id="rId44" Type="http://schemas.openxmlformats.org/officeDocument/2006/relationships/hyperlink" Target="https://business.columbia.edu/faculty/people/gernot-wagner" TargetMode="External"/><Relationship Id="rId4" Type="http://schemas.openxmlformats.org/officeDocument/2006/relationships/tags" Target="../tags/tag340.xml"/><Relationship Id="rId9" Type="http://schemas.openxmlformats.org/officeDocument/2006/relationships/tags" Target="../tags/tag345.xml"/><Relationship Id="rId14" Type="http://schemas.openxmlformats.org/officeDocument/2006/relationships/tags" Target="../tags/tag350.xml"/><Relationship Id="rId22" Type="http://schemas.openxmlformats.org/officeDocument/2006/relationships/tags" Target="../tags/tag358.xml"/><Relationship Id="rId27" Type="http://schemas.openxmlformats.org/officeDocument/2006/relationships/tags" Target="../tags/tag363.xml"/><Relationship Id="rId30" Type="http://schemas.openxmlformats.org/officeDocument/2006/relationships/tags" Target="../tags/tag366.xml"/><Relationship Id="rId35" Type="http://schemas.openxmlformats.org/officeDocument/2006/relationships/tags" Target="../tags/tag371.xml"/><Relationship Id="rId43" Type="http://schemas.openxmlformats.org/officeDocument/2006/relationships/hyperlink" Target="https://globalenergymonitor.org/projects/global-nuclear-power-tracker/" TargetMode="External"/><Relationship Id="rId48" Type="http://schemas.openxmlformats.org/officeDocument/2006/relationships/image" Target="../media/image20.png"/><Relationship Id="rId8" Type="http://schemas.openxmlformats.org/officeDocument/2006/relationships/tags" Target="../tags/tag344.xml"/><Relationship Id="rId3" Type="http://schemas.openxmlformats.org/officeDocument/2006/relationships/tags" Target="../tags/tag339.xml"/><Relationship Id="rId12" Type="http://schemas.openxmlformats.org/officeDocument/2006/relationships/tags" Target="../tags/tag348.xml"/><Relationship Id="rId17" Type="http://schemas.openxmlformats.org/officeDocument/2006/relationships/tags" Target="../tags/tag353.xml"/><Relationship Id="rId25" Type="http://schemas.openxmlformats.org/officeDocument/2006/relationships/tags" Target="../tags/tag361.xml"/><Relationship Id="rId33" Type="http://schemas.openxmlformats.org/officeDocument/2006/relationships/tags" Target="../tags/tag369.xml"/><Relationship Id="rId38" Type="http://schemas.openxmlformats.org/officeDocument/2006/relationships/notesSlide" Target="../notesSlides/notesSlide12.xml"/><Relationship Id="rId46" Type="http://schemas.openxmlformats.org/officeDocument/2006/relationships/chart" Target="../charts/chart11.xml"/><Relationship Id="rId20" Type="http://schemas.openxmlformats.org/officeDocument/2006/relationships/tags" Target="../tags/tag356.xml"/><Relationship Id="rId41" Type="http://schemas.openxmlformats.org/officeDocument/2006/relationships/hyperlink" Target="https://www.energy.gov/eere/solar/federal-solar-tax-credits-businesses#:~:text=Solar%20systems%20that%20are%20placed,)%5B5%5D%20in%20size." TargetMode="External"/></Relationships>
</file>

<file path=ppt/slides/_rels/slide13.xml.rels><?xml version="1.0" encoding="UTF-8" standalone="yes"?>
<Relationships xmlns="http://schemas.openxmlformats.org/package/2006/relationships"><Relationship Id="rId13" Type="http://schemas.openxmlformats.org/officeDocument/2006/relationships/tags" Target="../tags/tag385.xml"/><Relationship Id="rId18" Type="http://schemas.openxmlformats.org/officeDocument/2006/relationships/tags" Target="../tags/tag390.xml"/><Relationship Id="rId26" Type="http://schemas.openxmlformats.org/officeDocument/2006/relationships/tags" Target="../tags/tag398.xml"/><Relationship Id="rId39" Type="http://schemas.openxmlformats.org/officeDocument/2006/relationships/hyperlink" Target="https://www-pub.iaea.org/MTCD/Publications/PDF/PUB1911_web.pdf" TargetMode="External"/><Relationship Id="rId21" Type="http://schemas.openxmlformats.org/officeDocument/2006/relationships/tags" Target="../tags/tag393.xml"/><Relationship Id="rId34" Type="http://schemas.openxmlformats.org/officeDocument/2006/relationships/notesSlide" Target="../notesSlides/notesSlide13.xml"/><Relationship Id="rId42" Type="http://schemas.openxmlformats.org/officeDocument/2006/relationships/hyperlink" Target="https://www.brucepower.com/life-extension-program-mcr-project/" TargetMode="External"/><Relationship Id="rId7" Type="http://schemas.openxmlformats.org/officeDocument/2006/relationships/tags" Target="../tags/tag379.xml"/><Relationship Id="rId2" Type="http://schemas.openxmlformats.org/officeDocument/2006/relationships/tags" Target="../tags/tag374.xml"/><Relationship Id="rId16" Type="http://schemas.openxmlformats.org/officeDocument/2006/relationships/tags" Target="../tags/tag388.xml"/><Relationship Id="rId29" Type="http://schemas.openxmlformats.org/officeDocument/2006/relationships/tags" Target="../tags/tag401.xml"/><Relationship Id="rId1" Type="http://schemas.openxmlformats.org/officeDocument/2006/relationships/tags" Target="../tags/tag373.xml"/><Relationship Id="rId6" Type="http://schemas.openxmlformats.org/officeDocument/2006/relationships/tags" Target="../tags/tag378.xml"/><Relationship Id="rId11" Type="http://schemas.openxmlformats.org/officeDocument/2006/relationships/tags" Target="../tags/tag383.xml"/><Relationship Id="rId24" Type="http://schemas.openxmlformats.org/officeDocument/2006/relationships/tags" Target="../tags/tag396.xml"/><Relationship Id="rId32" Type="http://schemas.openxmlformats.org/officeDocument/2006/relationships/tags" Target="../tags/tag404.xml"/><Relationship Id="rId37" Type="http://schemas.openxmlformats.org/officeDocument/2006/relationships/chart" Target="../charts/chart12.xml"/><Relationship Id="rId40" Type="http://schemas.openxmlformats.org/officeDocument/2006/relationships/hyperlink" Target="https://globalenergymonitor.org/projects/global-nuclear-power-tracker/" TargetMode="External"/><Relationship Id="rId45" Type="http://schemas.openxmlformats.org/officeDocument/2006/relationships/hyperlink" Target="https://business.columbia.edu/insights/climate/cki" TargetMode="External"/><Relationship Id="rId5" Type="http://schemas.openxmlformats.org/officeDocument/2006/relationships/tags" Target="../tags/tag377.xml"/><Relationship Id="rId15" Type="http://schemas.openxmlformats.org/officeDocument/2006/relationships/tags" Target="../tags/tag387.xml"/><Relationship Id="rId23" Type="http://schemas.openxmlformats.org/officeDocument/2006/relationships/tags" Target="../tags/tag395.xml"/><Relationship Id="rId28" Type="http://schemas.openxmlformats.org/officeDocument/2006/relationships/tags" Target="../tags/tag400.xml"/><Relationship Id="rId36" Type="http://schemas.openxmlformats.org/officeDocument/2006/relationships/image" Target="../media/image12.emf"/><Relationship Id="rId10" Type="http://schemas.openxmlformats.org/officeDocument/2006/relationships/tags" Target="../tags/tag382.xml"/><Relationship Id="rId19" Type="http://schemas.openxmlformats.org/officeDocument/2006/relationships/tags" Target="../tags/tag391.xml"/><Relationship Id="rId31" Type="http://schemas.openxmlformats.org/officeDocument/2006/relationships/tags" Target="../tags/tag403.xml"/><Relationship Id="rId44" Type="http://schemas.openxmlformats.org/officeDocument/2006/relationships/hyperlink" Target="https://business.columbia.edu/faculty/people/gernot-wagner" TargetMode="External"/><Relationship Id="rId4" Type="http://schemas.openxmlformats.org/officeDocument/2006/relationships/tags" Target="../tags/tag376.xml"/><Relationship Id="rId9" Type="http://schemas.openxmlformats.org/officeDocument/2006/relationships/tags" Target="../tags/tag381.xml"/><Relationship Id="rId14" Type="http://schemas.openxmlformats.org/officeDocument/2006/relationships/tags" Target="../tags/tag386.xml"/><Relationship Id="rId22" Type="http://schemas.openxmlformats.org/officeDocument/2006/relationships/tags" Target="../tags/tag394.xml"/><Relationship Id="rId27" Type="http://schemas.openxmlformats.org/officeDocument/2006/relationships/tags" Target="../tags/tag399.xml"/><Relationship Id="rId30" Type="http://schemas.openxmlformats.org/officeDocument/2006/relationships/tags" Target="../tags/tag402.xml"/><Relationship Id="rId35" Type="http://schemas.openxmlformats.org/officeDocument/2006/relationships/oleObject" Target="../embeddings/oleObject19.bin"/><Relationship Id="rId43" Type="http://schemas.openxmlformats.org/officeDocument/2006/relationships/hyperlink" Target="https://www.cer-rec.gc.ca/en/data-analysis/energy-markets/provincial-territorial-energy-profiles/provincial-territorial-energy-profiles-canada.html#:~:text=This%20column%20graph%20shows%20the,CO2e%20per%20kWh." TargetMode="External"/><Relationship Id="rId8" Type="http://schemas.openxmlformats.org/officeDocument/2006/relationships/tags" Target="../tags/tag380.xml"/><Relationship Id="rId3" Type="http://schemas.openxmlformats.org/officeDocument/2006/relationships/tags" Target="../tags/tag375.xml"/><Relationship Id="rId12" Type="http://schemas.openxmlformats.org/officeDocument/2006/relationships/tags" Target="../tags/tag384.xml"/><Relationship Id="rId17" Type="http://schemas.openxmlformats.org/officeDocument/2006/relationships/tags" Target="../tags/tag389.xml"/><Relationship Id="rId25" Type="http://schemas.openxmlformats.org/officeDocument/2006/relationships/tags" Target="../tags/tag397.xml"/><Relationship Id="rId33" Type="http://schemas.openxmlformats.org/officeDocument/2006/relationships/slideLayout" Target="../slideLayouts/slideLayout7.xml"/><Relationship Id="rId38" Type="http://schemas.openxmlformats.org/officeDocument/2006/relationships/hyperlink" Target="https://www.energy.gov/eere/solar/federal-solar-tax-credits-businesses#:~:text=Solar%20systems%20that%20are%20placed,)%5B5%5D%20in%20size." TargetMode="External"/><Relationship Id="rId46" Type="http://schemas.openxmlformats.org/officeDocument/2006/relationships/image" Target="../media/image21.png"/><Relationship Id="rId20" Type="http://schemas.openxmlformats.org/officeDocument/2006/relationships/tags" Target="../tags/tag392.xml"/><Relationship Id="rId41" Type="http://schemas.openxmlformats.org/officeDocument/2006/relationships/hyperlink" Target="https://world-nuclear.org/our-association/publications/world-nuclear-performance-report/global-nuclear-industry-performance" TargetMode="External"/></Relationships>
</file>

<file path=ppt/slides/_rels/slide14.xml.rels><?xml version="1.0" encoding="UTF-8" standalone="yes"?>
<Relationships xmlns="http://schemas.openxmlformats.org/package/2006/relationships"><Relationship Id="rId13" Type="http://schemas.openxmlformats.org/officeDocument/2006/relationships/tags" Target="../tags/tag417.xml"/><Relationship Id="rId18" Type="http://schemas.openxmlformats.org/officeDocument/2006/relationships/tags" Target="../tags/tag422.xml"/><Relationship Id="rId26" Type="http://schemas.openxmlformats.org/officeDocument/2006/relationships/tags" Target="../tags/tag430.xml"/><Relationship Id="rId39" Type="http://schemas.openxmlformats.org/officeDocument/2006/relationships/tags" Target="../tags/tag443.xml"/><Relationship Id="rId21" Type="http://schemas.openxmlformats.org/officeDocument/2006/relationships/tags" Target="../tags/tag425.xml"/><Relationship Id="rId34" Type="http://schemas.openxmlformats.org/officeDocument/2006/relationships/tags" Target="../tags/tag438.xml"/><Relationship Id="rId42" Type="http://schemas.openxmlformats.org/officeDocument/2006/relationships/tags" Target="../tags/tag446.xml"/><Relationship Id="rId47" Type="http://schemas.openxmlformats.org/officeDocument/2006/relationships/oleObject" Target="../embeddings/oleObject20.bin"/><Relationship Id="rId50" Type="http://schemas.openxmlformats.org/officeDocument/2006/relationships/hyperlink" Target="https://holtecinternational.com/2023/09/12/holtec-and-wolverine-ink-power-purchase-agreement-for-palisades/" TargetMode="External"/><Relationship Id="rId55" Type="http://schemas.openxmlformats.org/officeDocument/2006/relationships/hyperlink" Target="https://programs.dsireusa.org/system/program/detail/3094" TargetMode="External"/><Relationship Id="rId7" Type="http://schemas.openxmlformats.org/officeDocument/2006/relationships/tags" Target="../tags/tag411.xml"/><Relationship Id="rId2" Type="http://schemas.openxmlformats.org/officeDocument/2006/relationships/tags" Target="../tags/tag406.xml"/><Relationship Id="rId16" Type="http://schemas.openxmlformats.org/officeDocument/2006/relationships/tags" Target="../tags/tag420.xml"/><Relationship Id="rId29" Type="http://schemas.openxmlformats.org/officeDocument/2006/relationships/tags" Target="../tags/tag433.xml"/><Relationship Id="rId11" Type="http://schemas.openxmlformats.org/officeDocument/2006/relationships/tags" Target="../tags/tag415.xml"/><Relationship Id="rId24" Type="http://schemas.openxmlformats.org/officeDocument/2006/relationships/tags" Target="../tags/tag428.xml"/><Relationship Id="rId32" Type="http://schemas.openxmlformats.org/officeDocument/2006/relationships/tags" Target="../tags/tag436.xml"/><Relationship Id="rId37" Type="http://schemas.openxmlformats.org/officeDocument/2006/relationships/tags" Target="../tags/tag441.xml"/><Relationship Id="rId40" Type="http://schemas.openxmlformats.org/officeDocument/2006/relationships/tags" Target="../tags/tag444.xml"/><Relationship Id="rId45" Type="http://schemas.openxmlformats.org/officeDocument/2006/relationships/slideLayout" Target="../slideLayouts/slideLayout7.xml"/><Relationship Id="rId53" Type="http://schemas.openxmlformats.org/officeDocument/2006/relationships/hyperlink" Target="https://holtecinternational.com/2024/03/27/historic-repowering-of-michigans-palisades-power-plant-closer-to-reality-as-holtec-obtains-up-to-1-52-billion-in-conditional-loan-commitment-from-the-doe/" TargetMode="External"/><Relationship Id="rId58" Type="http://schemas.openxmlformats.org/officeDocument/2006/relationships/chart" Target="../charts/chart13.xml"/><Relationship Id="rId5" Type="http://schemas.openxmlformats.org/officeDocument/2006/relationships/tags" Target="../tags/tag409.xml"/><Relationship Id="rId19" Type="http://schemas.openxmlformats.org/officeDocument/2006/relationships/tags" Target="../tags/tag423.xml"/><Relationship Id="rId4" Type="http://schemas.openxmlformats.org/officeDocument/2006/relationships/tags" Target="../tags/tag408.xml"/><Relationship Id="rId9" Type="http://schemas.openxmlformats.org/officeDocument/2006/relationships/tags" Target="../tags/tag413.xml"/><Relationship Id="rId14" Type="http://schemas.openxmlformats.org/officeDocument/2006/relationships/tags" Target="../tags/tag418.xml"/><Relationship Id="rId22" Type="http://schemas.openxmlformats.org/officeDocument/2006/relationships/tags" Target="../tags/tag426.xml"/><Relationship Id="rId27" Type="http://schemas.openxmlformats.org/officeDocument/2006/relationships/tags" Target="../tags/tag431.xml"/><Relationship Id="rId30" Type="http://schemas.openxmlformats.org/officeDocument/2006/relationships/tags" Target="../tags/tag434.xml"/><Relationship Id="rId35" Type="http://schemas.openxmlformats.org/officeDocument/2006/relationships/tags" Target="../tags/tag439.xml"/><Relationship Id="rId43" Type="http://schemas.openxmlformats.org/officeDocument/2006/relationships/tags" Target="../tags/tag447.xml"/><Relationship Id="rId48" Type="http://schemas.openxmlformats.org/officeDocument/2006/relationships/image" Target="../media/image15.emf"/><Relationship Id="rId56" Type="http://schemas.openxmlformats.org/officeDocument/2006/relationships/hyperlink" Target="https://business.columbia.edu/faculty/people/gernot-wagner" TargetMode="External"/><Relationship Id="rId8" Type="http://schemas.openxmlformats.org/officeDocument/2006/relationships/tags" Target="../tags/tag412.xml"/><Relationship Id="rId51" Type="http://schemas.openxmlformats.org/officeDocument/2006/relationships/hyperlink" Target="https://holtecinternational.com/2024/09/18/hh-39-16/" TargetMode="External"/><Relationship Id="rId3" Type="http://schemas.openxmlformats.org/officeDocument/2006/relationships/tags" Target="../tags/tag407.xml"/><Relationship Id="rId12" Type="http://schemas.openxmlformats.org/officeDocument/2006/relationships/tags" Target="../tags/tag416.xml"/><Relationship Id="rId17" Type="http://schemas.openxmlformats.org/officeDocument/2006/relationships/tags" Target="../tags/tag421.xml"/><Relationship Id="rId25" Type="http://schemas.openxmlformats.org/officeDocument/2006/relationships/tags" Target="../tags/tag429.xml"/><Relationship Id="rId33" Type="http://schemas.openxmlformats.org/officeDocument/2006/relationships/tags" Target="../tags/tag437.xml"/><Relationship Id="rId38" Type="http://schemas.openxmlformats.org/officeDocument/2006/relationships/tags" Target="../tags/tag442.xml"/><Relationship Id="rId46" Type="http://schemas.openxmlformats.org/officeDocument/2006/relationships/notesSlide" Target="../notesSlides/notesSlide14.xml"/><Relationship Id="rId20" Type="http://schemas.openxmlformats.org/officeDocument/2006/relationships/tags" Target="../tags/tag424.xml"/><Relationship Id="rId41" Type="http://schemas.openxmlformats.org/officeDocument/2006/relationships/tags" Target="../tags/tag445.xml"/><Relationship Id="rId54" Type="http://schemas.openxmlformats.org/officeDocument/2006/relationships/hyperlink" Target="https://holtecinternational.com/2024/09/30/hh-39-17/" TargetMode="External"/><Relationship Id="rId1" Type="http://schemas.openxmlformats.org/officeDocument/2006/relationships/tags" Target="../tags/tag405.xml"/><Relationship Id="rId6" Type="http://schemas.openxmlformats.org/officeDocument/2006/relationships/tags" Target="../tags/tag410.xml"/><Relationship Id="rId15" Type="http://schemas.openxmlformats.org/officeDocument/2006/relationships/tags" Target="../tags/tag419.xml"/><Relationship Id="rId23" Type="http://schemas.openxmlformats.org/officeDocument/2006/relationships/tags" Target="../tags/tag427.xml"/><Relationship Id="rId28" Type="http://schemas.openxmlformats.org/officeDocument/2006/relationships/tags" Target="../tags/tag432.xml"/><Relationship Id="rId36" Type="http://schemas.openxmlformats.org/officeDocument/2006/relationships/tags" Target="../tags/tag440.xml"/><Relationship Id="rId49" Type="http://schemas.openxmlformats.org/officeDocument/2006/relationships/hyperlink" Target="https://www.energy.gov/eere/solar/federal-solar-tax-credits-businesses#:~:text=Solar%20systems%20that%20are%20placed,)%5B5%5D%20in%20size." TargetMode="External"/><Relationship Id="rId57" Type="http://schemas.openxmlformats.org/officeDocument/2006/relationships/hyperlink" Target="https://business.columbia.edu/insights/climate/cki" TargetMode="External"/><Relationship Id="rId10" Type="http://schemas.openxmlformats.org/officeDocument/2006/relationships/tags" Target="../tags/tag414.xml"/><Relationship Id="rId31" Type="http://schemas.openxmlformats.org/officeDocument/2006/relationships/tags" Target="../tags/tag435.xml"/><Relationship Id="rId44" Type="http://schemas.openxmlformats.org/officeDocument/2006/relationships/tags" Target="../tags/tag448.xml"/><Relationship Id="rId52" Type="http://schemas.openxmlformats.org/officeDocument/2006/relationships/hyperlink" Target="https://holtecinternational.com/2024/08/15/palisades-cooling-system-upgraded-to-counter-the-continuing-threat-of-global-warming/" TargetMode="External"/></Relationships>
</file>

<file path=ppt/slides/_rels/slide15.xml.rels><?xml version="1.0" encoding="UTF-8" standalone="yes"?>
<Relationships xmlns="http://schemas.openxmlformats.org/package/2006/relationships"><Relationship Id="rId117" Type="http://schemas.openxmlformats.org/officeDocument/2006/relationships/tags" Target="../tags/tag565.xml"/><Relationship Id="rId21" Type="http://schemas.openxmlformats.org/officeDocument/2006/relationships/tags" Target="../tags/tag469.xml"/><Relationship Id="rId42" Type="http://schemas.openxmlformats.org/officeDocument/2006/relationships/tags" Target="../tags/tag490.xml"/><Relationship Id="rId63" Type="http://schemas.openxmlformats.org/officeDocument/2006/relationships/tags" Target="../tags/tag511.xml"/><Relationship Id="rId84" Type="http://schemas.openxmlformats.org/officeDocument/2006/relationships/tags" Target="../tags/tag532.xml"/><Relationship Id="rId138" Type="http://schemas.openxmlformats.org/officeDocument/2006/relationships/tags" Target="../tags/tag586.xml"/><Relationship Id="rId159" Type="http://schemas.openxmlformats.org/officeDocument/2006/relationships/tags" Target="../tags/tag607.xml"/><Relationship Id="rId170" Type="http://schemas.openxmlformats.org/officeDocument/2006/relationships/hyperlink" Target="https://www.energy.gov/eere/solar/federal-solar-tax-credits-businesses#:~:text=Solar%20systems%20that%20are%20placed,)%5B5%5D%20in%20size." TargetMode="External"/><Relationship Id="rId107" Type="http://schemas.openxmlformats.org/officeDocument/2006/relationships/tags" Target="../tags/tag555.xml"/><Relationship Id="rId11" Type="http://schemas.openxmlformats.org/officeDocument/2006/relationships/tags" Target="../tags/tag459.xml"/><Relationship Id="rId32" Type="http://schemas.openxmlformats.org/officeDocument/2006/relationships/tags" Target="../tags/tag480.xml"/><Relationship Id="rId53" Type="http://schemas.openxmlformats.org/officeDocument/2006/relationships/tags" Target="../tags/tag501.xml"/><Relationship Id="rId74" Type="http://schemas.openxmlformats.org/officeDocument/2006/relationships/tags" Target="../tags/tag522.xml"/><Relationship Id="rId128" Type="http://schemas.openxmlformats.org/officeDocument/2006/relationships/tags" Target="../tags/tag576.xml"/><Relationship Id="rId149" Type="http://schemas.openxmlformats.org/officeDocument/2006/relationships/tags" Target="../tags/tag597.xml"/><Relationship Id="rId5" Type="http://schemas.openxmlformats.org/officeDocument/2006/relationships/tags" Target="../tags/tag453.xml"/><Relationship Id="rId95" Type="http://schemas.openxmlformats.org/officeDocument/2006/relationships/tags" Target="../tags/tag543.xml"/><Relationship Id="rId160" Type="http://schemas.openxmlformats.org/officeDocument/2006/relationships/tags" Target="../tags/tag608.xml"/><Relationship Id="rId181" Type="http://schemas.openxmlformats.org/officeDocument/2006/relationships/chart" Target="../charts/chart19.xml"/><Relationship Id="rId22" Type="http://schemas.openxmlformats.org/officeDocument/2006/relationships/tags" Target="../tags/tag470.xml"/><Relationship Id="rId43" Type="http://schemas.openxmlformats.org/officeDocument/2006/relationships/tags" Target="../tags/tag491.xml"/><Relationship Id="rId64" Type="http://schemas.openxmlformats.org/officeDocument/2006/relationships/tags" Target="../tags/tag512.xml"/><Relationship Id="rId118" Type="http://schemas.openxmlformats.org/officeDocument/2006/relationships/tags" Target="../tags/tag566.xml"/><Relationship Id="rId139" Type="http://schemas.openxmlformats.org/officeDocument/2006/relationships/tags" Target="../tags/tag587.xml"/><Relationship Id="rId85" Type="http://schemas.openxmlformats.org/officeDocument/2006/relationships/tags" Target="../tags/tag533.xml"/><Relationship Id="rId150" Type="http://schemas.openxmlformats.org/officeDocument/2006/relationships/tags" Target="../tags/tag598.xml"/><Relationship Id="rId171" Type="http://schemas.openxmlformats.org/officeDocument/2006/relationships/hyperlink" Target="https://globalenergymonitor.org/projects/global-nuclear-power-tracker/" TargetMode="External"/><Relationship Id="rId12" Type="http://schemas.openxmlformats.org/officeDocument/2006/relationships/tags" Target="../tags/tag460.xml"/><Relationship Id="rId33" Type="http://schemas.openxmlformats.org/officeDocument/2006/relationships/tags" Target="../tags/tag481.xml"/><Relationship Id="rId108" Type="http://schemas.openxmlformats.org/officeDocument/2006/relationships/tags" Target="../tags/tag556.xml"/><Relationship Id="rId129" Type="http://schemas.openxmlformats.org/officeDocument/2006/relationships/tags" Target="../tags/tag577.xml"/><Relationship Id="rId54" Type="http://schemas.openxmlformats.org/officeDocument/2006/relationships/tags" Target="../tags/tag502.xml"/><Relationship Id="rId75" Type="http://schemas.openxmlformats.org/officeDocument/2006/relationships/tags" Target="../tags/tag523.xml"/><Relationship Id="rId96" Type="http://schemas.openxmlformats.org/officeDocument/2006/relationships/tags" Target="../tags/tag544.xml"/><Relationship Id="rId140" Type="http://schemas.openxmlformats.org/officeDocument/2006/relationships/tags" Target="../tags/tag588.xml"/><Relationship Id="rId161" Type="http://schemas.openxmlformats.org/officeDocument/2006/relationships/tags" Target="../tags/tag609.xml"/><Relationship Id="rId182" Type="http://schemas.openxmlformats.org/officeDocument/2006/relationships/chart" Target="../charts/chart20.xml"/><Relationship Id="rId6" Type="http://schemas.openxmlformats.org/officeDocument/2006/relationships/tags" Target="../tags/tag454.xml"/><Relationship Id="rId23" Type="http://schemas.openxmlformats.org/officeDocument/2006/relationships/tags" Target="../tags/tag471.xml"/><Relationship Id="rId119" Type="http://schemas.openxmlformats.org/officeDocument/2006/relationships/tags" Target="../tags/tag567.xml"/><Relationship Id="rId44" Type="http://schemas.openxmlformats.org/officeDocument/2006/relationships/tags" Target="../tags/tag492.xml"/><Relationship Id="rId65" Type="http://schemas.openxmlformats.org/officeDocument/2006/relationships/tags" Target="../tags/tag513.xml"/><Relationship Id="rId86" Type="http://schemas.openxmlformats.org/officeDocument/2006/relationships/tags" Target="../tags/tag534.xml"/><Relationship Id="rId130" Type="http://schemas.openxmlformats.org/officeDocument/2006/relationships/tags" Target="../tags/tag578.xml"/><Relationship Id="rId151" Type="http://schemas.openxmlformats.org/officeDocument/2006/relationships/tags" Target="../tags/tag599.xml"/><Relationship Id="rId172" Type="http://schemas.openxmlformats.org/officeDocument/2006/relationships/hyperlink" Target="https://www.iea.org/reports/the-path-to-a-new-era-for-nuclear-energy" TargetMode="External"/><Relationship Id="rId13" Type="http://schemas.openxmlformats.org/officeDocument/2006/relationships/tags" Target="../tags/tag461.xml"/><Relationship Id="rId18" Type="http://schemas.openxmlformats.org/officeDocument/2006/relationships/tags" Target="../tags/tag466.xml"/><Relationship Id="rId39" Type="http://schemas.openxmlformats.org/officeDocument/2006/relationships/tags" Target="../tags/tag487.xml"/><Relationship Id="rId109" Type="http://schemas.openxmlformats.org/officeDocument/2006/relationships/tags" Target="../tags/tag557.xml"/><Relationship Id="rId34" Type="http://schemas.openxmlformats.org/officeDocument/2006/relationships/tags" Target="../tags/tag482.xml"/><Relationship Id="rId50" Type="http://schemas.openxmlformats.org/officeDocument/2006/relationships/tags" Target="../tags/tag498.xml"/><Relationship Id="rId55" Type="http://schemas.openxmlformats.org/officeDocument/2006/relationships/tags" Target="../tags/tag503.xml"/><Relationship Id="rId76" Type="http://schemas.openxmlformats.org/officeDocument/2006/relationships/tags" Target="../tags/tag524.xml"/><Relationship Id="rId97" Type="http://schemas.openxmlformats.org/officeDocument/2006/relationships/tags" Target="../tags/tag545.xml"/><Relationship Id="rId104" Type="http://schemas.openxmlformats.org/officeDocument/2006/relationships/tags" Target="../tags/tag552.xml"/><Relationship Id="rId120" Type="http://schemas.openxmlformats.org/officeDocument/2006/relationships/tags" Target="../tags/tag568.xml"/><Relationship Id="rId125" Type="http://schemas.openxmlformats.org/officeDocument/2006/relationships/tags" Target="../tags/tag573.xml"/><Relationship Id="rId141" Type="http://schemas.openxmlformats.org/officeDocument/2006/relationships/tags" Target="../tags/tag589.xml"/><Relationship Id="rId146" Type="http://schemas.openxmlformats.org/officeDocument/2006/relationships/tags" Target="../tags/tag594.xml"/><Relationship Id="rId167" Type="http://schemas.openxmlformats.org/officeDocument/2006/relationships/oleObject" Target="../embeddings/oleObject21.bin"/><Relationship Id="rId188" Type="http://schemas.openxmlformats.org/officeDocument/2006/relationships/chart" Target="../charts/chart26.xml"/><Relationship Id="rId7" Type="http://schemas.openxmlformats.org/officeDocument/2006/relationships/tags" Target="../tags/tag455.xml"/><Relationship Id="rId71" Type="http://schemas.openxmlformats.org/officeDocument/2006/relationships/tags" Target="../tags/tag519.xml"/><Relationship Id="rId92" Type="http://schemas.openxmlformats.org/officeDocument/2006/relationships/tags" Target="../tags/tag540.xml"/><Relationship Id="rId162" Type="http://schemas.openxmlformats.org/officeDocument/2006/relationships/tags" Target="../tags/tag610.xml"/><Relationship Id="rId183" Type="http://schemas.openxmlformats.org/officeDocument/2006/relationships/chart" Target="../charts/chart21.xml"/><Relationship Id="rId2" Type="http://schemas.openxmlformats.org/officeDocument/2006/relationships/tags" Target="../tags/tag450.xml"/><Relationship Id="rId29" Type="http://schemas.openxmlformats.org/officeDocument/2006/relationships/tags" Target="../tags/tag477.xml"/><Relationship Id="rId24" Type="http://schemas.openxmlformats.org/officeDocument/2006/relationships/tags" Target="../tags/tag472.xml"/><Relationship Id="rId40" Type="http://schemas.openxmlformats.org/officeDocument/2006/relationships/tags" Target="../tags/tag488.xml"/><Relationship Id="rId45" Type="http://schemas.openxmlformats.org/officeDocument/2006/relationships/tags" Target="../tags/tag493.xml"/><Relationship Id="rId66" Type="http://schemas.openxmlformats.org/officeDocument/2006/relationships/tags" Target="../tags/tag514.xml"/><Relationship Id="rId87" Type="http://schemas.openxmlformats.org/officeDocument/2006/relationships/tags" Target="../tags/tag535.xml"/><Relationship Id="rId110" Type="http://schemas.openxmlformats.org/officeDocument/2006/relationships/tags" Target="../tags/tag558.xml"/><Relationship Id="rId115" Type="http://schemas.openxmlformats.org/officeDocument/2006/relationships/tags" Target="../tags/tag563.xml"/><Relationship Id="rId131" Type="http://schemas.openxmlformats.org/officeDocument/2006/relationships/tags" Target="../tags/tag579.xml"/><Relationship Id="rId136" Type="http://schemas.openxmlformats.org/officeDocument/2006/relationships/tags" Target="../tags/tag584.xml"/><Relationship Id="rId157" Type="http://schemas.openxmlformats.org/officeDocument/2006/relationships/tags" Target="../tags/tag605.xml"/><Relationship Id="rId178" Type="http://schemas.openxmlformats.org/officeDocument/2006/relationships/chart" Target="../charts/chart16.xml"/><Relationship Id="rId61" Type="http://schemas.openxmlformats.org/officeDocument/2006/relationships/tags" Target="../tags/tag509.xml"/><Relationship Id="rId82" Type="http://schemas.openxmlformats.org/officeDocument/2006/relationships/tags" Target="../tags/tag530.xml"/><Relationship Id="rId152" Type="http://schemas.openxmlformats.org/officeDocument/2006/relationships/tags" Target="../tags/tag600.xml"/><Relationship Id="rId173" Type="http://schemas.openxmlformats.org/officeDocument/2006/relationships/hyperlink" Target="https://www.iea.org/reports/nuclear-power-and-secure-energy-transitions" TargetMode="External"/><Relationship Id="rId19" Type="http://schemas.openxmlformats.org/officeDocument/2006/relationships/tags" Target="../tags/tag467.xml"/><Relationship Id="rId14" Type="http://schemas.openxmlformats.org/officeDocument/2006/relationships/tags" Target="../tags/tag462.xml"/><Relationship Id="rId30" Type="http://schemas.openxmlformats.org/officeDocument/2006/relationships/tags" Target="../tags/tag478.xml"/><Relationship Id="rId35" Type="http://schemas.openxmlformats.org/officeDocument/2006/relationships/tags" Target="../tags/tag483.xml"/><Relationship Id="rId56" Type="http://schemas.openxmlformats.org/officeDocument/2006/relationships/tags" Target="../tags/tag504.xml"/><Relationship Id="rId77" Type="http://schemas.openxmlformats.org/officeDocument/2006/relationships/tags" Target="../tags/tag525.xml"/><Relationship Id="rId100" Type="http://schemas.openxmlformats.org/officeDocument/2006/relationships/tags" Target="../tags/tag548.xml"/><Relationship Id="rId105" Type="http://schemas.openxmlformats.org/officeDocument/2006/relationships/tags" Target="../tags/tag553.xml"/><Relationship Id="rId126" Type="http://schemas.openxmlformats.org/officeDocument/2006/relationships/tags" Target="../tags/tag574.xml"/><Relationship Id="rId147" Type="http://schemas.openxmlformats.org/officeDocument/2006/relationships/tags" Target="../tags/tag595.xml"/><Relationship Id="rId168" Type="http://schemas.openxmlformats.org/officeDocument/2006/relationships/image" Target="../media/image12.emf"/><Relationship Id="rId8" Type="http://schemas.openxmlformats.org/officeDocument/2006/relationships/tags" Target="../tags/tag456.xml"/><Relationship Id="rId51" Type="http://schemas.openxmlformats.org/officeDocument/2006/relationships/tags" Target="../tags/tag499.xml"/><Relationship Id="rId72" Type="http://schemas.openxmlformats.org/officeDocument/2006/relationships/tags" Target="../tags/tag520.xml"/><Relationship Id="rId93" Type="http://schemas.openxmlformats.org/officeDocument/2006/relationships/tags" Target="../tags/tag541.xml"/><Relationship Id="rId98" Type="http://schemas.openxmlformats.org/officeDocument/2006/relationships/tags" Target="../tags/tag546.xml"/><Relationship Id="rId121" Type="http://schemas.openxmlformats.org/officeDocument/2006/relationships/tags" Target="../tags/tag569.xml"/><Relationship Id="rId142" Type="http://schemas.openxmlformats.org/officeDocument/2006/relationships/tags" Target="../tags/tag590.xml"/><Relationship Id="rId163" Type="http://schemas.openxmlformats.org/officeDocument/2006/relationships/tags" Target="../tags/tag611.xml"/><Relationship Id="rId184" Type="http://schemas.openxmlformats.org/officeDocument/2006/relationships/chart" Target="../charts/chart22.xml"/><Relationship Id="rId3" Type="http://schemas.openxmlformats.org/officeDocument/2006/relationships/tags" Target="../tags/tag451.xml"/><Relationship Id="rId25" Type="http://schemas.openxmlformats.org/officeDocument/2006/relationships/tags" Target="../tags/tag473.xml"/><Relationship Id="rId46" Type="http://schemas.openxmlformats.org/officeDocument/2006/relationships/tags" Target="../tags/tag494.xml"/><Relationship Id="rId67" Type="http://schemas.openxmlformats.org/officeDocument/2006/relationships/tags" Target="../tags/tag515.xml"/><Relationship Id="rId116" Type="http://schemas.openxmlformats.org/officeDocument/2006/relationships/tags" Target="../tags/tag564.xml"/><Relationship Id="rId137" Type="http://schemas.openxmlformats.org/officeDocument/2006/relationships/tags" Target="../tags/tag585.xml"/><Relationship Id="rId158" Type="http://schemas.openxmlformats.org/officeDocument/2006/relationships/tags" Target="../tags/tag606.xml"/><Relationship Id="rId20" Type="http://schemas.openxmlformats.org/officeDocument/2006/relationships/tags" Target="../tags/tag468.xml"/><Relationship Id="rId41" Type="http://schemas.openxmlformats.org/officeDocument/2006/relationships/tags" Target="../tags/tag489.xml"/><Relationship Id="rId62" Type="http://schemas.openxmlformats.org/officeDocument/2006/relationships/tags" Target="../tags/tag510.xml"/><Relationship Id="rId83" Type="http://schemas.openxmlformats.org/officeDocument/2006/relationships/tags" Target="../tags/tag531.xml"/><Relationship Id="rId88" Type="http://schemas.openxmlformats.org/officeDocument/2006/relationships/tags" Target="../tags/tag536.xml"/><Relationship Id="rId111" Type="http://schemas.openxmlformats.org/officeDocument/2006/relationships/tags" Target="../tags/tag559.xml"/><Relationship Id="rId132" Type="http://schemas.openxmlformats.org/officeDocument/2006/relationships/tags" Target="../tags/tag580.xml"/><Relationship Id="rId153" Type="http://schemas.openxmlformats.org/officeDocument/2006/relationships/tags" Target="../tags/tag601.xml"/><Relationship Id="rId174" Type="http://schemas.openxmlformats.org/officeDocument/2006/relationships/hyperlink" Target="https://business.columbia.edu/faculty/people/gernot-wagner" TargetMode="External"/><Relationship Id="rId179" Type="http://schemas.openxmlformats.org/officeDocument/2006/relationships/chart" Target="../charts/chart17.xml"/><Relationship Id="rId15" Type="http://schemas.openxmlformats.org/officeDocument/2006/relationships/tags" Target="../tags/tag463.xml"/><Relationship Id="rId36" Type="http://schemas.openxmlformats.org/officeDocument/2006/relationships/tags" Target="../tags/tag484.xml"/><Relationship Id="rId57" Type="http://schemas.openxmlformats.org/officeDocument/2006/relationships/tags" Target="../tags/tag505.xml"/><Relationship Id="rId106" Type="http://schemas.openxmlformats.org/officeDocument/2006/relationships/tags" Target="../tags/tag554.xml"/><Relationship Id="rId127" Type="http://schemas.openxmlformats.org/officeDocument/2006/relationships/tags" Target="../tags/tag575.xml"/><Relationship Id="rId10" Type="http://schemas.openxmlformats.org/officeDocument/2006/relationships/tags" Target="../tags/tag458.xml"/><Relationship Id="rId31" Type="http://schemas.openxmlformats.org/officeDocument/2006/relationships/tags" Target="../tags/tag479.xml"/><Relationship Id="rId52" Type="http://schemas.openxmlformats.org/officeDocument/2006/relationships/tags" Target="../tags/tag500.xml"/><Relationship Id="rId73" Type="http://schemas.openxmlformats.org/officeDocument/2006/relationships/tags" Target="../tags/tag521.xml"/><Relationship Id="rId78" Type="http://schemas.openxmlformats.org/officeDocument/2006/relationships/tags" Target="../tags/tag526.xml"/><Relationship Id="rId94" Type="http://schemas.openxmlformats.org/officeDocument/2006/relationships/tags" Target="../tags/tag542.xml"/><Relationship Id="rId99" Type="http://schemas.openxmlformats.org/officeDocument/2006/relationships/tags" Target="../tags/tag547.xml"/><Relationship Id="rId101" Type="http://schemas.openxmlformats.org/officeDocument/2006/relationships/tags" Target="../tags/tag549.xml"/><Relationship Id="rId122" Type="http://schemas.openxmlformats.org/officeDocument/2006/relationships/tags" Target="../tags/tag570.xml"/><Relationship Id="rId143" Type="http://schemas.openxmlformats.org/officeDocument/2006/relationships/tags" Target="../tags/tag591.xml"/><Relationship Id="rId148" Type="http://schemas.openxmlformats.org/officeDocument/2006/relationships/tags" Target="../tags/tag596.xml"/><Relationship Id="rId164" Type="http://schemas.openxmlformats.org/officeDocument/2006/relationships/tags" Target="../tags/tag612.xml"/><Relationship Id="rId169" Type="http://schemas.openxmlformats.org/officeDocument/2006/relationships/image" Target="../media/image22.png"/><Relationship Id="rId185" Type="http://schemas.openxmlformats.org/officeDocument/2006/relationships/chart" Target="../charts/chart23.xml"/><Relationship Id="rId4" Type="http://schemas.openxmlformats.org/officeDocument/2006/relationships/tags" Target="../tags/tag452.xml"/><Relationship Id="rId9" Type="http://schemas.openxmlformats.org/officeDocument/2006/relationships/tags" Target="../tags/tag457.xml"/><Relationship Id="rId180" Type="http://schemas.openxmlformats.org/officeDocument/2006/relationships/chart" Target="../charts/chart18.xml"/><Relationship Id="rId26" Type="http://schemas.openxmlformats.org/officeDocument/2006/relationships/tags" Target="../tags/tag474.xml"/><Relationship Id="rId47" Type="http://schemas.openxmlformats.org/officeDocument/2006/relationships/tags" Target="../tags/tag495.xml"/><Relationship Id="rId68" Type="http://schemas.openxmlformats.org/officeDocument/2006/relationships/tags" Target="../tags/tag516.xml"/><Relationship Id="rId89" Type="http://schemas.openxmlformats.org/officeDocument/2006/relationships/tags" Target="../tags/tag537.xml"/><Relationship Id="rId112" Type="http://schemas.openxmlformats.org/officeDocument/2006/relationships/tags" Target="../tags/tag560.xml"/><Relationship Id="rId133" Type="http://schemas.openxmlformats.org/officeDocument/2006/relationships/tags" Target="../tags/tag581.xml"/><Relationship Id="rId154" Type="http://schemas.openxmlformats.org/officeDocument/2006/relationships/tags" Target="../tags/tag602.xml"/><Relationship Id="rId175" Type="http://schemas.openxmlformats.org/officeDocument/2006/relationships/hyperlink" Target="https://business.columbia.edu/insights/climate/cki" TargetMode="External"/><Relationship Id="rId16" Type="http://schemas.openxmlformats.org/officeDocument/2006/relationships/tags" Target="../tags/tag464.xml"/><Relationship Id="rId37" Type="http://schemas.openxmlformats.org/officeDocument/2006/relationships/tags" Target="../tags/tag485.xml"/><Relationship Id="rId58" Type="http://schemas.openxmlformats.org/officeDocument/2006/relationships/tags" Target="../tags/tag506.xml"/><Relationship Id="rId79" Type="http://schemas.openxmlformats.org/officeDocument/2006/relationships/tags" Target="../tags/tag527.xml"/><Relationship Id="rId102" Type="http://schemas.openxmlformats.org/officeDocument/2006/relationships/tags" Target="../tags/tag550.xml"/><Relationship Id="rId123" Type="http://schemas.openxmlformats.org/officeDocument/2006/relationships/tags" Target="../tags/tag571.xml"/><Relationship Id="rId144" Type="http://schemas.openxmlformats.org/officeDocument/2006/relationships/tags" Target="../tags/tag592.xml"/><Relationship Id="rId90" Type="http://schemas.openxmlformats.org/officeDocument/2006/relationships/tags" Target="../tags/tag538.xml"/><Relationship Id="rId165" Type="http://schemas.openxmlformats.org/officeDocument/2006/relationships/tags" Target="../tags/tag613.xml"/><Relationship Id="rId186" Type="http://schemas.openxmlformats.org/officeDocument/2006/relationships/chart" Target="../charts/chart24.xml"/><Relationship Id="rId27" Type="http://schemas.openxmlformats.org/officeDocument/2006/relationships/tags" Target="../tags/tag475.xml"/><Relationship Id="rId48" Type="http://schemas.openxmlformats.org/officeDocument/2006/relationships/tags" Target="../tags/tag496.xml"/><Relationship Id="rId69" Type="http://schemas.openxmlformats.org/officeDocument/2006/relationships/tags" Target="../tags/tag517.xml"/><Relationship Id="rId113" Type="http://schemas.openxmlformats.org/officeDocument/2006/relationships/tags" Target="../tags/tag561.xml"/><Relationship Id="rId134" Type="http://schemas.openxmlformats.org/officeDocument/2006/relationships/tags" Target="../tags/tag582.xml"/><Relationship Id="rId80" Type="http://schemas.openxmlformats.org/officeDocument/2006/relationships/tags" Target="../tags/tag528.xml"/><Relationship Id="rId155" Type="http://schemas.openxmlformats.org/officeDocument/2006/relationships/tags" Target="../tags/tag603.xml"/><Relationship Id="rId176" Type="http://schemas.openxmlformats.org/officeDocument/2006/relationships/chart" Target="../charts/chart14.xml"/><Relationship Id="rId17" Type="http://schemas.openxmlformats.org/officeDocument/2006/relationships/tags" Target="../tags/tag465.xml"/><Relationship Id="rId38" Type="http://schemas.openxmlformats.org/officeDocument/2006/relationships/tags" Target="../tags/tag486.xml"/><Relationship Id="rId59" Type="http://schemas.openxmlformats.org/officeDocument/2006/relationships/tags" Target="../tags/tag507.xml"/><Relationship Id="rId103" Type="http://schemas.openxmlformats.org/officeDocument/2006/relationships/tags" Target="../tags/tag551.xml"/><Relationship Id="rId124" Type="http://schemas.openxmlformats.org/officeDocument/2006/relationships/tags" Target="../tags/tag572.xml"/><Relationship Id="rId70" Type="http://schemas.openxmlformats.org/officeDocument/2006/relationships/tags" Target="../tags/tag518.xml"/><Relationship Id="rId91" Type="http://schemas.openxmlformats.org/officeDocument/2006/relationships/tags" Target="../tags/tag539.xml"/><Relationship Id="rId145" Type="http://schemas.openxmlformats.org/officeDocument/2006/relationships/tags" Target="../tags/tag593.xml"/><Relationship Id="rId166" Type="http://schemas.openxmlformats.org/officeDocument/2006/relationships/slideLayout" Target="../slideLayouts/slideLayout7.xml"/><Relationship Id="rId187" Type="http://schemas.openxmlformats.org/officeDocument/2006/relationships/chart" Target="../charts/chart25.xml"/><Relationship Id="rId1" Type="http://schemas.openxmlformats.org/officeDocument/2006/relationships/tags" Target="../tags/tag449.xml"/><Relationship Id="rId28" Type="http://schemas.openxmlformats.org/officeDocument/2006/relationships/tags" Target="../tags/tag476.xml"/><Relationship Id="rId49" Type="http://schemas.openxmlformats.org/officeDocument/2006/relationships/tags" Target="../tags/tag497.xml"/><Relationship Id="rId114" Type="http://schemas.openxmlformats.org/officeDocument/2006/relationships/tags" Target="../tags/tag562.xml"/><Relationship Id="rId60" Type="http://schemas.openxmlformats.org/officeDocument/2006/relationships/tags" Target="../tags/tag508.xml"/><Relationship Id="rId81" Type="http://schemas.openxmlformats.org/officeDocument/2006/relationships/tags" Target="../tags/tag529.xml"/><Relationship Id="rId135" Type="http://schemas.openxmlformats.org/officeDocument/2006/relationships/tags" Target="../tags/tag583.xml"/><Relationship Id="rId156" Type="http://schemas.openxmlformats.org/officeDocument/2006/relationships/tags" Target="../tags/tag604.xml"/><Relationship Id="rId177" Type="http://schemas.openxmlformats.org/officeDocument/2006/relationships/chart" Target="../charts/chart15.xml"/></Relationships>
</file>

<file path=ppt/slides/_rels/slide16.xml.rels><?xml version="1.0" encoding="UTF-8" standalone="yes"?>
<Relationships xmlns="http://schemas.openxmlformats.org/package/2006/relationships"><Relationship Id="rId13" Type="http://schemas.openxmlformats.org/officeDocument/2006/relationships/tags" Target="../tags/tag626.xml"/><Relationship Id="rId18" Type="http://schemas.openxmlformats.org/officeDocument/2006/relationships/tags" Target="../tags/tag631.xml"/><Relationship Id="rId26" Type="http://schemas.openxmlformats.org/officeDocument/2006/relationships/tags" Target="../tags/tag639.xml"/><Relationship Id="rId39" Type="http://schemas.openxmlformats.org/officeDocument/2006/relationships/notesSlide" Target="../notesSlides/notesSlide15.xml"/><Relationship Id="rId21" Type="http://schemas.openxmlformats.org/officeDocument/2006/relationships/tags" Target="../tags/tag634.xml"/><Relationship Id="rId34" Type="http://schemas.openxmlformats.org/officeDocument/2006/relationships/tags" Target="../tags/tag647.xml"/><Relationship Id="rId42" Type="http://schemas.openxmlformats.org/officeDocument/2006/relationships/chart" Target="../charts/chart27.xml"/><Relationship Id="rId47" Type="http://schemas.openxmlformats.org/officeDocument/2006/relationships/hyperlink" Target="https://www.offgridai.us/" TargetMode="External"/><Relationship Id="rId50" Type="http://schemas.openxmlformats.org/officeDocument/2006/relationships/hyperlink" Target="https://www.gartner.com/en/newsroom/press-releases/2024-11-12-gartner-predicts-power-shortages-will-restrict-40-percent-of-ai-data-centers-by-20270" TargetMode="External"/><Relationship Id="rId7" Type="http://schemas.openxmlformats.org/officeDocument/2006/relationships/tags" Target="../tags/tag620.xml"/><Relationship Id="rId2" Type="http://schemas.openxmlformats.org/officeDocument/2006/relationships/tags" Target="../tags/tag615.xml"/><Relationship Id="rId16" Type="http://schemas.openxmlformats.org/officeDocument/2006/relationships/tags" Target="../tags/tag629.xml"/><Relationship Id="rId29" Type="http://schemas.openxmlformats.org/officeDocument/2006/relationships/tags" Target="../tags/tag642.xml"/><Relationship Id="rId11" Type="http://schemas.openxmlformats.org/officeDocument/2006/relationships/tags" Target="../tags/tag624.xml"/><Relationship Id="rId24" Type="http://schemas.openxmlformats.org/officeDocument/2006/relationships/tags" Target="../tags/tag637.xml"/><Relationship Id="rId32" Type="http://schemas.openxmlformats.org/officeDocument/2006/relationships/tags" Target="../tags/tag645.xml"/><Relationship Id="rId37" Type="http://schemas.openxmlformats.org/officeDocument/2006/relationships/tags" Target="../tags/tag650.xml"/><Relationship Id="rId40" Type="http://schemas.openxmlformats.org/officeDocument/2006/relationships/oleObject" Target="../embeddings/oleObject22.bin"/><Relationship Id="rId45" Type="http://schemas.openxmlformats.org/officeDocument/2006/relationships/hyperlink" Target="https://iea.blob.core.windows.net/assets/34eac603-ecf1-464f-b813-2ecceb8f81c2/EnergyandAI.pdf" TargetMode="External"/><Relationship Id="rId53" Type="http://schemas.openxmlformats.org/officeDocument/2006/relationships/hyperlink" Target="https://business.columbia.edu/insights/climate/cki" TargetMode="External"/><Relationship Id="rId5" Type="http://schemas.openxmlformats.org/officeDocument/2006/relationships/tags" Target="../tags/tag618.xml"/><Relationship Id="rId10" Type="http://schemas.openxmlformats.org/officeDocument/2006/relationships/tags" Target="../tags/tag623.xml"/><Relationship Id="rId19" Type="http://schemas.openxmlformats.org/officeDocument/2006/relationships/tags" Target="../tags/tag632.xml"/><Relationship Id="rId31" Type="http://schemas.openxmlformats.org/officeDocument/2006/relationships/tags" Target="../tags/tag644.xml"/><Relationship Id="rId44" Type="http://schemas.openxmlformats.org/officeDocument/2006/relationships/hyperlink" Target="https://www.energy.gov/eere/solar/federal-solar-tax-credits-businesses#:~:text=Solar%20systems%20that%20are%20placed,)%5B5%5D%20in%20size." TargetMode="External"/><Relationship Id="rId52" Type="http://schemas.openxmlformats.org/officeDocument/2006/relationships/hyperlink" Target="https://business.columbia.edu/faculty/people/gernot-wagner" TargetMode="External"/><Relationship Id="rId4" Type="http://schemas.openxmlformats.org/officeDocument/2006/relationships/tags" Target="../tags/tag617.xml"/><Relationship Id="rId9" Type="http://schemas.openxmlformats.org/officeDocument/2006/relationships/tags" Target="../tags/tag622.xml"/><Relationship Id="rId14" Type="http://schemas.openxmlformats.org/officeDocument/2006/relationships/tags" Target="../tags/tag627.xml"/><Relationship Id="rId22" Type="http://schemas.openxmlformats.org/officeDocument/2006/relationships/tags" Target="../tags/tag635.xml"/><Relationship Id="rId27" Type="http://schemas.openxmlformats.org/officeDocument/2006/relationships/tags" Target="../tags/tag640.xml"/><Relationship Id="rId30" Type="http://schemas.openxmlformats.org/officeDocument/2006/relationships/tags" Target="../tags/tag643.xml"/><Relationship Id="rId35" Type="http://schemas.openxmlformats.org/officeDocument/2006/relationships/tags" Target="../tags/tag648.xml"/><Relationship Id="rId43" Type="http://schemas.openxmlformats.org/officeDocument/2006/relationships/chart" Target="../charts/chart28.xml"/><Relationship Id="rId48" Type="http://schemas.openxmlformats.org/officeDocument/2006/relationships/hyperlink" Target="https://ember-energy.org/app/uploads/2025/04/Report-Global-Electricity-Review-2025.pdf" TargetMode="External"/><Relationship Id="rId8" Type="http://schemas.openxmlformats.org/officeDocument/2006/relationships/tags" Target="../tags/tag621.xml"/><Relationship Id="rId51" Type="http://schemas.openxmlformats.org/officeDocument/2006/relationships/hyperlink" Target="https://www.lastenergy.com/blog/smrs-colocation-data-centers" TargetMode="External"/><Relationship Id="rId3" Type="http://schemas.openxmlformats.org/officeDocument/2006/relationships/tags" Target="../tags/tag616.xml"/><Relationship Id="rId12" Type="http://schemas.openxmlformats.org/officeDocument/2006/relationships/tags" Target="../tags/tag625.xml"/><Relationship Id="rId17" Type="http://schemas.openxmlformats.org/officeDocument/2006/relationships/tags" Target="../tags/tag630.xml"/><Relationship Id="rId25" Type="http://schemas.openxmlformats.org/officeDocument/2006/relationships/tags" Target="../tags/tag638.xml"/><Relationship Id="rId33" Type="http://schemas.openxmlformats.org/officeDocument/2006/relationships/tags" Target="../tags/tag646.xml"/><Relationship Id="rId38" Type="http://schemas.openxmlformats.org/officeDocument/2006/relationships/slideLayout" Target="../slideLayouts/slideLayout7.xml"/><Relationship Id="rId46" Type="http://schemas.openxmlformats.org/officeDocument/2006/relationships/hyperlink" Target="https://iea.blob.core.windows.net/assets/0f028d5f-26b1-47ca-ad2a-5ca3103d070a/Electricity2025.pdf" TargetMode="External"/><Relationship Id="rId20" Type="http://schemas.openxmlformats.org/officeDocument/2006/relationships/tags" Target="../tags/tag633.xml"/><Relationship Id="rId41" Type="http://schemas.openxmlformats.org/officeDocument/2006/relationships/image" Target="../media/image15.emf"/><Relationship Id="rId1" Type="http://schemas.openxmlformats.org/officeDocument/2006/relationships/tags" Target="../tags/tag614.xml"/><Relationship Id="rId6" Type="http://schemas.openxmlformats.org/officeDocument/2006/relationships/tags" Target="../tags/tag619.xml"/><Relationship Id="rId15" Type="http://schemas.openxmlformats.org/officeDocument/2006/relationships/tags" Target="../tags/tag628.xml"/><Relationship Id="rId23" Type="http://schemas.openxmlformats.org/officeDocument/2006/relationships/tags" Target="../tags/tag636.xml"/><Relationship Id="rId28" Type="http://schemas.openxmlformats.org/officeDocument/2006/relationships/tags" Target="../tags/tag641.xml"/><Relationship Id="rId36" Type="http://schemas.openxmlformats.org/officeDocument/2006/relationships/tags" Target="../tags/tag649.xml"/><Relationship Id="rId49" Type="http://schemas.openxmlformats.org/officeDocument/2006/relationships/hyperlink" Target="https://www.bloomberg.com/professional/insights/webinar/bnef-data-centers-webinar/" TargetMode="Externa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52.xml"/><Relationship Id="rId1" Type="http://schemas.openxmlformats.org/officeDocument/2006/relationships/tags" Target="../tags/tag651.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23.jpeg"/></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hyperlink" Target="https://www.energy.gov/eere/solar/federal-solar-tax-credits-businesses#:~:text=Solar%20systems%20that%20are%20placed,)%5B5%5D%20in%20size." TargetMode="External"/><Relationship Id="rId3" Type="http://schemas.openxmlformats.org/officeDocument/2006/relationships/tags" Target="../tags/tag655.xml"/><Relationship Id="rId7" Type="http://schemas.openxmlformats.org/officeDocument/2006/relationships/tags" Target="../tags/tag659.xml"/><Relationship Id="rId12" Type="http://schemas.openxmlformats.org/officeDocument/2006/relationships/image" Target="../media/image24.jpeg"/><Relationship Id="rId2" Type="http://schemas.openxmlformats.org/officeDocument/2006/relationships/tags" Target="../tags/tag654.xml"/><Relationship Id="rId1" Type="http://schemas.openxmlformats.org/officeDocument/2006/relationships/tags" Target="../tags/tag653.xml"/><Relationship Id="rId6" Type="http://schemas.openxmlformats.org/officeDocument/2006/relationships/tags" Target="../tags/tag658.xml"/><Relationship Id="rId11" Type="http://schemas.openxmlformats.org/officeDocument/2006/relationships/image" Target="../media/image15.emf"/><Relationship Id="rId5" Type="http://schemas.openxmlformats.org/officeDocument/2006/relationships/tags" Target="../tags/tag657.xml"/><Relationship Id="rId15" Type="http://schemas.openxmlformats.org/officeDocument/2006/relationships/hyperlink" Target="https://business.columbia.edu/insights/climate/cki" TargetMode="External"/><Relationship Id="rId10" Type="http://schemas.openxmlformats.org/officeDocument/2006/relationships/oleObject" Target="../embeddings/oleObject24.bin"/><Relationship Id="rId4" Type="http://schemas.openxmlformats.org/officeDocument/2006/relationships/tags" Target="../tags/tag656.xml"/><Relationship Id="rId9" Type="http://schemas.openxmlformats.org/officeDocument/2006/relationships/notesSlide" Target="../notesSlides/notesSlide16.xml"/><Relationship Id="rId14" Type="http://schemas.openxmlformats.org/officeDocument/2006/relationships/hyperlink" Target="https://business.columbia.edu/faculty/people/gernot-wagner"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www.nei.org/news/2015/land-needs-for-wind-solar-dwarf-nuclear-plants" TargetMode="External"/><Relationship Id="rId13" Type="http://schemas.openxmlformats.org/officeDocument/2006/relationships/hyperlink" Target="https://business.columbia.edu/faculty/people/gernot-wagner" TargetMode="External"/><Relationship Id="rId3" Type="http://schemas.openxmlformats.org/officeDocument/2006/relationships/slideLayout" Target="../slideLayouts/slideLayout18.xml"/><Relationship Id="rId7" Type="http://schemas.openxmlformats.org/officeDocument/2006/relationships/hyperlink" Target="https://energy.ec.europa.eu/topics/nuclear-energy/small-modular-reactors/small-modular-reactors-explained_en" TargetMode="External"/><Relationship Id="rId12" Type="http://schemas.openxmlformats.org/officeDocument/2006/relationships/hyperlink" Target="https://www.cnbc.com/2024/11/30/ge-vernova-plans-for-small-nuclear-plants-across-the-developed-world.html#:~:text=GE%20Vernova's%20SMR%2C%20the%20BWRX,large%20nuclear%20plant%2C%20Holmes%20said" TargetMode="External"/><Relationship Id="rId2" Type="http://schemas.openxmlformats.org/officeDocument/2006/relationships/tags" Target="../tags/tag661.xml"/><Relationship Id="rId16" Type="http://schemas.openxmlformats.org/officeDocument/2006/relationships/image" Target="../media/image26.jpeg"/><Relationship Id="rId1" Type="http://schemas.openxmlformats.org/officeDocument/2006/relationships/tags" Target="../tags/tag660.xml"/><Relationship Id="rId6" Type="http://schemas.openxmlformats.org/officeDocument/2006/relationships/image" Target="../media/image17.emf"/><Relationship Id="rId11" Type="http://schemas.openxmlformats.org/officeDocument/2006/relationships/hyperlink" Target="https://holtecinternational.com/products-and-services/smr/faqs/#:~:text=An%20SMR%2D300%20installation%20takes,typically%20necessary%20for%20larger%20reactors." TargetMode="External"/><Relationship Id="rId5" Type="http://schemas.openxmlformats.org/officeDocument/2006/relationships/oleObject" Target="../embeddings/oleObject25.bin"/><Relationship Id="rId15" Type="http://schemas.openxmlformats.org/officeDocument/2006/relationships/image" Target="../media/image25.jpeg"/><Relationship Id="rId10" Type="http://schemas.openxmlformats.org/officeDocument/2006/relationships/hyperlink" Target="https://www.statista.com/statistics/712841/median-construction-time-for-reactors-since-1981/" TargetMode="External"/><Relationship Id="rId4" Type="http://schemas.openxmlformats.org/officeDocument/2006/relationships/notesSlide" Target="../notesSlides/notesSlide17.xml"/><Relationship Id="rId9" Type="http://schemas.openxmlformats.org/officeDocument/2006/relationships/hyperlink" Target="https://www.iaea.org/newscenter/news/what-are-small-modular-reactors-smrs" TargetMode="External"/><Relationship Id="rId14" Type="http://schemas.openxmlformats.org/officeDocument/2006/relationships/hyperlink" Target="https://business.columbia.edu/insights/climate/cki"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54.xml"/><Relationship Id="rId6" Type="http://schemas.openxmlformats.org/officeDocument/2006/relationships/image" Target="../media/image12.emf"/><Relationship Id="rId5" Type="http://schemas.openxmlformats.org/officeDocument/2006/relationships/oleObject" Target="../embeddings/oleObject8.bin"/><Relationship Id="rId4" Type="http://schemas.openxmlformats.org/officeDocument/2006/relationships/image" Target="../media/image11.jpeg"/></Relationships>
</file>

<file path=ppt/slides/_rels/slide20.xml.rels><?xml version="1.0" encoding="UTF-8" standalone="yes"?>
<Relationships xmlns="http://schemas.openxmlformats.org/package/2006/relationships"><Relationship Id="rId8" Type="http://schemas.openxmlformats.org/officeDocument/2006/relationships/hyperlink" Target="https://www.energy.gov/ne/articles/nuclear-101-how-does-nuclear-reactor-work#:~:text=The%20water%20in%20the%20core,and%20the%20process%20is%20repeated." TargetMode="External"/><Relationship Id="rId3" Type="http://schemas.openxmlformats.org/officeDocument/2006/relationships/tags" Target="../tags/tag664.xml"/><Relationship Id="rId7" Type="http://schemas.openxmlformats.org/officeDocument/2006/relationships/hyperlink" Target="https://www.energy.gov/eere/solar/federal-solar-tax-credits-businesses#:~:text=Solar%20systems%20that%20are%20placed,)%5B5%5D%20in%20size." TargetMode="External"/><Relationship Id="rId12" Type="http://schemas.openxmlformats.org/officeDocument/2006/relationships/hyperlink" Target="https://business.columbia.edu/insights/climate/cki" TargetMode="External"/><Relationship Id="rId2" Type="http://schemas.openxmlformats.org/officeDocument/2006/relationships/tags" Target="../tags/tag663.xml"/><Relationship Id="rId1" Type="http://schemas.openxmlformats.org/officeDocument/2006/relationships/tags" Target="../tags/tag662.xml"/><Relationship Id="rId6" Type="http://schemas.openxmlformats.org/officeDocument/2006/relationships/oleObject" Target="../embeddings/oleObject26.bin"/><Relationship Id="rId11" Type="http://schemas.openxmlformats.org/officeDocument/2006/relationships/hyperlink" Target="https://business.columbia.edu/faculty/people/gernot-wagner" TargetMode="External"/><Relationship Id="rId5" Type="http://schemas.openxmlformats.org/officeDocument/2006/relationships/notesSlide" Target="../notesSlides/notesSlide18.xml"/><Relationship Id="rId10" Type="http://schemas.openxmlformats.org/officeDocument/2006/relationships/hyperlink" Target="https://inl.gov/trending-topics/small-modular-reactors/" TargetMode="External"/><Relationship Id="rId4" Type="http://schemas.openxmlformats.org/officeDocument/2006/relationships/slideLayout" Target="../slideLayouts/slideLayout18.xml"/><Relationship Id="rId9" Type="http://schemas.openxmlformats.org/officeDocument/2006/relationships/hyperlink" Target="https://www.oecd-nea.org/jcms/pl_26297/the-nea-small-modular-reactor-smr-strategy" TargetMode="External"/></Relationships>
</file>

<file path=ppt/slides/_rels/slide21.xml.rels><?xml version="1.0" encoding="UTF-8" standalone="yes"?>
<Relationships xmlns="http://schemas.openxmlformats.org/package/2006/relationships"><Relationship Id="rId8" Type="http://schemas.openxmlformats.org/officeDocument/2006/relationships/hyperlink" Target="https://world-nuclear.org/information-library/nuclear-fuel-cycle/nuclear-power-reactors/nuclear-power-reactors?utm_source=chatgpt.com" TargetMode="External"/><Relationship Id="rId3" Type="http://schemas.openxmlformats.org/officeDocument/2006/relationships/slideLayout" Target="../slideLayouts/slideLayout18.xml"/><Relationship Id="rId7" Type="http://schemas.openxmlformats.org/officeDocument/2006/relationships/hyperlink" Target="https://www.theiet.org/media/8809/nuclear-reactor-types.pdf?" TargetMode="External"/><Relationship Id="rId2" Type="http://schemas.openxmlformats.org/officeDocument/2006/relationships/tags" Target="../tags/tag666.xml"/><Relationship Id="rId1" Type="http://schemas.openxmlformats.org/officeDocument/2006/relationships/tags" Target="../tags/tag665.xml"/><Relationship Id="rId6" Type="http://schemas.openxmlformats.org/officeDocument/2006/relationships/hyperlink" Target="https://www.energy.gov/eere/solar/federal-solar-tax-credits-businesses#:~:text=Solar%20systems%20that%20are%20placed,)%5B5%5D%20in%20size." TargetMode="External"/><Relationship Id="rId11" Type="http://schemas.openxmlformats.org/officeDocument/2006/relationships/hyperlink" Target="https://business.columbia.edu/insights/climate/cki" TargetMode="External"/><Relationship Id="rId5" Type="http://schemas.openxmlformats.org/officeDocument/2006/relationships/oleObject" Target="../embeddings/oleObject27.bin"/><Relationship Id="rId10" Type="http://schemas.openxmlformats.org/officeDocument/2006/relationships/hyperlink" Target="https://business.columbia.edu/faculty/people/gernot-wagner" TargetMode="External"/><Relationship Id="rId4" Type="http://schemas.openxmlformats.org/officeDocument/2006/relationships/notesSlide" Target="../notesSlides/notesSlide19.xml"/><Relationship Id="rId9" Type="http://schemas.openxmlformats.org/officeDocument/2006/relationships/hyperlink" Target="https://www-pub.iaea.org/MTCD/Publications/PDF/TE-2027_web.pdf"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www-pub.iaea.org/mtcd/publications/pdf/te_1645_cd/pdf/tecdoc_1645.pdf" TargetMode="External"/><Relationship Id="rId13" Type="http://schemas.openxmlformats.org/officeDocument/2006/relationships/hyperlink" Target="https://www.gen-4.org/generation-iv-criteria-and-technologies/molten-salt-reactors-msr" TargetMode="External"/><Relationship Id="rId18" Type="http://schemas.openxmlformats.org/officeDocument/2006/relationships/hyperlink" Target="https://business.columbia.edu/insights/climate/cki" TargetMode="External"/><Relationship Id="rId3" Type="http://schemas.openxmlformats.org/officeDocument/2006/relationships/slideLayout" Target="../slideLayouts/slideLayout34.xml"/><Relationship Id="rId7" Type="http://schemas.openxmlformats.org/officeDocument/2006/relationships/hyperlink" Target="https://www.energy.gov/sites/prod/files/2016/03/f30/QTR2015-4J-High-Temperature-Reactors.pdf" TargetMode="External"/><Relationship Id="rId12" Type="http://schemas.openxmlformats.org/officeDocument/2006/relationships/hyperlink" Target="https://world-nuclear.org/information-library/current-and-future-generation/molten-salt-reactors" TargetMode="External"/><Relationship Id="rId17" Type="http://schemas.openxmlformats.org/officeDocument/2006/relationships/hyperlink" Target="https://business.columbia.edu/faculty/people/gernot-wagner" TargetMode="External"/><Relationship Id="rId2" Type="http://schemas.openxmlformats.org/officeDocument/2006/relationships/tags" Target="../tags/tag668.xml"/><Relationship Id="rId16" Type="http://schemas.openxmlformats.org/officeDocument/2006/relationships/hyperlink" Target="https://world-nuclear.org/images/articles/Pocket%20Guide%20Reactors.pdf" TargetMode="External"/><Relationship Id="rId1" Type="http://schemas.openxmlformats.org/officeDocument/2006/relationships/tags" Target="../tags/tag667.xml"/><Relationship Id="rId6" Type="http://schemas.openxmlformats.org/officeDocument/2006/relationships/hyperlink" Target="https://www.energy.gov/eere/solar/federal-solar-tax-credits-businesses#:~:text=Solar%20systems%20that%20are%20placed,)%5B5%5D%20in%20size." TargetMode="External"/><Relationship Id="rId11" Type="http://schemas.openxmlformats.org/officeDocument/2006/relationships/hyperlink" Target="https://www.iaea.org/topics/molten-salt-reactors" TargetMode="External"/><Relationship Id="rId5" Type="http://schemas.openxmlformats.org/officeDocument/2006/relationships/oleObject" Target="../embeddings/oleObject28.bin"/><Relationship Id="rId15" Type="http://schemas.openxmlformats.org/officeDocument/2006/relationships/hyperlink" Target="https://www.moltexenergy.com/moltex-demonstrates-reactors-unique-capability-to-consume-nuclear-waste-and-close-the-fuel-cycle/" TargetMode="External"/><Relationship Id="rId10" Type="http://schemas.openxmlformats.org/officeDocument/2006/relationships/hyperlink" Target="https://www.terrestrialenergy.com/technology/molten-salt-reactor" TargetMode="External"/><Relationship Id="rId4" Type="http://schemas.openxmlformats.org/officeDocument/2006/relationships/notesSlide" Target="../notesSlides/notesSlide20.xml"/><Relationship Id="rId9" Type="http://schemas.openxmlformats.org/officeDocument/2006/relationships/hyperlink" Target="https://inldigitallibrary.inl.gov/sites/sti/sti/6531061.pdf" TargetMode="External"/><Relationship Id="rId14" Type="http://schemas.openxmlformats.org/officeDocument/2006/relationships/hyperlink" Target="https://www.pnnl.gov/main/publications/external/technical_reports/PNNL-30739.pdf" TargetMode="External"/></Relationships>
</file>

<file path=ppt/slides/_rels/slide23.xml.rels><?xml version="1.0" encoding="UTF-8" standalone="yes"?>
<Relationships xmlns="http://schemas.openxmlformats.org/package/2006/relationships"><Relationship Id="rId13" Type="http://schemas.openxmlformats.org/officeDocument/2006/relationships/tags" Target="../tags/tag681.xml"/><Relationship Id="rId18" Type="http://schemas.openxmlformats.org/officeDocument/2006/relationships/tags" Target="../tags/tag686.xml"/><Relationship Id="rId26" Type="http://schemas.openxmlformats.org/officeDocument/2006/relationships/tags" Target="../tags/tag694.xml"/><Relationship Id="rId39" Type="http://schemas.openxmlformats.org/officeDocument/2006/relationships/hyperlink" Target="https://link.springer.com/content/pdf/10.1007/978-3-658-25987-7_11.pdf" TargetMode="External"/><Relationship Id="rId21" Type="http://schemas.openxmlformats.org/officeDocument/2006/relationships/tags" Target="../tags/tag689.xml"/><Relationship Id="rId34" Type="http://schemas.openxmlformats.org/officeDocument/2006/relationships/hyperlink" Target="https://www.energypolicy.columbia.edu/the-uncertain-costs-of-new-nuclear-reactors-what-study-estimates-reveal-about-the-potential-for-nuclear-in-a-decarbonizing-world/" TargetMode="External"/><Relationship Id="rId42" Type="http://schemas.openxmlformats.org/officeDocument/2006/relationships/chart" Target="../charts/chart29.xml"/><Relationship Id="rId7" Type="http://schemas.openxmlformats.org/officeDocument/2006/relationships/tags" Target="../tags/tag675.xml"/><Relationship Id="rId2" Type="http://schemas.openxmlformats.org/officeDocument/2006/relationships/tags" Target="../tags/tag670.xml"/><Relationship Id="rId16" Type="http://schemas.openxmlformats.org/officeDocument/2006/relationships/tags" Target="../tags/tag684.xml"/><Relationship Id="rId29" Type="http://schemas.openxmlformats.org/officeDocument/2006/relationships/oleObject" Target="../embeddings/oleObject29.bin"/><Relationship Id="rId1" Type="http://schemas.openxmlformats.org/officeDocument/2006/relationships/tags" Target="../tags/tag669.xml"/><Relationship Id="rId6" Type="http://schemas.openxmlformats.org/officeDocument/2006/relationships/tags" Target="../tags/tag674.xml"/><Relationship Id="rId11" Type="http://schemas.openxmlformats.org/officeDocument/2006/relationships/tags" Target="../tags/tag679.xml"/><Relationship Id="rId24" Type="http://schemas.openxmlformats.org/officeDocument/2006/relationships/tags" Target="../tags/tag692.xml"/><Relationship Id="rId32" Type="http://schemas.openxmlformats.org/officeDocument/2006/relationships/hyperlink" Target="https://world-nuclear.org/information-library/economic-aspects/economics-of-nuclear-power" TargetMode="External"/><Relationship Id="rId37" Type="http://schemas.openxmlformats.org/officeDocument/2006/relationships/hyperlink" Target="https://www.reuters.com/world/china/china-starts-up-worlds-first-fourth-generation-nuclear-reactor-2023-12-06/" TargetMode="External"/><Relationship Id="rId40" Type="http://schemas.openxmlformats.org/officeDocument/2006/relationships/hyperlink" Target="https://business.columbia.edu/faculty/people/gernot-wagner" TargetMode="External"/><Relationship Id="rId45" Type="http://schemas.openxmlformats.org/officeDocument/2006/relationships/chart" Target="../charts/chart32.xml"/><Relationship Id="rId5" Type="http://schemas.openxmlformats.org/officeDocument/2006/relationships/tags" Target="../tags/tag673.xml"/><Relationship Id="rId15" Type="http://schemas.openxmlformats.org/officeDocument/2006/relationships/tags" Target="../tags/tag683.xml"/><Relationship Id="rId23" Type="http://schemas.openxmlformats.org/officeDocument/2006/relationships/tags" Target="../tags/tag691.xml"/><Relationship Id="rId28" Type="http://schemas.openxmlformats.org/officeDocument/2006/relationships/notesSlide" Target="../notesSlides/notesSlide21.xml"/><Relationship Id="rId36" Type="http://schemas.openxmlformats.org/officeDocument/2006/relationships/hyperlink" Target="https://www.cleantech.com/advanced-nuclear-fissions-role-in-the-energy-transition/" TargetMode="External"/><Relationship Id="rId10" Type="http://schemas.openxmlformats.org/officeDocument/2006/relationships/tags" Target="../tags/tag678.xml"/><Relationship Id="rId19" Type="http://schemas.openxmlformats.org/officeDocument/2006/relationships/tags" Target="../tags/tag687.xml"/><Relationship Id="rId31" Type="http://schemas.openxmlformats.org/officeDocument/2006/relationships/hyperlink" Target="https://globalenergymonitor.org/projects/global-nuclear-power-tracker/" TargetMode="External"/><Relationship Id="rId44" Type="http://schemas.openxmlformats.org/officeDocument/2006/relationships/chart" Target="../charts/chart31.xml"/><Relationship Id="rId4" Type="http://schemas.openxmlformats.org/officeDocument/2006/relationships/tags" Target="../tags/tag672.xml"/><Relationship Id="rId9" Type="http://schemas.openxmlformats.org/officeDocument/2006/relationships/tags" Target="../tags/tag677.xml"/><Relationship Id="rId14" Type="http://schemas.openxmlformats.org/officeDocument/2006/relationships/tags" Target="../tags/tag682.xml"/><Relationship Id="rId22" Type="http://schemas.openxmlformats.org/officeDocument/2006/relationships/tags" Target="../tags/tag690.xml"/><Relationship Id="rId27" Type="http://schemas.openxmlformats.org/officeDocument/2006/relationships/slideLayout" Target="../slideLayouts/slideLayout34.xml"/><Relationship Id="rId30" Type="http://schemas.openxmlformats.org/officeDocument/2006/relationships/hyperlink" Target="https://www.energy.gov/eere/solar/federal-solar-tax-credits-businesses#:~:text=Solar%20systems%20that%20are%20placed,)%5B5%5D%20in%20size." TargetMode="External"/><Relationship Id="rId35" Type="http://schemas.openxmlformats.org/officeDocument/2006/relationships/hyperlink" Target="https://www.energy.gov/" TargetMode="External"/><Relationship Id="rId43" Type="http://schemas.openxmlformats.org/officeDocument/2006/relationships/chart" Target="../charts/chart30.xml"/><Relationship Id="rId8" Type="http://schemas.openxmlformats.org/officeDocument/2006/relationships/tags" Target="../tags/tag676.xml"/><Relationship Id="rId3" Type="http://schemas.openxmlformats.org/officeDocument/2006/relationships/tags" Target="../tags/tag671.xml"/><Relationship Id="rId12" Type="http://schemas.openxmlformats.org/officeDocument/2006/relationships/tags" Target="../tags/tag680.xml"/><Relationship Id="rId17" Type="http://schemas.openxmlformats.org/officeDocument/2006/relationships/tags" Target="../tags/tag685.xml"/><Relationship Id="rId25" Type="http://schemas.openxmlformats.org/officeDocument/2006/relationships/tags" Target="../tags/tag693.xml"/><Relationship Id="rId33" Type="http://schemas.openxmlformats.org/officeDocument/2006/relationships/hyperlink" Target="https://world-nuclear.org/information-library/nuclear-fuel-cycle/nuclear-power-reactors/advanced-nuclear-power-reactors" TargetMode="External"/><Relationship Id="rId38" Type="http://schemas.openxmlformats.org/officeDocument/2006/relationships/hyperlink" Target="https://web.mit.edu/kshirvan/www/research/ANP201%20TR%20CANES.pdf" TargetMode="External"/><Relationship Id="rId46" Type="http://schemas.openxmlformats.org/officeDocument/2006/relationships/chart" Target="../charts/chart33.xml"/><Relationship Id="rId20" Type="http://schemas.openxmlformats.org/officeDocument/2006/relationships/tags" Target="../tags/tag688.xml"/><Relationship Id="rId41" Type="http://schemas.openxmlformats.org/officeDocument/2006/relationships/hyperlink" Target="https://business.columbia.edu/insights/climate/cki" TargetMode="External"/></Relationships>
</file>

<file path=ppt/slides/_rels/slide24.xml.rels><?xml version="1.0" encoding="UTF-8" standalone="yes"?>
<Relationships xmlns="http://schemas.openxmlformats.org/package/2006/relationships"><Relationship Id="rId13" Type="http://schemas.openxmlformats.org/officeDocument/2006/relationships/tags" Target="../tags/tag707.xml"/><Relationship Id="rId18" Type="http://schemas.openxmlformats.org/officeDocument/2006/relationships/tags" Target="../tags/tag712.xml"/><Relationship Id="rId26" Type="http://schemas.openxmlformats.org/officeDocument/2006/relationships/tags" Target="../tags/tag720.xml"/><Relationship Id="rId39" Type="http://schemas.openxmlformats.org/officeDocument/2006/relationships/oleObject" Target="../embeddings/oleObject30.bin"/><Relationship Id="rId21" Type="http://schemas.openxmlformats.org/officeDocument/2006/relationships/tags" Target="../tags/tag715.xml"/><Relationship Id="rId34" Type="http://schemas.openxmlformats.org/officeDocument/2006/relationships/tags" Target="../tags/tag728.xml"/><Relationship Id="rId42" Type="http://schemas.openxmlformats.org/officeDocument/2006/relationships/hyperlink" Target="https://www.hydrogeninsight.com/electrolysers/nuclear-hydrogen-makes-a-lot-of-intellectual-sense-us-energy-loans-head/2-1-1527866?zephr_sso_ott=gm1Ps9" TargetMode="External"/><Relationship Id="rId47" Type="http://schemas.openxmlformats.org/officeDocument/2006/relationships/hyperlink" Target="https://www.ctvc.co/final-hydrogen-tax-credits-get-greenlight-228/" TargetMode="External"/><Relationship Id="rId50" Type="http://schemas.openxmlformats.org/officeDocument/2006/relationships/hyperlink" Target="https://business.columbia.edu/insights/climate/cki" TargetMode="External"/><Relationship Id="rId7" Type="http://schemas.openxmlformats.org/officeDocument/2006/relationships/tags" Target="../tags/tag701.xml"/><Relationship Id="rId2" Type="http://schemas.openxmlformats.org/officeDocument/2006/relationships/tags" Target="../tags/tag696.xml"/><Relationship Id="rId16" Type="http://schemas.openxmlformats.org/officeDocument/2006/relationships/tags" Target="../tags/tag710.xml"/><Relationship Id="rId29" Type="http://schemas.openxmlformats.org/officeDocument/2006/relationships/tags" Target="../tags/tag723.xml"/><Relationship Id="rId11" Type="http://schemas.openxmlformats.org/officeDocument/2006/relationships/tags" Target="../tags/tag705.xml"/><Relationship Id="rId24" Type="http://schemas.openxmlformats.org/officeDocument/2006/relationships/tags" Target="../tags/tag718.xml"/><Relationship Id="rId32" Type="http://schemas.openxmlformats.org/officeDocument/2006/relationships/tags" Target="../tags/tag726.xml"/><Relationship Id="rId37" Type="http://schemas.openxmlformats.org/officeDocument/2006/relationships/slideLayout" Target="../slideLayouts/slideLayout34.xml"/><Relationship Id="rId40" Type="http://schemas.openxmlformats.org/officeDocument/2006/relationships/hyperlink" Target="https://www.energy.gov/eere/solar/federal-solar-tax-credits-businesses#:~:text=Solar%20systems%20that%20are%20placed,)%5B5%5D%20in%20size." TargetMode="External"/><Relationship Id="rId45" Type="http://schemas.openxmlformats.org/officeDocument/2006/relationships/hyperlink" Target="https://www.hydrogen.energy.gov/docs/hydrogenprogramlibraries/pdfs/20006-production-cost-high-temperature-electrolysis.pdf?Status=Master" TargetMode="External"/><Relationship Id="rId53" Type="http://schemas.openxmlformats.org/officeDocument/2006/relationships/chart" Target="../charts/chart36.xml"/><Relationship Id="rId5" Type="http://schemas.openxmlformats.org/officeDocument/2006/relationships/tags" Target="../tags/tag699.xml"/><Relationship Id="rId10" Type="http://schemas.openxmlformats.org/officeDocument/2006/relationships/tags" Target="../tags/tag704.xml"/><Relationship Id="rId19" Type="http://schemas.openxmlformats.org/officeDocument/2006/relationships/tags" Target="../tags/tag713.xml"/><Relationship Id="rId31" Type="http://schemas.openxmlformats.org/officeDocument/2006/relationships/tags" Target="../tags/tag725.xml"/><Relationship Id="rId44" Type="http://schemas.openxmlformats.org/officeDocument/2006/relationships/hyperlink" Target="https://world-nuclear.org/information-library/energy-and-the-environment/hydrogen-production-and-uses" TargetMode="External"/><Relationship Id="rId52" Type="http://schemas.openxmlformats.org/officeDocument/2006/relationships/chart" Target="../charts/chart35.xml"/><Relationship Id="rId4" Type="http://schemas.openxmlformats.org/officeDocument/2006/relationships/tags" Target="../tags/tag698.xml"/><Relationship Id="rId9" Type="http://schemas.openxmlformats.org/officeDocument/2006/relationships/tags" Target="../tags/tag703.xml"/><Relationship Id="rId14" Type="http://schemas.openxmlformats.org/officeDocument/2006/relationships/tags" Target="../tags/tag708.xml"/><Relationship Id="rId22" Type="http://schemas.openxmlformats.org/officeDocument/2006/relationships/tags" Target="../tags/tag716.xml"/><Relationship Id="rId27" Type="http://schemas.openxmlformats.org/officeDocument/2006/relationships/tags" Target="../tags/tag721.xml"/><Relationship Id="rId30" Type="http://schemas.openxmlformats.org/officeDocument/2006/relationships/tags" Target="../tags/tag724.xml"/><Relationship Id="rId35" Type="http://schemas.openxmlformats.org/officeDocument/2006/relationships/tags" Target="../tags/tag729.xml"/><Relationship Id="rId43" Type="http://schemas.openxmlformats.org/officeDocument/2006/relationships/hyperlink" Target="https://www.belfercenter.org/research-analysis/colors-hydrogen" TargetMode="External"/><Relationship Id="rId48" Type="http://schemas.openxmlformats.org/officeDocument/2006/relationships/hyperlink" Target="https://www.lazard.com/media/xemfey0k/lazards-lcoeplus-june-2024-_vf.pdf" TargetMode="External"/><Relationship Id="rId8" Type="http://schemas.openxmlformats.org/officeDocument/2006/relationships/tags" Target="../tags/tag702.xml"/><Relationship Id="rId51" Type="http://schemas.openxmlformats.org/officeDocument/2006/relationships/chart" Target="../charts/chart34.xml"/><Relationship Id="rId3" Type="http://schemas.openxmlformats.org/officeDocument/2006/relationships/tags" Target="../tags/tag697.xml"/><Relationship Id="rId12" Type="http://schemas.openxmlformats.org/officeDocument/2006/relationships/tags" Target="../tags/tag706.xml"/><Relationship Id="rId17" Type="http://schemas.openxmlformats.org/officeDocument/2006/relationships/tags" Target="../tags/tag711.xml"/><Relationship Id="rId25" Type="http://schemas.openxmlformats.org/officeDocument/2006/relationships/tags" Target="../tags/tag719.xml"/><Relationship Id="rId33" Type="http://schemas.openxmlformats.org/officeDocument/2006/relationships/tags" Target="../tags/tag727.xml"/><Relationship Id="rId38" Type="http://schemas.openxmlformats.org/officeDocument/2006/relationships/notesSlide" Target="../notesSlides/notesSlide22.xml"/><Relationship Id="rId46" Type="http://schemas.openxmlformats.org/officeDocument/2006/relationships/hyperlink" Target="https://iea.blob.core.windows.net/assets/89c1e382-dc59-46ca-aa47-9f7d41531ab5/GlobalHydrogenReview2024.pdf" TargetMode="External"/><Relationship Id="rId20" Type="http://schemas.openxmlformats.org/officeDocument/2006/relationships/tags" Target="../tags/tag714.xml"/><Relationship Id="rId41" Type="http://schemas.openxmlformats.org/officeDocument/2006/relationships/hyperlink" Target="https://www.nationalgrid.com/stories/energy-explained/hydrogen-colour-spectrum" TargetMode="External"/><Relationship Id="rId1" Type="http://schemas.openxmlformats.org/officeDocument/2006/relationships/tags" Target="../tags/tag695.xml"/><Relationship Id="rId6" Type="http://schemas.openxmlformats.org/officeDocument/2006/relationships/tags" Target="../tags/tag700.xml"/><Relationship Id="rId15" Type="http://schemas.openxmlformats.org/officeDocument/2006/relationships/tags" Target="../tags/tag709.xml"/><Relationship Id="rId23" Type="http://schemas.openxmlformats.org/officeDocument/2006/relationships/tags" Target="../tags/tag717.xml"/><Relationship Id="rId28" Type="http://schemas.openxmlformats.org/officeDocument/2006/relationships/tags" Target="../tags/tag722.xml"/><Relationship Id="rId36" Type="http://schemas.openxmlformats.org/officeDocument/2006/relationships/tags" Target="../tags/tag730.xml"/><Relationship Id="rId49" Type="http://schemas.openxmlformats.org/officeDocument/2006/relationships/hyperlink" Target="https://business.columbia.edu/faculty/people/gernot-wagner" TargetMode="External"/></Relationships>
</file>

<file path=ppt/slides/_rels/slide25.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hyperlink" Target="https://www.businesswire.com/news/home/20241001700233/en/TerraPower-Isotopes-Brings-Actinium-225-to-Market?utm_source=chatgpt.com" TargetMode="External"/><Relationship Id="rId18" Type="http://schemas.openxmlformats.org/officeDocument/2006/relationships/hyperlink" Target="https://business.columbia.edu/insights/climate/cki" TargetMode="External"/><Relationship Id="rId3" Type="http://schemas.openxmlformats.org/officeDocument/2006/relationships/tags" Target="../tags/tag733.xml"/><Relationship Id="rId21" Type="http://schemas.openxmlformats.org/officeDocument/2006/relationships/chart" Target="../charts/chart37.xml"/><Relationship Id="rId7" Type="http://schemas.openxmlformats.org/officeDocument/2006/relationships/tags" Target="../tags/tag737.xml"/><Relationship Id="rId12" Type="http://schemas.openxmlformats.org/officeDocument/2006/relationships/hyperlink" Target="https://www.terrapower.com/about/" TargetMode="External"/><Relationship Id="rId17" Type="http://schemas.openxmlformats.org/officeDocument/2006/relationships/hyperlink" Target="https://business.columbia.edu/faculty/people/gernot-wagner" TargetMode="External"/><Relationship Id="rId2" Type="http://schemas.openxmlformats.org/officeDocument/2006/relationships/tags" Target="../tags/tag732.xml"/><Relationship Id="rId16" Type="http://schemas.openxmlformats.org/officeDocument/2006/relationships/hyperlink" Target="https://neutronbytes.com/2019/01/06/terrapower-to-leave-china-but-bill-gates-is-still-in-the-game/" TargetMode="External"/><Relationship Id="rId20" Type="http://schemas.openxmlformats.org/officeDocument/2006/relationships/image" Target="../media/image28.jpeg"/><Relationship Id="rId1" Type="http://schemas.openxmlformats.org/officeDocument/2006/relationships/tags" Target="../tags/tag731.xml"/><Relationship Id="rId6" Type="http://schemas.openxmlformats.org/officeDocument/2006/relationships/tags" Target="../tags/tag736.xml"/><Relationship Id="rId11" Type="http://schemas.openxmlformats.org/officeDocument/2006/relationships/image" Target="../media/image12.emf"/><Relationship Id="rId5" Type="http://schemas.openxmlformats.org/officeDocument/2006/relationships/tags" Target="../tags/tag735.xml"/><Relationship Id="rId15" Type="http://schemas.openxmlformats.org/officeDocument/2006/relationships/hyperlink" Target="https://world-nuclear-news.org/Articles/TerraPower,-CNNC-team-up-on-travelling-wave-reacto" TargetMode="External"/><Relationship Id="rId10" Type="http://schemas.openxmlformats.org/officeDocument/2006/relationships/oleObject" Target="../embeddings/oleObject31.bin"/><Relationship Id="rId19" Type="http://schemas.openxmlformats.org/officeDocument/2006/relationships/image" Target="../media/image27.png"/><Relationship Id="rId4" Type="http://schemas.openxmlformats.org/officeDocument/2006/relationships/tags" Target="../tags/tag734.xml"/><Relationship Id="rId9" Type="http://schemas.openxmlformats.org/officeDocument/2006/relationships/notesSlide" Target="../notesSlides/notesSlide23.xml"/><Relationship Id="rId14" Type="http://schemas.openxmlformats.org/officeDocument/2006/relationships/hyperlink" Target="https://www.reuters.com/business/energy/bill-gates-4-bln-high-tech-nuclear-reactor-set-wyoming-coal-site-2021-11-17/" TargetMode="Externa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39.xml"/><Relationship Id="rId1" Type="http://schemas.openxmlformats.org/officeDocument/2006/relationships/tags" Target="../tags/tag738.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29.jpeg"/></Relationships>
</file>

<file path=ppt/slides/_rels/slide27.xml.rels><?xml version="1.0" encoding="UTF-8" standalone="yes"?>
<Relationships xmlns="http://schemas.openxmlformats.org/package/2006/relationships"><Relationship Id="rId8" Type="http://schemas.openxmlformats.org/officeDocument/2006/relationships/tags" Target="../tags/tag747.xml"/><Relationship Id="rId13" Type="http://schemas.openxmlformats.org/officeDocument/2006/relationships/image" Target="../media/image30.jpeg"/><Relationship Id="rId3" Type="http://schemas.openxmlformats.org/officeDocument/2006/relationships/tags" Target="../tags/tag742.xml"/><Relationship Id="rId7" Type="http://schemas.openxmlformats.org/officeDocument/2006/relationships/tags" Target="../tags/tag746.xml"/><Relationship Id="rId12" Type="http://schemas.openxmlformats.org/officeDocument/2006/relationships/image" Target="../media/image15.emf"/><Relationship Id="rId2" Type="http://schemas.openxmlformats.org/officeDocument/2006/relationships/tags" Target="../tags/tag741.xml"/><Relationship Id="rId16" Type="http://schemas.openxmlformats.org/officeDocument/2006/relationships/hyperlink" Target="https://business.columbia.edu/insights/climate/cki" TargetMode="External"/><Relationship Id="rId1" Type="http://schemas.openxmlformats.org/officeDocument/2006/relationships/tags" Target="../tags/tag740.xml"/><Relationship Id="rId6" Type="http://schemas.openxmlformats.org/officeDocument/2006/relationships/tags" Target="../tags/tag745.xml"/><Relationship Id="rId11" Type="http://schemas.openxmlformats.org/officeDocument/2006/relationships/oleObject" Target="../embeddings/oleObject33.bin"/><Relationship Id="rId5" Type="http://schemas.openxmlformats.org/officeDocument/2006/relationships/tags" Target="../tags/tag744.xml"/><Relationship Id="rId15" Type="http://schemas.openxmlformats.org/officeDocument/2006/relationships/hyperlink" Target="https://business.columbia.edu/faculty/people/gernot-wagner" TargetMode="External"/><Relationship Id="rId10" Type="http://schemas.openxmlformats.org/officeDocument/2006/relationships/notesSlide" Target="../notesSlides/notesSlide24.xml"/><Relationship Id="rId4" Type="http://schemas.openxmlformats.org/officeDocument/2006/relationships/tags" Target="../tags/tag743.xml"/><Relationship Id="rId9" Type="http://schemas.openxmlformats.org/officeDocument/2006/relationships/slideLayout" Target="../slideLayouts/slideLayout41.xml"/><Relationship Id="rId14" Type="http://schemas.openxmlformats.org/officeDocument/2006/relationships/hyperlink" Target="https://www.energy.gov/eere/solar/federal-solar-tax-credits-businesses#:~:text=Solar%20systems%20that%20are%20placed,)%5B5%5D%20in%20size." TargetMode="External"/></Relationships>
</file>

<file path=ppt/slides/_rels/slide28.xml.rels><?xml version="1.0" encoding="UTF-8" standalone="yes"?>
<Relationships xmlns="http://schemas.openxmlformats.org/package/2006/relationships"><Relationship Id="rId26" Type="http://schemas.openxmlformats.org/officeDocument/2006/relationships/tags" Target="../tags/tag773.xml"/><Relationship Id="rId21" Type="http://schemas.openxmlformats.org/officeDocument/2006/relationships/tags" Target="../tags/tag768.xml"/><Relationship Id="rId42" Type="http://schemas.openxmlformats.org/officeDocument/2006/relationships/tags" Target="../tags/tag789.xml"/><Relationship Id="rId47" Type="http://schemas.openxmlformats.org/officeDocument/2006/relationships/tags" Target="../tags/tag794.xml"/><Relationship Id="rId63" Type="http://schemas.openxmlformats.org/officeDocument/2006/relationships/tags" Target="../tags/tag810.xml"/><Relationship Id="rId68" Type="http://schemas.openxmlformats.org/officeDocument/2006/relationships/tags" Target="../tags/tag815.xml"/><Relationship Id="rId84" Type="http://schemas.openxmlformats.org/officeDocument/2006/relationships/image" Target="../media/image15.emf"/><Relationship Id="rId89" Type="http://schemas.openxmlformats.org/officeDocument/2006/relationships/hyperlink" Target="https://business.columbia.edu/insights/climate/cki" TargetMode="External"/><Relationship Id="rId16" Type="http://schemas.openxmlformats.org/officeDocument/2006/relationships/tags" Target="../tags/tag763.xml"/><Relationship Id="rId11" Type="http://schemas.openxmlformats.org/officeDocument/2006/relationships/tags" Target="../tags/tag758.xml"/><Relationship Id="rId32" Type="http://schemas.openxmlformats.org/officeDocument/2006/relationships/tags" Target="../tags/tag779.xml"/><Relationship Id="rId37" Type="http://schemas.openxmlformats.org/officeDocument/2006/relationships/tags" Target="../tags/tag784.xml"/><Relationship Id="rId53" Type="http://schemas.openxmlformats.org/officeDocument/2006/relationships/tags" Target="../tags/tag800.xml"/><Relationship Id="rId58" Type="http://schemas.openxmlformats.org/officeDocument/2006/relationships/tags" Target="../tags/tag805.xml"/><Relationship Id="rId74" Type="http://schemas.openxmlformats.org/officeDocument/2006/relationships/tags" Target="../tags/tag821.xml"/><Relationship Id="rId79" Type="http://schemas.openxmlformats.org/officeDocument/2006/relationships/tags" Target="../tags/tag826.xml"/><Relationship Id="rId5" Type="http://schemas.openxmlformats.org/officeDocument/2006/relationships/tags" Target="../tags/tag752.xml"/><Relationship Id="rId14" Type="http://schemas.openxmlformats.org/officeDocument/2006/relationships/tags" Target="../tags/tag761.xml"/><Relationship Id="rId22" Type="http://schemas.openxmlformats.org/officeDocument/2006/relationships/tags" Target="../tags/tag769.xml"/><Relationship Id="rId27" Type="http://schemas.openxmlformats.org/officeDocument/2006/relationships/tags" Target="../tags/tag774.xml"/><Relationship Id="rId30" Type="http://schemas.openxmlformats.org/officeDocument/2006/relationships/tags" Target="../tags/tag777.xml"/><Relationship Id="rId35" Type="http://schemas.openxmlformats.org/officeDocument/2006/relationships/tags" Target="../tags/tag782.xml"/><Relationship Id="rId43" Type="http://schemas.openxmlformats.org/officeDocument/2006/relationships/tags" Target="../tags/tag790.xml"/><Relationship Id="rId48" Type="http://schemas.openxmlformats.org/officeDocument/2006/relationships/tags" Target="../tags/tag795.xml"/><Relationship Id="rId56" Type="http://schemas.openxmlformats.org/officeDocument/2006/relationships/tags" Target="../tags/tag803.xml"/><Relationship Id="rId64" Type="http://schemas.openxmlformats.org/officeDocument/2006/relationships/tags" Target="../tags/tag811.xml"/><Relationship Id="rId69" Type="http://schemas.openxmlformats.org/officeDocument/2006/relationships/tags" Target="../tags/tag816.xml"/><Relationship Id="rId77" Type="http://schemas.openxmlformats.org/officeDocument/2006/relationships/tags" Target="../tags/tag824.xml"/><Relationship Id="rId8" Type="http://schemas.openxmlformats.org/officeDocument/2006/relationships/tags" Target="../tags/tag755.xml"/><Relationship Id="rId51" Type="http://schemas.openxmlformats.org/officeDocument/2006/relationships/tags" Target="../tags/tag798.xml"/><Relationship Id="rId72" Type="http://schemas.openxmlformats.org/officeDocument/2006/relationships/tags" Target="../tags/tag819.xml"/><Relationship Id="rId80" Type="http://schemas.openxmlformats.org/officeDocument/2006/relationships/tags" Target="../tags/tag827.xml"/><Relationship Id="rId85" Type="http://schemas.openxmlformats.org/officeDocument/2006/relationships/chart" Target="../charts/chart38.xml"/><Relationship Id="rId3" Type="http://schemas.openxmlformats.org/officeDocument/2006/relationships/tags" Target="../tags/tag750.xml"/><Relationship Id="rId12" Type="http://schemas.openxmlformats.org/officeDocument/2006/relationships/tags" Target="../tags/tag759.xml"/><Relationship Id="rId17" Type="http://schemas.openxmlformats.org/officeDocument/2006/relationships/tags" Target="../tags/tag764.xml"/><Relationship Id="rId25" Type="http://schemas.openxmlformats.org/officeDocument/2006/relationships/tags" Target="../tags/tag772.xml"/><Relationship Id="rId33" Type="http://schemas.openxmlformats.org/officeDocument/2006/relationships/tags" Target="../tags/tag780.xml"/><Relationship Id="rId38" Type="http://schemas.openxmlformats.org/officeDocument/2006/relationships/tags" Target="../tags/tag785.xml"/><Relationship Id="rId46" Type="http://schemas.openxmlformats.org/officeDocument/2006/relationships/tags" Target="../tags/tag793.xml"/><Relationship Id="rId59" Type="http://schemas.openxmlformats.org/officeDocument/2006/relationships/tags" Target="../tags/tag806.xml"/><Relationship Id="rId67" Type="http://schemas.openxmlformats.org/officeDocument/2006/relationships/tags" Target="../tags/tag814.xml"/><Relationship Id="rId20" Type="http://schemas.openxmlformats.org/officeDocument/2006/relationships/tags" Target="../tags/tag767.xml"/><Relationship Id="rId41" Type="http://schemas.openxmlformats.org/officeDocument/2006/relationships/tags" Target="../tags/tag788.xml"/><Relationship Id="rId54" Type="http://schemas.openxmlformats.org/officeDocument/2006/relationships/tags" Target="../tags/tag801.xml"/><Relationship Id="rId62" Type="http://schemas.openxmlformats.org/officeDocument/2006/relationships/tags" Target="../tags/tag809.xml"/><Relationship Id="rId70" Type="http://schemas.openxmlformats.org/officeDocument/2006/relationships/tags" Target="../tags/tag817.xml"/><Relationship Id="rId75" Type="http://schemas.openxmlformats.org/officeDocument/2006/relationships/tags" Target="../tags/tag822.xml"/><Relationship Id="rId83" Type="http://schemas.openxmlformats.org/officeDocument/2006/relationships/oleObject" Target="../embeddings/oleObject34.bin"/><Relationship Id="rId88" Type="http://schemas.openxmlformats.org/officeDocument/2006/relationships/hyperlink" Target="https://business.columbia.edu/faculty/people/gernot-wagner" TargetMode="External"/><Relationship Id="rId1" Type="http://schemas.openxmlformats.org/officeDocument/2006/relationships/tags" Target="../tags/tag748.xml"/><Relationship Id="rId6" Type="http://schemas.openxmlformats.org/officeDocument/2006/relationships/tags" Target="../tags/tag753.xml"/><Relationship Id="rId15" Type="http://schemas.openxmlformats.org/officeDocument/2006/relationships/tags" Target="../tags/tag762.xml"/><Relationship Id="rId23" Type="http://schemas.openxmlformats.org/officeDocument/2006/relationships/tags" Target="../tags/tag770.xml"/><Relationship Id="rId28" Type="http://schemas.openxmlformats.org/officeDocument/2006/relationships/tags" Target="../tags/tag775.xml"/><Relationship Id="rId36" Type="http://schemas.openxmlformats.org/officeDocument/2006/relationships/tags" Target="../tags/tag783.xml"/><Relationship Id="rId49" Type="http://schemas.openxmlformats.org/officeDocument/2006/relationships/tags" Target="../tags/tag796.xml"/><Relationship Id="rId57" Type="http://schemas.openxmlformats.org/officeDocument/2006/relationships/tags" Target="../tags/tag804.xml"/><Relationship Id="rId10" Type="http://schemas.openxmlformats.org/officeDocument/2006/relationships/tags" Target="../tags/tag757.xml"/><Relationship Id="rId31" Type="http://schemas.openxmlformats.org/officeDocument/2006/relationships/tags" Target="../tags/tag778.xml"/><Relationship Id="rId44" Type="http://schemas.openxmlformats.org/officeDocument/2006/relationships/tags" Target="../tags/tag791.xml"/><Relationship Id="rId52" Type="http://schemas.openxmlformats.org/officeDocument/2006/relationships/tags" Target="../tags/tag799.xml"/><Relationship Id="rId60" Type="http://schemas.openxmlformats.org/officeDocument/2006/relationships/tags" Target="../tags/tag807.xml"/><Relationship Id="rId65" Type="http://schemas.openxmlformats.org/officeDocument/2006/relationships/tags" Target="../tags/tag812.xml"/><Relationship Id="rId73" Type="http://schemas.openxmlformats.org/officeDocument/2006/relationships/tags" Target="../tags/tag820.xml"/><Relationship Id="rId78" Type="http://schemas.openxmlformats.org/officeDocument/2006/relationships/tags" Target="../tags/tag825.xml"/><Relationship Id="rId81" Type="http://schemas.openxmlformats.org/officeDocument/2006/relationships/slideLayout" Target="../slideLayouts/slideLayout41.xml"/><Relationship Id="rId86" Type="http://schemas.openxmlformats.org/officeDocument/2006/relationships/hyperlink" Target="https://www.lazard.com/media/eijnqja3/lazards-lcoeplus-june-2025.pdf" TargetMode="External"/><Relationship Id="rId4" Type="http://schemas.openxmlformats.org/officeDocument/2006/relationships/tags" Target="../tags/tag751.xml"/><Relationship Id="rId9" Type="http://schemas.openxmlformats.org/officeDocument/2006/relationships/tags" Target="../tags/tag756.xml"/><Relationship Id="rId13" Type="http://schemas.openxmlformats.org/officeDocument/2006/relationships/tags" Target="../tags/tag760.xml"/><Relationship Id="rId18" Type="http://schemas.openxmlformats.org/officeDocument/2006/relationships/tags" Target="../tags/tag765.xml"/><Relationship Id="rId39" Type="http://schemas.openxmlformats.org/officeDocument/2006/relationships/tags" Target="../tags/tag786.xml"/><Relationship Id="rId34" Type="http://schemas.openxmlformats.org/officeDocument/2006/relationships/tags" Target="../tags/tag781.xml"/><Relationship Id="rId50" Type="http://schemas.openxmlformats.org/officeDocument/2006/relationships/tags" Target="../tags/tag797.xml"/><Relationship Id="rId55" Type="http://schemas.openxmlformats.org/officeDocument/2006/relationships/tags" Target="../tags/tag802.xml"/><Relationship Id="rId76" Type="http://schemas.openxmlformats.org/officeDocument/2006/relationships/tags" Target="../tags/tag823.xml"/><Relationship Id="rId7" Type="http://schemas.openxmlformats.org/officeDocument/2006/relationships/tags" Target="../tags/tag754.xml"/><Relationship Id="rId71" Type="http://schemas.openxmlformats.org/officeDocument/2006/relationships/tags" Target="../tags/tag818.xml"/><Relationship Id="rId2" Type="http://schemas.openxmlformats.org/officeDocument/2006/relationships/tags" Target="../tags/tag749.xml"/><Relationship Id="rId29" Type="http://schemas.openxmlformats.org/officeDocument/2006/relationships/tags" Target="../tags/tag776.xml"/><Relationship Id="rId24" Type="http://schemas.openxmlformats.org/officeDocument/2006/relationships/tags" Target="../tags/tag771.xml"/><Relationship Id="rId40" Type="http://schemas.openxmlformats.org/officeDocument/2006/relationships/tags" Target="../tags/tag787.xml"/><Relationship Id="rId45" Type="http://schemas.openxmlformats.org/officeDocument/2006/relationships/tags" Target="../tags/tag792.xml"/><Relationship Id="rId66" Type="http://schemas.openxmlformats.org/officeDocument/2006/relationships/tags" Target="../tags/tag813.xml"/><Relationship Id="rId87" Type="http://schemas.openxmlformats.org/officeDocument/2006/relationships/hyperlink" Target="https://www.statista.com/statistics/1328102/construction-time-for-nuclear-reactors-worldwide/" TargetMode="External"/><Relationship Id="rId61" Type="http://schemas.openxmlformats.org/officeDocument/2006/relationships/tags" Target="../tags/tag808.xml"/><Relationship Id="rId82" Type="http://schemas.openxmlformats.org/officeDocument/2006/relationships/notesSlide" Target="../notesSlides/notesSlide25.xml"/><Relationship Id="rId19" Type="http://schemas.openxmlformats.org/officeDocument/2006/relationships/tags" Target="../tags/tag766.xml"/></Relationships>
</file>

<file path=ppt/slides/_rels/slide29.xml.rels><?xml version="1.0" encoding="UTF-8" standalone="yes"?>
<Relationships xmlns="http://schemas.openxmlformats.org/package/2006/relationships"><Relationship Id="rId26" Type="http://schemas.openxmlformats.org/officeDocument/2006/relationships/tags" Target="../tags/tag853.xml"/><Relationship Id="rId21" Type="http://schemas.openxmlformats.org/officeDocument/2006/relationships/tags" Target="../tags/tag848.xml"/><Relationship Id="rId34" Type="http://schemas.openxmlformats.org/officeDocument/2006/relationships/tags" Target="../tags/tag861.xml"/><Relationship Id="rId42" Type="http://schemas.openxmlformats.org/officeDocument/2006/relationships/tags" Target="../tags/tag869.xml"/><Relationship Id="rId47" Type="http://schemas.openxmlformats.org/officeDocument/2006/relationships/tags" Target="../tags/tag874.xml"/><Relationship Id="rId50" Type="http://schemas.openxmlformats.org/officeDocument/2006/relationships/tags" Target="../tags/tag877.xml"/><Relationship Id="rId55" Type="http://schemas.openxmlformats.org/officeDocument/2006/relationships/image" Target="../media/image15.emf"/><Relationship Id="rId63" Type="http://schemas.openxmlformats.org/officeDocument/2006/relationships/hyperlink" Target="https://business.columbia.edu/faculty/people/gernot-wagner" TargetMode="External"/><Relationship Id="rId7" Type="http://schemas.openxmlformats.org/officeDocument/2006/relationships/tags" Target="../tags/tag834.xml"/><Relationship Id="rId2" Type="http://schemas.openxmlformats.org/officeDocument/2006/relationships/tags" Target="../tags/tag829.xml"/><Relationship Id="rId16" Type="http://schemas.openxmlformats.org/officeDocument/2006/relationships/tags" Target="../tags/tag843.xml"/><Relationship Id="rId29" Type="http://schemas.openxmlformats.org/officeDocument/2006/relationships/tags" Target="../tags/tag856.xml"/><Relationship Id="rId11" Type="http://schemas.openxmlformats.org/officeDocument/2006/relationships/tags" Target="../tags/tag838.xml"/><Relationship Id="rId24" Type="http://schemas.openxmlformats.org/officeDocument/2006/relationships/tags" Target="../tags/tag851.xml"/><Relationship Id="rId32" Type="http://schemas.openxmlformats.org/officeDocument/2006/relationships/tags" Target="../tags/tag859.xml"/><Relationship Id="rId37" Type="http://schemas.openxmlformats.org/officeDocument/2006/relationships/tags" Target="../tags/tag864.xml"/><Relationship Id="rId40" Type="http://schemas.openxmlformats.org/officeDocument/2006/relationships/tags" Target="../tags/tag867.xml"/><Relationship Id="rId45" Type="http://schemas.openxmlformats.org/officeDocument/2006/relationships/tags" Target="../tags/tag872.xml"/><Relationship Id="rId53" Type="http://schemas.openxmlformats.org/officeDocument/2006/relationships/notesSlide" Target="../notesSlides/notesSlide26.xml"/><Relationship Id="rId58" Type="http://schemas.openxmlformats.org/officeDocument/2006/relationships/hyperlink" Target="https://www.oecd-nea.org/upload/docs/application/pdf/2020-07/7530-reducing-cost-nuclear-construction.pdf" TargetMode="External"/><Relationship Id="rId66" Type="http://schemas.openxmlformats.org/officeDocument/2006/relationships/chart" Target="../charts/chart40.xml"/><Relationship Id="rId5" Type="http://schemas.openxmlformats.org/officeDocument/2006/relationships/tags" Target="../tags/tag832.xml"/><Relationship Id="rId61" Type="http://schemas.openxmlformats.org/officeDocument/2006/relationships/hyperlink" Target="https://fred.stlouisfed.org/series/PCU32733273" TargetMode="External"/><Relationship Id="rId19" Type="http://schemas.openxmlformats.org/officeDocument/2006/relationships/tags" Target="../tags/tag846.xml"/><Relationship Id="rId14" Type="http://schemas.openxmlformats.org/officeDocument/2006/relationships/tags" Target="../tags/tag841.xml"/><Relationship Id="rId22" Type="http://schemas.openxmlformats.org/officeDocument/2006/relationships/tags" Target="../tags/tag849.xml"/><Relationship Id="rId27" Type="http://schemas.openxmlformats.org/officeDocument/2006/relationships/tags" Target="../tags/tag854.xml"/><Relationship Id="rId30" Type="http://schemas.openxmlformats.org/officeDocument/2006/relationships/tags" Target="../tags/tag857.xml"/><Relationship Id="rId35" Type="http://schemas.openxmlformats.org/officeDocument/2006/relationships/tags" Target="../tags/tag862.xml"/><Relationship Id="rId43" Type="http://schemas.openxmlformats.org/officeDocument/2006/relationships/tags" Target="../tags/tag870.xml"/><Relationship Id="rId48" Type="http://schemas.openxmlformats.org/officeDocument/2006/relationships/tags" Target="../tags/tag875.xml"/><Relationship Id="rId56" Type="http://schemas.openxmlformats.org/officeDocument/2006/relationships/hyperlink" Target="https://www.lazard.com/media/uounhon4/lazards-lcoeplus-june-2025.pdf" TargetMode="External"/><Relationship Id="rId64" Type="http://schemas.openxmlformats.org/officeDocument/2006/relationships/hyperlink" Target="https://business.columbia.edu/insights/climate/cki" TargetMode="External"/><Relationship Id="rId8" Type="http://schemas.openxmlformats.org/officeDocument/2006/relationships/tags" Target="../tags/tag835.xml"/><Relationship Id="rId51" Type="http://schemas.openxmlformats.org/officeDocument/2006/relationships/tags" Target="../tags/tag878.xml"/><Relationship Id="rId3" Type="http://schemas.openxmlformats.org/officeDocument/2006/relationships/tags" Target="../tags/tag830.xml"/><Relationship Id="rId12" Type="http://schemas.openxmlformats.org/officeDocument/2006/relationships/tags" Target="../tags/tag839.xml"/><Relationship Id="rId17" Type="http://schemas.openxmlformats.org/officeDocument/2006/relationships/tags" Target="../tags/tag844.xml"/><Relationship Id="rId25" Type="http://schemas.openxmlformats.org/officeDocument/2006/relationships/tags" Target="../tags/tag852.xml"/><Relationship Id="rId33" Type="http://schemas.openxmlformats.org/officeDocument/2006/relationships/tags" Target="../tags/tag860.xml"/><Relationship Id="rId38" Type="http://schemas.openxmlformats.org/officeDocument/2006/relationships/tags" Target="../tags/tag865.xml"/><Relationship Id="rId46" Type="http://schemas.openxmlformats.org/officeDocument/2006/relationships/tags" Target="../tags/tag873.xml"/><Relationship Id="rId59" Type="http://schemas.openxmlformats.org/officeDocument/2006/relationships/hyperlink" Target="https://www.statista.com/statistics/195544/us-producer-price-index-of-concrete-products-since-1990/" TargetMode="External"/><Relationship Id="rId67" Type="http://schemas.openxmlformats.org/officeDocument/2006/relationships/chart" Target="../charts/chart41.xml"/><Relationship Id="rId20" Type="http://schemas.openxmlformats.org/officeDocument/2006/relationships/tags" Target="../tags/tag847.xml"/><Relationship Id="rId41" Type="http://schemas.openxmlformats.org/officeDocument/2006/relationships/tags" Target="../tags/tag868.xml"/><Relationship Id="rId54" Type="http://schemas.openxmlformats.org/officeDocument/2006/relationships/oleObject" Target="../embeddings/oleObject35.bin"/><Relationship Id="rId62" Type="http://schemas.openxmlformats.org/officeDocument/2006/relationships/hyperlink" Target="https://fred.stlouisfed.org/series/WPU101" TargetMode="External"/><Relationship Id="rId1" Type="http://schemas.openxmlformats.org/officeDocument/2006/relationships/tags" Target="../tags/tag828.xml"/><Relationship Id="rId6" Type="http://schemas.openxmlformats.org/officeDocument/2006/relationships/tags" Target="../tags/tag833.xml"/><Relationship Id="rId15" Type="http://schemas.openxmlformats.org/officeDocument/2006/relationships/tags" Target="../tags/tag842.xml"/><Relationship Id="rId23" Type="http://schemas.openxmlformats.org/officeDocument/2006/relationships/tags" Target="../tags/tag850.xml"/><Relationship Id="rId28" Type="http://schemas.openxmlformats.org/officeDocument/2006/relationships/tags" Target="../tags/tag855.xml"/><Relationship Id="rId36" Type="http://schemas.openxmlformats.org/officeDocument/2006/relationships/tags" Target="../tags/tag863.xml"/><Relationship Id="rId49" Type="http://schemas.openxmlformats.org/officeDocument/2006/relationships/tags" Target="../tags/tag876.xml"/><Relationship Id="rId57" Type="http://schemas.openxmlformats.org/officeDocument/2006/relationships/hyperlink" Target="https://world-nuclear.org/information-library/economic-aspects/economics-of-nuclear-power" TargetMode="External"/><Relationship Id="rId10" Type="http://schemas.openxmlformats.org/officeDocument/2006/relationships/tags" Target="../tags/tag837.xml"/><Relationship Id="rId31" Type="http://schemas.openxmlformats.org/officeDocument/2006/relationships/tags" Target="../tags/tag858.xml"/><Relationship Id="rId44" Type="http://schemas.openxmlformats.org/officeDocument/2006/relationships/tags" Target="../tags/tag871.xml"/><Relationship Id="rId52" Type="http://schemas.openxmlformats.org/officeDocument/2006/relationships/slideLayout" Target="../slideLayouts/slideLayout41.xml"/><Relationship Id="rId60" Type="http://schemas.openxmlformats.org/officeDocument/2006/relationships/hyperlink" Target="https://ifp.org/nuclear-power-plant-construction-costs/" TargetMode="External"/><Relationship Id="rId65" Type="http://schemas.openxmlformats.org/officeDocument/2006/relationships/chart" Target="../charts/chart39.xml"/><Relationship Id="rId4" Type="http://schemas.openxmlformats.org/officeDocument/2006/relationships/tags" Target="../tags/tag831.xml"/><Relationship Id="rId9" Type="http://schemas.openxmlformats.org/officeDocument/2006/relationships/tags" Target="../tags/tag836.xml"/><Relationship Id="rId13" Type="http://schemas.openxmlformats.org/officeDocument/2006/relationships/tags" Target="../tags/tag840.xml"/><Relationship Id="rId18" Type="http://schemas.openxmlformats.org/officeDocument/2006/relationships/tags" Target="../tags/tag845.xml"/><Relationship Id="rId39" Type="http://schemas.openxmlformats.org/officeDocument/2006/relationships/tags" Target="../tags/tag86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55.xml"/><Relationship Id="rId6" Type="http://schemas.openxmlformats.org/officeDocument/2006/relationships/image" Target="../media/image14.emf"/><Relationship Id="rId5" Type="http://schemas.openxmlformats.org/officeDocument/2006/relationships/oleObject" Target="../embeddings/oleObject9.bin"/><Relationship Id="rId4" Type="http://schemas.openxmlformats.org/officeDocument/2006/relationships/image" Target="../media/image13.jpeg"/></Relationships>
</file>

<file path=ppt/slides/_rels/slide30.xml.rels><?xml version="1.0" encoding="UTF-8" standalone="yes"?>
<Relationships xmlns="http://schemas.openxmlformats.org/package/2006/relationships"><Relationship Id="rId13" Type="http://schemas.openxmlformats.org/officeDocument/2006/relationships/tags" Target="../tags/tag891.xml"/><Relationship Id="rId18" Type="http://schemas.openxmlformats.org/officeDocument/2006/relationships/tags" Target="../tags/tag896.xml"/><Relationship Id="rId26" Type="http://schemas.openxmlformats.org/officeDocument/2006/relationships/tags" Target="../tags/tag904.xml"/><Relationship Id="rId39" Type="http://schemas.openxmlformats.org/officeDocument/2006/relationships/hyperlink" Target="https://es.catapult.org.uk/report/nuclear-cost-drivers/?reportDownload=https://esc-production-2021.s3.eu-west-2.amazonaws.com/2021/08/ETI-Nuclear-Cost-Drivers-Full-Report-FINAL.pdf" TargetMode="External"/><Relationship Id="rId21" Type="http://schemas.openxmlformats.org/officeDocument/2006/relationships/tags" Target="../tags/tag899.xml"/><Relationship Id="rId34" Type="http://schemas.openxmlformats.org/officeDocument/2006/relationships/tags" Target="../tags/tag912.xml"/><Relationship Id="rId42" Type="http://schemas.openxmlformats.org/officeDocument/2006/relationships/hyperlink" Target="https://business.columbia.edu/faculty/people/gernot-wagner" TargetMode="External"/><Relationship Id="rId7" Type="http://schemas.openxmlformats.org/officeDocument/2006/relationships/tags" Target="../tags/tag885.xml"/><Relationship Id="rId2" Type="http://schemas.openxmlformats.org/officeDocument/2006/relationships/tags" Target="../tags/tag880.xml"/><Relationship Id="rId16" Type="http://schemas.openxmlformats.org/officeDocument/2006/relationships/tags" Target="../tags/tag894.xml"/><Relationship Id="rId20" Type="http://schemas.openxmlformats.org/officeDocument/2006/relationships/tags" Target="../tags/tag898.xml"/><Relationship Id="rId29" Type="http://schemas.openxmlformats.org/officeDocument/2006/relationships/tags" Target="../tags/tag907.xml"/><Relationship Id="rId41" Type="http://schemas.openxmlformats.org/officeDocument/2006/relationships/hyperlink" Target="https://www.georgiapower.com/about/energy/plants/plant-vogtle.html" TargetMode="External"/><Relationship Id="rId1" Type="http://schemas.openxmlformats.org/officeDocument/2006/relationships/tags" Target="../tags/tag879.xml"/><Relationship Id="rId6" Type="http://schemas.openxmlformats.org/officeDocument/2006/relationships/tags" Target="../tags/tag884.xml"/><Relationship Id="rId11" Type="http://schemas.openxmlformats.org/officeDocument/2006/relationships/tags" Target="../tags/tag889.xml"/><Relationship Id="rId24" Type="http://schemas.openxmlformats.org/officeDocument/2006/relationships/tags" Target="../tags/tag902.xml"/><Relationship Id="rId32" Type="http://schemas.openxmlformats.org/officeDocument/2006/relationships/tags" Target="../tags/tag910.xml"/><Relationship Id="rId37" Type="http://schemas.openxmlformats.org/officeDocument/2006/relationships/oleObject" Target="../embeddings/oleObject36.bin"/><Relationship Id="rId40" Type="http://schemas.openxmlformats.org/officeDocument/2006/relationships/hyperlink" Target="https://www.oecd-nea.org/upload/docs/application/pdf/2020-07/7530-reducing-cost-nuclear-construction.pdf" TargetMode="External"/><Relationship Id="rId5" Type="http://schemas.openxmlformats.org/officeDocument/2006/relationships/tags" Target="../tags/tag883.xml"/><Relationship Id="rId15" Type="http://schemas.openxmlformats.org/officeDocument/2006/relationships/tags" Target="../tags/tag893.xml"/><Relationship Id="rId23" Type="http://schemas.openxmlformats.org/officeDocument/2006/relationships/tags" Target="../tags/tag901.xml"/><Relationship Id="rId28" Type="http://schemas.openxmlformats.org/officeDocument/2006/relationships/tags" Target="../tags/tag906.xml"/><Relationship Id="rId36" Type="http://schemas.openxmlformats.org/officeDocument/2006/relationships/notesSlide" Target="../notesSlides/notesSlide27.xml"/><Relationship Id="rId10" Type="http://schemas.openxmlformats.org/officeDocument/2006/relationships/tags" Target="../tags/tag888.xml"/><Relationship Id="rId19" Type="http://schemas.openxmlformats.org/officeDocument/2006/relationships/tags" Target="../tags/tag897.xml"/><Relationship Id="rId31" Type="http://schemas.openxmlformats.org/officeDocument/2006/relationships/tags" Target="../tags/tag909.xml"/><Relationship Id="rId44" Type="http://schemas.openxmlformats.org/officeDocument/2006/relationships/chart" Target="../charts/chart42.xml"/><Relationship Id="rId4" Type="http://schemas.openxmlformats.org/officeDocument/2006/relationships/tags" Target="../tags/tag882.xml"/><Relationship Id="rId9" Type="http://schemas.openxmlformats.org/officeDocument/2006/relationships/tags" Target="../tags/tag887.xml"/><Relationship Id="rId14" Type="http://schemas.openxmlformats.org/officeDocument/2006/relationships/tags" Target="../tags/tag892.xml"/><Relationship Id="rId22" Type="http://schemas.openxmlformats.org/officeDocument/2006/relationships/tags" Target="../tags/tag900.xml"/><Relationship Id="rId27" Type="http://schemas.openxmlformats.org/officeDocument/2006/relationships/tags" Target="../tags/tag905.xml"/><Relationship Id="rId30" Type="http://schemas.openxmlformats.org/officeDocument/2006/relationships/tags" Target="../tags/tag908.xml"/><Relationship Id="rId35" Type="http://schemas.openxmlformats.org/officeDocument/2006/relationships/slideLayout" Target="../slideLayouts/slideLayout41.xml"/><Relationship Id="rId43" Type="http://schemas.openxmlformats.org/officeDocument/2006/relationships/hyperlink" Target="https://business.columbia.edu/insights/climate/cki" TargetMode="External"/><Relationship Id="rId8" Type="http://schemas.openxmlformats.org/officeDocument/2006/relationships/tags" Target="../tags/tag886.xml"/><Relationship Id="rId3" Type="http://schemas.openxmlformats.org/officeDocument/2006/relationships/tags" Target="../tags/tag881.xml"/><Relationship Id="rId12" Type="http://schemas.openxmlformats.org/officeDocument/2006/relationships/tags" Target="../tags/tag890.xml"/><Relationship Id="rId17" Type="http://schemas.openxmlformats.org/officeDocument/2006/relationships/tags" Target="../tags/tag895.xml"/><Relationship Id="rId25" Type="http://schemas.openxmlformats.org/officeDocument/2006/relationships/tags" Target="../tags/tag903.xml"/><Relationship Id="rId33" Type="http://schemas.openxmlformats.org/officeDocument/2006/relationships/tags" Target="../tags/tag911.xml"/><Relationship Id="rId38" Type="http://schemas.openxmlformats.org/officeDocument/2006/relationships/image" Target="../media/image31.emf"/></Relationships>
</file>

<file path=ppt/slides/_rels/slide31.xml.rels><?xml version="1.0" encoding="UTF-8" standalone="yes"?>
<Relationships xmlns="http://schemas.openxmlformats.org/package/2006/relationships"><Relationship Id="rId8" Type="http://schemas.openxmlformats.org/officeDocument/2006/relationships/hyperlink" Target="https://www.galois.com/articles/how-do-you-modernize-safety-critical-designs-in-nuclear-power-rde" TargetMode="External"/><Relationship Id="rId13" Type="http://schemas.openxmlformats.org/officeDocument/2006/relationships/hyperlink" Target="https://www.enec.gov.ae/news/latest-news/unit-4-start-up-at-barakah-nuclear-energy-plant-accelerates-uae-towards-net-zero-2050/" TargetMode="External"/><Relationship Id="rId18" Type="http://schemas.openxmlformats.org/officeDocument/2006/relationships/image" Target="../media/image35.png"/><Relationship Id="rId3" Type="http://schemas.openxmlformats.org/officeDocument/2006/relationships/notesSlide" Target="../notesSlides/notesSlide28.xml"/><Relationship Id="rId7" Type="http://schemas.openxmlformats.org/officeDocument/2006/relationships/hyperlink" Target="https://www.galois.com/articles/demonstrating-rigorous-digital-engineering-for-nuclear-power-plant-systems" TargetMode="External"/><Relationship Id="rId12" Type="http://schemas.openxmlformats.org/officeDocument/2006/relationships/hyperlink" Target="https://www.researchgate.net/profile/Robbie-Lyons/publication/333132997_Production_Learning_in_a_Small_Modular_Reactor_Supply_Chain/links/5cdd328a299bf14d959ced05/Production-Learning-in-a-Small-Modular-Reactor-Supply-Chain.pdf?__cf_chl_tk=6SWMsZuYL44ft946xfRGyV2HsGkstlPAinLqfHpZoPA-1753797438-1.0.1.1-YN8TsOvWCCAtWNM78lPyn6qpPugubOTY1BGpk6zyKhE" TargetMode="External"/><Relationship Id="rId17" Type="http://schemas.openxmlformats.org/officeDocument/2006/relationships/image" Target="../media/image34.png"/><Relationship Id="rId2" Type="http://schemas.openxmlformats.org/officeDocument/2006/relationships/slideLayout" Target="../slideLayouts/slideLayout42.xml"/><Relationship Id="rId16" Type="http://schemas.openxmlformats.org/officeDocument/2006/relationships/image" Target="../media/image33.png"/><Relationship Id="rId1" Type="http://schemas.openxmlformats.org/officeDocument/2006/relationships/tags" Target="../tags/tag913.xml"/><Relationship Id="rId6" Type="http://schemas.openxmlformats.org/officeDocument/2006/relationships/hyperlink" Target="https://www.oecd-nea.org/upload/docs/application/pdf/2020-07/7530-reducing-cost-nuclear-construction.pdf" TargetMode="External"/><Relationship Id="rId11" Type="http://schemas.openxmlformats.org/officeDocument/2006/relationships/hyperlink" Target="https://es.catapult.org.uk/report/nuclear-cost-drivers/?reportDownload=https://esc-production-2021.s3.eu-west-2.amazonaws.com/2021/08/ETI-Nuclear-Cost-Drivers-Full-Report-FINAL.pdf" TargetMode="External"/><Relationship Id="rId5" Type="http://schemas.openxmlformats.org/officeDocument/2006/relationships/image" Target="../media/image32.emf"/><Relationship Id="rId15" Type="http://schemas.openxmlformats.org/officeDocument/2006/relationships/hyperlink" Target="https://business.columbia.edu/insights/climate/cki" TargetMode="External"/><Relationship Id="rId10" Type="http://schemas.openxmlformats.org/officeDocument/2006/relationships/hyperlink" Target="https://www.researchgate.net/publication/322819770_Why_are_Megaprojects_Including_Nuclear_Power_Plants_Delivered_Overbudget_and_Late_Reasons_and_Remedies" TargetMode="External"/><Relationship Id="rId4" Type="http://schemas.openxmlformats.org/officeDocument/2006/relationships/oleObject" Target="../embeddings/oleObject37.bin"/><Relationship Id="rId9" Type="http://schemas.openxmlformats.org/officeDocument/2006/relationships/hyperlink" Target="https://nuclearinst.com/write/MediaUploads/2765_-_Nuclear_PM_SIG_Report_No.5.pdf" TargetMode="External"/><Relationship Id="rId14" Type="http://schemas.openxmlformats.org/officeDocument/2006/relationships/hyperlink" Target="https://business.columbia.edu/faculty/people/gernot-wagner" TargetMode="External"/></Relationships>
</file>

<file path=ppt/slides/_rels/slide32.xml.rels><?xml version="1.0" encoding="UTF-8" standalone="yes"?>
<Relationships xmlns="http://schemas.openxmlformats.org/package/2006/relationships"><Relationship Id="rId13" Type="http://schemas.openxmlformats.org/officeDocument/2006/relationships/tags" Target="../tags/tag926.xml"/><Relationship Id="rId18" Type="http://schemas.openxmlformats.org/officeDocument/2006/relationships/tags" Target="../tags/tag931.xml"/><Relationship Id="rId26" Type="http://schemas.openxmlformats.org/officeDocument/2006/relationships/tags" Target="../tags/tag939.xml"/><Relationship Id="rId39" Type="http://schemas.openxmlformats.org/officeDocument/2006/relationships/tags" Target="../tags/tag952.xml"/><Relationship Id="rId21" Type="http://schemas.openxmlformats.org/officeDocument/2006/relationships/tags" Target="../tags/tag934.xml"/><Relationship Id="rId34" Type="http://schemas.openxmlformats.org/officeDocument/2006/relationships/tags" Target="../tags/tag947.xml"/><Relationship Id="rId42" Type="http://schemas.openxmlformats.org/officeDocument/2006/relationships/tags" Target="../tags/tag955.xml"/><Relationship Id="rId47" Type="http://schemas.openxmlformats.org/officeDocument/2006/relationships/tags" Target="../tags/tag960.xml"/><Relationship Id="rId50" Type="http://schemas.openxmlformats.org/officeDocument/2006/relationships/notesSlide" Target="../notesSlides/notesSlide29.xml"/><Relationship Id="rId55" Type="http://schemas.openxmlformats.org/officeDocument/2006/relationships/hyperlink" Target="https://nuclearinst.com/write/MediaUploads/2765_-_Nuclear_PM_SIG_Report_No.5.pdf" TargetMode="External"/><Relationship Id="rId7" Type="http://schemas.openxmlformats.org/officeDocument/2006/relationships/tags" Target="../tags/tag920.xml"/><Relationship Id="rId2" Type="http://schemas.openxmlformats.org/officeDocument/2006/relationships/tags" Target="../tags/tag915.xml"/><Relationship Id="rId16" Type="http://schemas.openxmlformats.org/officeDocument/2006/relationships/tags" Target="../tags/tag929.xml"/><Relationship Id="rId29" Type="http://schemas.openxmlformats.org/officeDocument/2006/relationships/tags" Target="../tags/tag942.xml"/><Relationship Id="rId11" Type="http://schemas.openxmlformats.org/officeDocument/2006/relationships/tags" Target="../tags/tag924.xml"/><Relationship Id="rId24" Type="http://schemas.openxmlformats.org/officeDocument/2006/relationships/tags" Target="../tags/tag937.xml"/><Relationship Id="rId32" Type="http://schemas.openxmlformats.org/officeDocument/2006/relationships/tags" Target="../tags/tag945.xml"/><Relationship Id="rId37" Type="http://schemas.openxmlformats.org/officeDocument/2006/relationships/tags" Target="../tags/tag950.xml"/><Relationship Id="rId40" Type="http://schemas.openxmlformats.org/officeDocument/2006/relationships/tags" Target="../tags/tag953.xml"/><Relationship Id="rId45" Type="http://schemas.openxmlformats.org/officeDocument/2006/relationships/tags" Target="../tags/tag958.xml"/><Relationship Id="rId53" Type="http://schemas.openxmlformats.org/officeDocument/2006/relationships/hyperlink" Target="https://www.oecd-nea.org/upload/docs/application/pdf/2020-07/7530-reducing-cost-nuclear-construction.pdf" TargetMode="External"/><Relationship Id="rId58" Type="http://schemas.openxmlformats.org/officeDocument/2006/relationships/hyperlink" Target="https://business.columbia.edu/faculty/people/gernot-wagner" TargetMode="External"/><Relationship Id="rId5" Type="http://schemas.openxmlformats.org/officeDocument/2006/relationships/tags" Target="../tags/tag918.xml"/><Relationship Id="rId61" Type="http://schemas.openxmlformats.org/officeDocument/2006/relationships/chart" Target="../charts/chart44.xml"/><Relationship Id="rId19" Type="http://schemas.openxmlformats.org/officeDocument/2006/relationships/tags" Target="../tags/tag932.xml"/><Relationship Id="rId14" Type="http://schemas.openxmlformats.org/officeDocument/2006/relationships/tags" Target="../tags/tag927.xml"/><Relationship Id="rId22" Type="http://schemas.openxmlformats.org/officeDocument/2006/relationships/tags" Target="../tags/tag935.xml"/><Relationship Id="rId27" Type="http://schemas.openxmlformats.org/officeDocument/2006/relationships/tags" Target="../tags/tag940.xml"/><Relationship Id="rId30" Type="http://schemas.openxmlformats.org/officeDocument/2006/relationships/tags" Target="../tags/tag943.xml"/><Relationship Id="rId35" Type="http://schemas.openxmlformats.org/officeDocument/2006/relationships/tags" Target="../tags/tag948.xml"/><Relationship Id="rId43" Type="http://schemas.openxmlformats.org/officeDocument/2006/relationships/tags" Target="../tags/tag956.xml"/><Relationship Id="rId48" Type="http://schemas.openxmlformats.org/officeDocument/2006/relationships/tags" Target="../tags/tag961.xml"/><Relationship Id="rId56" Type="http://schemas.openxmlformats.org/officeDocument/2006/relationships/hyperlink" Target="https://www.researchgate.net/publication/322819770_Why_are_Megaprojects_Including_Nuclear_Power_Plants_Delivered_Overbudget_and_Late_Reasons_and_Remedies" TargetMode="External"/><Relationship Id="rId8" Type="http://schemas.openxmlformats.org/officeDocument/2006/relationships/tags" Target="../tags/tag921.xml"/><Relationship Id="rId51" Type="http://schemas.openxmlformats.org/officeDocument/2006/relationships/oleObject" Target="../embeddings/oleObject38.bin"/><Relationship Id="rId3" Type="http://schemas.openxmlformats.org/officeDocument/2006/relationships/tags" Target="../tags/tag916.xml"/><Relationship Id="rId12" Type="http://schemas.openxmlformats.org/officeDocument/2006/relationships/tags" Target="../tags/tag925.xml"/><Relationship Id="rId17" Type="http://schemas.openxmlformats.org/officeDocument/2006/relationships/tags" Target="../tags/tag930.xml"/><Relationship Id="rId25" Type="http://schemas.openxmlformats.org/officeDocument/2006/relationships/tags" Target="../tags/tag938.xml"/><Relationship Id="rId33" Type="http://schemas.openxmlformats.org/officeDocument/2006/relationships/tags" Target="../tags/tag946.xml"/><Relationship Id="rId38" Type="http://schemas.openxmlformats.org/officeDocument/2006/relationships/tags" Target="../tags/tag951.xml"/><Relationship Id="rId46" Type="http://schemas.openxmlformats.org/officeDocument/2006/relationships/tags" Target="../tags/tag959.xml"/><Relationship Id="rId59" Type="http://schemas.openxmlformats.org/officeDocument/2006/relationships/hyperlink" Target="https://business.columbia.edu/insights/climate/cki" TargetMode="External"/><Relationship Id="rId20" Type="http://schemas.openxmlformats.org/officeDocument/2006/relationships/tags" Target="../tags/tag933.xml"/><Relationship Id="rId41" Type="http://schemas.openxmlformats.org/officeDocument/2006/relationships/tags" Target="../tags/tag954.xml"/><Relationship Id="rId54" Type="http://schemas.openxmlformats.org/officeDocument/2006/relationships/hyperlink" Target="https://www.galois.com/articles/demonstrating-rigorous-digital-engineering-for-nuclear-power-plant-systems" TargetMode="External"/><Relationship Id="rId62" Type="http://schemas.openxmlformats.org/officeDocument/2006/relationships/chart" Target="../charts/chart45.xml"/><Relationship Id="rId1" Type="http://schemas.openxmlformats.org/officeDocument/2006/relationships/tags" Target="../tags/tag914.xml"/><Relationship Id="rId6" Type="http://schemas.openxmlformats.org/officeDocument/2006/relationships/tags" Target="../tags/tag919.xml"/><Relationship Id="rId15" Type="http://schemas.openxmlformats.org/officeDocument/2006/relationships/tags" Target="../tags/tag928.xml"/><Relationship Id="rId23" Type="http://schemas.openxmlformats.org/officeDocument/2006/relationships/tags" Target="../tags/tag936.xml"/><Relationship Id="rId28" Type="http://schemas.openxmlformats.org/officeDocument/2006/relationships/tags" Target="../tags/tag941.xml"/><Relationship Id="rId36" Type="http://schemas.openxmlformats.org/officeDocument/2006/relationships/tags" Target="../tags/tag949.xml"/><Relationship Id="rId49" Type="http://schemas.openxmlformats.org/officeDocument/2006/relationships/slideLayout" Target="../slideLayouts/slideLayout41.xml"/><Relationship Id="rId57" Type="http://schemas.openxmlformats.org/officeDocument/2006/relationships/hyperlink" Target="https://es.catapult.org.uk/report/nuclear-cost-drivers/?reportDownload=https://esc-production-2021.s3.eu-west-2.amazonaws.com/2021/08/ETI-Nuclear-Cost-Drivers-Full-Report-FINAL.pdf" TargetMode="External"/><Relationship Id="rId10" Type="http://schemas.openxmlformats.org/officeDocument/2006/relationships/tags" Target="../tags/tag923.xml"/><Relationship Id="rId31" Type="http://schemas.openxmlformats.org/officeDocument/2006/relationships/tags" Target="../tags/tag944.xml"/><Relationship Id="rId44" Type="http://schemas.openxmlformats.org/officeDocument/2006/relationships/tags" Target="../tags/tag957.xml"/><Relationship Id="rId52" Type="http://schemas.openxmlformats.org/officeDocument/2006/relationships/image" Target="../media/image36.emf"/><Relationship Id="rId60" Type="http://schemas.openxmlformats.org/officeDocument/2006/relationships/chart" Target="../charts/chart43.xml"/><Relationship Id="rId4" Type="http://schemas.openxmlformats.org/officeDocument/2006/relationships/tags" Target="../tags/tag917.xml"/><Relationship Id="rId9" Type="http://schemas.openxmlformats.org/officeDocument/2006/relationships/tags" Target="../tags/tag922.xml"/></Relationships>
</file>

<file path=ppt/slides/_rels/slide33.xml.rels><?xml version="1.0" encoding="UTF-8" standalone="yes"?>
<Relationships xmlns="http://schemas.openxmlformats.org/package/2006/relationships"><Relationship Id="rId13" Type="http://schemas.openxmlformats.org/officeDocument/2006/relationships/tags" Target="../tags/tag974.xml"/><Relationship Id="rId18" Type="http://schemas.openxmlformats.org/officeDocument/2006/relationships/tags" Target="../tags/tag979.xml"/><Relationship Id="rId26" Type="http://schemas.openxmlformats.org/officeDocument/2006/relationships/tags" Target="../tags/tag987.xml"/><Relationship Id="rId39" Type="http://schemas.openxmlformats.org/officeDocument/2006/relationships/chart" Target="../charts/chart47.xml"/><Relationship Id="rId21" Type="http://schemas.openxmlformats.org/officeDocument/2006/relationships/tags" Target="../tags/tag982.xml"/><Relationship Id="rId34" Type="http://schemas.openxmlformats.org/officeDocument/2006/relationships/hyperlink" Target="https://inldigitallibrary.inl.gov/sites/sti/sti/Sort_107010.pdf" TargetMode="External"/><Relationship Id="rId7" Type="http://schemas.openxmlformats.org/officeDocument/2006/relationships/tags" Target="../tags/tag968.xml"/><Relationship Id="rId12" Type="http://schemas.openxmlformats.org/officeDocument/2006/relationships/tags" Target="../tags/tag973.xml"/><Relationship Id="rId17" Type="http://schemas.openxmlformats.org/officeDocument/2006/relationships/tags" Target="../tags/tag978.xml"/><Relationship Id="rId25" Type="http://schemas.openxmlformats.org/officeDocument/2006/relationships/tags" Target="../tags/tag986.xml"/><Relationship Id="rId33" Type="http://schemas.openxmlformats.org/officeDocument/2006/relationships/image" Target="../media/image15.emf"/><Relationship Id="rId38" Type="http://schemas.openxmlformats.org/officeDocument/2006/relationships/chart" Target="../charts/chart46.xml"/><Relationship Id="rId2" Type="http://schemas.openxmlformats.org/officeDocument/2006/relationships/tags" Target="../tags/tag963.xml"/><Relationship Id="rId16" Type="http://schemas.openxmlformats.org/officeDocument/2006/relationships/tags" Target="../tags/tag977.xml"/><Relationship Id="rId20" Type="http://schemas.openxmlformats.org/officeDocument/2006/relationships/tags" Target="../tags/tag981.xml"/><Relationship Id="rId29" Type="http://schemas.openxmlformats.org/officeDocument/2006/relationships/tags" Target="../tags/tag990.xml"/><Relationship Id="rId1" Type="http://schemas.openxmlformats.org/officeDocument/2006/relationships/tags" Target="../tags/tag962.xml"/><Relationship Id="rId6" Type="http://schemas.openxmlformats.org/officeDocument/2006/relationships/tags" Target="../tags/tag967.xml"/><Relationship Id="rId11" Type="http://schemas.openxmlformats.org/officeDocument/2006/relationships/tags" Target="../tags/tag972.xml"/><Relationship Id="rId24" Type="http://schemas.openxmlformats.org/officeDocument/2006/relationships/tags" Target="../tags/tag985.xml"/><Relationship Id="rId32" Type="http://schemas.openxmlformats.org/officeDocument/2006/relationships/oleObject" Target="../embeddings/oleObject39.bin"/><Relationship Id="rId37" Type="http://schemas.openxmlformats.org/officeDocument/2006/relationships/hyperlink" Target="https://business.columbia.edu/insights/climate/cki" TargetMode="External"/><Relationship Id="rId40" Type="http://schemas.openxmlformats.org/officeDocument/2006/relationships/chart" Target="../charts/chart48.xml"/><Relationship Id="rId5" Type="http://schemas.openxmlformats.org/officeDocument/2006/relationships/tags" Target="../tags/tag966.xml"/><Relationship Id="rId15" Type="http://schemas.openxmlformats.org/officeDocument/2006/relationships/tags" Target="../tags/tag976.xml"/><Relationship Id="rId23" Type="http://schemas.openxmlformats.org/officeDocument/2006/relationships/tags" Target="../tags/tag984.xml"/><Relationship Id="rId28" Type="http://schemas.openxmlformats.org/officeDocument/2006/relationships/tags" Target="../tags/tag989.xml"/><Relationship Id="rId36" Type="http://schemas.openxmlformats.org/officeDocument/2006/relationships/hyperlink" Target="https://business.columbia.edu/faculty/people/gernot-wagner" TargetMode="External"/><Relationship Id="rId10" Type="http://schemas.openxmlformats.org/officeDocument/2006/relationships/tags" Target="../tags/tag971.xml"/><Relationship Id="rId19" Type="http://schemas.openxmlformats.org/officeDocument/2006/relationships/tags" Target="../tags/tag980.xml"/><Relationship Id="rId31" Type="http://schemas.openxmlformats.org/officeDocument/2006/relationships/notesSlide" Target="../notesSlides/notesSlide30.xml"/><Relationship Id="rId4" Type="http://schemas.openxmlformats.org/officeDocument/2006/relationships/tags" Target="../tags/tag965.xml"/><Relationship Id="rId9" Type="http://schemas.openxmlformats.org/officeDocument/2006/relationships/tags" Target="../tags/tag970.xml"/><Relationship Id="rId14" Type="http://schemas.openxmlformats.org/officeDocument/2006/relationships/tags" Target="../tags/tag975.xml"/><Relationship Id="rId22" Type="http://schemas.openxmlformats.org/officeDocument/2006/relationships/tags" Target="../tags/tag983.xml"/><Relationship Id="rId27" Type="http://schemas.openxmlformats.org/officeDocument/2006/relationships/tags" Target="../tags/tag988.xml"/><Relationship Id="rId30" Type="http://schemas.openxmlformats.org/officeDocument/2006/relationships/slideLayout" Target="../slideLayouts/slideLayout41.xml"/><Relationship Id="rId35" Type="http://schemas.openxmlformats.org/officeDocument/2006/relationships/hyperlink" Target="https://ieefa.org/sites/default/files/2024-05/SMRs%20Still%20Too%20Expensive%20Too%20Slow%20Too%20Risky_May%202024.pdf" TargetMode="External"/><Relationship Id="rId8" Type="http://schemas.openxmlformats.org/officeDocument/2006/relationships/tags" Target="../tags/tag969.xml"/><Relationship Id="rId3" Type="http://schemas.openxmlformats.org/officeDocument/2006/relationships/tags" Target="../tags/tag964.xml"/></Relationships>
</file>

<file path=ppt/slides/_rels/slide34.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18" Type="http://schemas.openxmlformats.org/officeDocument/2006/relationships/hyperlink" Target="https://business.columbia.edu/faculty/people/gernot-wagner" TargetMode="External"/><Relationship Id="rId3" Type="http://schemas.openxmlformats.org/officeDocument/2006/relationships/tags" Target="../tags/tag993.xml"/><Relationship Id="rId7" Type="http://schemas.openxmlformats.org/officeDocument/2006/relationships/image" Target="../media/image15.emf"/><Relationship Id="rId12" Type="http://schemas.openxmlformats.org/officeDocument/2006/relationships/image" Target="../media/image41.png"/><Relationship Id="rId17" Type="http://schemas.openxmlformats.org/officeDocument/2006/relationships/hyperlink" Target="https://world-nuclear.org/information-library/nuclear-fuel-cycle/nuclear-waste/storage-and-disposal-of-radioactive-waste" TargetMode="External"/><Relationship Id="rId2" Type="http://schemas.openxmlformats.org/officeDocument/2006/relationships/tags" Target="../tags/tag992.xml"/><Relationship Id="rId16" Type="http://schemas.openxmlformats.org/officeDocument/2006/relationships/hyperlink" Target="https://world-nuclear.org/information-library/nuclear-fuel-cycle/nuclear-waste/radioactive-wastes-myths-and-realities" TargetMode="External"/><Relationship Id="rId1" Type="http://schemas.openxmlformats.org/officeDocument/2006/relationships/tags" Target="../tags/tag991.xml"/><Relationship Id="rId6" Type="http://schemas.openxmlformats.org/officeDocument/2006/relationships/oleObject" Target="../embeddings/oleObject40.bin"/><Relationship Id="rId11" Type="http://schemas.openxmlformats.org/officeDocument/2006/relationships/image" Target="../media/image40.png"/><Relationship Id="rId5" Type="http://schemas.openxmlformats.org/officeDocument/2006/relationships/notesSlide" Target="../notesSlides/notesSlide31.xml"/><Relationship Id="rId15" Type="http://schemas.openxmlformats.org/officeDocument/2006/relationships/hyperlink" Target="https://www.energy.gov/sites/default/files/2025-07/LIFTOFF_DOE_Advanced-Nuclear-Update.pdf" TargetMode="External"/><Relationship Id="rId10" Type="http://schemas.openxmlformats.org/officeDocument/2006/relationships/image" Target="../media/image39.png"/><Relationship Id="rId19" Type="http://schemas.openxmlformats.org/officeDocument/2006/relationships/hyperlink" Target="https://business.columbia.edu/insights/climate/cki" TargetMode="External"/><Relationship Id="rId4" Type="http://schemas.openxmlformats.org/officeDocument/2006/relationships/slideLayout" Target="../slideLayouts/slideLayout41.xml"/><Relationship Id="rId9" Type="http://schemas.openxmlformats.org/officeDocument/2006/relationships/image" Target="../media/image38.png"/><Relationship Id="rId14" Type="http://schemas.openxmlformats.org/officeDocument/2006/relationships/hyperlink" Target="https://www.energy.gov/eere/solar/federal-solar-tax-credits-businesses#:~:text=Solar%20systems%20that%20are%20placed,)%5B5%5D%20in%20size." TargetMode="External"/></Relationships>
</file>

<file path=ppt/slides/_rels/slide35.xml.rels><?xml version="1.0" encoding="UTF-8" standalone="yes"?>
<Relationships xmlns="http://schemas.openxmlformats.org/package/2006/relationships"><Relationship Id="rId8" Type="http://schemas.openxmlformats.org/officeDocument/2006/relationships/image" Target="../media/image43.jpeg"/><Relationship Id="rId13" Type="http://schemas.openxmlformats.org/officeDocument/2006/relationships/hyperlink" Target="https://www.posiva.fi/en/index/news/pressreleasesstockexchangereleases/2024/thisisonkaloandthisishowitworks.html" TargetMode="External"/><Relationship Id="rId18" Type="http://schemas.openxmlformats.org/officeDocument/2006/relationships/hyperlink" Target="https://nucleus.iaea.org/sites/connect/SFMpublic/TM%20on%20Spent%20Fuel%20Characterization%20for%20the%20Manageme/Salvolainen_Posiva.pdf" TargetMode="External"/><Relationship Id="rId3" Type="http://schemas.openxmlformats.org/officeDocument/2006/relationships/tags" Target="../tags/tag996.xml"/><Relationship Id="rId7" Type="http://schemas.openxmlformats.org/officeDocument/2006/relationships/image" Target="../media/image15.emf"/><Relationship Id="rId12" Type="http://schemas.openxmlformats.org/officeDocument/2006/relationships/hyperlink" Target="https://www.science.org/content/article/finland-built-tomb-store-nuclear-waste-can-it-survive-100000-years" TargetMode="External"/><Relationship Id="rId17" Type="http://schemas.openxmlformats.org/officeDocument/2006/relationships/hyperlink" Target="https://curie.pnnl.gov/system/files/Posiva_2011_Olkiluoto_Pamphlet.pdf" TargetMode="External"/><Relationship Id="rId2" Type="http://schemas.openxmlformats.org/officeDocument/2006/relationships/tags" Target="../tags/tag995.xml"/><Relationship Id="rId16" Type="http://schemas.openxmlformats.org/officeDocument/2006/relationships/hyperlink" Target="https://curie.pnnl.gov/system/files/NuclearWaste_s_1-16%20-%20nuclearwaste25-9-2007_0.pdf" TargetMode="External"/><Relationship Id="rId20" Type="http://schemas.openxmlformats.org/officeDocument/2006/relationships/hyperlink" Target="https://business.columbia.edu/insights/climate/cki" TargetMode="External"/><Relationship Id="rId1" Type="http://schemas.openxmlformats.org/officeDocument/2006/relationships/tags" Target="../tags/tag994.xml"/><Relationship Id="rId6" Type="http://schemas.openxmlformats.org/officeDocument/2006/relationships/oleObject" Target="../embeddings/oleObject41.bin"/><Relationship Id="rId11" Type="http://schemas.openxmlformats.org/officeDocument/2006/relationships/hyperlink" Target="https://www.energy.gov/eere/solar/federal-solar-tax-credits-businesses#:~:text=Solar%20systems%20that%20are%20placed,)%5B5%5D%20in%20size." TargetMode="External"/><Relationship Id="rId5" Type="http://schemas.openxmlformats.org/officeDocument/2006/relationships/notesSlide" Target="../notesSlides/notesSlide32.xml"/><Relationship Id="rId15" Type="http://schemas.openxmlformats.org/officeDocument/2006/relationships/hyperlink" Target="https://world-nuclear.org/images/articles/WNA-Nuclear-Fuel-Cycle-Royal-Commission-issues-paper-4-submission-final.pdf" TargetMode="External"/><Relationship Id="rId10" Type="http://schemas.openxmlformats.org/officeDocument/2006/relationships/image" Target="../media/image45.jpeg"/><Relationship Id="rId19" Type="http://schemas.openxmlformats.org/officeDocument/2006/relationships/hyperlink" Target="https://business.columbia.edu/faculty/people/gernot-wagner" TargetMode="External"/><Relationship Id="rId4" Type="http://schemas.openxmlformats.org/officeDocument/2006/relationships/slideLayout" Target="../slideLayouts/slideLayout41.xml"/><Relationship Id="rId9" Type="http://schemas.openxmlformats.org/officeDocument/2006/relationships/image" Target="../media/image44.jpeg"/><Relationship Id="rId14" Type="http://schemas.openxmlformats.org/officeDocument/2006/relationships/hyperlink" Target="https://www.ans.org/news/article-6349/finland-begins-trial-run-of-onkalo-repository/" TargetMode="External"/></Relationships>
</file>

<file path=ppt/slides/_rels/slide36.xml.rels><?xml version="1.0" encoding="UTF-8" standalone="yes"?>
<Relationships xmlns="http://schemas.openxmlformats.org/package/2006/relationships"><Relationship Id="rId13" Type="http://schemas.openxmlformats.org/officeDocument/2006/relationships/tags" Target="../tags/tag1009.xml"/><Relationship Id="rId18" Type="http://schemas.openxmlformats.org/officeDocument/2006/relationships/tags" Target="../tags/tag1014.xml"/><Relationship Id="rId26" Type="http://schemas.openxmlformats.org/officeDocument/2006/relationships/tags" Target="../tags/tag1022.xml"/><Relationship Id="rId39" Type="http://schemas.openxmlformats.org/officeDocument/2006/relationships/tags" Target="../tags/tag1035.xml"/><Relationship Id="rId21" Type="http://schemas.openxmlformats.org/officeDocument/2006/relationships/tags" Target="../tags/tag1017.xml"/><Relationship Id="rId34" Type="http://schemas.openxmlformats.org/officeDocument/2006/relationships/tags" Target="../tags/tag1030.xml"/><Relationship Id="rId42" Type="http://schemas.openxmlformats.org/officeDocument/2006/relationships/slideLayout" Target="../slideLayouts/slideLayout41.xml"/><Relationship Id="rId47" Type="http://schemas.openxmlformats.org/officeDocument/2006/relationships/hyperlink" Target="https://www.ans.org/news/article-6112/surveys-reveal-public-support-for-but-some-concerns-on-nuclear-energy/" TargetMode="External"/><Relationship Id="rId50" Type="http://schemas.openxmlformats.org/officeDocument/2006/relationships/hyperlink" Target="https://link.springer.com/article/10.1057/s41311-024-00618-0?utm_source=getftr&amp;utm_medium=getftr&amp;utm_campaign=getftr_pilot&amp;getft_integrator=scite#citeas" TargetMode="External"/><Relationship Id="rId55" Type="http://schemas.openxmlformats.org/officeDocument/2006/relationships/hyperlink" Target="https://business.columbia.edu/insights/climate/cki" TargetMode="External"/><Relationship Id="rId7" Type="http://schemas.openxmlformats.org/officeDocument/2006/relationships/tags" Target="../tags/tag1003.xml"/><Relationship Id="rId2" Type="http://schemas.openxmlformats.org/officeDocument/2006/relationships/tags" Target="../tags/tag998.xml"/><Relationship Id="rId16" Type="http://schemas.openxmlformats.org/officeDocument/2006/relationships/tags" Target="../tags/tag1012.xml"/><Relationship Id="rId29" Type="http://schemas.openxmlformats.org/officeDocument/2006/relationships/tags" Target="../tags/tag1025.xml"/><Relationship Id="rId11" Type="http://schemas.openxmlformats.org/officeDocument/2006/relationships/tags" Target="../tags/tag1007.xml"/><Relationship Id="rId24" Type="http://schemas.openxmlformats.org/officeDocument/2006/relationships/tags" Target="../tags/tag1020.xml"/><Relationship Id="rId32" Type="http://schemas.openxmlformats.org/officeDocument/2006/relationships/tags" Target="../tags/tag1028.xml"/><Relationship Id="rId37" Type="http://schemas.openxmlformats.org/officeDocument/2006/relationships/tags" Target="../tags/tag1033.xml"/><Relationship Id="rId40" Type="http://schemas.openxmlformats.org/officeDocument/2006/relationships/tags" Target="../tags/tag1036.xml"/><Relationship Id="rId45" Type="http://schemas.openxmlformats.org/officeDocument/2006/relationships/image" Target="../media/image46.emf"/><Relationship Id="rId53" Type="http://schemas.openxmlformats.org/officeDocument/2006/relationships/hyperlink" Target="https://www.hunton.com/insights/legal/navigating-the-nuclear-landscape-understanding-thailands-laws-and-approach" TargetMode="External"/><Relationship Id="rId58" Type="http://schemas.openxmlformats.org/officeDocument/2006/relationships/image" Target="../media/image48.png"/><Relationship Id="rId5" Type="http://schemas.openxmlformats.org/officeDocument/2006/relationships/tags" Target="../tags/tag1001.xml"/><Relationship Id="rId19" Type="http://schemas.openxmlformats.org/officeDocument/2006/relationships/tags" Target="../tags/tag1015.xml"/><Relationship Id="rId4" Type="http://schemas.openxmlformats.org/officeDocument/2006/relationships/tags" Target="../tags/tag1000.xml"/><Relationship Id="rId9" Type="http://schemas.openxmlformats.org/officeDocument/2006/relationships/tags" Target="../tags/tag1005.xml"/><Relationship Id="rId14" Type="http://schemas.openxmlformats.org/officeDocument/2006/relationships/tags" Target="../tags/tag1010.xml"/><Relationship Id="rId22" Type="http://schemas.openxmlformats.org/officeDocument/2006/relationships/tags" Target="../tags/tag1018.xml"/><Relationship Id="rId27" Type="http://schemas.openxmlformats.org/officeDocument/2006/relationships/tags" Target="../tags/tag1023.xml"/><Relationship Id="rId30" Type="http://schemas.openxmlformats.org/officeDocument/2006/relationships/tags" Target="../tags/tag1026.xml"/><Relationship Id="rId35" Type="http://schemas.openxmlformats.org/officeDocument/2006/relationships/tags" Target="../tags/tag1031.xml"/><Relationship Id="rId43" Type="http://schemas.openxmlformats.org/officeDocument/2006/relationships/notesSlide" Target="../notesSlides/notesSlide33.xml"/><Relationship Id="rId48" Type="http://schemas.openxmlformats.org/officeDocument/2006/relationships/hyperlink" Target="https://www.nuclearbusiness-platform.com/media/insights/chinas-nuclear-power-program-a-blueprint-for-global-competitiveness" TargetMode="External"/><Relationship Id="rId56" Type="http://schemas.openxmlformats.org/officeDocument/2006/relationships/chart" Target="../charts/chart49.xml"/><Relationship Id="rId8" Type="http://schemas.openxmlformats.org/officeDocument/2006/relationships/tags" Target="../tags/tag1004.xml"/><Relationship Id="rId51" Type="http://schemas.openxmlformats.org/officeDocument/2006/relationships/hyperlink" Target="https://psssj.eu/index.php/ojsdata/article/view/89" TargetMode="External"/><Relationship Id="rId3" Type="http://schemas.openxmlformats.org/officeDocument/2006/relationships/tags" Target="../tags/tag999.xml"/><Relationship Id="rId12" Type="http://schemas.openxmlformats.org/officeDocument/2006/relationships/tags" Target="../tags/tag1008.xml"/><Relationship Id="rId17" Type="http://schemas.openxmlformats.org/officeDocument/2006/relationships/tags" Target="../tags/tag1013.xml"/><Relationship Id="rId25" Type="http://schemas.openxmlformats.org/officeDocument/2006/relationships/tags" Target="../tags/tag1021.xml"/><Relationship Id="rId33" Type="http://schemas.openxmlformats.org/officeDocument/2006/relationships/tags" Target="../tags/tag1029.xml"/><Relationship Id="rId38" Type="http://schemas.openxmlformats.org/officeDocument/2006/relationships/tags" Target="../tags/tag1034.xml"/><Relationship Id="rId46" Type="http://schemas.openxmlformats.org/officeDocument/2006/relationships/hyperlink" Target="https://www.radiantenergygroup.com/reports/us-public-attitudes-toward-clean-energy-2024-nuclear" TargetMode="External"/><Relationship Id="rId59" Type="http://schemas.openxmlformats.org/officeDocument/2006/relationships/image" Target="../media/image49.png"/><Relationship Id="rId20" Type="http://schemas.openxmlformats.org/officeDocument/2006/relationships/tags" Target="../tags/tag1016.xml"/><Relationship Id="rId41" Type="http://schemas.openxmlformats.org/officeDocument/2006/relationships/tags" Target="../tags/tag1037.xml"/><Relationship Id="rId54" Type="http://schemas.openxmlformats.org/officeDocument/2006/relationships/hyperlink" Target="https://business.columbia.edu/faculty/people/gernot-wagner" TargetMode="External"/><Relationship Id="rId1" Type="http://schemas.openxmlformats.org/officeDocument/2006/relationships/tags" Target="../tags/tag997.xml"/><Relationship Id="rId6" Type="http://schemas.openxmlformats.org/officeDocument/2006/relationships/tags" Target="../tags/tag1002.xml"/><Relationship Id="rId15" Type="http://schemas.openxmlformats.org/officeDocument/2006/relationships/tags" Target="../tags/tag1011.xml"/><Relationship Id="rId23" Type="http://schemas.openxmlformats.org/officeDocument/2006/relationships/tags" Target="../tags/tag1019.xml"/><Relationship Id="rId28" Type="http://schemas.openxmlformats.org/officeDocument/2006/relationships/tags" Target="../tags/tag1024.xml"/><Relationship Id="rId36" Type="http://schemas.openxmlformats.org/officeDocument/2006/relationships/tags" Target="../tags/tag1032.xml"/><Relationship Id="rId49" Type="http://schemas.openxmlformats.org/officeDocument/2006/relationships/hyperlink" Target="https://www.ecns.cn/cns-wire/2025-02-27/detail-ihepcskv6108813.shtml" TargetMode="External"/><Relationship Id="rId57" Type="http://schemas.openxmlformats.org/officeDocument/2006/relationships/image" Target="../media/image47.png"/><Relationship Id="rId10" Type="http://schemas.openxmlformats.org/officeDocument/2006/relationships/tags" Target="../tags/tag1006.xml"/><Relationship Id="rId31" Type="http://schemas.openxmlformats.org/officeDocument/2006/relationships/tags" Target="../tags/tag1027.xml"/><Relationship Id="rId44" Type="http://schemas.openxmlformats.org/officeDocument/2006/relationships/oleObject" Target="../embeddings/oleObject42.bin"/><Relationship Id="rId52" Type="http://schemas.openxmlformats.org/officeDocument/2006/relationships/hyperlink" Target="https://ieeexplore.ieee.org/stamp/stamp.jsp?tp=&amp;arnumber=6497734" TargetMode="Externa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39.xml"/><Relationship Id="rId1" Type="http://schemas.openxmlformats.org/officeDocument/2006/relationships/tags" Target="../tags/tag1038.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50.jpeg"/></Relationships>
</file>

<file path=ppt/slides/_rels/slide38.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hyperlink" Target="https://business.columbia.edu/insights/climate/cki" TargetMode="External"/><Relationship Id="rId3" Type="http://schemas.openxmlformats.org/officeDocument/2006/relationships/tags" Target="../tags/tag1042.xml"/><Relationship Id="rId7" Type="http://schemas.openxmlformats.org/officeDocument/2006/relationships/tags" Target="../tags/tag1046.xml"/><Relationship Id="rId12" Type="http://schemas.openxmlformats.org/officeDocument/2006/relationships/hyperlink" Target="https://business.columbia.edu/faculty/people/gernot-wagner" TargetMode="External"/><Relationship Id="rId2" Type="http://schemas.openxmlformats.org/officeDocument/2006/relationships/tags" Target="../tags/tag1041.xml"/><Relationship Id="rId1" Type="http://schemas.openxmlformats.org/officeDocument/2006/relationships/tags" Target="../tags/tag1040.xml"/><Relationship Id="rId6" Type="http://schemas.openxmlformats.org/officeDocument/2006/relationships/tags" Target="../tags/tag1045.xml"/><Relationship Id="rId11" Type="http://schemas.openxmlformats.org/officeDocument/2006/relationships/image" Target="../media/image15.emf"/><Relationship Id="rId5" Type="http://schemas.openxmlformats.org/officeDocument/2006/relationships/tags" Target="../tags/tag1044.xml"/><Relationship Id="rId10" Type="http://schemas.openxmlformats.org/officeDocument/2006/relationships/oleObject" Target="../embeddings/oleObject43.bin"/><Relationship Id="rId4" Type="http://schemas.openxmlformats.org/officeDocument/2006/relationships/tags" Target="../tags/tag1043.xml"/><Relationship Id="rId9" Type="http://schemas.openxmlformats.org/officeDocument/2006/relationships/notesSlide" Target="../notesSlides/notesSlide34.xml"/><Relationship Id="rId14" Type="http://schemas.openxmlformats.org/officeDocument/2006/relationships/image" Target="../media/image51.jpeg"/></Relationships>
</file>

<file path=ppt/slides/_rels/slide39.xml.rels><?xml version="1.0" encoding="UTF-8" standalone="yes"?>
<Relationships xmlns="http://schemas.openxmlformats.org/package/2006/relationships"><Relationship Id="rId13" Type="http://schemas.openxmlformats.org/officeDocument/2006/relationships/tags" Target="../tags/tag1059.xml"/><Relationship Id="rId18" Type="http://schemas.openxmlformats.org/officeDocument/2006/relationships/tags" Target="../tags/tag1064.xml"/><Relationship Id="rId26" Type="http://schemas.openxmlformats.org/officeDocument/2006/relationships/oleObject" Target="../embeddings/oleObject44.bin"/><Relationship Id="rId39" Type="http://schemas.openxmlformats.org/officeDocument/2006/relationships/image" Target="../media/image55.png"/><Relationship Id="rId21" Type="http://schemas.openxmlformats.org/officeDocument/2006/relationships/tags" Target="../tags/tag1067.xml"/><Relationship Id="rId34" Type="http://schemas.openxmlformats.org/officeDocument/2006/relationships/chart" Target="../charts/chart51.xml"/><Relationship Id="rId42" Type="http://schemas.openxmlformats.org/officeDocument/2006/relationships/image" Target="../media/image58.png"/><Relationship Id="rId47" Type="http://schemas.openxmlformats.org/officeDocument/2006/relationships/image" Target="../media/image63.png"/><Relationship Id="rId50" Type="http://schemas.openxmlformats.org/officeDocument/2006/relationships/image" Target="../media/image66.png"/><Relationship Id="rId55" Type="http://schemas.openxmlformats.org/officeDocument/2006/relationships/image" Target="../media/image71.png"/><Relationship Id="rId7" Type="http://schemas.openxmlformats.org/officeDocument/2006/relationships/tags" Target="../tags/tag1053.xml"/><Relationship Id="rId2" Type="http://schemas.openxmlformats.org/officeDocument/2006/relationships/tags" Target="../tags/tag1048.xml"/><Relationship Id="rId16" Type="http://schemas.openxmlformats.org/officeDocument/2006/relationships/tags" Target="../tags/tag1062.xml"/><Relationship Id="rId29" Type="http://schemas.openxmlformats.org/officeDocument/2006/relationships/hyperlink" Target="https://namrc.co.uk/wp-content/uploads/2010/11/NIA-supply-chain-guide.pdf" TargetMode="External"/><Relationship Id="rId11" Type="http://schemas.openxmlformats.org/officeDocument/2006/relationships/tags" Target="../tags/tag1057.xml"/><Relationship Id="rId24" Type="http://schemas.openxmlformats.org/officeDocument/2006/relationships/slideLayout" Target="../slideLayouts/slideLayout8.xml"/><Relationship Id="rId32" Type="http://schemas.openxmlformats.org/officeDocument/2006/relationships/hyperlink" Target="https://business.columbia.edu/insights/climate/cki" TargetMode="External"/><Relationship Id="rId37" Type="http://schemas.openxmlformats.org/officeDocument/2006/relationships/image" Target="../media/image53.png"/><Relationship Id="rId40" Type="http://schemas.openxmlformats.org/officeDocument/2006/relationships/image" Target="../media/image56.png"/><Relationship Id="rId45" Type="http://schemas.openxmlformats.org/officeDocument/2006/relationships/image" Target="../media/image61.png"/><Relationship Id="rId53" Type="http://schemas.openxmlformats.org/officeDocument/2006/relationships/image" Target="../media/image69.jpeg"/><Relationship Id="rId58" Type="http://schemas.openxmlformats.org/officeDocument/2006/relationships/image" Target="../media/image74.png"/><Relationship Id="rId5" Type="http://schemas.openxmlformats.org/officeDocument/2006/relationships/tags" Target="../tags/tag1051.xml"/><Relationship Id="rId61" Type="http://schemas.openxmlformats.org/officeDocument/2006/relationships/image" Target="../media/image77.png"/><Relationship Id="rId19" Type="http://schemas.openxmlformats.org/officeDocument/2006/relationships/tags" Target="../tags/tag1065.xml"/><Relationship Id="rId14" Type="http://schemas.openxmlformats.org/officeDocument/2006/relationships/tags" Target="../tags/tag1060.xml"/><Relationship Id="rId22" Type="http://schemas.openxmlformats.org/officeDocument/2006/relationships/tags" Target="../tags/tag1068.xml"/><Relationship Id="rId27" Type="http://schemas.openxmlformats.org/officeDocument/2006/relationships/image" Target="../media/image52.emf"/><Relationship Id="rId30" Type="http://schemas.openxmlformats.org/officeDocument/2006/relationships/hyperlink" Target="https://energy-oil-gas.com/news/top-10-nuclear-power-companies-leading-the-global-energy-future/" TargetMode="External"/><Relationship Id="rId35" Type="http://schemas.openxmlformats.org/officeDocument/2006/relationships/chart" Target="../charts/chart52.xml"/><Relationship Id="rId43" Type="http://schemas.openxmlformats.org/officeDocument/2006/relationships/image" Target="../media/image59.png"/><Relationship Id="rId48" Type="http://schemas.openxmlformats.org/officeDocument/2006/relationships/image" Target="../media/image64.png"/><Relationship Id="rId56" Type="http://schemas.openxmlformats.org/officeDocument/2006/relationships/image" Target="../media/image72.png"/><Relationship Id="rId8" Type="http://schemas.openxmlformats.org/officeDocument/2006/relationships/tags" Target="../tags/tag1054.xml"/><Relationship Id="rId51" Type="http://schemas.openxmlformats.org/officeDocument/2006/relationships/image" Target="../media/image67.png"/><Relationship Id="rId3" Type="http://schemas.openxmlformats.org/officeDocument/2006/relationships/tags" Target="../tags/tag1049.xml"/><Relationship Id="rId12" Type="http://schemas.openxmlformats.org/officeDocument/2006/relationships/tags" Target="../tags/tag1058.xml"/><Relationship Id="rId17" Type="http://schemas.openxmlformats.org/officeDocument/2006/relationships/tags" Target="../tags/tag1063.xml"/><Relationship Id="rId25" Type="http://schemas.openxmlformats.org/officeDocument/2006/relationships/notesSlide" Target="../notesSlides/notesSlide35.xml"/><Relationship Id="rId33" Type="http://schemas.openxmlformats.org/officeDocument/2006/relationships/chart" Target="../charts/chart50.xml"/><Relationship Id="rId38" Type="http://schemas.openxmlformats.org/officeDocument/2006/relationships/image" Target="../media/image54.png"/><Relationship Id="rId46" Type="http://schemas.openxmlformats.org/officeDocument/2006/relationships/image" Target="../media/image62.png"/><Relationship Id="rId59" Type="http://schemas.openxmlformats.org/officeDocument/2006/relationships/image" Target="../media/image75.png"/><Relationship Id="rId20" Type="http://schemas.openxmlformats.org/officeDocument/2006/relationships/tags" Target="../tags/tag1066.xml"/><Relationship Id="rId41" Type="http://schemas.openxmlformats.org/officeDocument/2006/relationships/image" Target="../media/image57.png"/><Relationship Id="rId54" Type="http://schemas.openxmlformats.org/officeDocument/2006/relationships/image" Target="../media/image70.png"/><Relationship Id="rId1" Type="http://schemas.openxmlformats.org/officeDocument/2006/relationships/tags" Target="../tags/tag1047.xml"/><Relationship Id="rId6" Type="http://schemas.openxmlformats.org/officeDocument/2006/relationships/tags" Target="../tags/tag1052.xml"/><Relationship Id="rId15" Type="http://schemas.openxmlformats.org/officeDocument/2006/relationships/tags" Target="../tags/tag1061.xml"/><Relationship Id="rId23" Type="http://schemas.openxmlformats.org/officeDocument/2006/relationships/tags" Target="../tags/tag1069.xml"/><Relationship Id="rId28" Type="http://schemas.openxmlformats.org/officeDocument/2006/relationships/hyperlink" Target="https://globalenergymonitor.org/projects/global-nuclear-power-tracker/" TargetMode="External"/><Relationship Id="rId36" Type="http://schemas.openxmlformats.org/officeDocument/2006/relationships/chart" Target="../charts/chart53.xml"/><Relationship Id="rId49" Type="http://schemas.openxmlformats.org/officeDocument/2006/relationships/image" Target="../media/image65.png"/><Relationship Id="rId57" Type="http://schemas.openxmlformats.org/officeDocument/2006/relationships/image" Target="../media/image73.png"/><Relationship Id="rId10" Type="http://schemas.openxmlformats.org/officeDocument/2006/relationships/tags" Target="../tags/tag1056.xml"/><Relationship Id="rId31" Type="http://schemas.openxmlformats.org/officeDocument/2006/relationships/hyperlink" Target="https://business.columbia.edu/faculty/people/gernot-wagner" TargetMode="External"/><Relationship Id="rId44" Type="http://schemas.openxmlformats.org/officeDocument/2006/relationships/image" Target="../media/image60.png"/><Relationship Id="rId52" Type="http://schemas.openxmlformats.org/officeDocument/2006/relationships/image" Target="../media/image68.png"/><Relationship Id="rId60" Type="http://schemas.openxmlformats.org/officeDocument/2006/relationships/image" Target="../media/image76.png"/><Relationship Id="rId4" Type="http://schemas.openxmlformats.org/officeDocument/2006/relationships/tags" Target="../tags/tag1050.xml"/><Relationship Id="rId9" Type="http://schemas.openxmlformats.org/officeDocument/2006/relationships/tags" Target="../tags/tag1055.xml"/></Relationships>
</file>

<file path=ppt/slides/_rels/slide4.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oleObject" Target="../embeddings/oleObject10.bin"/><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notesSlide" Target="../notesSlides/notesSlide4.xml"/><Relationship Id="rId17" Type="http://schemas.openxmlformats.org/officeDocument/2006/relationships/hyperlink" Target="https://business.columbia.edu/insights/climate/cki" TargetMode="External"/><Relationship Id="rId2" Type="http://schemas.openxmlformats.org/officeDocument/2006/relationships/tags" Target="../tags/tag57.xml"/><Relationship Id="rId16" Type="http://schemas.openxmlformats.org/officeDocument/2006/relationships/hyperlink" Target="https://business.columbia.edu/faculty/people/gernot-wagner" TargetMode="Externa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slideLayout" Target="../slideLayouts/slideLayout7.xml"/><Relationship Id="rId5" Type="http://schemas.openxmlformats.org/officeDocument/2006/relationships/tags" Target="../tags/tag60.xml"/><Relationship Id="rId15" Type="http://schemas.openxmlformats.org/officeDocument/2006/relationships/image" Target="../media/image16.jpeg"/><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image" Target="../media/image15.emf"/></Relationships>
</file>

<file path=ppt/slides/_rels/slide40.xml.rels><?xml version="1.0" encoding="UTF-8" standalone="yes"?>
<Relationships xmlns="http://schemas.openxmlformats.org/package/2006/relationships"><Relationship Id="rId13" Type="http://schemas.openxmlformats.org/officeDocument/2006/relationships/tags" Target="../tags/tag1082.xml"/><Relationship Id="rId18" Type="http://schemas.openxmlformats.org/officeDocument/2006/relationships/tags" Target="../tags/tag1087.xml"/><Relationship Id="rId26" Type="http://schemas.openxmlformats.org/officeDocument/2006/relationships/tags" Target="../tags/tag1095.xml"/><Relationship Id="rId39" Type="http://schemas.openxmlformats.org/officeDocument/2006/relationships/tags" Target="../tags/tag1108.xml"/><Relationship Id="rId21" Type="http://schemas.openxmlformats.org/officeDocument/2006/relationships/tags" Target="../tags/tag1090.xml"/><Relationship Id="rId34" Type="http://schemas.openxmlformats.org/officeDocument/2006/relationships/tags" Target="../tags/tag1103.xml"/><Relationship Id="rId42" Type="http://schemas.openxmlformats.org/officeDocument/2006/relationships/tags" Target="../tags/tag1111.xml"/><Relationship Id="rId47" Type="http://schemas.openxmlformats.org/officeDocument/2006/relationships/tags" Target="../tags/tag1116.xml"/><Relationship Id="rId50" Type="http://schemas.openxmlformats.org/officeDocument/2006/relationships/image" Target="../media/image78.emf"/><Relationship Id="rId55" Type="http://schemas.openxmlformats.org/officeDocument/2006/relationships/image" Target="../media/image20.png"/><Relationship Id="rId7" Type="http://schemas.openxmlformats.org/officeDocument/2006/relationships/tags" Target="../tags/tag1076.xml"/><Relationship Id="rId2" Type="http://schemas.openxmlformats.org/officeDocument/2006/relationships/tags" Target="../tags/tag1071.xml"/><Relationship Id="rId16" Type="http://schemas.openxmlformats.org/officeDocument/2006/relationships/tags" Target="../tags/tag1085.xml"/><Relationship Id="rId29" Type="http://schemas.openxmlformats.org/officeDocument/2006/relationships/tags" Target="../tags/tag1098.xml"/><Relationship Id="rId11" Type="http://schemas.openxmlformats.org/officeDocument/2006/relationships/tags" Target="../tags/tag1080.xml"/><Relationship Id="rId24" Type="http://schemas.openxmlformats.org/officeDocument/2006/relationships/tags" Target="../tags/tag1093.xml"/><Relationship Id="rId32" Type="http://schemas.openxmlformats.org/officeDocument/2006/relationships/tags" Target="../tags/tag1101.xml"/><Relationship Id="rId37" Type="http://schemas.openxmlformats.org/officeDocument/2006/relationships/tags" Target="../tags/tag1106.xml"/><Relationship Id="rId40" Type="http://schemas.openxmlformats.org/officeDocument/2006/relationships/tags" Target="../tags/tag1109.xml"/><Relationship Id="rId45" Type="http://schemas.openxmlformats.org/officeDocument/2006/relationships/tags" Target="../tags/tag1114.xml"/><Relationship Id="rId53" Type="http://schemas.openxmlformats.org/officeDocument/2006/relationships/hyperlink" Target="https://business.columbia.edu/insights/climate/cki" TargetMode="External"/><Relationship Id="rId58" Type="http://schemas.openxmlformats.org/officeDocument/2006/relationships/image" Target="../media/image19.png"/><Relationship Id="rId5" Type="http://schemas.openxmlformats.org/officeDocument/2006/relationships/tags" Target="../tags/tag1074.xml"/><Relationship Id="rId61" Type="http://schemas.openxmlformats.org/officeDocument/2006/relationships/image" Target="../media/image83.png"/><Relationship Id="rId19" Type="http://schemas.openxmlformats.org/officeDocument/2006/relationships/tags" Target="../tags/tag1088.xml"/><Relationship Id="rId14" Type="http://schemas.openxmlformats.org/officeDocument/2006/relationships/tags" Target="../tags/tag1083.xml"/><Relationship Id="rId22" Type="http://schemas.openxmlformats.org/officeDocument/2006/relationships/tags" Target="../tags/tag1091.xml"/><Relationship Id="rId27" Type="http://schemas.openxmlformats.org/officeDocument/2006/relationships/tags" Target="../tags/tag1096.xml"/><Relationship Id="rId30" Type="http://schemas.openxmlformats.org/officeDocument/2006/relationships/tags" Target="../tags/tag1099.xml"/><Relationship Id="rId35" Type="http://schemas.openxmlformats.org/officeDocument/2006/relationships/tags" Target="../tags/tag1104.xml"/><Relationship Id="rId43" Type="http://schemas.openxmlformats.org/officeDocument/2006/relationships/tags" Target="../tags/tag1112.xml"/><Relationship Id="rId48" Type="http://schemas.openxmlformats.org/officeDocument/2006/relationships/slideLayout" Target="../slideLayouts/slideLayout7.xml"/><Relationship Id="rId56" Type="http://schemas.openxmlformats.org/officeDocument/2006/relationships/image" Target="../media/image79.png"/><Relationship Id="rId8" Type="http://schemas.openxmlformats.org/officeDocument/2006/relationships/tags" Target="../tags/tag1077.xml"/><Relationship Id="rId51" Type="http://schemas.openxmlformats.org/officeDocument/2006/relationships/hyperlink" Target="https://www.iaea.org/publications/15748/nuclear-power-reactors-in-the-world" TargetMode="External"/><Relationship Id="rId3" Type="http://schemas.openxmlformats.org/officeDocument/2006/relationships/tags" Target="../tags/tag1072.xml"/><Relationship Id="rId12" Type="http://schemas.openxmlformats.org/officeDocument/2006/relationships/tags" Target="../tags/tag1081.xml"/><Relationship Id="rId17" Type="http://schemas.openxmlformats.org/officeDocument/2006/relationships/tags" Target="../tags/tag1086.xml"/><Relationship Id="rId25" Type="http://schemas.openxmlformats.org/officeDocument/2006/relationships/tags" Target="../tags/tag1094.xml"/><Relationship Id="rId33" Type="http://schemas.openxmlformats.org/officeDocument/2006/relationships/tags" Target="../tags/tag1102.xml"/><Relationship Id="rId38" Type="http://schemas.openxmlformats.org/officeDocument/2006/relationships/tags" Target="../tags/tag1107.xml"/><Relationship Id="rId46" Type="http://schemas.openxmlformats.org/officeDocument/2006/relationships/tags" Target="../tags/tag1115.xml"/><Relationship Id="rId59" Type="http://schemas.openxmlformats.org/officeDocument/2006/relationships/image" Target="../media/image81.png"/><Relationship Id="rId20" Type="http://schemas.openxmlformats.org/officeDocument/2006/relationships/tags" Target="../tags/tag1089.xml"/><Relationship Id="rId41" Type="http://schemas.openxmlformats.org/officeDocument/2006/relationships/tags" Target="../tags/tag1110.xml"/><Relationship Id="rId54" Type="http://schemas.openxmlformats.org/officeDocument/2006/relationships/chart" Target="../charts/chart54.xml"/><Relationship Id="rId62" Type="http://schemas.openxmlformats.org/officeDocument/2006/relationships/image" Target="../media/image84.png"/><Relationship Id="rId1" Type="http://schemas.openxmlformats.org/officeDocument/2006/relationships/tags" Target="../tags/tag1070.xml"/><Relationship Id="rId6" Type="http://schemas.openxmlformats.org/officeDocument/2006/relationships/tags" Target="../tags/tag1075.xml"/><Relationship Id="rId15" Type="http://schemas.openxmlformats.org/officeDocument/2006/relationships/tags" Target="../tags/tag1084.xml"/><Relationship Id="rId23" Type="http://schemas.openxmlformats.org/officeDocument/2006/relationships/tags" Target="../tags/tag1092.xml"/><Relationship Id="rId28" Type="http://schemas.openxmlformats.org/officeDocument/2006/relationships/tags" Target="../tags/tag1097.xml"/><Relationship Id="rId36" Type="http://schemas.openxmlformats.org/officeDocument/2006/relationships/tags" Target="../tags/tag1105.xml"/><Relationship Id="rId49" Type="http://schemas.openxmlformats.org/officeDocument/2006/relationships/oleObject" Target="../embeddings/oleObject45.bin"/><Relationship Id="rId57" Type="http://schemas.openxmlformats.org/officeDocument/2006/relationships/image" Target="../media/image80.png"/><Relationship Id="rId10" Type="http://schemas.openxmlformats.org/officeDocument/2006/relationships/tags" Target="../tags/tag1079.xml"/><Relationship Id="rId31" Type="http://schemas.openxmlformats.org/officeDocument/2006/relationships/tags" Target="../tags/tag1100.xml"/><Relationship Id="rId44" Type="http://schemas.openxmlformats.org/officeDocument/2006/relationships/tags" Target="../tags/tag1113.xml"/><Relationship Id="rId52" Type="http://schemas.openxmlformats.org/officeDocument/2006/relationships/hyperlink" Target="https://business.columbia.edu/faculty/people/gernot-wagner" TargetMode="External"/><Relationship Id="rId60" Type="http://schemas.openxmlformats.org/officeDocument/2006/relationships/image" Target="../media/image82.png"/><Relationship Id="rId4" Type="http://schemas.openxmlformats.org/officeDocument/2006/relationships/tags" Target="../tags/tag1073.xml"/><Relationship Id="rId9" Type="http://schemas.openxmlformats.org/officeDocument/2006/relationships/tags" Target="../tags/tag1078.xml"/></Relationships>
</file>

<file path=ppt/slides/_rels/slide41.xml.rels><?xml version="1.0" encoding="UTF-8" standalone="yes"?>
<Relationships xmlns="http://schemas.openxmlformats.org/package/2006/relationships"><Relationship Id="rId26" Type="http://schemas.openxmlformats.org/officeDocument/2006/relationships/tags" Target="../tags/tag1142.xml"/><Relationship Id="rId21" Type="http://schemas.openxmlformats.org/officeDocument/2006/relationships/tags" Target="../tags/tag1137.xml"/><Relationship Id="rId42" Type="http://schemas.openxmlformats.org/officeDocument/2006/relationships/tags" Target="../tags/tag1158.xml"/><Relationship Id="rId47" Type="http://schemas.openxmlformats.org/officeDocument/2006/relationships/tags" Target="../tags/tag1163.xml"/><Relationship Id="rId63" Type="http://schemas.openxmlformats.org/officeDocument/2006/relationships/tags" Target="../tags/tag1179.xml"/><Relationship Id="rId68" Type="http://schemas.openxmlformats.org/officeDocument/2006/relationships/hyperlink" Target="https://www.energy.gov/sites/default/files/2024-12/Nuclear%2520Energy%2520Supply%2520Chain%2520Report%2520-%2520Final%5B1%5D.pdf" TargetMode="External"/><Relationship Id="rId2" Type="http://schemas.openxmlformats.org/officeDocument/2006/relationships/tags" Target="../tags/tag1118.xml"/><Relationship Id="rId16" Type="http://schemas.openxmlformats.org/officeDocument/2006/relationships/tags" Target="../tags/tag1132.xml"/><Relationship Id="rId29" Type="http://schemas.openxmlformats.org/officeDocument/2006/relationships/tags" Target="../tags/tag1145.xml"/><Relationship Id="rId11" Type="http://schemas.openxmlformats.org/officeDocument/2006/relationships/tags" Target="../tags/tag1127.xml"/><Relationship Id="rId24" Type="http://schemas.openxmlformats.org/officeDocument/2006/relationships/tags" Target="../tags/tag1140.xml"/><Relationship Id="rId32" Type="http://schemas.openxmlformats.org/officeDocument/2006/relationships/tags" Target="../tags/tag1148.xml"/><Relationship Id="rId37" Type="http://schemas.openxmlformats.org/officeDocument/2006/relationships/tags" Target="../tags/tag1153.xml"/><Relationship Id="rId40" Type="http://schemas.openxmlformats.org/officeDocument/2006/relationships/tags" Target="../tags/tag1156.xml"/><Relationship Id="rId45" Type="http://schemas.openxmlformats.org/officeDocument/2006/relationships/tags" Target="../tags/tag1161.xml"/><Relationship Id="rId53" Type="http://schemas.openxmlformats.org/officeDocument/2006/relationships/tags" Target="../tags/tag1169.xml"/><Relationship Id="rId58" Type="http://schemas.openxmlformats.org/officeDocument/2006/relationships/tags" Target="../tags/tag1174.xml"/><Relationship Id="rId66" Type="http://schemas.openxmlformats.org/officeDocument/2006/relationships/oleObject" Target="../embeddings/oleObject46.bin"/><Relationship Id="rId74" Type="http://schemas.openxmlformats.org/officeDocument/2006/relationships/hyperlink" Target="https://business.columbia.edu/insights/climate/cki" TargetMode="External"/><Relationship Id="rId5" Type="http://schemas.openxmlformats.org/officeDocument/2006/relationships/tags" Target="../tags/tag1121.xml"/><Relationship Id="rId61" Type="http://schemas.openxmlformats.org/officeDocument/2006/relationships/tags" Target="../tags/tag1177.xml"/><Relationship Id="rId19" Type="http://schemas.openxmlformats.org/officeDocument/2006/relationships/tags" Target="../tags/tag1135.xml"/><Relationship Id="rId14" Type="http://schemas.openxmlformats.org/officeDocument/2006/relationships/tags" Target="../tags/tag1130.xml"/><Relationship Id="rId22" Type="http://schemas.openxmlformats.org/officeDocument/2006/relationships/tags" Target="../tags/tag1138.xml"/><Relationship Id="rId27" Type="http://schemas.openxmlformats.org/officeDocument/2006/relationships/tags" Target="../tags/tag1143.xml"/><Relationship Id="rId30" Type="http://schemas.openxmlformats.org/officeDocument/2006/relationships/tags" Target="../tags/tag1146.xml"/><Relationship Id="rId35" Type="http://schemas.openxmlformats.org/officeDocument/2006/relationships/tags" Target="../tags/tag1151.xml"/><Relationship Id="rId43" Type="http://schemas.openxmlformats.org/officeDocument/2006/relationships/tags" Target="../tags/tag1159.xml"/><Relationship Id="rId48" Type="http://schemas.openxmlformats.org/officeDocument/2006/relationships/tags" Target="../tags/tag1164.xml"/><Relationship Id="rId56" Type="http://schemas.openxmlformats.org/officeDocument/2006/relationships/tags" Target="../tags/tag1172.xml"/><Relationship Id="rId64" Type="http://schemas.openxmlformats.org/officeDocument/2006/relationships/slideLayout" Target="../slideLayouts/slideLayout7.xml"/><Relationship Id="rId69" Type="http://schemas.openxmlformats.org/officeDocument/2006/relationships/hyperlink" Target="http://c" TargetMode="External"/><Relationship Id="rId8" Type="http://schemas.openxmlformats.org/officeDocument/2006/relationships/tags" Target="../tags/tag1124.xml"/><Relationship Id="rId51" Type="http://schemas.openxmlformats.org/officeDocument/2006/relationships/tags" Target="../tags/tag1167.xml"/><Relationship Id="rId72" Type="http://schemas.openxmlformats.org/officeDocument/2006/relationships/hyperlink" Target="https://fissilematerials.org/countries/united_states.html" TargetMode="External"/><Relationship Id="rId3" Type="http://schemas.openxmlformats.org/officeDocument/2006/relationships/tags" Target="../tags/tag1119.xml"/><Relationship Id="rId12" Type="http://schemas.openxmlformats.org/officeDocument/2006/relationships/tags" Target="../tags/tag1128.xml"/><Relationship Id="rId17" Type="http://schemas.openxmlformats.org/officeDocument/2006/relationships/tags" Target="../tags/tag1133.xml"/><Relationship Id="rId25" Type="http://schemas.openxmlformats.org/officeDocument/2006/relationships/tags" Target="../tags/tag1141.xml"/><Relationship Id="rId33" Type="http://schemas.openxmlformats.org/officeDocument/2006/relationships/tags" Target="../tags/tag1149.xml"/><Relationship Id="rId38" Type="http://schemas.openxmlformats.org/officeDocument/2006/relationships/tags" Target="../tags/tag1154.xml"/><Relationship Id="rId46" Type="http://schemas.openxmlformats.org/officeDocument/2006/relationships/tags" Target="../tags/tag1162.xml"/><Relationship Id="rId59" Type="http://schemas.openxmlformats.org/officeDocument/2006/relationships/tags" Target="../tags/tag1175.xml"/><Relationship Id="rId67" Type="http://schemas.openxmlformats.org/officeDocument/2006/relationships/image" Target="../media/image78.emf"/><Relationship Id="rId20" Type="http://schemas.openxmlformats.org/officeDocument/2006/relationships/tags" Target="../tags/tag1136.xml"/><Relationship Id="rId41" Type="http://schemas.openxmlformats.org/officeDocument/2006/relationships/tags" Target="../tags/tag1157.xml"/><Relationship Id="rId54" Type="http://schemas.openxmlformats.org/officeDocument/2006/relationships/tags" Target="../tags/tag1170.xml"/><Relationship Id="rId62" Type="http://schemas.openxmlformats.org/officeDocument/2006/relationships/tags" Target="../tags/tag1178.xml"/><Relationship Id="rId70" Type="http://schemas.openxmlformats.org/officeDocument/2006/relationships/hyperlink" Target="https://www.stormsmith.nl/Resources/m36materials20190927F.pdf" TargetMode="External"/><Relationship Id="rId75" Type="http://schemas.openxmlformats.org/officeDocument/2006/relationships/chart" Target="../charts/chart55.xml"/><Relationship Id="rId1" Type="http://schemas.openxmlformats.org/officeDocument/2006/relationships/tags" Target="../tags/tag1117.xml"/><Relationship Id="rId6" Type="http://schemas.openxmlformats.org/officeDocument/2006/relationships/tags" Target="../tags/tag1122.xml"/><Relationship Id="rId15" Type="http://schemas.openxmlformats.org/officeDocument/2006/relationships/tags" Target="../tags/tag1131.xml"/><Relationship Id="rId23" Type="http://schemas.openxmlformats.org/officeDocument/2006/relationships/tags" Target="../tags/tag1139.xml"/><Relationship Id="rId28" Type="http://schemas.openxmlformats.org/officeDocument/2006/relationships/tags" Target="../tags/tag1144.xml"/><Relationship Id="rId36" Type="http://schemas.openxmlformats.org/officeDocument/2006/relationships/tags" Target="../tags/tag1152.xml"/><Relationship Id="rId49" Type="http://schemas.openxmlformats.org/officeDocument/2006/relationships/tags" Target="../tags/tag1165.xml"/><Relationship Id="rId57" Type="http://schemas.openxmlformats.org/officeDocument/2006/relationships/tags" Target="../tags/tag1173.xml"/><Relationship Id="rId10" Type="http://schemas.openxmlformats.org/officeDocument/2006/relationships/tags" Target="../tags/tag1126.xml"/><Relationship Id="rId31" Type="http://schemas.openxmlformats.org/officeDocument/2006/relationships/tags" Target="../tags/tag1147.xml"/><Relationship Id="rId44" Type="http://schemas.openxmlformats.org/officeDocument/2006/relationships/tags" Target="../tags/tag1160.xml"/><Relationship Id="rId52" Type="http://schemas.openxmlformats.org/officeDocument/2006/relationships/tags" Target="../tags/tag1168.xml"/><Relationship Id="rId60" Type="http://schemas.openxmlformats.org/officeDocument/2006/relationships/tags" Target="../tags/tag1176.xml"/><Relationship Id="rId65" Type="http://schemas.openxmlformats.org/officeDocument/2006/relationships/notesSlide" Target="../notesSlides/notesSlide36.xml"/><Relationship Id="rId73" Type="http://schemas.openxmlformats.org/officeDocument/2006/relationships/hyperlink" Target="https://business.columbia.edu/faculty/people/gernot-wagner" TargetMode="External"/><Relationship Id="rId4" Type="http://schemas.openxmlformats.org/officeDocument/2006/relationships/tags" Target="../tags/tag1120.xml"/><Relationship Id="rId9" Type="http://schemas.openxmlformats.org/officeDocument/2006/relationships/tags" Target="../tags/tag1125.xml"/><Relationship Id="rId13" Type="http://schemas.openxmlformats.org/officeDocument/2006/relationships/tags" Target="../tags/tag1129.xml"/><Relationship Id="rId18" Type="http://schemas.openxmlformats.org/officeDocument/2006/relationships/tags" Target="../tags/tag1134.xml"/><Relationship Id="rId39" Type="http://schemas.openxmlformats.org/officeDocument/2006/relationships/tags" Target="../tags/tag1155.xml"/><Relationship Id="rId34" Type="http://schemas.openxmlformats.org/officeDocument/2006/relationships/tags" Target="../tags/tag1150.xml"/><Relationship Id="rId50" Type="http://schemas.openxmlformats.org/officeDocument/2006/relationships/tags" Target="../tags/tag1166.xml"/><Relationship Id="rId55" Type="http://schemas.openxmlformats.org/officeDocument/2006/relationships/tags" Target="../tags/tag1171.xml"/><Relationship Id="rId76" Type="http://schemas.openxmlformats.org/officeDocument/2006/relationships/chart" Target="../charts/chart56.xml"/><Relationship Id="rId7" Type="http://schemas.openxmlformats.org/officeDocument/2006/relationships/tags" Target="../tags/tag1123.xml"/><Relationship Id="rId71" Type="http://schemas.openxmlformats.org/officeDocument/2006/relationships/hyperlink" Target="https://www.bgr.bund.de/EN/Themen/Energie/Kernbrennstoffe/kernbrennstoffe_node_en.html" TargetMode="External"/></Relationships>
</file>

<file path=ppt/slides/_rels/slide42.xml.rels><?xml version="1.0" encoding="UTF-8" standalone="yes"?>
<Relationships xmlns="http://schemas.openxmlformats.org/package/2006/relationships"><Relationship Id="rId26" Type="http://schemas.openxmlformats.org/officeDocument/2006/relationships/tags" Target="../tags/tag1205.xml"/><Relationship Id="rId21" Type="http://schemas.openxmlformats.org/officeDocument/2006/relationships/tags" Target="../tags/tag1200.xml"/><Relationship Id="rId42" Type="http://schemas.openxmlformats.org/officeDocument/2006/relationships/hyperlink" Target="https://www.energy.gov/sites/default/files/2024-12/Nuclear%2520Energy%2520Supply%2520Chain%2520Report%2520-%2520Final%5B1%5D.pdf" TargetMode="External"/><Relationship Id="rId47" Type="http://schemas.openxmlformats.org/officeDocument/2006/relationships/hyperlink" Target="https://world-nuclear.org/information-library/nuclear-fuel-cycle/conversion-enrichment-and-fabrication/uranium-enrichment" TargetMode="External"/><Relationship Id="rId63" Type="http://schemas.openxmlformats.org/officeDocument/2006/relationships/image" Target="../media/image80.png"/><Relationship Id="rId68" Type="http://schemas.openxmlformats.org/officeDocument/2006/relationships/image" Target="../media/image92.jpeg"/><Relationship Id="rId16" Type="http://schemas.openxmlformats.org/officeDocument/2006/relationships/tags" Target="../tags/tag1195.xml"/><Relationship Id="rId11" Type="http://schemas.openxmlformats.org/officeDocument/2006/relationships/tags" Target="../tags/tag1190.xml"/><Relationship Id="rId24" Type="http://schemas.openxmlformats.org/officeDocument/2006/relationships/tags" Target="../tags/tag1203.xml"/><Relationship Id="rId32" Type="http://schemas.openxmlformats.org/officeDocument/2006/relationships/tags" Target="../tags/tag1211.xml"/><Relationship Id="rId37" Type="http://schemas.openxmlformats.org/officeDocument/2006/relationships/tags" Target="../tags/tag1216.xml"/><Relationship Id="rId40" Type="http://schemas.openxmlformats.org/officeDocument/2006/relationships/oleObject" Target="../embeddings/oleObject47.bin"/><Relationship Id="rId45" Type="http://schemas.openxmlformats.org/officeDocument/2006/relationships/hyperlink" Target="https://www.worldnuclearreport.org/IMG/pdf/wnisr2023-table17-uranium_enrichment_capacity.pdf" TargetMode="External"/><Relationship Id="rId53" Type="http://schemas.openxmlformats.org/officeDocument/2006/relationships/chart" Target="../charts/chart58.xml"/><Relationship Id="rId58" Type="http://schemas.openxmlformats.org/officeDocument/2006/relationships/image" Target="../media/image88.svg"/><Relationship Id="rId66" Type="http://schemas.openxmlformats.org/officeDocument/2006/relationships/image" Target="../media/image84.png"/><Relationship Id="rId74" Type="http://schemas.openxmlformats.org/officeDocument/2006/relationships/image" Target="../media/image97.svg"/><Relationship Id="rId5" Type="http://schemas.openxmlformats.org/officeDocument/2006/relationships/tags" Target="../tags/tag1184.xml"/><Relationship Id="rId61" Type="http://schemas.openxmlformats.org/officeDocument/2006/relationships/image" Target="../media/image91.svg"/><Relationship Id="rId19" Type="http://schemas.openxmlformats.org/officeDocument/2006/relationships/tags" Target="../tags/tag1198.xml"/><Relationship Id="rId14" Type="http://schemas.openxmlformats.org/officeDocument/2006/relationships/tags" Target="../tags/tag1193.xml"/><Relationship Id="rId22" Type="http://schemas.openxmlformats.org/officeDocument/2006/relationships/tags" Target="../tags/tag1201.xml"/><Relationship Id="rId27" Type="http://schemas.openxmlformats.org/officeDocument/2006/relationships/tags" Target="../tags/tag1206.xml"/><Relationship Id="rId30" Type="http://schemas.openxmlformats.org/officeDocument/2006/relationships/tags" Target="../tags/tag1209.xml"/><Relationship Id="rId35" Type="http://schemas.openxmlformats.org/officeDocument/2006/relationships/tags" Target="../tags/tag1214.xml"/><Relationship Id="rId43" Type="http://schemas.openxmlformats.org/officeDocument/2006/relationships/hyperlink" Target="https://world-nuclear.org/information-library/nuclear-fuel-cycle/mining-of-uranium/world-uranium-mining-production#.UZ9-sJynE-0" TargetMode="External"/><Relationship Id="rId48" Type="http://schemas.openxmlformats.org/officeDocument/2006/relationships/hyperlink" Target="https://world-nuclear.org/information-library/nuclear-fuel-cycle/fuel-recycling/processing-of-used-nuclear-fuel" TargetMode="External"/><Relationship Id="rId56" Type="http://schemas.openxmlformats.org/officeDocument/2006/relationships/image" Target="../media/image86.svg"/><Relationship Id="rId64" Type="http://schemas.openxmlformats.org/officeDocument/2006/relationships/image" Target="../media/image19.png"/><Relationship Id="rId69" Type="http://schemas.openxmlformats.org/officeDocument/2006/relationships/image" Target="../media/image93.png"/><Relationship Id="rId77" Type="http://schemas.openxmlformats.org/officeDocument/2006/relationships/image" Target="../media/image99.png"/><Relationship Id="rId8" Type="http://schemas.openxmlformats.org/officeDocument/2006/relationships/tags" Target="../tags/tag1187.xml"/><Relationship Id="rId51" Type="http://schemas.openxmlformats.org/officeDocument/2006/relationships/hyperlink" Target="https://business.columbia.edu/insights/climate/cki" TargetMode="External"/><Relationship Id="rId72" Type="http://schemas.openxmlformats.org/officeDocument/2006/relationships/image" Target="../media/image96.svg"/><Relationship Id="rId3" Type="http://schemas.openxmlformats.org/officeDocument/2006/relationships/tags" Target="../tags/tag1182.xml"/><Relationship Id="rId12" Type="http://schemas.openxmlformats.org/officeDocument/2006/relationships/tags" Target="../tags/tag1191.xml"/><Relationship Id="rId17" Type="http://schemas.openxmlformats.org/officeDocument/2006/relationships/tags" Target="../tags/tag1196.xml"/><Relationship Id="rId25" Type="http://schemas.openxmlformats.org/officeDocument/2006/relationships/tags" Target="../tags/tag1204.xml"/><Relationship Id="rId33" Type="http://schemas.openxmlformats.org/officeDocument/2006/relationships/tags" Target="../tags/tag1212.xml"/><Relationship Id="rId38" Type="http://schemas.openxmlformats.org/officeDocument/2006/relationships/slideLayout" Target="../slideLayouts/slideLayout7.xml"/><Relationship Id="rId46" Type="http://schemas.openxmlformats.org/officeDocument/2006/relationships/hyperlink" Target="https://world-nuclear.org/information-library/nuclear-fuel-cycle/conversion-enrichment-and-fabrication/fuel-fabrication" TargetMode="External"/><Relationship Id="rId59" Type="http://schemas.openxmlformats.org/officeDocument/2006/relationships/image" Target="../media/image89.svg"/><Relationship Id="rId67" Type="http://schemas.openxmlformats.org/officeDocument/2006/relationships/image" Target="../media/image81.png"/><Relationship Id="rId20" Type="http://schemas.openxmlformats.org/officeDocument/2006/relationships/tags" Target="../tags/tag1199.xml"/><Relationship Id="rId41" Type="http://schemas.openxmlformats.org/officeDocument/2006/relationships/image" Target="../media/image78.emf"/><Relationship Id="rId54" Type="http://schemas.openxmlformats.org/officeDocument/2006/relationships/chart" Target="../charts/chart59.xml"/><Relationship Id="rId62" Type="http://schemas.openxmlformats.org/officeDocument/2006/relationships/image" Target="../media/image20.png"/><Relationship Id="rId70" Type="http://schemas.openxmlformats.org/officeDocument/2006/relationships/image" Target="../media/image94.svg"/><Relationship Id="rId75" Type="http://schemas.openxmlformats.org/officeDocument/2006/relationships/image" Target="../media/image98.svg"/><Relationship Id="rId1" Type="http://schemas.openxmlformats.org/officeDocument/2006/relationships/tags" Target="../tags/tag1180.xml"/><Relationship Id="rId6" Type="http://schemas.openxmlformats.org/officeDocument/2006/relationships/tags" Target="../tags/tag1185.xml"/><Relationship Id="rId15" Type="http://schemas.openxmlformats.org/officeDocument/2006/relationships/tags" Target="../tags/tag1194.xml"/><Relationship Id="rId23" Type="http://schemas.openxmlformats.org/officeDocument/2006/relationships/tags" Target="../tags/tag1202.xml"/><Relationship Id="rId28" Type="http://schemas.openxmlformats.org/officeDocument/2006/relationships/tags" Target="../tags/tag1207.xml"/><Relationship Id="rId36" Type="http://schemas.openxmlformats.org/officeDocument/2006/relationships/tags" Target="../tags/tag1215.xml"/><Relationship Id="rId49" Type="http://schemas.openxmlformats.org/officeDocument/2006/relationships/hyperlink" Target="https://world-nuclear.org/images/articles/economics-report-2024-April.pdf" TargetMode="External"/><Relationship Id="rId57" Type="http://schemas.openxmlformats.org/officeDocument/2006/relationships/image" Target="../media/image87.svg"/><Relationship Id="rId10" Type="http://schemas.openxmlformats.org/officeDocument/2006/relationships/tags" Target="../tags/tag1189.xml"/><Relationship Id="rId31" Type="http://schemas.openxmlformats.org/officeDocument/2006/relationships/tags" Target="../tags/tag1210.xml"/><Relationship Id="rId44" Type="http://schemas.openxmlformats.org/officeDocument/2006/relationships/hyperlink" Target="https://www.stormsmith.nl/Resources/m36materials20190927F.pdf" TargetMode="External"/><Relationship Id="rId52" Type="http://schemas.openxmlformats.org/officeDocument/2006/relationships/chart" Target="../charts/chart57.xml"/><Relationship Id="rId60" Type="http://schemas.openxmlformats.org/officeDocument/2006/relationships/image" Target="../media/image90.svg"/><Relationship Id="rId65" Type="http://schemas.openxmlformats.org/officeDocument/2006/relationships/image" Target="../media/image82.png"/><Relationship Id="rId73" Type="http://schemas.openxmlformats.org/officeDocument/2006/relationships/chart" Target="../charts/chart60.xml"/><Relationship Id="rId4" Type="http://schemas.openxmlformats.org/officeDocument/2006/relationships/tags" Target="../tags/tag1183.xml"/><Relationship Id="rId9" Type="http://schemas.openxmlformats.org/officeDocument/2006/relationships/tags" Target="../tags/tag1188.xml"/><Relationship Id="rId13" Type="http://schemas.openxmlformats.org/officeDocument/2006/relationships/tags" Target="../tags/tag1192.xml"/><Relationship Id="rId18" Type="http://schemas.openxmlformats.org/officeDocument/2006/relationships/tags" Target="../tags/tag1197.xml"/><Relationship Id="rId39" Type="http://schemas.openxmlformats.org/officeDocument/2006/relationships/notesSlide" Target="../notesSlides/notesSlide37.xml"/><Relationship Id="rId34" Type="http://schemas.openxmlformats.org/officeDocument/2006/relationships/tags" Target="../tags/tag1213.xml"/><Relationship Id="rId50" Type="http://schemas.openxmlformats.org/officeDocument/2006/relationships/hyperlink" Target="https://business.columbia.edu/faculty/people/gernot-wagner" TargetMode="External"/><Relationship Id="rId55" Type="http://schemas.openxmlformats.org/officeDocument/2006/relationships/image" Target="../media/image85.svg"/><Relationship Id="rId76" Type="http://schemas.openxmlformats.org/officeDocument/2006/relationships/image" Target="../media/image83.png"/><Relationship Id="rId7" Type="http://schemas.openxmlformats.org/officeDocument/2006/relationships/tags" Target="../tags/tag1186.xml"/><Relationship Id="rId71" Type="http://schemas.openxmlformats.org/officeDocument/2006/relationships/image" Target="../media/image95.svg"/><Relationship Id="rId2" Type="http://schemas.openxmlformats.org/officeDocument/2006/relationships/tags" Target="../tags/tag1181.xml"/><Relationship Id="rId29" Type="http://schemas.openxmlformats.org/officeDocument/2006/relationships/tags" Target="../tags/tag1208.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218.xml"/><Relationship Id="rId1" Type="http://schemas.openxmlformats.org/officeDocument/2006/relationships/tags" Target="../tags/tag1217.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100.jpeg"/></Relationships>
</file>

<file path=ppt/slides/_rels/slide44.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hyperlink" Target="https://www.iea.org/reports/the-path-to-a-new-era-for-nuclear-energy" TargetMode="External"/><Relationship Id="rId3" Type="http://schemas.openxmlformats.org/officeDocument/2006/relationships/tags" Target="../tags/tag1221.xml"/><Relationship Id="rId7" Type="http://schemas.openxmlformats.org/officeDocument/2006/relationships/tags" Target="../tags/tag1225.xml"/><Relationship Id="rId12" Type="http://schemas.openxmlformats.org/officeDocument/2006/relationships/image" Target="../media/image101.jpeg"/><Relationship Id="rId2" Type="http://schemas.openxmlformats.org/officeDocument/2006/relationships/tags" Target="../tags/tag1220.xml"/><Relationship Id="rId1" Type="http://schemas.openxmlformats.org/officeDocument/2006/relationships/tags" Target="../tags/tag1219.xml"/><Relationship Id="rId6" Type="http://schemas.openxmlformats.org/officeDocument/2006/relationships/tags" Target="../tags/tag1224.xml"/><Relationship Id="rId11" Type="http://schemas.openxmlformats.org/officeDocument/2006/relationships/image" Target="../media/image15.emf"/><Relationship Id="rId5" Type="http://schemas.openxmlformats.org/officeDocument/2006/relationships/tags" Target="../tags/tag1223.xml"/><Relationship Id="rId15" Type="http://schemas.openxmlformats.org/officeDocument/2006/relationships/hyperlink" Target="https://business.columbia.edu/insights/climate/cki" TargetMode="External"/><Relationship Id="rId10" Type="http://schemas.openxmlformats.org/officeDocument/2006/relationships/oleObject" Target="../embeddings/oleObject48.bin"/><Relationship Id="rId4" Type="http://schemas.openxmlformats.org/officeDocument/2006/relationships/tags" Target="../tags/tag1222.xml"/><Relationship Id="rId9" Type="http://schemas.openxmlformats.org/officeDocument/2006/relationships/notesSlide" Target="../notesSlides/notesSlide38.xml"/><Relationship Id="rId14" Type="http://schemas.openxmlformats.org/officeDocument/2006/relationships/hyperlink" Target="https://business.columbia.edu/faculty/people/gernot-wagner" TargetMode="External"/></Relationships>
</file>

<file path=ppt/slides/_rels/slide45.xml.rels><?xml version="1.0" encoding="UTF-8" standalone="yes"?>
<Relationships xmlns="http://schemas.openxmlformats.org/package/2006/relationships"><Relationship Id="rId26" Type="http://schemas.openxmlformats.org/officeDocument/2006/relationships/tags" Target="../tags/tag1251.xml"/><Relationship Id="rId21" Type="http://schemas.openxmlformats.org/officeDocument/2006/relationships/tags" Target="../tags/tag1246.xml"/><Relationship Id="rId42" Type="http://schemas.openxmlformats.org/officeDocument/2006/relationships/tags" Target="../tags/tag1267.xml"/><Relationship Id="rId47" Type="http://schemas.openxmlformats.org/officeDocument/2006/relationships/tags" Target="../tags/tag1272.xml"/><Relationship Id="rId63" Type="http://schemas.openxmlformats.org/officeDocument/2006/relationships/hyperlink" Target="https://world-nuclear.org/information-library/country-profiles" TargetMode="External"/><Relationship Id="rId68" Type="http://schemas.openxmlformats.org/officeDocument/2006/relationships/hyperlink" Target="https://www.cleanenergywire.org/news/economy-minister-confirms-end-germanys-resistance-nuclear-power-eu-level" TargetMode="External"/><Relationship Id="rId7" Type="http://schemas.openxmlformats.org/officeDocument/2006/relationships/tags" Target="../tags/tag1232.xml"/><Relationship Id="rId71" Type="http://schemas.openxmlformats.org/officeDocument/2006/relationships/chart" Target="../charts/chart61.xml"/><Relationship Id="rId2" Type="http://schemas.openxmlformats.org/officeDocument/2006/relationships/tags" Target="../tags/tag1227.xml"/><Relationship Id="rId16" Type="http://schemas.openxmlformats.org/officeDocument/2006/relationships/tags" Target="../tags/tag1241.xml"/><Relationship Id="rId29" Type="http://schemas.openxmlformats.org/officeDocument/2006/relationships/tags" Target="../tags/tag1254.xml"/><Relationship Id="rId11" Type="http://schemas.openxmlformats.org/officeDocument/2006/relationships/tags" Target="../tags/tag1236.xml"/><Relationship Id="rId24" Type="http://schemas.openxmlformats.org/officeDocument/2006/relationships/tags" Target="../tags/tag1249.xml"/><Relationship Id="rId32" Type="http://schemas.openxmlformats.org/officeDocument/2006/relationships/tags" Target="../tags/tag1257.xml"/><Relationship Id="rId37" Type="http://schemas.openxmlformats.org/officeDocument/2006/relationships/tags" Target="../tags/tag1262.xml"/><Relationship Id="rId40" Type="http://schemas.openxmlformats.org/officeDocument/2006/relationships/tags" Target="../tags/tag1265.xml"/><Relationship Id="rId45" Type="http://schemas.openxmlformats.org/officeDocument/2006/relationships/tags" Target="../tags/tag1270.xml"/><Relationship Id="rId53" Type="http://schemas.openxmlformats.org/officeDocument/2006/relationships/tags" Target="../tags/tag1278.xml"/><Relationship Id="rId58" Type="http://schemas.openxmlformats.org/officeDocument/2006/relationships/slideLayout" Target="../slideLayouts/slideLayout7.xml"/><Relationship Id="rId66" Type="http://schemas.openxmlformats.org/officeDocument/2006/relationships/hyperlink" Target="https://www.world-nuclear-news.org/articles/belgium-retires-oldest-nuclear-power-reactor" TargetMode="External"/><Relationship Id="rId5" Type="http://schemas.openxmlformats.org/officeDocument/2006/relationships/tags" Target="../tags/tag1230.xml"/><Relationship Id="rId61" Type="http://schemas.openxmlformats.org/officeDocument/2006/relationships/image" Target="../media/image15.emf"/><Relationship Id="rId19" Type="http://schemas.openxmlformats.org/officeDocument/2006/relationships/tags" Target="../tags/tag1244.xml"/><Relationship Id="rId14" Type="http://schemas.openxmlformats.org/officeDocument/2006/relationships/tags" Target="../tags/tag1239.xml"/><Relationship Id="rId22" Type="http://schemas.openxmlformats.org/officeDocument/2006/relationships/tags" Target="../tags/tag1247.xml"/><Relationship Id="rId27" Type="http://schemas.openxmlformats.org/officeDocument/2006/relationships/tags" Target="../tags/tag1252.xml"/><Relationship Id="rId30" Type="http://schemas.openxmlformats.org/officeDocument/2006/relationships/tags" Target="../tags/tag1255.xml"/><Relationship Id="rId35" Type="http://schemas.openxmlformats.org/officeDocument/2006/relationships/tags" Target="../tags/tag1260.xml"/><Relationship Id="rId43" Type="http://schemas.openxmlformats.org/officeDocument/2006/relationships/tags" Target="../tags/tag1268.xml"/><Relationship Id="rId48" Type="http://schemas.openxmlformats.org/officeDocument/2006/relationships/tags" Target="../tags/tag1273.xml"/><Relationship Id="rId56" Type="http://schemas.openxmlformats.org/officeDocument/2006/relationships/tags" Target="../tags/tag1281.xml"/><Relationship Id="rId64" Type="http://schemas.openxmlformats.org/officeDocument/2006/relationships/hyperlink" Target="https://www.iea.org/reports/the-path-to-a-new-era-for-nuclear-energy" TargetMode="External"/><Relationship Id="rId69" Type="http://schemas.openxmlformats.org/officeDocument/2006/relationships/hyperlink" Target="https://business.columbia.edu/faculty/people/gernot-wagner" TargetMode="External"/><Relationship Id="rId8" Type="http://schemas.openxmlformats.org/officeDocument/2006/relationships/tags" Target="../tags/tag1233.xml"/><Relationship Id="rId51" Type="http://schemas.openxmlformats.org/officeDocument/2006/relationships/tags" Target="../tags/tag1276.xml"/><Relationship Id="rId3" Type="http://schemas.openxmlformats.org/officeDocument/2006/relationships/tags" Target="../tags/tag1228.xml"/><Relationship Id="rId12" Type="http://schemas.openxmlformats.org/officeDocument/2006/relationships/tags" Target="../tags/tag1237.xml"/><Relationship Id="rId17" Type="http://schemas.openxmlformats.org/officeDocument/2006/relationships/tags" Target="../tags/tag1242.xml"/><Relationship Id="rId25" Type="http://schemas.openxmlformats.org/officeDocument/2006/relationships/tags" Target="../tags/tag1250.xml"/><Relationship Id="rId33" Type="http://schemas.openxmlformats.org/officeDocument/2006/relationships/tags" Target="../tags/tag1258.xml"/><Relationship Id="rId38" Type="http://schemas.openxmlformats.org/officeDocument/2006/relationships/tags" Target="../tags/tag1263.xml"/><Relationship Id="rId46" Type="http://schemas.openxmlformats.org/officeDocument/2006/relationships/tags" Target="../tags/tag1271.xml"/><Relationship Id="rId59" Type="http://schemas.openxmlformats.org/officeDocument/2006/relationships/notesSlide" Target="../notesSlides/notesSlide39.xml"/><Relationship Id="rId67" Type="http://schemas.openxmlformats.org/officeDocument/2006/relationships/hyperlink" Target="https://www.world-nuclear-news.org/articles/feasibility-study-for-belarus-new-nuclear-to-be-prepared-in-2025" TargetMode="External"/><Relationship Id="rId20" Type="http://schemas.openxmlformats.org/officeDocument/2006/relationships/tags" Target="../tags/tag1245.xml"/><Relationship Id="rId41" Type="http://schemas.openxmlformats.org/officeDocument/2006/relationships/tags" Target="../tags/tag1266.xml"/><Relationship Id="rId54" Type="http://schemas.openxmlformats.org/officeDocument/2006/relationships/tags" Target="../tags/tag1279.xml"/><Relationship Id="rId62" Type="http://schemas.openxmlformats.org/officeDocument/2006/relationships/hyperlink" Target="https://www.energy.gov/eere/solar/federal-solar-tax-credits-businesses#:~:text=Solar%20systems%20that%20are%20placed,)%5B5%5D%20in%20size." TargetMode="External"/><Relationship Id="rId70" Type="http://schemas.openxmlformats.org/officeDocument/2006/relationships/hyperlink" Target="https://business.columbia.edu/insights/climate/cki" TargetMode="External"/><Relationship Id="rId1" Type="http://schemas.openxmlformats.org/officeDocument/2006/relationships/tags" Target="../tags/tag1226.xml"/><Relationship Id="rId6" Type="http://schemas.openxmlformats.org/officeDocument/2006/relationships/tags" Target="../tags/tag1231.xml"/><Relationship Id="rId15" Type="http://schemas.openxmlformats.org/officeDocument/2006/relationships/tags" Target="../tags/tag1240.xml"/><Relationship Id="rId23" Type="http://schemas.openxmlformats.org/officeDocument/2006/relationships/tags" Target="../tags/tag1248.xml"/><Relationship Id="rId28" Type="http://schemas.openxmlformats.org/officeDocument/2006/relationships/tags" Target="../tags/tag1253.xml"/><Relationship Id="rId36" Type="http://schemas.openxmlformats.org/officeDocument/2006/relationships/tags" Target="../tags/tag1261.xml"/><Relationship Id="rId49" Type="http://schemas.openxmlformats.org/officeDocument/2006/relationships/tags" Target="../tags/tag1274.xml"/><Relationship Id="rId57" Type="http://schemas.openxmlformats.org/officeDocument/2006/relationships/tags" Target="../tags/tag1282.xml"/><Relationship Id="rId10" Type="http://schemas.openxmlformats.org/officeDocument/2006/relationships/tags" Target="../tags/tag1235.xml"/><Relationship Id="rId31" Type="http://schemas.openxmlformats.org/officeDocument/2006/relationships/tags" Target="../tags/tag1256.xml"/><Relationship Id="rId44" Type="http://schemas.openxmlformats.org/officeDocument/2006/relationships/tags" Target="../tags/tag1269.xml"/><Relationship Id="rId52" Type="http://schemas.openxmlformats.org/officeDocument/2006/relationships/tags" Target="../tags/tag1277.xml"/><Relationship Id="rId60" Type="http://schemas.openxmlformats.org/officeDocument/2006/relationships/oleObject" Target="../embeddings/oleObject49.bin"/><Relationship Id="rId65" Type="http://schemas.openxmlformats.org/officeDocument/2006/relationships/hyperlink" Target="https://www.aec.go.jp/kettei/hakusho/2021/pdf/gaiyo_e.pdf" TargetMode="External"/><Relationship Id="rId4" Type="http://schemas.openxmlformats.org/officeDocument/2006/relationships/tags" Target="../tags/tag1229.xml"/><Relationship Id="rId9" Type="http://schemas.openxmlformats.org/officeDocument/2006/relationships/tags" Target="../tags/tag1234.xml"/><Relationship Id="rId13" Type="http://schemas.openxmlformats.org/officeDocument/2006/relationships/tags" Target="../tags/tag1238.xml"/><Relationship Id="rId18" Type="http://schemas.openxmlformats.org/officeDocument/2006/relationships/tags" Target="../tags/tag1243.xml"/><Relationship Id="rId39" Type="http://schemas.openxmlformats.org/officeDocument/2006/relationships/tags" Target="../tags/tag1264.xml"/><Relationship Id="rId34" Type="http://schemas.openxmlformats.org/officeDocument/2006/relationships/tags" Target="../tags/tag1259.xml"/><Relationship Id="rId50" Type="http://schemas.openxmlformats.org/officeDocument/2006/relationships/tags" Target="../tags/tag1275.xml"/><Relationship Id="rId55" Type="http://schemas.openxmlformats.org/officeDocument/2006/relationships/tags" Target="../tags/tag1280.xml"/></Relationships>
</file>

<file path=ppt/slides/_rels/slide46.xml.rels><?xml version="1.0" encoding="UTF-8" standalone="yes"?>
<Relationships xmlns="http://schemas.openxmlformats.org/package/2006/relationships"><Relationship Id="rId8" Type="http://schemas.openxmlformats.org/officeDocument/2006/relationships/image" Target="../media/image102.emf"/><Relationship Id="rId13" Type="http://schemas.openxmlformats.org/officeDocument/2006/relationships/hyperlink" Target="https://world-nuclear.org/information-library/country-profiles/countries-t-z/usa-nuclear-power?" TargetMode="External"/><Relationship Id="rId18" Type="http://schemas.openxmlformats.org/officeDocument/2006/relationships/hyperlink" Target="https://www.iea.org/reports/the-path-to-a-new-era-for-nuclear-energy" TargetMode="External"/><Relationship Id="rId3" Type="http://schemas.openxmlformats.org/officeDocument/2006/relationships/tags" Target="../tags/tag1285.xml"/><Relationship Id="rId21" Type="http://schemas.openxmlformats.org/officeDocument/2006/relationships/hyperlink" Target="https://www.oecd-nea.org/jcms/pl_51110/projected-costs-of-generating-electricity-2020-edition" TargetMode="External"/><Relationship Id="rId7" Type="http://schemas.openxmlformats.org/officeDocument/2006/relationships/oleObject" Target="../embeddings/oleObject50.bin"/><Relationship Id="rId12" Type="http://schemas.openxmlformats.org/officeDocument/2006/relationships/hyperlink" Target="https://www.energy.gov/eere/solar/federal-solar-tax-credits-businesses#:~:text=Solar%20systems%20that%20are%20placed,)%5B5%5D%20in%20size." TargetMode="External"/><Relationship Id="rId17" Type="http://schemas.openxmlformats.org/officeDocument/2006/relationships/hyperlink" Target="https://www.foronuclear.org/en/updates/news/the-eu-recognises-the-value-of-nuclear-technology-now-it-is-time-to-take-action/" TargetMode="External"/><Relationship Id="rId25" Type="http://schemas.openxmlformats.org/officeDocument/2006/relationships/hyperlink" Target="https://business.columbia.edu/insights/climate/nuclear" TargetMode="External"/><Relationship Id="rId2" Type="http://schemas.openxmlformats.org/officeDocument/2006/relationships/tags" Target="../tags/tag1284.xml"/><Relationship Id="rId16" Type="http://schemas.openxmlformats.org/officeDocument/2006/relationships/hyperlink" Target="https://world-nuclear.org/information-library/country-profiles/countries-a-f/china-nuclear-power" TargetMode="External"/><Relationship Id="rId20" Type="http://schemas.openxmlformats.org/officeDocument/2006/relationships/hyperlink" Target="https://world-nuclear.org/information-library/economic-aspects/economics-of-nuclear-power#:~:text=The%20levelized%20cost%20of%20energy,costs%20and%20nuclear%2Dspecific%20taxes." TargetMode="External"/><Relationship Id="rId1" Type="http://schemas.openxmlformats.org/officeDocument/2006/relationships/tags" Target="../tags/tag1283.xml"/><Relationship Id="rId6" Type="http://schemas.openxmlformats.org/officeDocument/2006/relationships/notesSlide" Target="../notesSlides/notesSlide40.xml"/><Relationship Id="rId11" Type="http://schemas.openxmlformats.org/officeDocument/2006/relationships/image" Target="../media/image105.gif"/><Relationship Id="rId24" Type="http://schemas.openxmlformats.org/officeDocument/2006/relationships/hyperlink" Target="https://business.columbia.edu/insights/climate/cki" TargetMode="External"/><Relationship Id="rId5" Type="http://schemas.openxmlformats.org/officeDocument/2006/relationships/slideLayout" Target="../slideLayouts/slideLayout8.xml"/><Relationship Id="rId15" Type="http://schemas.openxmlformats.org/officeDocument/2006/relationships/hyperlink" Target="https://www.nucleareurope.eu/project/pathways-to-2050" TargetMode="External"/><Relationship Id="rId23" Type="http://schemas.openxmlformats.org/officeDocument/2006/relationships/hyperlink" Target="https://business.columbia.edu/faculty/people/gernot-wagner" TargetMode="External"/><Relationship Id="rId10" Type="http://schemas.openxmlformats.org/officeDocument/2006/relationships/image" Target="../media/image104.png"/><Relationship Id="rId19" Type="http://schemas.openxmlformats.org/officeDocument/2006/relationships/hyperlink" Target="https://itif.org/publications/2024/06/17/how-innovative-is-china-in-nuclear-power/" TargetMode="External"/><Relationship Id="rId4" Type="http://schemas.openxmlformats.org/officeDocument/2006/relationships/tags" Target="../tags/tag1286.xml"/><Relationship Id="rId9" Type="http://schemas.openxmlformats.org/officeDocument/2006/relationships/image" Target="../media/image103.gif"/><Relationship Id="rId14" Type="http://schemas.openxmlformats.org/officeDocument/2006/relationships/hyperlink" Target="https://www.lazard.com/media/uounhon4/lazards-lcoeplus-june-2025.pdf" TargetMode="External"/><Relationship Id="rId22" Type="http://schemas.openxmlformats.org/officeDocument/2006/relationships/hyperlink" Target="https://www.nuclearbusiness-platform.com/media/insights/chinas-nuclear-power-program-a-blueprint-for-global-competitiveness#:~:text=The%20Chinese%20government%20has%20played,Considerations%20Driving%20Nuclear%20Ambitions:%2D" TargetMode="External"/></Relationships>
</file>

<file path=ppt/slides/_rels/slide47.xml.rels><?xml version="1.0" encoding="UTF-8" standalone="yes"?>
<Relationships xmlns="http://schemas.openxmlformats.org/package/2006/relationships"><Relationship Id="rId8" Type="http://schemas.openxmlformats.org/officeDocument/2006/relationships/tags" Target="../tags/tag1294.xml"/><Relationship Id="rId13" Type="http://schemas.openxmlformats.org/officeDocument/2006/relationships/oleObject" Target="../embeddings/oleObject51.bin"/><Relationship Id="rId18" Type="http://schemas.openxmlformats.org/officeDocument/2006/relationships/hyperlink" Target="https://cresforum.org/publications/the-issue-brief-key-federal-policies-fueling-nuclear-innovation-and-reinvestment/" TargetMode="External"/><Relationship Id="rId26" Type="http://schemas.openxmlformats.org/officeDocument/2006/relationships/hyperlink" Target="https://business.columbia.edu/faculty/people/gernot-wagner" TargetMode="External"/><Relationship Id="rId3" Type="http://schemas.openxmlformats.org/officeDocument/2006/relationships/tags" Target="../tags/tag1289.xml"/><Relationship Id="rId21" Type="http://schemas.openxmlformats.org/officeDocument/2006/relationships/hyperlink" Target="https://www.lexology.com/library/detail.aspx?g=d3046816-839b-449e-9373-271defa59076" TargetMode="External"/><Relationship Id="rId7" Type="http://schemas.openxmlformats.org/officeDocument/2006/relationships/tags" Target="../tags/tag1293.xml"/><Relationship Id="rId12" Type="http://schemas.openxmlformats.org/officeDocument/2006/relationships/notesSlide" Target="../notesSlides/notesSlide41.xml"/><Relationship Id="rId17" Type="http://schemas.openxmlformats.org/officeDocument/2006/relationships/hyperlink" Target="https://www.iea.org/reports/the-path-to-a-new-era-for-nuclear-energy" TargetMode="External"/><Relationship Id="rId25" Type="http://schemas.openxmlformats.org/officeDocument/2006/relationships/hyperlink" Target="https://www.hunton.com/insights/legal/recent-nuclear-executive-orders-to-accelerate-us-nuclear-renaissance" TargetMode="External"/><Relationship Id="rId2" Type="http://schemas.openxmlformats.org/officeDocument/2006/relationships/tags" Target="../tags/tag1288.xml"/><Relationship Id="rId16" Type="http://schemas.openxmlformats.org/officeDocument/2006/relationships/hyperlink" Target="https://www.energy.gov/eere/solar/federal-solar-tax-credits-businesses#:~:text=Solar%20systems%20that%20are%20placed,)%5B5%5D%20in%20size." TargetMode="External"/><Relationship Id="rId20" Type="http://schemas.openxmlformats.org/officeDocument/2006/relationships/hyperlink" Target="https://www.energy.gov/ne/articles/hydrogen-production-tax-credit-explained-nuclear-power-plants" TargetMode="External"/><Relationship Id="rId1" Type="http://schemas.openxmlformats.org/officeDocument/2006/relationships/tags" Target="../tags/tag1287.xml"/><Relationship Id="rId6" Type="http://schemas.openxmlformats.org/officeDocument/2006/relationships/tags" Target="../tags/tag1292.xml"/><Relationship Id="rId11" Type="http://schemas.openxmlformats.org/officeDocument/2006/relationships/slideLayout" Target="../slideLayouts/slideLayout7.xml"/><Relationship Id="rId24" Type="http://schemas.openxmlformats.org/officeDocument/2006/relationships/hyperlink" Target="https://www.americanactionforum.org/insight/trumps-nuclear-executive-orders-overview-and-analysis/" TargetMode="External"/><Relationship Id="rId5" Type="http://schemas.openxmlformats.org/officeDocument/2006/relationships/tags" Target="../tags/tag1291.xml"/><Relationship Id="rId15" Type="http://schemas.openxmlformats.org/officeDocument/2006/relationships/chart" Target="../charts/chart62.xml"/><Relationship Id="rId23" Type="http://schemas.openxmlformats.org/officeDocument/2006/relationships/hyperlink" Target="https://www.energypolicy.columbia.edu/assessing-the-energy-impacts-of-the-one-big-beautiful-bill-act/" TargetMode="External"/><Relationship Id="rId10" Type="http://schemas.openxmlformats.org/officeDocument/2006/relationships/tags" Target="../tags/tag1296.xml"/><Relationship Id="rId19" Type="http://schemas.openxmlformats.org/officeDocument/2006/relationships/hyperlink" Target="https://www.irs.gov/credits-deductions/zero-emission-nuclear-power-production-credit" TargetMode="External"/><Relationship Id="rId4" Type="http://schemas.openxmlformats.org/officeDocument/2006/relationships/tags" Target="../tags/tag1290.xml"/><Relationship Id="rId9" Type="http://schemas.openxmlformats.org/officeDocument/2006/relationships/tags" Target="../tags/tag1295.xml"/><Relationship Id="rId14" Type="http://schemas.openxmlformats.org/officeDocument/2006/relationships/image" Target="../media/image15.emf"/><Relationship Id="rId22" Type="http://schemas.openxmlformats.org/officeDocument/2006/relationships/hyperlink" Target="https://www.congress.gov/bill/119th-congress/house-bill/1/text" TargetMode="External"/><Relationship Id="rId27" Type="http://schemas.openxmlformats.org/officeDocument/2006/relationships/hyperlink" Target="https://business.columbia.edu/insights/climate/cki" TargetMode="External"/></Relationships>
</file>

<file path=ppt/slides/_rels/slide48.xml.rels><?xml version="1.0" encoding="UTF-8" standalone="yes"?>
<Relationships xmlns="http://schemas.openxmlformats.org/package/2006/relationships"><Relationship Id="rId8" Type="http://schemas.openxmlformats.org/officeDocument/2006/relationships/oleObject" Target="../embeddings/oleObject52.bin"/><Relationship Id="rId13" Type="http://schemas.openxmlformats.org/officeDocument/2006/relationships/hyperlink" Target="https://energy.ec.europa.eu/news/focus-eu-nuclear-energy-policy-why-it-matters-us-all-2024-03-13_en" TargetMode="External"/><Relationship Id="rId18" Type="http://schemas.openxmlformats.org/officeDocument/2006/relationships/hyperlink" Target="https://business.columbia.edu/insights/climate/cki" TargetMode="External"/><Relationship Id="rId3" Type="http://schemas.openxmlformats.org/officeDocument/2006/relationships/tags" Target="../tags/tag1299.xml"/><Relationship Id="rId21" Type="http://schemas.openxmlformats.org/officeDocument/2006/relationships/image" Target="../media/image106.png"/><Relationship Id="rId7" Type="http://schemas.openxmlformats.org/officeDocument/2006/relationships/notesSlide" Target="../notesSlides/notesSlide42.xml"/><Relationship Id="rId12" Type="http://schemas.openxmlformats.org/officeDocument/2006/relationships/hyperlink" Target="https://world-nuclear.org/information-library/country-profiles/others/european-union" TargetMode="External"/><Relationship Id="rId17" Type="http://schemas.openxmlformats.org/officeDocument/2006/relationships/hyperlink" Target="https://business.columbia.edu/faculty/people/gernot-wagner" TargetMode="External"/><Relationship Id="rId2" Type="http://schemas.openxmlformats.org/officeDocument/2006/relationships/tags" Target="../tags/tag1298.xml"/><Relationship Id="rId16" Type="http://schemas.openxmlformats.org/officeDocument/2006/relationships/hyperlink" Target="https://energy.ec.europa.eu/topics/nuclear-energy/small-modular-reactors_en#eu-leadership-and-strategic-independence-for-smrs" TargetMode="External"/><Relationship Id="rId1" Type="http://schemas.openxmlformats.org/officeDocument/2006/relationships/tags" Target="../tags/tag1297.xml"/><Relationship Id="rId6" Type="http://schemas.openxmlformats.org/officeDocument/2006/relationships/slideLayout" Target="../slideLayouts/slideLayout7.xml"/><Relationship Id="rId11" Type="http://schemas.openxmlformats.org/officeDocument/2006/relationships/hyperlink" Target="https://www.iea.org/reports/the-path-to-a-new-era-for-nuclear-energy" TargetMode="External"/><Relationship Id="rId5" Type="http://schemas.openxmlformats.org/officeDocument/2006/relationships/tags" Target="../tags/tag1301.xml"/><Relationship Id="rId15" Type="http://schemas.openxmlformats.org/officeDocument/2006/relationships/hyperlink" Target="https://energy.ec.europa.eu/topics/nuclear-energy/euratom-safeguards_en" TargetMode="External"/><Relationship Id="rId10" Type="http://schemas.openxmlformats.org/officeDocument/2006/relationships/hyperlink" Target="https://www.energy.gov/eere/solar/federal-solar-tax-credits-businesses#:~:text=Solar%20systems%20that%20are%20placed,)%5B5%5D%20in%20size." TargetMode="External"/><Relationship Id="rId19" Type="http://schemas.microsoft.com/office/2014/relationships/chartEx" Target="../charts/chartEx1.xml"/><Relationship Id="rId4" Type="http://schemas.openxmlformats.org/officeDocument/2006/relationships/tags" Target="../tags/tag1300.xml"/><Relationship Id="rId9" Type="http://schemas.openxmlformats.org/officeDocument/2006/relationships/image" Target="../media/image15.emf"/><Relationship Id="rId14" Type="http://schemas.openxmlformats.org/officeDocument/2006/relationships/hyperlink" Target="https://energy.ec.europa.eu/topics/nuclear-energy/nuclear-safety_en" TargetMode="External"/></Relationships>
</file>

<file path=ppt/slides/_rels/slide49.xml.rels><?xml version="1.0" encoding="UTF-8" standalone="yes"?>
<Relationships xmlns="http://schemas.openxmlformats.org/package/2006/relationships"><Relationship Id="rId13" Type="http://schemas.openxmlformats.org/officeDocument/2006/relationships/tags" Target="../tags/tag1314.xml"/><Relationship Id="rId18" Type="http://schemas.openxmlformats.org/officeDocument/2006/relationships/tags" Target="../tags/tag1319.xml"/><Relationship Id="rId26" Type="http://schemas.openxmlformats.org/officeDocument/2006/relationships/tags" Target="../tags/tag1327.xml"/><Relationship Id="rId39" Type="http://schemas.openxmlformats.org/officeDocument/2006/relationships/tags" Target="../tags/tag1340.xml"/><Relationship Id="rId21" Type="http://schemas.openxmlformats.org/officeDocument/2006/relationships/tags" Target="../tags/tag1322.xml"/><Relationship Id="rId34" Type="http://schemas.openxmlformats.org/officeDocument/2006/relationships/tags" Target="../tags/tag1335.xml"/><Relationship Id="rId42" Type="http://schemas.openxmlformats.org/officeDocument/2006/relationships/tags" Target="../tags/tag1343.xml"/><Relationship Id="rId47" Type="http://schemas.openxmlformats.org/officeDocument/2006/relationships/image" Target="../media/image15.emf"/><Relationship Id="rId50" Type="http://schemas.openxmlformats.org/officeDocument/2006/relationships/hyperlink" Target="https://world-nuclear.org/information-library/country-profiles/others/european-union" TargetMode="External"/><Relationship Id="rId55" Type="http://schemas.openxmlformats.org/officeDocument/2006/relationships/hyperlink" Target="https://business.columbia.edu/faculty/people/gernot-wagner" TargetMode="External"/><Relationship Id="rId7" Type="http://schemas.openxmlformats.org/officeDocument/2006/relationships/tags" Target="../tags/tag1308.xml"/><Relationship Id="rId2" Type="http://schemas.openxmlformats.org/officeDocument/2006/relationships/tags" Target="../tags/tag1303.xml"/><Relationship Id="rId16" Type="http://schemas.openxmlformats.org/officeDocument/2006/relationships/tags" Target="../tags/tag1317.xml"/><Relationship Id="rId29" Type="http://schemas.openxmlformats.org/officeDocument/2006/relationships/tags" Target="../tags/tag1330.xml"/><Relationship Id="rId11" Type="http://schemas.openxmlformats.org/officeDocument/2006/relationships/tags" Target="../tags/tag1312.xml"/><Relationship Id="rId24" Type="http://schemas.openxmlformats.org/officeDocument/2006/relationships/tags" Target="../tags/tag1325.xml"/><Relationship Id="rId32" Type="http://schemas.openxmlformats.org/officeDocument/2006/relationships/tags" Target="../tags/tag1333.xml"/><Relationship Id="rId37" Type="http://schemas.openxmlformats.org/officeDocument/2006/relationships/tags" Target="../tags/tag1338.xml"/><Relationship Id="rId40" Type="http://schemas.openxmlformats.org/officeDocument/2006/relationships/tags" Target="../tags/tag1341.xml"/><Relationship Id="rId45" Type="http://schemas.openxmlformats.org/officeDocument/2006/relationships/notesSlide" Target="../notesSlides/notesSlide43.xml"/><Relationship Id="rId53" Type="http://schemas.openxmlformats.org/officeDocument/2006/relationships/hyperlink" Target="https://www.eia.gov/todayinenergy/detail.php?id=55559" TargetMode="External"/><Relationship Id="rId58" Type="http://schemas.openxmlformats.org/officeDocument/2006/relationships/chart" Target="../charts/chart64.xml"/><Relationship Id="rId5" Type="http://schemas.openxmlformats.org/officeDocument/2006/relationships/tags" Target="../tags/tag1306.xml"/><Relationship Id="rId19" Type="http://schemas.openxmlformats.org/officeDocument/2006/relationships/tags" Target="../tags/tag1320.xml"/><Relationship Id="rId4" Type="http://schemas.openxmlformats.org/officeDocument/2006/relationships/tags" Target="../tags/tag1305.xml"/><Relationship Id="rId9" Type="http://schemas.openxmlformats.org/officeDocument/2006/relationships/tags" Target="../tags/tag1310.xml"/><Relationship Id="rId14" Type="http://schemas.openxmlformats.org/officeDocument/2006/relationships/tags" Target="../tags/tag1315.xml"/><Relationship Id="rId22" Type="http://schemas.openxmlformats.org/officeDocument/2006/relationships/tags" Target="../tags/tag1323.xml"/><Relationship Id="rId27" Type="http://schemas.openxmlformats.org/officeDocument/2006/relationships/tags" Target="../tags/tag1328.xml"/><Relationship Id="rId30" Type="http://schemas.openxmlformats.org/officeDocument/2006/relationships/tags" Target="../tags/tag1331.xml"/><Relationship Id="rId35" Type="http://schemas.openxmlformats.org/officeDocument/2006/relationships/tags" Target="../tags/tag1336.xml"/><Relationship Id="rId43" Type="http://schemas.openxmlformats.org/officeDocument/2006/relationships/tags" Target="../tags/tag1344.xml"/><Relationship Id="rId48" Type="http://schemas.openxmlformats.org/officeDocument/2006/relationships/hyperlink" Target="https://www.energy.gov/eere/solar/federal-solar-tax-credits-businesses#:~:text=Solar%20systems%20that%20are%20placed,)%5B5%5D%20in%20size." TargetMode="External"/><Relationship Id="rId56" Type="http://schemas.openxmlformats.org/officeDocument/2006/relationships/hyperlink" Target="https://business.columbia.edu/insights/climate/cki" TargetMode="External"/><Relationship Id="rId8" Type="http://schemas.openxmlformats.org/officeDocument/2006/relationships/tags" Target="../tags/tag1309.xml"/><Relationship Id="rId51" Type="http://schemas.openxmlformats.org/officeDocument/2006/relationships/hyperlink" Target="https://world-nuclear.org/information-library/country-profiles/countries-g-n/germany" TargetMode="External"/><Relationship Id="rId3" Type="http://schemas.openxmlformats.org/officeDocument/2006/relationships/tags" Target="../tags/tag1304.xml"/><Relationship Id="rId12" Type="http://schemas.openxmlformats.org/officeDocument/2006/relationships/tags" Target="../tags/tag1313.xml"/><Relationship Id="rId17" Type="http://schemas.openxmlformats.org/officeDocument/2006/relationships/tags" Target="../tags/tag1318.xml"/><Relationship Id="rId25" Type="http://schemas.openxmlformats.org/officeDocument/2006/relationships/tags" Target="../tags/tag1326.xml"/><Relationship Id="rId33" Type="http://schemas.openxmlformats.org/officeDocument/2006/relationships/tags" Target="../tags/tag1334.xml"/><Relationship Id="rId38" Type="http://schemas.openxmlformats.org/officeDocument/2006/relationships/tags" Target="../tags/tag1339.xml"/><Relationship Id="rId46" Type="http://schemas.openxmlformats.org/officeDocument/2006/relationships/oleObject" Target="../embeddings/oleObject53.bin"/><Relationship Id="rId59" Type="http://schemas.openxmlformats.org/officeDocument/2006/relationships/image" Target="../media/image106.jpeg"/><Relationship Id="rId20" Type="http://schemas.openxmlformats.org/officeDocument/2006/relationships/tags" Target="../tags/tag1321.xml"/><Relationship Id="rId41" Type="http://schemas.openxmlformats.org/officeDocument/2006/relationships/tags" Target="../tags/tag1342.xml"/><Relationship Id="rId54" Type="http://schemas.openxmlformats.org/officeDocument/2006/relationships/hyperlink" Target="https://www.base.bund.de/en/nuclear-safety/nuclear-phase-out/nuclear-phase-out_content.html#a456438" TargetMode="External"/><Relationship Id="rId1" Type="http://schemas.openxmlformats.org/officeDocument/2006/relationships/tags" Target="../tags/tag1302.xml"/><Relationship Id="rId6" Type="http://schemas.openxmlformats.org/officeDocument/2006/relationships/tags" Target="../tags/tag1307.xml"/><Relationship Id="rId15" Type="http://schemas.openxmlformats.org/officeDocument/2006/relationships/tags" Target="../tags/tag1316.xml"/><Relationship Id="rId23" Type="http://schemas.openxmlformats.org/officeDocument/2006/relationships/tags" Target="../tags/tag1324.xml"/><Relationship Id="rId28" Type="http://schemas.openxmlformats.org/officeDocument/2006/relationships/tags" Target="../tags/tag1329.xml"/><Relationship Id="rId36" Type="http://schemas.openxmlformats.org/officeDocument/2006/relationships/tags" Target="../tags/tag1337.xml"/><Relationship Id="rId49" Type="http://schemas.openxmlformats.org/officeDocument/2006/relationships/hyperlink" Target="https://www.iea.org/reports/the-path-to-a-new-era-for-nuclear-energy" TargetMode="External"/><Relationship Id="rId57" Type="http://schemas.openxmlformats.org/officeDocument/2006/relationships/chart" Target="../charts/chart63.xml"/><Relationship Id="rId10" Type="http://schemas.openxmlformats.org/officeDocument/2006/relationships/tags" Target="../tags/tag1311.xml"/><Relationship Id="rId31" Type="http://schemas.openxmlformats.org/officeDocument/2006/relationships/tags" Target="../tags/tag1332.xml"/><Relationship Id="rId44" Type="http://schemas.openxmlformats.org/officeDocument/2006/relationships/slideLayout" Target="../slideLayouts/slideLayout7.xml"/><Relationship Id="rId52" Type="http://schemas.openxmlformats.org/officeDocument/2006/relationships/hyperlink" Target="https://world-nuclear.org/information-library/country-profiles/countries-a-f/france" TargetMode="External"/><Relationship Id="rId60" Type="http://schemas.openxmlformats.org/officeDocument/2006/relationships/image" Target="../media/image107.jpeg"/></Relationships>
</file>

<file path=ppt/slides/_rels/slide5.xml.rels><?xml version="1.0" encoding="UTF-8" standalone="yes"?>
<Relationships xmlns="http://schemas.openxmlformats.org/package/2006/relationships"><Relationship Id="rId13" Type="http://schemas.openxmlformats.org/officeDocument/2006/relationships/tags" Target="../tags/tag78.xml"/><Relationship Id="rId18" Type="http://schemas.openxmlformats.org/officeDocument/2006/relationships/tags" Target="../tags/tag83.xml"/><Relationship Id="rId26" Type="http://schemas.openxmlformats.org/officeDocument/2006/relationships/tags" Target="../tags/tag91.xml"/><Relationship Id="rId39" Type="http://schemas.openxmlformats.org/officeDocument/2006/relationships/hyperlink" Target="https://sris.iaea.org/region-overview/radioactive-waste-summary" TargetMode="External"/><Relationship Id="rId21" Type="http://schemas.openxmlformats.org/officeDocument/2006/relationships/tags" Target="../tags/tag86.xml"/><Relationship Id="rId34" Type="http://schemas.openxmlformats.org/officeDocument/2006/relationships/tags" Target="../tags/tag99.xml"/><Relationship Id="rId42" Type="http://schemas.openxmlformats.org/officeDocument/2006/relationships/hyperlink" Target="https://world-nuclear.org/information-library/nuclear-fuel-cycle/nuclear-waste/radioactive-waste-management#:~:text=Low%2Dlevel%20waste%20(LLW),radioactivity%20of%20all%20radioactive%20waste." TargetMode="External"/><Relationship Id="rId47" Type="http://schemas.openxmlformats.org/officeDocument/2006/relationships/chart" Target="../charts/chart1.xml"/><Relationship Id="rId7" Type="http://schemas.openxmlformats.org/officeDocument/2006/relationships/tags" Target="../tags/tag72.xml"/><Relationship Id="rId2" Type="http://schemas.openxmlformats.org/officeDocument/2006/relationships/tags" Target="../tags/tag67.xml"/><Relationship Id="rId16" Type="http://schemas.openxmlformats.org/officeDocument/2006/relationships/tags" Target="../tags/tag81.xml"/><Relationship Id="rId29" Type="http://schemas.openxmlformats.org/officeDocument/2006/relationships/tags" Target="../tags/tag94.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24" Type="http://schemas.openxmlformats.org/officeDocument/2006/relationships/tags" Target="../tags/tag89.xml"/><Relationship Id="rId32" Type="http://schemas.openxmlformats.org/officeDocument/2006/relationships/tags" Target="../tags/tag97.xml"/><Relationship Id="rId37" Type="http://schemas.openxmlformats.org/officeDocument/2006/relationships/oleObject" Target="../embeddings/oleObject11.bin"/><Relationship Id="rId40" Type="http://schemas.openxmlformats.org/officeDocument/2006/relationships/hyperlink" Target="https://ourworldindata.org/grapher/death-rates-from-energy-production-per-twh" TargetMode="External"/><Relationship Id="rId45" Type="http://schemas.openxmlformats.org/officeDocument/2006/relationships/hyperlink" Target="https://business.columbia.edu/faculty/people/gernot-wagner" TargetMode="External"/><Relationship Id="rId5" Type="http://schemas.openxmlformats.org/officeDocument/2006/relationships/tags" Target="../tags/tag70.xml"/><Relationship Id="rId15" Type="http://schemas.openxmlformats.org/officeDocument/2006/relationships/tags" Target="../tags/tag80.xml"/><Relationship Id="rId23" Type="http://schemas.openxmlformats.org/officeDocument/2006/relationships/tags" Target="../tags/tag88.xml"/><Relationship Id="rId28" Type="http://schemas.openxmlformats.org/officeDocument/2006/relationships/tags" Target="../tags/tag93.xml"/><Relationship Id="rId36" Type="http://schemas.openxmlformats.org/officeDocument/2006/relationships/notesSlide" Target="../notesSlides/notesSlide5.xml"/><Relationship Id="rId10" Type="http://schemas.openxmlformats.org/officeDocument/2006/relationships/tags" Target="../tags/tag75.xml"/><Relationship Id="rId19" Type="http://schemas.openxmlformats.org/officeDocument/2006/relationships/tags" Target="../tags/tag84.xml"/><Relationship Id="rId31" Type="http://schemas.openxmlformats.org/officeDocument/2006/relationships/tags" Target="../tags/tag96.xml"/><Relationship Id="rId44" Type="http://schemas.openxmlformats.org/officeDocument/2006/relationships/hyperlink" Target="https://www.sustainabilitybynumbers.com/p/renewables-waste" TargetMode="Externa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 Id="rId22" Type="http://schemas.openxmlformats.org/officeDocument/2006/relationships/tags" Target="../tags/tag87.xml"/><Relationship Id="rId27" Type="http://schemas.openxmlformats.org/officeDocument/2006/relationships/tags" Target="../tags/tag92.xml"/><Relationship Id="rId30" Type="http://schemas.openxmlformats.org/officeDocument/2006/relationships/tags" Target="../tags/tag95.xml"/><Relationship Id="rId35" Type="http://schemas.openxmlformats.org/officeDocument/2006/relationships/slideLayout" Target="../slideLayouts/slideLayout41.xml"/><Relationship Id="rId43" Type="http://schemas.openxmlformats.org/officeDocument/2006/relationships/hyperlink" Target="https://world-nuclear.org/information-library/nuclear-fuel-cycle/nuclear-waste/radioactive-wastes-myths-and-realities#Point2" TargetMode="External"/><Relationship Id="rId48" Type="http://schemas.openxmlformats.org/officeDocument/2006/relationships/chart" Target="../charts/chart2.xml"/><Relationship Id="rId8" Type="http://schemas.openxmlformats.org/officeDocument/2006/relationships/tags" Target="../tags/tag73.xml"/><Relationship Id="rId3" Type="http://schemas.openxmlformats.org/officeDocument/2006/relationships/tags" Target="../tags/tag68.xml"/><Relationship Id="rId12" Type="http://schemas.openxmlformats.org/officeDocument/2006/relationships/tags" Target="../tags/tag77.xml"/><Relationship Id="rId17" Type="http://schemas.openxmlformats.org/officeDocument/2006/relationships/tags" Target="../tags/tag82.xml"/><Relationship Id="rId25" Type="http://schemas.openxmlformats.org/officeDocument/2006/relationships/tags" Target="../tags/tag90.xml"/><Relationship Id="rId33" Type="http://schemas.openxmlformats.org/officeDocument/2006/relationships/tags" Target="../tags/tag98.xml"/><Relationship Id="rId38" Type="http://schemas.openxmlformats.org/officeDocument/2006/relationships/image" Target="../media/image15.emf"/><Relationship Id="rId46" Type="http://schemas.openxmlformats.org/officeDocument/2006/relationships/hyperlink" Target="https://business.columbia.edu/insights/climate/cki" TargetMode="External"/><Relationship Id="rId20" Type="http://schemas.openxmlformats.org/officeDocument/2006/relationships/tags" Target="../tags/tag85.xml"/><Relationship Id="rId41" Type="http://schemas.openxmlformats.org/officeDocument/2006/relationships/hyperlink" Target="https://ourworldindata.org/land-use-per-energy-source" TargetMode="External"/></Relationships>
</file>

<file path=ppt/slides/_rels/slide50.xml.rels><?xml version="1.0" encoding="UTF-8" standalone="yes"?>
<Relationships xmlns="http://schemas.openxmlformats.org/package/2006/relationships"><Relationship Id="rId8" Type="http://schemas.openxmlformats.org/officeDocument/2006/relationships/tags" Target="../tags/tag1352.xml"/><Relationship Id="rId13" Type="http://schemas.openxmlformats.org/officeDocument/2006/relationships/tags" Target="../tags/tag1357.xml"/><Relationship Id="rId18" Type="http://schemas.openxmlformats.org/officeDocument/2006/relationships/hyperlink" Target="https://www.energy.gov/eere/solar/federal-solar-tax-credits-businesses#:~:text=Solar%20systems%20that%20are%20placed,)%5B5%5D%20in%20size." TargetMode="External"/><Relationship Id="rId3" Type="http://schemas.openxmlformats.org/officeDocument/2006/relationships/tags" Target="../tags/tag1347.xml"/><Relationship Id="rId21" Type="http://schemas.openxmlformats.org/officeDocument/2006/relationships/hyperlink" Target="https://www.catf.us/2023/07/2022-french-nuclear-outages-lessons-nuclear-energy-europe/" TargetMode="External"/><Relationship Id="rId7" Type="http://schemas.openxmlformats.org/officeDocument/2006/relationships/tags" Target="../tags/tag1351.xml"/><Relationship Id="rId12" Type="http://schemas.openxmlformats.org/officeDocument/2006/relationships/tags" Target="../tags/tag1356.xml"/><Relationship Id="rId17" Type="http://schemas.openxmlformats.org/officeDocument/2006/relationships/image" Target="../media/image15.emf"/><Relationship Id="rId25" Type="http://schemas.openxmlformats.org/officeDocument/2006/relationships/chart" Target="../charts/chart65.xml"/><Relationship Id="rId2" Type="http://schemas.openxmlformats.org/officeDocument/2006/relationships/tags" Target="../tags/tag1346.xml"/><Relationship Id="rId16" Type="http://schemas.openxmlformats.org/officeDocument/2006/relationships/oleObject" Target="../embeddings/oleObject54.bin"/><Relationship Id="rId20" Type="http://schemas.openxmlformats.org/officeDocument/2006/relationships/hyperlink" Target="https://world-nuclear.org/information-library/country-profiles/countries-a-f/france" TargetMode="External"/><Relationship Id="rId1" Type="http://schemas.openxmlformats.org/officeDocument/2006/relationships/tags" Target="../tags/tag1345.xml"/><Relationship Id="rId6" Type="http://schemas.openxmlformats.org/officeDocument/2006/relationships/tags" Target="../tags/tag1350.xml"/><Relationship Id="rId11" Type="http://schemas.openxmlformats.org/officeDocument/2006/relationships/tags" Target="../tags/tag1355.xml"/><Relationship Id="rId24" Type="http://schemas.openxmlformats.org/officeDocument/2006/relationships/hyperlink" Target="https://business.columbia.edu/insights/climate/cki" TargetMode="External"/><Relationship Id="rId5" Type="http://schemas.openxmlformats.org/officeDocument/2006/relationships/tags" Target="../tags/tag1349.xml"/><Relationship Id="rId15" Type="http://schemas.openxmlformats.org/officeDocument/2006/relationships/notesSlide" Target="../notesSlides/notesSlide44.xml"/><Relationship Id="rId23" Type="http://schemas.openxmlformats.org/officeDocument/2006/relationships/hyperlink" Target="https://business.columbia.edu/faculty/people/gernot-wagner" TargetMode="External"/><Relationship Id="rId10" Type="http://schemas.openxmlformats.org/officeDocument/2006/relationships/tags" Target="../tags/tag1354.xml"/><Relationship Id="rId19" Type="http://schemas.openxmlformats.org/officeDocument/2006/relationships/hyperlink" Target="https://analysesetdonnees.rte-france.com/en/generation/nuclear" TargetMode="External"/><Relationship Id="rId4" Type="http://schemas.openxmlformats.org/officeDocument/2006/relationships/tags" Target="../tags/tag1348.xml"/><Relationship Id="rId9" Type="http://schemas.openxmlformats.org/officeDocument/2006/relationships/tags" Target="../tags/tag1353.xml"/><Relationship Id="rId14" Type="http://schemas.openxmlformats.org/officeDocument/2006/relationships/slideLayout" Target="../slideLayouts/slideLayout7.xml"/><Relationship Id="rId22" Type="http://schemas.openxmlformats.org/officeDocument/2006/relationships/hyperlink" Target="https://www.base.bund.de/en/nuclear-safety/nuclear-phase-out/nuclear-phase-out_content.html#a456438" TargetMode="External"/></Relationships>
</file>

<file path=ppt/slides/_rels/slide51.xml.rels><?xml version="1.0" encoding="UTF-8" standalone="yes"?>
<Relationships xmlns="http://schemas.openxmlformats.org/package/2006/relationships"><Relationship Id="rId13" Type="http://schemas.openxmlformats.org/officeDocument/2006/relationships/tags" Target="../tags/tag1370.xml"/><Relationship Id="rId18" Type="http://schemas.openxmlformats.org/officeDocument/2006/relationships/tags" Target="../tags/tag1375.xml"/><Relationship Id="rId26" Type="http://schemas.openxmlformats.org/officeDocument/2006/relationships/tags" Target="../tags/tag1383.xml"/><Relationship Id="rId39" Type="http://schemas.openxmlformats.org/officeDocument/2006/relationships/hyperlink" Target="https://world-nuclear.org/information-library/country-profiles/countries-a-f/china-nuclear-power#energy-policy-and-clean-air" TargetMode="External"/><Relationship Id="rId21" Type="http://schemas.openxmlformats.org/officeDocument/2006/relationships/tags" Target="../tags/tag1378.xml"/><Relationship Id="rId34" Type="http://schemas.openxmlformats.org/officeDocument/2006/relationships/oleObject" Target="../embeddings/oleObject55.bin"/><Relationship Id="rId42" Type="http://schemas.openxmlformats.org/officeDocument/2006/relationships/hyperlink" Target="https://www.nucnet.org/news/first-hualong-one-reactor-begins-commercial-operation-at-fuqing-2-1-2021" TargetMode="External"/><Relationship Id="rId7" Type="http://schemas.openxmlformats.org/officeDocument/2006/relationships/tags" Target="../tags/tag1364.xml"/><Relationship Id="rId2" Type="http://schemas.openxmlformats.org/officeDocument/2006/relationships/tags" Target="../tags/tag1359.xml"/><Relationship Id="rId16" Type="http://schemas.openxmlformats.org/officeDocument/2006/relationships/tags" Target="../tags/tag1373.xml"/><Relationship Id="rId29" Type="http://schemas.openxmlformats.org/officeDocument/2006/relationships/tags" Target="../tags/tag1386.xml"/><Relationship Id="rId1" Type="http://schemas.openxmlformats.org/officeDocument/2006/relationships/tags" Target="../tags/tag1358.xml"/><Relationship Id="rId6" Type="http://schemas.openxmlformats.org/officeDocument/2006/relationships/tags" Target="../tags/tag1363.xml"/><Relationship Id="rId11" Type="http://schemas.openxmlformats.org/officeDocument/2006/relationships/tags" Target="../tags/tag1368.xml"/><Relationship Id="rId24" Type="http://schemas.openxmlformats.org/officeDocument/2006/relationships/tags" Target="../tags/tag1381.xml"/><Relationship Id="rId32" Type="http://schemas.openxmlformats.org/officeDocument/2006/relationships/slideLayout" Target="../slideLayouts/slideLayout7.xml"/><Relationship Id="rId37" Type="http://schemas.openxmlformats.org/officeDocument/2006/relationships/hyperlink" Target="https://world-nuclear.org/our-association/publications/global-trends-reports/world-nuclear-performance-report-2024" TargetMode="External"/><Relationship Id="rId40" Type="http://schemas.openxmlformats.org/officeDocument/2006/relationships/hyperlink" Target="https://www.world-nuclear-news.org/Articles/Nuclear-growth-revealed-in-China-s-new-Five-Year-P" TargetMode="External"/><Relationship Id="rId45" Type="http://schemas.openxmlformats.org/officeDocument/2006/relationships/chart" Target="../charts/chart66.xml"/><Relationship Id="rId5" Type="http://schemas.openxmlformats.org/officeDocument/2006/relationships/tags" Target="../tags/tag1362.xml"/><Relationship Id="rId15" Type="http://schemas.openxmlformats.org/officeDocument/2006/relationships/tags" Target="../tags/tag1372.xml"/><Relationship Id="rId23" Type="http://schemas.openxmlformats.org/officeDocument/2006/relationships/tags" Target="../tags/tag1380.xml"/><Relationship Id="rId28" Type="http://schemas.openxmlformats.org/officeDocument/2006/relationships/tags" Target="../tags/tag1385.xml"/><Relationship Id="rId36" Type="http://schemas.openxmlformats.org/officeDocument/2006/relationships/hyperlink" Target="https://www.energy.gov/eere/solar/federal-solar-tax-credits-businesses#:~:text=Solar%20systems%20that%20are%20placed,)%5B5%5D%20in%20size." TargetMode="External"/><Relationship Id="rId10" Type="http://schemas.openxmlformats.org/officeDocument/2006/relationships/tags" Target="../tags/tag1367.xml"/><Relationship Id="rId19" Type="http://schemas.openxmlformats.org/officeDocument/2006/relationships/tags" Target="../tags/tag1376.xml"/><Relationship Id="rId31" Type="http://schemas.openxmlformats.org/officeDocument/2006/relationships/tags" Target="../tags/tag1388.xml"/><Relationship Id="rId44" Type="http://schemas.openxmlformats.org/officeDocument/2006/relationships/hyperlink" Target="https://business.columbia.edu/insights/climate/cki" TargetMode="External"/><Relationship Id="rId4" Type="http://schemas.openxmlformats.org/officeDocument/2006/relationships/tags" Target="../tags/tag1361.xml"/><Relationship Id="rId9" Type="http://schemas.openxmlformats.org/officeDocument/2006/relationships/tags" Target="../tags/tag1366.xml"/><Relationship Id="rId14" Type="http://schemas.openxmlformats.org/officeDocument/2006/relationships/tags" Target="../tags/tag1371.xml"/><Relationship Id="rId22" Type="http://schemas.openxmlformats.org/officeDocument/2006/relationships/tags" Target="../tags/tag1379.xml"/><Relationship Id="rId27" Type="http://schemas.openxmlformats.org/officeDocument/2006/relationships/tags" Target="../tags/tag1384.xml"/><Relationship Id="rId30" Type="http://schemas.openxmlformats.org/officeDocument/2006/relationships/tags" Target="../tags/tag1387.xml"/><Relationship Id="rId35" Type="http://schemas.openxmlformats.org/officeDocument/2006/relationships/image" Target="../media/image15.emf"/><Relationship Id="rId43" Type="http://schemas.openxmlformats.org/officeDocument/2006/relationships/hyperlink" Target="https://business.columbia.edu/faculty/people/gernot-wagner" TargetMode="External"/><Relationship Id="rId8" Type="http://schemas.openxmlformats.org/officeDocument/2006/relationships/tags" Target="../tags/tag1365.xml"/><Relationship Id="rId3" Type="http://schemas.openxmlformats.org/officeDocument/2006/relationships/tags" Target="../tags/tag1360.xml"/><Relationship Id="rId12" Type="http://schemas.openxmlformats.org/officeDocument/2006/relationships/tags" Target="../tags/tag1369.xml"/><Relationship Id="rId17" Type="http://schemas.openxmlformats.org/officeDocument/2006/relationships/tags" Target="../tags/tag1374.xml"/><Relationship Id="rId25" Type="http://schemas.openxmlformats.org/officeDocument/2006/relationships/tags" Target="../tags/tag1382.xml"/><Relationship Id="rId33" Type="http://schemas.openxmlformats.org/officeDocument/2006/relationships/notesSlide" Target="../notesSlides/notesSlide45.xml"/><Relationship Id="rId38" Type="http://schemas.openxmlformats.org/officeDocument/2006/relationships/hyperlink" Target="https://www.iea.org/reports/the-path-to-a-new-era-for-nuclear-energy" TargetMode="External"/><Relationship Id="rId20" Type="http://schemas.openxmlformats.org/officeDocument/2006/relationships/tags" Target="../tags/tag1377.xml"/><Relationship Id="rId41" Type="http://schemas.openxmlformats.org/officeDocument/2006/relationships/hyperlink" Target="https://chineseclimatepolicy.oxfordenergy.org/wp-content/uploads/2022/11/Guide-to-Chinese-Climate-Policy-2022.pdf" TargetMode="External"/></Relationships>
</file>

<file path=ppt/slides/_rels/slide52.xml.rels><?xml version="1.0" encoding="UTF-8" standalone="yes"?>
<Relationships xmlns="http://schemas.openxmlformats.org/package/2006/relationships"><Relationship Id="rId26" Type="http://schemas.openxmlformats.org/officeDocument/2006/relationships/tags" Target="../tags/tag1414.xml"/><Relationship Id="rId21" Type="http://schemas.openxmlformats.org/officeDocument/2006/relationships/tags" Target="../tags/tag1409.xml"/><Relationship Id="rId42" Type="http://schemas.openxmlformats.org/officeDocument/2006/relationships/tags" Target="../tags/tag1430.xml"/><Relationship Id="rId47" Type="http://schemas.openxmlformats.org/officeDocument/2006/relationships/tags" Target="../tags/tag1435.xml"/><Relationship Id="rId63" Type="http://schemas.openxmlformats.org/officeDocument/2006/relationships/tags" Target="../tags/tag1451.xml"/><Relationship Id="rId68" Type="http://schemas.openxmlformats.org/officeDocument/2006/relationships/tags" Target="../tags/tag1456.xml"/><Relationship Id="rId84" Type="http://schemas.openxmlformats.org/officeDocument/2006/relationships/hyperlink" Target="https://www.iea.org/reports/the-path-to-a-new-era-for-nuclear-energy" TargetMode="External"/><Relationship Id="rId89" Type="http://schemas.openxmlformats.org/officeDocument/2006/relationships/hyperlink" Target="https://www.world-nuclear-news.org/articles/indian-budget-launches-nuclear-energy-mission" TargetMode="External"/><Relationship Id="rId16" Type="http://schemas.openxmlformats.org/officeDocument/2006/relationships/tags" Target="../tags/tag1404.xml"/><Relationship Id="rId11" Type="http://schemas.openxmlformats.org/officeDocument/2006/relationships/tags" Target="../tags/tag1399.xml"/><Relationship Id="rId32" Type="http://schemas.openxmlformats.org/officeDocument/2006/relationships/tags" Target="../tags/tag1420.xml"/><Relationship Id="rId37" Type="http://schemas.openxmlformats.org/officeDocument/2006/relationships/tags" Target="../tags/tag1425.xml"/><Relationship Id="rId53" Type="http://schemas.openxmlformats.org/officeDocument/2006/relationships/tags" Target="../tags/tag1441.xml"/><Relationship Id="rId58" Type="http://schemas.openxmlformats.org/officeDocument/2006/relationships/tags" Target="../tags/tag1446.xml"/><Relationship Id="rId74" Type="http://schemas.openxmlformats.org/officeDocument/2006/relationships/tags" Target="../tags/tag1462.xml"/><Relationship Id="rId79" Type="http://schemas.openxmlformats.org/officeDocument/2006/relationships/notesSlide" Target="../notesSlides/notesSlide46.xml"/><Relationship Id="rId5" Type="http://schemas.openxmlformats.org/officeDocument/2006/relationships/tags" Target="../tags/tag1393.xml"/><Relationship Id="rId90" Type="http://schemas.openxmlformats.org/officeDocument/2006/relationships/hyperlink" Target="https://www.impriindia.com/insights/nuclear-energy-mission-viksit-bharat/" TargetMode="External"/><Relationship Id="rId95" Type="http://schemas.openxmlformats.org/officeDocument/2006/relationships/image" Target="../media/image108.gif"/><Relationship Id="rId22" Type="http://schemas.openxmlformats.org/officeDocument/2006/relationships/tags" Target="../tags/tag1410.xml"/><Relationship Id="rId27" Type="http://schemas.openxmlformats.org/officeDocument/2006/relationships/tags" Target="../tags/tag1415.xml"/><Relationship Id="rId43" Type="http://schemas.openxmlformats.org/officeDocument/2006/relationships/tags" Target="../tags/tag1431.xml"/><Relationship Id="rId48" Type="http://schemas.openxmlformats.org/officeDocument/2006/relationships/tags" Target="../tags/tag1436.xml"/><Relationship Id="rId64" Type="http://schemas.openxmlformats.org/officeDocument/2006/relationships/tags" Target="../tags/tag1452.xml"/><Relationship Id="rId69" Type="http://schemas.openxmlformats.org/officeDocument/2006/relationships/tags" Target="../tags/tag1457.xml"/><Relationship Id="rId80" Type="http://schemas.openxmlformats.org/officeDocument/2006/relationships/oleObject" Target="../embeddings/oleObject56.bin"/><Relationship Id="rId85" Type="http://schemas.openxmlformats.org/officeDocument/2006/relationships/hyperlink" Target="https://www.enecho.meti.go.jp/about/pamphlet/pdf/energy_in_japan2024.pdf" TargetMode="External"/><Relationship Id="rId3" Type="http://schemas.openxmlformats.org/officeDocument/2006/relationships/tags" Target="../tags/tag1391.xml"/><Relationship Id="rId12" Type="http://schemas.openxmlformats.org/officeDocument/2006/relationships/tags" Target="../tags/tag1400.xml"/><Relationship Id="rId17" Type="http://schemas.openxmlformats.org/officeDocument/2006/relationships/tags" Target="../tags/tag1405.xml"/><Relationship Id="rId25" Type="http://schemas.openxmlformats.org/officeDocument/2006/relationships/tags" Target="../tags/tag1413.xml"/><Relationship Id="rId33" Type="http://schemas.openxmlformats.org/officeDocument/2006/relationships/tags" Target="../tags/tag1421.xml"/><Relationship Id="rId38" Type="http://schemas.openxmlformats.org/officeDocument/2006/relationships/tags" Target="../tags/tag1426.xml"/><Relationship Id="rId46" Type="http://schemas.openxmlformats.org/officeDocument/2006/relationships/tags" Target="../tags/tag1434.xml"/><Relationship Id="rId59" Type="http://schemas.openxmlformats.org/officeDocument/2006/relationships/tags" Target="../tags/tag1447.xml"/><Relationship Id="rId67" Type="http://schemas.openxmlformats.org/officeDocument/2006/relationships/tags" Target="../tags/tag1455.xml"/><Relationship Id="rId20" Type="http://schemas.openxmlformats.org/officeDocument/2006/relationships/tags" Target="../tags/tag1408.xml"/><Relationship Id="rId41" Type="http://schemas.openxmlformats.org/officeDocument/2006/relationships/tags" Target="../tags/tag1429.xml"/><Relationship Id="rId54" Type="http://schemas.openxmlformats.org/officeDocument/2006/relationships/tags" Target="../tags/tag1442.xml"/><Relationship Id="rId62" Type="http://schemas.openxmlformats.org/officeDocument/2006/relationships/tags" Target="../tags/tag1450.xml"/><Relationship Id="rId70" Type="http://schemas.openxmlformats.org/officeDocument/2006/relationships/tags" Target="../tags/tag1458.xml"/><Relationship Id="rId75" Type="http://schemas.openxmlformats.org/officeDocument/2006/relationships/tags" Target="../tags/tag1463.xml"/><Relationship Id="rId83" Type="http://schemas.openxmlformats.org/officeDocument/2006/relationships/hyperlink" Target="https://world-nuclear.org/our-association/publications/global-trends-reports/world-nuclear-performance-report-2024" TargetMode="External"/><Relationship Id="rId88" Type="http://schemas.openxmlformats.org/officeDocument/2006/relationships/hyperlink" Target="https://data.bloomberglp.com/professional/sites/24/2020-06-26-Indias-Clean-Power-Revolution_Final.pdf" TargetMode="External"/><Relationship Id="rId91" Type="http://schemas.openxmlformats.org/officeDocument/2006/relationships/hyperlink" Target="https://ember-energy.org/data/electricity-data-explorer/" TargetMode="External"/><Relationship Id="rId96" Type="http://schemas.openxmlformats.org/officeDocument/2006/relationships/image" Target="../media/image109.gif"/><Relationship Id="rId1" Type="http://schemas.openxmlformats.org/officeDocument/2006/relationships/tags" Target="../tags/tag1389.xml"/><Relationship Id="rId6" Type="http://schemas.openxmlformats.org/officeDocument/2006/relationships/tags" Target="../tags/tag1394.xml"/><Relationship Id="rId15" Type="http://schemas.openxmlformats.org/officeDocument/2006/relationships/tags" Target="../tags/tag1403.xml"/><Relationship Id="rId23" Type="http://schemas.openxmlformats.org/officeDocument/2006/relationships/tags" Target="../tags/tag1411.xml"/><Relationship Id="rId28" Type="http://schemas.openxmlformats.org/officeDocument/2006/relationships/tags" Target="../tags/tag1416.xml"/><Relationship Id="rId36" Type="http://schemas.openxmlformats.org/officeDocument/2006/relationships/tags" Target="../tags/tag1424.xml"/><Relationship Id="rId49" Type="http://schemas.openxmlformats.org/officeDocument/2006/relationships/tags" Target="../tags/tag1437.xml"/><Relationship Id="rId57" Type="http://schemas.openxmlformats.org/officeDocument/2006/relationships/tags" Target="../tags/tag1445.xml"/><Relationship Id="rId10" Type="http://schemas.openxmlformats.org/officeDocument/2006/relationships/tags" Target="../tags/tag1398.xml"/><Relationship Id="rId31" Type="http://schemas.openxmlformats.org/officeDocument/2006/relationships/tags" Target="../tags/tag1419.xml"/><Relationship Id="rId44" Type="http://schemas.openxmlformats.org/officeDocument/2006/relationships/tags" Target="../tags/tag1432.xml"/><Relationship Id="rId52" Type="http://schemas.openxmlformats.org/officeDocument/2006/relationships/tags" Target="../tags/tag1440.xml"/><Relationship Id="rId60" Type="http://schemas.openxmlformats.org/officeDocument/2006/relationships/tags" Target="../tags/tag1448.xml"/><Relationship Id="rId65" Type="http://schemas.openxmlformats.org/officeDocument/2006/relationships/tags" Target="../tags/tag1453.xml"/><Relationship Id="rId73" Type="http://schemas.openxmlformats.org/officeDocument/2006/relationships/tags" Target="../tags/tag1461.xml"/><Relationship Id="rId78" Type="http://schemas.openxmlformats.org/officeDocument/2006/relationships/slideLayout" Target="../slideLayouts/slideLayout7.xml"/><Relationship Id="rId81" Type="http://schemas.openxmlformats.org/officeDocument/2006/relationships/image" Target="../media/image15.emf"/><Relationship Id="rId86" Type="http://schemas.openxmlformats.org/officeDocument/2006/relationships/hyperlink" Target="https://www.world-nuclear-news.org/articles/south-korea-confirms-need-for-new-reactors" TargetMode="External"/><Relationship Id="rId94" Type="http://schemas.openxmlformats.org/officeDocument/2006/relationships/chart" Target="../charts/chart67.xml"/><Relationship Id="rId99" Type="http://schemas.openxmlformats.org/officeDocument/2006/relationships/chart" Target="../charts/chart69.xml"/><Relationship Id="rId4" Type="http://schemas.openxmlformats.org/officeDocument/2006/relationships/tags" Target="../tags/tag1392.xml"/><Relationship Id="rId9" Type="http://schemas.openxmlformats.org/officeDocument/2006/relationships/tags" Target="../tags/tag1397.xml"/><Relationship Id="rId13" Type="http://schemas.openxmlformats.org/officeDocument/2006/relationships/tags" Target="../tags/tag1401.xml"/><Relationship Id="rId18" Type="http://schemas.openxmlformats.org/officeDocument/2006/relationships/tags" Target="../tags/tag1406.xml"/><Relationship Id="rId39" Type="http://schemas.openxmlformats.org/officeDocument/2006/relationships/tags" Target="../tags/tag1427.xml"/><Relationship Id="rId34" Type="http://schemas.openxmlformats.org/officeDocument/2006/relationships/tags" Target="../tags/tag1422.xml"/><Relationship Id="rId50" Type="http://schemas.openxmlformats.org/officeDocument/2006/relationships/tags" Target="../tags/tag1438.xml"/><Relationship Id="rId55" Type="http://schemas.openxmlformats.org/officeDocument/2006/relationships/tags" Target="../tags/tag1443.xml"/><Relationship Id="rId76" Type="http://schemas.openxmlformats.org/officeDocument/2006/relationships/tags" Target="../tags/tag1464.xml"/><Relationship Id="rId97" Type="http://schemas.openxmlformats.org/officeDocument/2006/relationships/image" Target="../media/image110.gif"/><Relationship Id="rId7" Type="http://schemas.openxmlformats.org/officeDocument/2006/relationships/tags" Target="../tags/tag1395.xml"/><Relationship Id="rId71" Type="http://schemas.openxmlformats.org/officeDocument/2006/relationships/tags" Target="../tags/tag1459.xml"/><Relationship Id="rId92" Type="http://schemas.openxmlformats.org/officeDocument/2006/relationships/hyperlink" Target="https://business.columbia.edu/faculty/people/gernot-wagner" TargetMode="External"/><Relationship Id="rId2" Type="http://schemas.openxmlformats.org/officeDocument/2006/relationships/tags" Target="../tags/tag1390.xml"/><Relationship Id="rId29" Type="http://schemas.openxmlformats.org/officeDocument/2006/relationships/tags" Target="../tags/tag1417.xml"/><Relationship Id="rId24" Type="http://schemas.openxmlformats.org/officeDocument/2006/relationships/tags" Target="../tags/tag1412.xml"/><Relationship Id="rId40" Type="http://schemas.openxmlformats.org/officeDocument/2006/relationships/tags" Target="../tags/tag1428.xml"/><Relationship Id="rId45" Type="http://schemas.openxmlformats.org/officeDocument/2006/relationships/tags" Target="../tags/tag1433.xml"/><Relationship Id="rId66" Type="http://schemas.openxmlformats.org/officeDocument/2006/relationships/tags" Target="../tags/tag1454.xml"/><Relationship Id="rId87" Type="http://schemas.openxmlformats.org/officeDocument/2006/relationships/hyperlink" Target="https://ieefa.org/resources/south-koreas-11th-power-plan-makes-partial-progress-towards-decarbonization" TargetMode="External"/><Relationship Id="rId61" Type="http://schemas.openxmlformats.org/officeDocument/2006/relationships/tags" Target="../tags/tag1449.xml"/><Relationship Id="rId82" Type="http://schemas.openxmlformats.org/officeDocument/2006/relationships/hyperlink" Target="https://www.energy.gov/eere/solar/federal-solar-tax-credits-businesses#:~:text=Solar%20systems%20that%20are%20placed,)%5B5%5D%20in%20size." TargetMode="External"/><Relationship Id="rId19" Type="http://schemas.openxmlformats.org/officeDocument/2006/relationships/tags" Target="../tags/tag1407.xml"/><Relationship Id="rId14" Type="http://schemas.openxmlformats.org/officeDocument/2006/relationships/tags" Target="../tags/tag1402.xml"/><Relationship Id="rId30" Type="http://schemas.openxmlformats.org/officeDocument/2006/relationships/tags" Target="../tags/tag1418.xml"/><Relationship Id="rId35" Type="http://schemas.openxmlformats.org/officeDocument/2006/relationships/tags" Target="../tags/tag1423.xml"/><Relationship Id="rId56" Type="http://schemas.openxmlformats.org/officeDocument/2006/relationships/tags" Target="../tags/tag1444.xml"/><Relationship Id="rId77" Type="http://schemas.openxmlformats.org/officeDocument/2006/relationships/tags" Target="../tags/tag1465.xml"/><Relationship Id="rId8" Type="http://schemas.openxmlformats.org/officeDocument/2006/relationships/tags" Target="../tags/tag1396.xml"/><Relationship Id="rId51" Type="http://schemas.openxmlformats.org/officeDocument/2006/relationships/tags" Target="../tags/tag1439.xml"/><Relationship Id="rId72" Type="http://schemas.openxmlformats.org/officeDocument/2006/relationships/tags" Target="../tags/tag1460.xml"/><Relationship Id="rId93" Type="http://schemas.openxmlformats.org/officeDocument/2006/relationships/hyperlink" Target="https://business.columbia.edu/insights/climate/cki" TargetMode="External"/><Relationship Id="rId98" Type="http://schemas.openxmlformats.org/officeDocument/2006/relationships/chart" Target="../charts/chart68.xml"/></Relationships>
</file>

<file path=ppt/slides/_rels/slide53.xml.rels><?xml version="1.0" encoding="UTF-8" standalone="yes"?>
<Relationships xmlns="http://schemas.openxmlformats.org/package/2006/relationships"><Relationship Id="rId8" Type="http://schemas.openxmlformats.org/officeDocument/2006/relationships/hyperlink" Target="https://www.energy.gov/eere/solar/federal-solar-tax-credits-businesses#:~:text=Solar%20systems%20that%20are%20placed,)%5B5%5D%20in%20size." TargetMode="External"/><Relationship Id="rId13" Type="http://schemas.openxmlformats.org/officeDocument/2006/relationships/hyperlink" Target="https://pris.iaea.org/PRIS/CountryStatistics/CountryDetails.aspx?current=JP" TargetMode="External"/><Relationship Id="rId3" Type="http://schemas.openxmlformats.org/officeDocument/2006/relationships/tags" Target="../tags/tag1468.xml"/><Relationship Id="rId7" Type="http://schemas.openxmlformats.org/officeDocument/2006/relationships/image" Target="../media/image15.emf"/><Relationship Id="rId12" Type="http://schemas.openxmlformats.org/officeDocument/2006/relationships/hyperlink" Target="https://www.google.com/finance/quote/TKECY:OTCMKTS?window=MAX" TargetMode="External"/><Relationship Id="rId17" Type="http://schemas.openxmlformats.org/officeDocument/2006/relationships/image" Target="../media/image111.svg"/><Relationship Id="rId2" Type="http://schemas.openxmlformats.org/officeDocument/2006/relationships/tags" Target="../tags/tag1467.xml"/><Relationship Id="rId16" Type="http://schemas.openxmlformats.org/officeDocument/2006/relationships/hyperlink" Target="https://business.columbia.edu/insights/climate/cki" TargetMode="External"/><Relationship Id="rId1" Type="http://schemas.openxmlformats.org/officeDocument/2006/relationships/tags" Target="../tags/tag1466.xml"/><Relationship Id="rId6" Type="http://schemas.openxmlformats.org/officeDocument/2006/relationships/oleObject" Target="../embeddings/oleObject57.bin"/><Relationship Id="rId11" Type="http://schemas.openxmlformats.org/officeDocument/2006/relationships/hyperlink" Target="https://www.reuters.com/article/business/tokyo-electric-set-to-receive-59-bln-financing-source-idUST9N0GD01Q/#:~:text=Y300%20bln%20new-,financing%20%2D%20source,the%20Nikkei%20and%20Asahi%20newspapers." TargetMode="External"/><Relationship Id="rId5" Type="http://schemas.openxmlformats.org/officeDocument/2006/relationships/notesSlide" Target="../notesSlides/notesSlide47.xml"/><Relationship Id="rId15" Type="http://schemas.openxmlformats.org/officeDocument/2006/relationships/hyperlink" Target="https://business.columbia.edu/faculty/people/gernot-wagner" TargetMode="External"/><Relationship Id="rId10" Type="http://schemas.openxmlformats.org/officeDocument/2006/relationships/hyperlink" Target="https://world-nuclear.org/information-library/country-profiles/countries-g-n/japan-nuclear-power#public-opinion" TargetMode="External"/><Relationship Id="rId4" Type="http://schemas.openxmlformats.org/officeDocument/2006/relationships/slideLayout" Target="../slideLayouts/slideLayout7.xml"/><Relationship Id="rId9" Type="http://schemas.openxmlformats.org/officeDocument/2006/relationships/hyperlink" Target="https://www.eia.gov/todayinenergy/detail.php?id=64204" TargetMode="External"/><Relationship Id="rId14" Type="http://schemas.openxmlformats.org/officeDocument/2006/relationships/hyperlink" Target="https://doi.org/10.1155/2017/4107614" TargetMode="External"/></Relationships>
</file>

<file path=ppt/slides/_rels/slide54.xml.rels><?xml version="1.0" encoding="UTF-8" standalone="yes"?>
<Relationships xmlns="http://schemas.openxmlformats.org/package/2006/relationships"><Relationship Id="rId8" Type="http://schemas.openxmlformats.org/officeDocument/2006/relationships/image" Target="../media/image15.emf"/><Relationship Id="rId13" Type="http://schemas.openxmlformats.org/officeDocument/2006/relationships/hyperlink" Target="https://energyforgrowth.org/wp-content/uploads/2023/04/2023-Update_-Who-in-Africa-is-Ready-for-Nuclear-Power_-1-1.pdf" TargetMode="External"/><Relationship Id="rId18" Type="http://schemas.openxmlformats.org/officeDocument/2006/relationships/hyperlink" Target="https://business.columbia.edu/insights/climate/cki" TargetMode="External"/><Relationship Id="rId3" Type="http://schemas.openxmlformats.org/officeDocument/2006/relationships/tags" Target="../tags/tag1471.xml"/><Relationship Id="rId21" Type="http://schemas.openxmlformats.org/officeDocument/2006/relationships/image" Target="../media/image114.jpeg"/><Relationship Id="rId7" Type="http://schemas.openxmlformats.org/officeDocument/2006/relationships/oleObject" Target="../embeddings/oleObject58.bin"/><Relationship Id="rId12" Type="http://schemas.openxmlformats.org/officeDocument/2006/relationships/hyperlink" Target="https://www.africa-energy.com/news-centre/article/more-african-governments-consider-nuclear-power-costs-could" TargetMode="External"/><Relationship Id="rId17" Type="http://schemas.openxmlformats.org/officeDocument/2006/relationships/hyperlink" Target="https://business.columbia.edu/faculty/people/gernot-wagner" TargetMode="External"/><Relationship Id="rId2" Type="http://schemas.openxmlformats.org/officeDocument/2006/relationships/tags" Target="../tags/tag1470.xml"/><Relationship Id="rId16" Type="http://schemas.openxmlformats.org/officeDocument/2006/relationships/hyperlink" Target="https://www.nuclearbusiness-platform.com/media/insights/nigerias-path-to-nuclear-energy-advancing-infrastructure-partnerships-and-power-goals" TargetMode="External"/><Relationship Id="rId20" Type="http://schemas.openxmlformats.org/officeDocument/2006/relationships/image" Target="../media/image113.jpeg"/><Relationship Id="rId1" Type="http://schemas.openxmlformats.org/officeDocument/2006/relationships/tags" Target="../tags/tag1469.xml"/><Relationship Id="rId6" Type="http://schemas.microsoft.com/office/2018/10/relationships/comments" Target="../comments/modernComment_7FFFF162_A759465E.xml"/><Relationship Id="rId11" Type="http://schemas.openxmlformats.org/officeDocument/2006/relationships/hyperlink" Target="https://cnpp.iaea.org/public/countries/AR/profile/highlights" TargetMode="External"/><Relationship Id="rId24" Type="http://schemas.openxmlformats.org/officeDocument/2006/relationships/image" Target="../media/image117.jpeg"/><Relationship Id="rId5" Type="http://schemas.openxmlformats.org/officeDocument/2006/relationships/notesSlide" Target="../notesSlides/notesSlide48.xml"/><Relationship Id="rId15" Type="http://schemas.openxmlformats.org/officeDocument/2006/relationships/hyperlink" Target="https://www.reuters.com/markets/deals/ghana-signs-agreement-build-small-nuscale-nuclear-reactor-2024-08-29/" TargetMode="External"/><Relationship Id="rId23" Type="http://schemas.openxmlformats.org/officeDocument/2006/relationships/image" Target="../media/image116.jpeg"/><Relationship Id="rId10" Type="http://schemas.openxmlformats.org/officeDocument/2006/relationships/hyperlink" Target="https://www.iea.org/reports/the-path-to-a-new-era-for-nuclear-energy" TargetMode="External"/><Relationship Id="rId19" Type="http://schemas.openxmlformats.org/officeDocument/2006/relationships/image" Target="../media/image112.jpeg"/><Relationship Id="rId4" Type="http://schemas.openxmlformats.org/officeDocument/2006/relationships/slideLayout" Target="../slideLayouts/slideLayout7.xml"/><Relationship Id="rId9" Type="http://schemas.openxmlformats.org/officeDocument/2006/relationships/hyperlink" Target="https://www.energy.gov/eere/solar/federal-solar-tax-credits-businesses#:~:text=Solar%20systems%20that%20are%20placed,)%5B5%5D%20in%20size." TargetMode="External"/><Relationship Id="rId14" Type="http://schemas.openxmlformats.org/officeDocument/2006/relationships/hyperlink" Target="https://www.world-nuclear-news.org/articles/permit-granted-for-used-fuel-storage-facility-at-egypts-el-dabaa-nuclear-plant" TargetMode="External"/><Relationship Id="rId22" Type="http://schemas.openxmlformats.org/officeDocument/2006/relationships/image" Target="../media/image115.jpeg"/></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73.xml"/><Relationship Id="rId1" Type="http://schemas.openxmlformats.org/officeDocument/2006/relationships/tags" Target="../tags/tag1472.x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image" Target="../media/image118.jpeg"/></Relationships>
</file>

<file path=ppt/slides/_rels/slide56.xml.rels><?xml version="1.0" encoding="UTF-8" standalone="yes"?>
<Relationships xmlns="http://schemas.openxmlformats.org/package/2006/relationships"><Relationship Id="rId8" Type="http://schemas.openxmlformats.org/officeDocument/2006/relationships/tags" Target="../tags/tag1481.xml"/><Relationship Id="rId13" Type="http://schemas.openxmlformats.org/officeDocument/2006/relationships/image" Target="../media/image119.jpeg"/><Relationship Id="rId3" Type="http://schemas.openxmlformats.org/officeDocument/2006/relationships/tags" Target="../tags/tag1476.xml"/><Relationship Id="rId7" Type="http://schemas.openxmlformats.org/officeDocument/2006/relationships/tags" Target="../tags/tag1480.xml"/><Relationship Id="rId12" Type="http://schemas.openxmlformats.org/officeDocument/2006/relationships/image" Target="../media/image15.emf"/><Relationship Id="rId2" Type="http://schemas.openxmlformats.org/officeDocument/2006/relationships/tags" Target="../tags/tag1475.xml"/><Relationship Id="rId1" Type="http://schemas.openxmlformats.org/officeDocument/2006/relationships/tags" Target="../tags/tag1474.xml"/><Relationship Id="rId6" Type="http://schemas.openxmlformats.org/officeDocument/2006/relationships/tags" Target="../tags/tag1479.xml"/><Relationship Id="rId11" Type="http://schemas.openxmlformats.org/officeDocument/2006/relationships/oleObject" Target="../embeddings/oleObject60.bin"/><Relationship Id="rId5" Type="http://schemas.openxmlformats.org/officeDocument/2006/relationships/tags" Target="../tags/tag1478.xml"/><Relationship Id="rId15" Type="http://schemas.openxmlformats.org/officeDocument/2006/relationships/hyperlink" Target="https://business.columbia.edu/insights/climate/cki" TargetMode="External"/><Relationship Id="rId10" Type="http://schemas.openxmlformats.org/officeDocument/2006/relationships/notesSlide" Target="../notesSlides/notesSlide49.xml"/><Relationship Id="rId4" Type="http://schemas.openxmlformats.org/officeDocument/2006/relationships/tags" Target="../tags/tag1477.xml"/><Relationship Id="rId9" Type="http://schemas.openxmlformats.org/officeDocument/2006/relationships/slideLayout" Target="../slideLayouts/slideLayout7.xml"/><Relationship Id="rId14" Type="http://schemas.openxmlformats.org/officeDocument/2006/relationships/hyperlink" Target="https://business.columbia.edu/faculty/people/gernot-wagner" TargetMode="External"/></Relationships>
</file>

<file path=ppt/slides/_rels/slide57.xml.rels><?xml version="1.0" encoding="UTF-8" standalone="yes"?>
<Relationships xmlns="http://schemas.openxmlformats.org/package/2006/relationships"><Relationship Id="rId13" Type="http://schemas.openxmlformats.org/officeDocument/2006/relationships/tags" Target="../tags/tag1494.xml"/><Relationship Id="rId18" Type="http://schemas.openxmlformats.org/officeDocument/2006/relationships/tags" Target="../tags/tag1499.xml"/><Relationship Id="rId26" Type="http://schemas.openxmlformats.org/officeDocument/2006/relationships/tags" Target="../tags/tag1507.xml"/><Relationship Id="rId39" Type="http://schemas.openxmlformats.org/officeDocument/2006/relationships/tags" Target="../tags/tag1520.xml"/><Relationship Id="rId21" Type="http://schemas.openxmlformats.org/officeDocument/2006/relationships/tags" Target="../tags/tag1502.xml"/><Relationship Id="rId34" Type="http://schemas.openxmlformats.org/officeDocument/2006/relationships/tags" Target="../tags/tag1515.xml"/><Relationship Id="rId42" Type="http://schemas.openxmlformats.org/officeDocument/2006/relationships/slideLayout" Target="../slideLayouts/slideLayout7.xml"/><Relationship Id="rId47" Type="http://schemas.openxmlformats.org/officeDocument/2006/relationships/hyperlink" Target="https://www.energy.gov/eere/solar/federal-solar-tax-credits-businesses#:~:text=Solar%20systems%20that%20are%20placed,)%5B5%5D%20in%20size." TargetMode="External"/><Relationship Id="rId50" Type="http://schemas.openxmlformats.org/officeDocument/2006/relationships/hyperlink" Target="https://greenly.earth/en-us/blog/industries/will-nuclear-fusion-help-solve-our-future-energy-needs" TargetMode="External"/><Relationship Id="rId55" Type="http://schemas.openxmlformats.org/officeDocument/2006/relationships/hyperlink" Target="https://business.columbia.edu/faculty/people/gernot-wagner" TargetMode="External"/><Relationship Id="rId7" Type="http://schemas.openxmlformats.org/officeDocument/2006/relationships/tags" Target="../tags/tag1488.xml"/><Relationship Id="rId2" Type="http://schemas.openxmlformats.org/officeDocument/2006/relationships/tags" Target="../tags/tag1483.xml"/><Relationship Id="rId16" Type="http://schemas.openxmlformats.org/officeDocument/2006/relationships/tags" Target="../tags/tag1497.xml"/><Relationship Id="rId29" Type="http://schemas.openxmlformats.org/officeDocument/2006/relationships/tags" Target="../tags/tag1510.xml"/><Relationship Id="rId11" Type="http://schemas.openxmlformats.org/officeDocument/2006/relationships/tags" Target="../tags/tag1492.xml"/><Relationship Id="rId24" Type="http://schemas.openxmlformats.org/officeDocument/2006/relationships/tags" Target="../tags/tag1505.xml"/><Relationship Id="rId32" Type="http://schemas.openxmlformats.org/officeDocument/2006/relationships/tags" Target="../tags/tag1513.xml"/><Relationship Id="rId37" Type="http://schemas.openxmlformats.org/officeDocument/2006/relationships/tags" Target="../tags/tag1518.xml"/><Relationship Id="rId40" Type="http://schemas.openxmlformats.org/officeDocument/2006/relationships/tags" Target="../tags/tag1521.xml"/><Relationship Id="rId45" Type="http://schemas.openxmlformats.org/officeDocument/2006/relationships/image" Target="../media/image120.emf"/><Relationship Id="rId53" Type="http://schemas.openxmlformats.org/officeDocument/2006/relationships/hyperlink" Target="https://www.iter.org/machine/supporting-systems/tritium-breeding" TargetMode="External"/><Relationship Id="rId5" Type="http://schemas.openxmlformats.org/officeDocument/2006/relationships/tags" Target="../tags/tag1486.xml"/><Relationship Id="rId10" Type="http://schemas.openxmlformats.org/officeDocument/2006/relationships/tags" Target="../tags/tag1491.xml"/><Relationship Id="rId19" Type="http://schemas.openxmlformats.org/officeDocument/2006/relationships/tags" Target="../tags/tag1500.xml"/><Relationship Id="rId31" Type="http://schemas.openxmlformats.org/officeDocument/2006/relationships/tags" Target="../tags/tag1512.xml"/><Relationship Id="rId44" Type="http://schemas.openxmlformats.org/officeDocument/2006/relationships/oleObject" Target="../embeddings/oleObject61.bin"/><Relationship Id="rId52" Type="http://schemas.openxmlformats.org/officeDocument/2006/relationships/hyperlink" Target="https://www.iter.org/fusion-energy/advantages-fusion" TargetMode="External"/><Relationship Id="rId4" Type="http://schemas.openxmlformats.org/officeDocument/2006/relationships/tags" Target="../tags/tag1485.xml"/><Relationship Id="rId9" Type="http://schemas.openxmlformats.org/officeDocument/2006/relationships/tags" Target="../tags/tag1490.xml"/><Relationship Id="rId14" Type="http://schemas.openxmlformats.org/officeDocument/2006/relationships/tags" Target="../tags/tag1495.xml"/><Relationship Id="rId22" Type="http://schemas.openxmlformats.org/officeDocument/2006/relationships/tags" Target="../tags/tag1503.xml"/><Relationship Id="rId27" Type="http://schemas.openxmlformats.org/officeDocument/2006/relationships/tags" Target="../tags/tag1508.xml"/><Relationship Id="rId30" Type="http://schemas.openxmlformats.org/officeDocument/2006/relationships/tags" Target="../tags/tag1511.xml"/><Relationship Id="rId35" Type="http://schemas.openxmlformats.org/officeDocument/2006/relationships/tags" Target="../tags/tag1516.xml"/><Relationship Id="rId43" Type="http://schemas.openxmlformats.org/officeDocument/2006/relationships/notesSlide" Target="../notesSlides/notesSlide50.xml"/><Relationship Id="rId48" Type="http://schemas.openxmlformats.org/officeDocument/2006/relationships/hyperlink" Target="https://www.euronuclear.org/glossary/fuel-comparison/" TargetMode="External"/><Relationship Id="rId56" Type="http://schemas.openxmlformats.org/officeDocument/2006/relationships/hyperlink" Target="https://business.columbia.edu/insights/climate/cki" TargetMode="External"/><Relationship Id="rId8" Type="http://schemas.openxmlformats.org/officeDocument/2006/relationships/tags" Target="../tags/tag1489.xml"/><Relationship Id="rId51" Type="http://schemas.openxmlformats.org/officeDocument/2006/relationships/hyperlink" Target="https://www.sciencedirect.com/science/article/pii/B9780323998802000187" TargetMode="External"/><Relationship Id="rId3" Type="http://schemas.openxmlformats.org/officeDocument/2006/relationships/tags" Target="../tags/tag1484.xml"/><Relationship Id="rId12" Type="http://schemas.openxmlformats.org/officeDocument/2006/relationships/tags" Target="../tags/tag1493.xml"/><Relationship Id="rId17" Type="http://schemas.openxmlformats.org/officeDocument/2006/relationships/tags" Target="../tags/tag1498.xml"/><Relationship Id="rId25" Type="http://schemas.openxmlformats.org/officeDocument/2006/relationships/tags" Target="../tags/tag1506.xml"/><Relationship Id="rId33" Type="http://schemas.openxmlformats.org/officeDocument/2006/relationships/tags" Target="../tags/tag1514.xml"/><Relationship Id="rId38" Type="http://schemas.openxmlformats.org/officeDocument/2006/relationships/tags" Target="../tags/tag1519.xml"/><Relationship Id="rId46" Type="http://schemas.openxmlformats.org/officeDocument/2006/relationships/chart" Target="../charts/chart70.xml"/><Relationship Id="rId20" Type="http://schemas.openxmlformats.org/officeDocument/2006/relationships/tags" Target="../tags/tag1501.xml"/><Relationship Id="rId41" Type="http://schemas.openxmlformats.org/officeDocument/2006/relationships/tags" Target="../tags/tag1522.xml"/><Relationship Id="rId54" Type="http://schemas.openxmlformats.org/officeDocument/2006/relationships/hyperlink" Target="https://www.energy.gov/science/doe-explainsdeuterium-tritium-fusion-fuel#:~:text=Deuterium%20is%20common%3A%20about%201,about%202%2C400%20gallons%20of%20oil." TargetMode="External"/><Relationship Id="rId1" Type="http://schemas.openxmlformats.org/officeDocument/2006/relationships/tags" Target="../tags/tag1482.xml"/><Relationship Id="rId6" Type="http://schemas.openxmlformats.org/officeDocument/2006/relationships/tags" Target="../tags/tag1487.xml"/><Relationship Id="rId15" Type="http://schemas.openxmlformats.org/officeDocument/2006/relationships/tags" Target="../tags/tag1496.xml"/><Relationship Id="rId23" Type="http://schemas.openxmlformats.org/officeDocument/2006/relationships/tags" Target="../tags/tag1504.xml"/><Relationship Id="rId28" Type="http://schemas.openxmlformats.org/officeDocument/2006/relationships/tags" Target="../tags/tag1509.xml"/><Relationship Id="rId36" Type="http://schemas.openxmlformats.org/officeDocument/2006/relationships/tags" Target="../tags/tag1517.xml"/><Relationship Id="rId49" Type="http://schemas.openxmlformats.org/officeDocument/2006/relationships/hyperlink" Target="https://home.uni-leipzig.de/energy/energy-fundamentals/11.htm" TargetMode="External"/></Relationships>
</file>

<file path=ppt/slides/_rels/slide58.xml.rels><?xml version="1.0" encoding="UTF-8" standalone="yes"?>
<Relationships xmlns="http://schemas.openxmlformats.org/package/2006/relationships"><Relationship Id="rId8" Type="http://schemas.openxmlformats.org/officeDocument/2006/relationships/oleObject" Target="../embeddings/oleObject62.bin"/><Relationship Id="rId13" Type="http://schemas.openxmlformats.org/officeDocument/2006/relationships/hyperlink" Target="https://www.brucemccabe.com/futurebites/a-timeline-for-fusion" TargetMode="External"/><Relationship Id="rId3" Type="http://schemas.openxmlformats.org/officeDocument/2006/relationships/tags" Target="../tags/tag1525.xml"/><Relationship Id="rId7" Type="http://schemas.openxmlformats.org/officeDocument/2006/relationships/notesSlide" Target="../notesSlides/notesSlide51.xml"/><Relationship Id="rId12" Type="http://schemas.openxmlformats.org/officeDocument/2006/relationships/hyperlink" Target="https://www.energy.gov/articles/doe-national-laboratory-makes-history-achieving-fusion-ignition" TargetMode="External"/><Relationship Id="rId17" Type="http://schemas.openxmlformats.org/officeDocument/2006/relationships/image" Target="../media/image121.svg"/><Relationship Id="rId2" Type="http://schemas.openxmlformats.org/officeDocument/2006/relationships/tags" Target="../tags/tag1524.xml"/><Relationship Id="rId16" Type="http://schemas.openxmlformats.org/officeDocument/2006/relationships/hyperlink" Target="https://business.columbia.edu/insights/climate/cki" TargetMode="External"/><Relationship Id="rId1" Type="http://schemas.openxmlformats.org/officeDocument/2006/relationships/tags" Target="../tags/tag1523.xml"/><Relationship Id="rId6" Type="http://schemas.openxmlformats.org/officeDocument/2006/relationships/slideLayout" Target="../slideLayouts/slideLayout7.xml"/><Relationship Id="rId11" Type="http://schemas.openxmlformats.org/officeDocument/2006/relationships/hyperlink" Target="https://www.iter.org/" TargetMode="External"/><Relationship Id="rId5" Type="http://schemas.openxmlformats.org/officeDocument/2006/relationships/tags" Target="../tags/tag1527.xml"/><Relationship Id="rId15" Type="http://schemas.openxmlformats.org/officeDocument/2006/relationships/hyperlink" Target="https://business.columbia.edu/faculty/people/gernot-wagner" TargetMode="External"/><Relationship Id="rId10" Type="http://schemas.openxmlformats.org/officeDocument/2006/relationships/hyperlink" Target="https://www.fusionindustryassociation.org/wp-content/uploads/2024/07/2024-annual-global-fusion-industry-report.pdf" TargetMode="External"/><Relationship Id="rId4" Type="http://schemas.openxmlformats.org/officeDocument/2006/relationships/tags" Target="../tags/tag1526.xml"/><Relationship Id="rId9" Type="http://schemas.openxmlformats.org/officeDocument/2006/relationships/hyperlink" Target="https://www.energy.gov/eere/solar/federal-solar-tax-credits-businesses#:~:text=Solar%20systems%20that%20are%20placed,)%5B5%5D%20in%20size." TargetMode="External"/><Relationship Id="rId14" Type="http://schemas.openxmlformats.org/officeDocument/2006/relationships/hyperlink" Target="https://www.eu-startups.com/2025/03/marvel-fusion-bags-additional-e50-million-for-nuclear-fusion-and-prototype-facility/" TargetMode="External"/></Relationships>
</file>

<file path=ppt/slides/_rels/slide59.xml.rels><?xml version="1.0" encoding="UTF-8" standalone="yes"?>
<Relationships xmlns="http://schemas.openxmlformats.org/package/2006/relationships"><Relationship Id="rId8" Type="http://schemas.openxmlformats.org/officeDocument/2006/relationships/hyperlink" Target="https://www.energy.gov/eere/solar/federal-solar-tax-credits-businesses#:~:text=Solar%20systems%20that%20are%20placed,)%5B5%5D%20in%20size." TargetMode="External"/><Relationship Id="rId13" Type="http://schemas.openxmlformats.org/officeDocument/2006/relationships/hyperlink" Target="https://pubs.aip.org/physicstoday/online/41898/National-Ignition-Facility-surpasses-long-awaited" TargetMode="External"/><Relationship Id="rId18" Type="http://schemas.openxmlformats.org/officeDocument/2006/relationships/image" Target="../media/image124.png"/><Relationship Id="rId3" Type="http://schemas.openxmlformats.org/officeDocument/2006/relationships/tags" Target="../tags/tag1530.xml"/><Relationship Id="rId7" Type="http://schemas.openxmlformats.org/officeDocument/2006/relationships/image" Target="../media/image12.emf"/><Relationship Id="rId12" Type="http://schemas.openxmlformats.org/officeDocument/2006/relationships/hyperlink" Target="https://www.fusionindustryassociation.org/wp-content/uploads/2024/07/2024-annual-global-fusion-industry-report.pdf" TargetMode="External"/><Relationship Id="rId17" Type="http://schemas.openxmlformats.org/officeDocument/2006/relationships/image" Target="../media/image123.svg"/><Relationship Id="rId2" Type="http://schemas.openxmlformats.org/officeDocument/2006/relationships/tags" Target="../tags/tag1529.xml"/><Relationship Id="rId16" Type="http://schemas.openxmlformats.org/officeDocument/2006/relationships/image" Target="../media/image122.png"/><Relationship Id="rId1" Type="http://schemas.openxmlformats.org/officeDocument/2006/relationships/tags" Target="../tags/tag1528.xml"/><Relationship Id="rId6" Type="http://schemas.openxmlformats.org/officeDocument/2006/relationships/oleObject" Target="../embeddings/oleObject63.bin"/><Relationship Id="rId11" Type="http://schemas.openxmlformats.org/officeDocument/2006/relationships/hyperlink" Target="https://usfusionenergy.org/approaches-fusion" TargetMode="External"/><Relationship Id="rId5" Type="http://schemas.openxmlformats.org/officeDocument/2006/relationships/slideLayout" Target="../slideLayouts/slideLayout7.xml"/><Relationship Id="rId15" Type="http://schemas.openxmlformats.org/officeDocument/2006/relationships/hyperlink" Target="https://business.columbia.edu/insights/climate/cki" TargetMode="External"/><Relationship Id="rId10" Type="http://schemas.openxmlformats.org/officeDocument/2006/relationships/hyperlink" Target="https://nhsjs.com/2024/nuclear-fusion-overview-of-challenges-and-recent-progress/#google_vignette" TargetMode="External"/><Relationship Id="rId4" Type="http://schemas.openxmlformats.org/officeDocument/2006/relationships/tags" Target="../tags/tag1531.xml"/><Relationship Id="rId9" Type="http://schemas.openxmlformats.org/officeDocument/2006/relationships/hyperlink" Target="https://www.iaea.org/bulletin/magnetic-fusion-confinement-with-tokamaks-and-stellarators" TargetMode="External"/><Relationship Id="rId14" Type="http://schemas.openxmlformats.org/officeDocument/2006/relationships/hyperlink" Target="https://business.columbia.edu/faculty/people/gernot-wagner" TargetMode="External"/></Relationships>
</file>

<file path=ppt/slides/_rels/slide6.xml.rels><?xml version="1.0" encoding="UTF-8" standalone="yes"?>
<Relationships xmlns="http://schemas.openxmlformats.org/package/2006/relationships"><Relationship Id="rId26" Type="http://schemas.openxmlformats.org/officeDocument/2006/relationships/tags" Target="../tags/tag125.xml"/><Relationship Id="rId21" Type="http://schemas.openxmlformats.org/officeDocument/2006/relationships/tags" Target="../tags/tag120.xml"/><Relationship Id="rId42" Type="http://schemas.openxmlformats.org/officeDocument/2006/relationships/tags" Target="../tags/tag141.xml"/><Relationship Id="rId47" Type="http://schemas.openxmlformats.org/officeDocument/2006/relationships/tags" Target="../tags/tag146.xml"/><Relationship Id="rId63" Type="http://schemas.openxmlformats.org/officeDocument/2006/relationships/oleObject" Target="../embeddings/oleObject12.bin"/><Relationship Id="rId68" Type="http://schemas.openxmlformats.org/officeDocument/2006/relationships/hyperlink" Target="https://www.iea.org/data-and-statistics/charts/evolution-of-nuclear-power-generation-by-region-1972-2026" TargetMode="External"/><Relationship Id="rId16" Type="http://schemas.openxmlformats.org/officeDocument/2006/relationships/tags" Target="../tags/tag115.xml"/><Relationship Id="rId11" Type="http://schemas.openxmlformats.org/officeDocument/2006/relationships/tags" Target="../tags/tag110.xml"/><Relationship Id="rId32" Type="http://schemas.openxmlformats.org/officeDocument/2006/relationships/tags" Target="../tags/tag131.xml"/><Relationship Id="rId37" Type="http://schemas.openxmlformats.org/officeDocument/2006/relationships/tags" Target="../tags/tag136.xml"/><Relationship Id="rId53" Type="http://schemas.openxmlformats.org/officeDocument/2006/relationships/tags" Target="../tags/tag152.xml"/><Relationship Id="rId58" Type="http://schemas.openxmlformats.org/officeDocument/2006/relationships/tags" Target="../tags/tag157.xml"/><Relationship Id="rId74" Type="http://schemas.openxmlformats.org/officeDocument/2006/relationships/hyperlink" Target="https://www.nrc.gov/reactors/operating/ops-experience/fire-protection/defense-in-depth.html" TargetMode="External"/><Relationship Id="rId79" Type="http://schemas.openxmlformats.org/officeDocument/2006/relationships/chart" Target="../charts/chart3.xml"/><Relationship Id="rId5" Type="http://schemas.openxmlformats.org/officeDocument/2006/relationships/tags" Target="../tags/tag104.xml"/><Relationship Id="rId61" Type="http://schemas.openxmlformats.org/officeDocument/2006/relationships/slideLayout" Target="../slideLayouts/slideLayout42.xml"/><Relationship Id="rId19" Type="http://schemas.openxmlformats.org/officeDocument/2006/relationships/tags" Target="../tags/tag118.xml"/><Relationship Id="rId14" Type="http://schemas.openxmlformats.org/officeDocument/2006/relationships/tags" Target="../tags/tag113.xml"/><Relationship Id="rId22" Type="http://schemas.openxmlformats.org/officeDocument/2006/relationships/tags" Target="../tags/tag121.xml"/><Relationship Id="rId27" Type="http://schemas.openxmlformats.org/officeDocument/2006/relationships/tags" Target="../tags/tag126.xml"/><Relationship Id="rId30" Type="http://schemas.openxmlformats.org/officeDocument/2006/relationships/tags" Target="../tags/tag129.xml"/><Relationship Id="rId35" Type="http://schemas.openxmlformats.org/officeDocument/2006/relationships/tags" Target="../tags/tag134.xml"/><Relationship Id="rId43" Type="http://schemas.openxmlformats.org/officeDocument/2006/relationships/tags" Target="../tags/tag142.xml"/><Relationship Id="rId48" Type="http://schemas.openxmlformats.org/officeDocument/2006/relationships/tags" Target="../tags/tag147.xml"/><Relationship Id="rId56" Type="http://schemas.openxmlformats.org/officeDocument/2006/relationships/tags" Target="../tags/tag155.xml"/><Relationship Id="rId64" Type="http://schemas.openxmlformats.org/officeDocument/2006/relationships/image" Target="../media/image17.emf"/><Relationship Id="rId69" Type="http://schemas.openxmlformats.org/officeDocument/2006/relationships/hyperlink" Target="https://www.iaea.org/sites/default/files/26404794246.pdf" TargetMode="External"/><Relationship Id="rId77" Type="http://schemas.openxmlformats.org/officeDocument/2006/relationships/hyperlink" Target="https://business.columbia.edu/insights/climate/cki" TargetMode="External"/><Relationship Id="rId8" Type="http://schemas.openxmlformats.org/officeDocument/2006/relationships/tags" Target="../tags/tag107.xml"/><Relationship Id="rId51" Type="http://schemas.openxmlformats.org/officeDocument/2006/relationships/tags" Target="../tags/tag150.xml"/><Relationship Id="rId72" Type="http://schemas.openxmlformats.org/officeDocument/2006/relationships/hyperlink" Target="https://world-nuclear.org/information-library/safety-and-security/safety-of-plants/safety-of-nuclear-power-reactors#:~:text=Apart%20from%20Chernobyl%2C%20no%20nuclear,abandoned%20medical%20or%20industrial%20equipment." TargetMode="External"/><Relationship Id="rId80" Type="http://schemas.openxmlformats.org/officeDocument/2006/relationships/chart" Target="../charts/chart4.xml"/><Relationship Id="rId3" Type="http://schemas.openxmlformats.org/officeDocument/2006/relationships/tags" Target="../tags/tag102.xml"/><Relationship Id="rId12" Type="http://schemas.openxmlformats.org/officeDocument/2006/relationships/tags" Target="../tags/tag111.xml"/><Relationship Id="rId17" Type="http://schemas.openxmlformats.org/officeDocument/2006/relationships/tags" Target="../tags/tag116.xml"/><Relationship Id="rId25" Type="http://schemas.openxmlformats.org/officeDocument/2006/relationships/tags" Target="../tags/tag124.xml"/><Relationship Id="rId33" Type="http://schemas.openxmlformats.org/officeDocument/2006/relationships/tags" Target="../tags/tag132.xml"/><Relationship Id="rId38" Type="http://schemas.openxmlformats.org/officeDocument/2006/relationships/tags" Target="../tags/tag137.xml"/><Relationship Id="rId46" Type="http://schemas.openxmlformats.org/officeDocument/2006/relationships/tags" Target="../tags/tag145.xml"/><Relationship Id="rId59" Type="http://schemas.openxmlformats.org/officeDocument/2006/relationships/tags" Target="../tags/tag158.xml"/><Relationship Id="rId67" Type="http://schemas.openxmlformats.org/officeDocument/2006/relationships/hyperlink" Target="https://world-nuclear.org/information-library/safety-and-security/safety-of-plants/fukushima-daiichi-accident" TargetMode="External"/><Relationship Id="rId20" Type="http://schemas.openxmlformats.org/officeDocument/2006/relationships/tags" Target="../tags/tag119.xml"/><Relationship Id="rId41" Type="http://schemas.openxmlformats.org/officeDocument/2006/relationships/tags" Target="../tags/tag140.xml"/><Relationship Id="rId54" Type="http://schemas.openxmlformats.org/officeDocument/2006/relationships/tags" Target="../tags/tag153.xml"/><Relationship Id="rId62" Type="http://schemas.openxmlformats.org/officeDocument/2006/relationships/notesSlide" Target="../notesSlides/notesSlide6.xml"/><Relationship Id="rId70" Type="http://schemas.openxmlformats.org/officeDocument/2006/relationships/hyperlink" Target="https://www.extrica.com/article/22419#About%20this%20article" TargetMode="External"/><Relationship Id="rId75" Type="http://schemas.openxmlformats.org/officeDocument/2006/relationships/hyperlink" Target="https://www.bls.gov/opub/ted/2023/mining-fatalities-rose-21-8-percent-from-2020-to-2021.htm" TargetMode="External"/><Relationship Id="rId1" Type="http://schemas.openxmlformats.org/officeDocument/2006/relationships/tags" Target="../tags/tag100.xml"/><Relationship Id="rId6" Type="http://schemas.openxmlformats.org/officeDocument/2006/relationships/tags" Target="../tags/tag105.xml"/><Relationship Id="rId15" Type="http://schemas.openxmlformats.org/officeDocument/2006/relationships/tags" Target="../tags/tag114.xml"/><Relationship Id="rId23" Type="http://schemas.openxmlformats.org/officeDocument/2006/relationships/tags" Target="../tags/tag122.xml"/><Relationship Id="rId28" Type="http://schemas.openxmlformats.org/officeDocument/2006/relationships/tags" Target="../tags/tag127.xml"/><Relationship Id="rId36" Type="http://schemas.openxmlformats.org/officeDocument/2006/relationships/tags" Target="../tags/tag135.xml"/><Relationship Id="rId49" Type="http://schemas.openxmlformats.org/officeDocument/2006/relationships/tags" Target="../tags/tag148.xml"/><Relationship Id="rId57" Type="http://schemas.openxmlformats.org/officeDocument/2006/relationships/tags" Target="../tags/tag156.xml"/><Relationship Id="rId10" Type="http://schemas.openxmlformats.org/officeDocument/2006/relationships/tags" Target="../tags/tag109.xml"/><Relationship Id="rId31" Type="http://schemas.openxmlformats.org/officeDocument/2006/relationships/tags" Target="../tags/tag130.xml"/><Relationship Id="rId44" Type="http://schemas.openxmlformats.org/officeDocument/2006/relationships/tags" Target="../tags/tag143.xml"/><Relationship Id="rId52" Type="http://schemas.openxmlformats.org/officeDocument/2006/relationships/tags" Target="../tags/tag151.xml"/><Relationship Id="rId60" Type="http://schemas.openxmlformats.org/officeDocument/2006/relationships/tags" Target="../tags/tag159.xml"/><Relationship Id="rId65" Type="http://schemas.openxmlformats.org/officeDocument/2006/relationships/hyperlink" Target="https://world-nuclear.org/our-association/publications/global-trends-reports/world-nuclear-performance-report-2024" TargetMode="External"/><Relationship Id="rId73" Type="http://schemas.openxmlformats.org/officeDocument/2006/relationships/hyperlink" Target="https://www.sciencedirect.com/science/article/pii/S0301421519303611#sec3.3" TargetMode="External"/><Relationship Id="rId78" Type="http://schemas.openxmlformats.org/officeDocument/2006/relationships/hyperlink" Target="https://business.columbia.edu/insights/climate/nuclear" TargetMode="External"/><Relationship Id="rId81" Type="http://schemas.openxmlformats.org/officeDocument/2006/relationships/chart" Target="../charts/chart5.xml"/><Relationship Id="rId4" Type="http://schemas.openxmlformats.org/officeDocument/2006/relationships/tags" Target="../tags/tag103.xml"/><Relationship Id="rId9" Type="http://schemas.openxmlformats.org/officeDocument/2006/relationships/tags" Target="../tags/tag108.xml"/><Relationship Id="rId13" Type="http://schemas.openxmlformats.org/officeDocument/2006/relationships/tags" Target="../tags/tag112.xml"/><Relationship Id="rId18" Type="http://schemas.openxmlformats.org/officeDocument/2006/relationships/tags" Target="../tags/tag117.xml"/><Relationship Id="rId39" Type="http://schemas.openxmlformats.org/officeDocument/2006/relationships/tags" Target="../tags/tag138.xml"/><Relationship Id="rId34" Type="http://schemas.openxmlformats.org/officeDocument/2006/relationships/tags" Target="../tags/tag133.xml"/><Relationship Id="rId50" Type="http://schemas.openxmlformats.org/officeDocument/2006/relationships/tags" Target="../tags/tag149.xml"/><Relationship Id="rId55" Type="http://schemas.openxmlformats.org/officeDocument/2006/relationships/tags" Target="../tags/tag154.xml"/><Relationship Id="rId76" Type="http://schemas.openxmlformats.org/officeDocument/2006/relationships/hyperlink" Target="https://business.columbia.edu/faculty/people/gernot-wagner" TargetMode="External"/><Relationship Id="rId7" Type="http://schemas.openxmlformats.org/officeDocument/2006/relationships/tags" Target="../tags/tag106.xml"/><Relationship Id="rId71" Type="http://schemas.openxmlformats.org/officeDocument/2006/relationships/hyperlink" Target="https://www.bisconti.com/blog/public-opinion-2023#:~:text=Record%20Support%20for%20Nuclear%20Energy,in%20the%2060%20percent%20range." TargetMode="External"/><Relationship Id="rId2" Type="http://schemas.openxmlformats.org/officeDocument/2006/relationships/tags" Target="../tags/tag101.xml"/><Relationship Id="rId29" Type="http://schemas.openxmlformats.org/officeDocument/2006/relationships/tags" Target="../tags/tag128.xml"/><Relationship Id="rId24" Type="http://schemas.openxmlformats.org/officeDocument/2006/relationships/tags" Target="../tags/tag123.xml"/><Relationship Id="rId40" Type="http://schemas.openxmlformats.org/officeDocument/2006/relationships/tags" Target="../tags/tag139.xml"/><Relationship Id="rId45" Type="http://schemas.openxmlformats.org/officeDocument/2006/relationships/tags" Target="../tags/tag144.xml"/><Relationship Id="rId66" Type="http://schemas.openxmlformats.org/officeDocument/2006/relationships/hyperlink" Target="https://world-nuclear.org/information-library/safety-and-security/safety-of-plants/chernobyl-accident#Notesd" TargetMode="External"/></Relationships>
</file>

<file path=ppt/slides/_rels/slide60.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hyperlink" Target="https://www.fusionindustryassociation.org/wp-content/uploads/2025/07/2025-Global-Fusion-Industry-Report.pdf" TargetMode="External"/><Relationship Id="rId3" Type="http://schemas.openxmlformats.org/officeDocument/2006/relationships/tags" Target="../tags/tag1534.xml"/><Relationship Id="rId7" Type="http://schemas.openxmlformats.org/officeDocument/2006/relationships/oleObject" Target="../embeddings/oleObject64.bin"/><Relationship Id="rId12" Type="http://schemas.openxmlformats.org/officeDocument/2006/relationships/hyperlink" Target="https://www.world-nuclear-news.org/articles/germanys-marvel-fusion-raises-further-eur113-million" TargetMode="External"/><Relationship Id="rId2" Type="http://schemas.openxmlformats.org/officeDocument/2006/relationships/tags" Target="../tags/tag1533.xml"/><Relationship Id="rId16" Type="http://schemas.openxmlformats.org/officeDocument/2006/relationships/hyperlink" Target="https://business.columbia.edu/insights/climate/cki" TargetMode="External"/><Relationship Id="rId1" Type="http://schemas.openxmlformats.org/officeDocument/2006/relationships/tags" Target="../tags/tag1532.xml"/><Relationship Id="rId6" Type="http://schemas.openxmlformats.org/officeDocument/2006/relationships/notesSlide" Target="../notesSlides/notesSlide52.xml"/><Relationship Id="rId11" Type="http://schemas.openxmlformats.org/officeDocument/2006/relationships/hyperlink" Target="https://news.mit.edu/2024/commonwealth-fusion-systems-unveils-worlds-first-fusion-power-plant-1217" TargetMode="External"/><Relationship Id="rId5" Type="http://schemas.openxmlformats.org/officeDocument/2006/relationships/slideLayout" Target="../slideLayouts/slideLayout7.xml"/><Relationship Id="rId15" Type="http://schemas.openxmlformats.org/officeDocument/2006/relationships/hyperlink" Target="https://business.columbia.edu/faculty/people/gernot-wagner" TargetMode="External"/><Relationship Id="rId10" Type="http://schemas.openxmlformats.org/officeDocument/2006/relationships/hyperlink" Target="https://pitchbook.com/" TargetMode="External"/><Relationship Id="rId4" Type="http://schemas.openxmlformats.org/officeDocument/2006/relationships/tags" Target="../tags/tag1535.xml"/><Relationship Id="rId9" Type="http://schemas.openxmlformats.org/officeDocument/2006/relationships/hyperlink" Target="https://www.energy.gov/eere/solar/federal-solar-tax-credits-businesses#:~:text=Solar%20systems%20that%20are%20placed,)%5B5%5D%20in%20size." TargetMode="External"/><Relationship Id="rId14" Type="http://schemas.openxmlformats.org/officeDocument/2006/relationships/hyperlink" Target="https://www.neimagazine.com/news/california-recognises-fusion-energy-as-distinct-from-nuclear-fission-11228490/?cf-view" TargetMode="External"/></Relationships>
</file>

<file path=ppt/slides/_rels/slide61.xml.rels><?xml version="1.0" encoding="UTF-8" standalone="yes"?>
<Relationships xmlns="http://schemas.openxmlformats.org/package/2006/relationships"><Relationship Id="rId13" Type="http://schemas.openxmlformats.org/officeDocument/2006/relationships/tags" Target="../tags/tag1548.xml"/><Relationship Id="rId18" Type="http://schemas.openxmlformats.org/officeDocument/2006/relationships/tags" Target="../tags/tag1553.xml"/><Relationship Id="rId26" Type="http://schemas.openxmlformats.org/officeDocument/2006/relationships/tags" Target="../tags/tag1561.xml"/><Relationship Id="rId39" Type="http://schemas.openxmlformats.org/officeDocument/2006/relationships/tags" Target="../tags/tag1574.xml"/><Relationship Id="rId21" Type="http://schemas.openxmlformats.org/officeDocument/2006/relationships/tags" Target="../tags/tag1556.xml"/><Relationship Id="rId34" Type="http://schemas.openxmlformats.org/officeDocument/2006/relationships/tags" Target="../tags/tag1569.xml"/><Relationship Id="rId42" Type="http://schemas.openxmlformats.org/officeDocument/2006/relationships/oleObject" Target="../embeddings/oleObject65.bin"/><Relationship Id="rId47" Type="http://schemas.openxmlformats.org/officeDocument/2006/relationships/hyperlink" Target="https://news.mit.edu/2024/commonwealth-fusion-systems-unveils-worlds-first-fusion-power-plant-1217" TargetMode="External"/><Relationship Id="rId50" Type="http://schemas.openxmlformats.org/officeDocument/2006/relationships/image" Target="../media/image125.png"/><Relationship Id="rId55" Type="http://schemas.openxmlformats.org/officeDocument/2006/relationships/image" Target="../media/image127.png"/><Relationship Id="rId7" Type="http://schemas.openxmlformats.org/officeDocument/2006/relationships/tags" Target="../tags/tag1542.xml"/><Relationship Id="rId2" Type="http://schemas.openxmlformats.org/officeDocument/2006/relationships/tags" Target="../tags/tag1537.xml"/><Relationship Id="rId16" Type="http://schemas.openxmlformats.org/officeDocument/2006/relationships/tags" Target="../tags/tag1551.xml"/><Relationship Id="rId29" Type="http://schemas.openxmlformats.org/officeDocument/2006/relationships/tags" Target="../tags/tag1564.xml"/><Relationship Id="rId11" Type="http://schemas.openxmlformats.org/officeDocument/2006/relationships/tags" Target="../tags/tag1546.xml"/><Relationship Id="rId24" Type="http://schemas.openxmlformats.org/officeDocument/2006/relationships/tags" Target="../tags/tag1559.xml"/><Relationship Id="rId32" Type="http://schemas.openxmlformats.org/officeDocument/2006/relationships/tags" Target="../tags/tag1567.xml"/><Relationship Id="rId37" Type="http://schemas.openxmlformats.org/officeDocument/2006/relationships/tags" Target="../tags/tag1572.xml"/><Relationship Id="rId40" Type="http://schemas.openxmlformats.org/officeDocument/2006/relationships/tags" Target="../tags/tag1575.xml"/><Relationship Id="rId45" Type="http://schemas.openxmlformats.org/officeDocument/2006/relationships/hyperlink" Target="https://www.energy.gov/eere/solar/federal-solar-tax-credits-businesses#:~:text=Solar%20systems%20that%20are%20placed,)%5B5%5D%20in%20size." TargetMode="External"/><Relationship Id="rId53" Type="http://schemas.openxmlformats.org/officeDocument/2006/relationships/chart" Target="../charts/chart71.xml"/><Relationship Id="rId5" Type="http://schemas.openxmlformats.org/officeDocument/2006/relationships/tags" Target="../tags/tag1540.xml"/><Relationship Id="rId10" Type="http://schemas.openxmlformats.org/officeDocument/2006/relationships/tags" Target="../tags/tag1545.xml"/><Relationship Id="rId19" Type="http://schemas.openxmlformats.org/officeDocument/2006/relationships/tags" Target="../tags/tag1554.xml"/><Relationship Id="rId31" Type="http://schemas.openxmlformats.org/officeDocument/2006/relationships/tags" Target="../tags/tag1566.xml"/><Relationship Id="rId44" Type="http://schemas.openxmlformats.org/officeDocument/2006/relationships/hyperlink" Target="https://www.world-nuclear-news.org/articles/germanys-marvel-fusion-raises-further-eur113-million" TargetMode="External"/><Relationship Id="rId52" Type="http://schemas.microsoft.com/office/2007/relationships/hdphoto" Target="../media/hdphoto1.wdp"/><Relationship Id="rId4" Type="http://schemas.openxmlformats.org/officeDocument/2006/relationships/tags" Target="../tags/tag1539.xml"/><Relationship Id="rId9" Type="http://schemas.openxmlformats.org/officeDocument/2006/relationships/tags" Target="../tags/tag1544.xml"/><Relationship Id="rId14" Type="http://schemas.openxmlformats.org/officeDocument/2006/relationships/tags" Target="../tags/tag1549.xml"/><Relationship Id="rId22" Type="http://schemas.openxmlformats.org/officeDocument/2006/relationships/tags" Target="../tags/tag1557.xml"/><Relationship Id="rId27" Type="http://schemas.openxmlformats.org/officeDocument/2006/relationships/tags" Target="../tags/tag1562.xml"/><Relationship Id="rId30" Type="http://schemas.openxmlformats.org/officeDocument/2006/relationships/tags" Target="../tags/tag1565.xml"/><Relationship Id="rId35" Type="http://schemas.openxmlformats.org/officeDocument/2006/relationships/tags" Target="../tags/tag1570.xml"/><Relationship Id="rId43" Type="http://schemas.openxmlformats.org/officeDocument/2006/relationships/image" Target="../media/image12.emf"/><Relationship Id="rId48" Type="http://schemas.openxmlformats.org/officeDocument/2006/relationships/hyperlink" Target="https://business.columbia.edu/faculty/people/gernot-wagner" TargetMode="External"/><Relationship Id="rId56" Type="http://schemas.openxmlformats.org/officeDocument/2006/relationships/image" Target="../media/image128.png"/><Relationship Id="rId8" Type="http://schemas.openxmlformats.org/officeDocument/2006/relationships/tags" Target="../tags/tag1543.xml"/><Relationship Id="rId51" Type="http://schemas.openxmlformats.org/officeDocument/2006/relationships/image" Target="../media/image126.png"/><Relationship Id="rId3" Type="http://schemas.openxmlformats.org/officeDocument/2006/relationships/tags" Target="../tags/tag1538.xml"/><Relationship Id="rId12" Type="http://schemas.openxmlformats.org/officeDocument/2006/relationships/tags" Target="../tags/tag1547.xml"/><Relationship Id="rId17" Type="http://schemas.openxmlformats.org/officeDocument/2006/relationships/tags" Target="../tags/tag1552.xml"/><Relationship Id="rId25" Type="http://schemas.openxmlformats.org/officeDocument/2006/relationships/tags" Target="../tags/tag1560.xml"/><Relationship Id="rId33" Type="http://schemas.openxmlformats.org/officeDocument/2006/relationships/tags" Target="../tags/tag1568.xml"/><Relationship Id="rId38" Type="http://schemas.openxmlformats.org/officeDocument/2006/relationships/tags" Target="../tags/tag1573.xml"/><Relationship Id="rId46" Type="http://schemas.openxmlformats.org/officeDocument/2006/relationships/hyperlink" Target="https://pitchbook.com/" TargetMode="External"/><Relationship Id="rId20" Type="http://schemas.openxmlformats.org/officeDocument/2006/relationships/tags" Target="../tags/tag1555.xml"/><Relationship Id="rId41" Type="http://schemas.openxmlformats.org/officeDocument/2006/relationships/slideLayout" Target="../slideLayouts/slideLayout7.xml"/><Relationship Id="rId54" Type="http://schemas.openxmlformats.org/officeDocument/2006/relationships/chart" Target="../charts/chart72.xml"/><Relationship Id="rId1" Type="http://schemas.openxmlformats.org/officeDocument/2006/relationships/tags" Target="../tags/tag1536.xml"/><Relationship Id="rId6" Type="http://schemas.openxmlformats.org/officeDocument/2006/relationships/tags" Target="../tags/tag1541.xml"/><Relationship Id="rId15" Type="http://schemas.openxmlformats.org/officeDocument/2006/relationships/tags" Target="../tags/tag1550.xml"/><Relationship Id="rId23" Type="http://schemas.openxmlformats.org/officeDocument/2006/relationships/tags" Target="../tags/tag1558.xml"/><Relationship Id="rId28" Type="http://schemas.openxmlformats.org/officeDocument/2006/relationships/tags" Target="../tags/tag1563.xml"/><Relationship Id="rId36" Type="http://schemas.openxmlformats.org/officeDocument/2006/relationships/tags" Target="../tags/tag1571.xml"/><Relationship Id="rId49" Type="http://schemas.openxmlformats.org/officeDocument/2006/relationships/hyperlink" Target="https://business.columbia.edu/insights/climate/cki" TargetMode="External"/></Relationships>
</file>

<file path=ppt/slides/_rels/slide62.xml.rels><?xml version="1.0" encoding="UTF-8" standalone="yes"?>
<Relationships xmlns="http://schemas.openxmlformats.org/package/2006/relationships"><Relationship Id="rId26" Type="http://schemas.openxmlformats.org/officeDocument/2006/relationships/tags" Target="../tags/tag1601.xml"/><Relationship Id="rId21" Type="http://schemas.openxmlformats.org/officeDocument/2006/relationships/tags" Target="../tags/tag1596.xml"/><Relationship Id="rId42" Type="http://schemas.openxmlformats.org/officeDocument/2006/relationships/tags" Target="../tags/tag1617.xml"/><Relationship Id="rId47" Type="http://schemas.openxmlformats.org/officeDocument/2006/relationships/tags" Target="../tags/tag1622.xml"/><Relationship Id="rId63" Type="http://schemas.openxmlformats.org/officeDocument/2006/relationships/tags" Target="../tags/tag1638.xml"/><Relationship Id="rId68" Type="http://schemas.openxmlformats.org/officeDocument/2006/relationships/tags" Target="../tags/tag1643.xml"/><Relationship Id="rId84" Type="http://schemas.openxmlformats.org/officeDocument/2006/relationships/hyperlink" Target="https://www.utilitydive.com/news/ai-artificial-intelligence-fusion-power/712433/" TargetMode="External"/><Relationship Id="rId89" Type="http://schemas.openxmlformats.org/officeDocument/2006/relationships/hyperlink" Target="https://business.columbia.edu/insights/climate/cki" TargetMode="External"/><Relationship Id="rId16" Type="http://schemas.openxmlformats.org/officeDocument/2006/relationships/tags" Target="../tags/tag1591.xml"/><Relationship Id="rId11" Type="http://schemas.openxmlformats.org/officeDocument/2006/relationships/tags" Target="../tags/tag1586.xml"/><Relationship Id="rId32" Type="http://schemas.openxmlformats.org/officeDocument/2006/relationships/tags" Target="../tags/tag1607.xml"/><Relationship Id="rId37" Type="http://schemas.openxmlformats.org/officeDocument/2006/relationships/tags" Target="../tags/tag1612.xml"/><Relationship Id="rId53" Type="http://schemas.openxmlformats.org/officeDocument/2006/relationships/tags" Target="../tags/tag1628.xml"/><Relationship Id="rId58" Type="http://schemas.openxmlformats.org/officeDocument/2006/relationships/tags" Target="../tags/tag1633.xml"/><Relationship Id="rId74" Type="http://schemas.openxmlformats.org/officeDocument/2006/relationships/chart" Target="../charts/chart75.xml"/><Relationship Id="rId79" Type="http://schemas.openxmlformats.org/officeDocument/2006/relationships/hyperlink" Target="https://www.gov.uk/government/news/government-announces-up-to-650-million-for-uk-alternatives-to-euratom-rt?utm_source=chatgpt.com\" TargetMode="External"/><Relationship Id="rId5" Type="http://schemas.openxmlformats.org/officeDocument/2006/relationships/tags" Target="../tags/tag1580.xml"/><Relationship Id="rId90" Type="http://schemas.openxmlformats.org/officeDocument/2006/relationships/image" Target="../media/image103.gif"/><Relationship Id="rId22" Type="http://schemas.openxmlformats.org/officeDocument/2006/relationships/tags" Target="../tags/tag1597.xml"/><Relationship Id="rId27" Type="http://schemas.openxmlformats.org/officeDocument/2006/relationships/tags" Target="../tags/tag1602.xml"/><Relationship Id="rId43" Type="http://schemas.openxmlformats.org/officeDocument/2006/relationships/tags" Target="../tags/tag1618.xml"/><Relationship Id="rId48" Type="http://schemas.openxmlformats.org/officeDocument/2006/relationships/tags" Target="../tags/tag1623.xml"/><Relationship Id="rId64" Type="http://schemas.openxmlformats.org/officeDocument/2006/relationships/tags" Target="../tags/tag1639.xml"/><Relationship Id="rId69" Type="http://schemas.openxmlformats.org/officeDocument/2006/relationships/slideLayout" Target="../slideLayouts/slideLayout7.xml"/><Relationship Id="rId8" Type="http://schemas.openxmlformats.org/officeDocument/2006/relationships/tags" Target="../tags/tag1583.xml"/><Relationship Id="rId51" Type="http://schemas.openxmlformats.org/officeDocument/2006/relationships/tags" Target="../tags/tag1626.xml"/><Relationship Id="rId72" Type="http://schemas.openxmlformats.org/officeDocument/2006/relationships/chart" Target="../charts/chart73.xml"/><Relationship Id="rId80" Type="http://schemas.openxmlformats.org/officeDocument/2006/relationships/hyperlink" Target="https://neutronbytes.com/2021/08/21/mixed-messages-from-congress-on-funding-nuclear-energy/" TargetMode="External"/><Relationship Id="rId85" Type="http://schemas.openxmlformats.org/officeDocument/2006/relationships/hyperlink" Target="https://ww2.aip.org/fyi/2023/fy23-budget-outcomes-national-nuclear-security-administration" TargetMode="External"/><Relationship Id="rId93" Type="http://schemas.openxmlformats.org/officeDocument/2006/relationships/image" Target="../media/image129.png"/><Relationship Id="rId3" Type="http://schemas.openxmlformats.org/officeDocument/2006/relationships/tags" Target="../tags/tag1578.xml"/><Relationship Id="rId12" Type="http://schemas.openxmlformats.org/officeDocument/2006/relationships/tags" Target="../tags/tag1587.xml"/><Relationship Id="rId17" Type="http://schemas.openxmlformats.org/officeDocument/2006/relationships/tags" Target="../tags/tag1592.xml"/><Relationship Id="rId25" Type="http://schemas.openxmlformats.org/officeDocument/2006/relationships/tags" Target="../tags/tag1600.xml"/><Relationship Id="rId33" Type="http://schemas.openxmlformats.org/officeDocument/2006/relationships/tags" Target="../tags/tag1608.xml"/><Relationship Id="rId38" Type="http://schemas.openxmlformats.org/officeDocument/2006/relationships/tags" Target="../tags/tag1613.xml"/><Relationship Id="rId46" Type="http://schemas.openxmlformats.org/officeDocument/2006/relationships/tags" Target="../tags/tag1621.xml"/><Relationship Id="rId59" Type="http://schemas.openxmlformats.org/officeDocument/2006/relationships/tags" Target="../tags/tag1634.xml"/><Relationship Id="rId67" Type="http://schemas.openxmlformats.org/officeDocument/2006/relationships/tags" Target="../tags/tag1642.xml"/><Relationship Id="rId20" Type="http://schemas.openxmlformats.org/officeDocument/2006/relationships/tags" Target="../tags/tag1595.xml"/><Relationship Id="rId41" Type="http://schemas.openxmlformats.org/officeDocument/2006/relationships/tags" Target="../tags/tag1616.xml"/><Relationship Id="rId54" Type="http://schemas.openxmlformats.org/officeDocument/2006/relationships/tags" Target="../tags/tag1629.xml"/><Relationship Id="rId62" Type="http://schemas.openxmlformats.org/officeDocument/2006/relationships/tags" Target="../tags/tag1637.xml"/><Relationship Id="rId70" Type="http://schemas.openxmlformats.org/officeDocument/2006/relationships/oleObject" Target="../embeddings/oleObject66.bin"/><Relationship Id="rId75" Type="http://schemas.openxmlformats.org/officeDocument/2006/relationships/chart" Target="../charts/chart76.xml"/><Relationship Id="rId83" Type="http://schemas.openxmlformats.org/officeDocument/2006/relationships/hyperlink" Target="https://www.gov.uk/government/news/plan-for-change-to-deliver-jobs-and-growth-in-uk-leading-fusion-industry" TargetMode="External"/><Relationship Id="rId88" Type="http://schemas.openxmlformats.org/officeDocument/2006/relationships/hyperlink" Target="https://business.columbia.edu/faculty/people/gernot-wagner" TargetMode="External"/><Relationship Id="rId91" Type="http://schemas.openxmlformats.org/officeDocument/2006/relationships/image" Target="../media/image104.png"/><Relationship Id="rId1" Type="http://schemas.openxmlformats.org/officeDocument/2006/relationships/tags" Target="../tags/tag1576.xml"/><Relationship Id="rId6" Type="http://schemas.openxmlformats.org/officeDocument/2006/relationships/tags" Target="../tags/tag1581.xml"/><Relationship Id="rId15" Type="http://schemas.openxmlformats.org/officeDocument/2006/relationships/tags" Target="../tags/tag1590.xml"/><Relationship Id="rId23" Type="http://schemas.openxmlformats.org/officeDocument/2006/relationships/tags" Target="../tags/tag1598.xml"/><Relationship Id="rId28" Type="http://schemas.openxmlformats.org/officeDocument/2006/relationships/tags" Target="../tags/tag1603.xml"/><Relationship Id="rId36" Type="http://schemas.openxmlformats.org/officeDocument/2006/relationships/tags" Target="../tags/tag1611.xml"/><Relationship Id="rId49" Type="http://schemas.openxmlformats.org/officeDocument/2006/relationships/tags" Target="../tags/tag1624.xml"/><Relationship Id="rId57" Type="http://schemas.openxmlformats.org/officeDocument/2006/relationships/tags" Target="../tags/tag1632.xml"/><Relationship Id="rId10" Type="http://schemas.openxmlformats.org/officeDocument/2006/relationships/tags" Target="../tags/tag1585.xml"/><Relationship Id="rId31" Type="http://schemas.openxmlformats.org/officeDocument/2006/relationships/tags" Target="../tags/tag1606.xml"/><Relationship Id="rId44" Type="http://schemas.openxmlformats.org/officeDocument/2006/relationships/tags" Target="../tags/tag1619.xml"/><Relationship Id="rId52" Type="http://schemas.openxmlformats.org/officeDocument/2006/relationships/tags" Target="../tags/tag1627.xml"/><Relationship Id="rId60" Type="http://schemas.openxmlformats.org/officeDocument/2006/relationships/tags" Target="../tags/tag1635.xml"/><Relationship Id="rId65" Type="http://schemas.openxmlformats.org/officeDocument/2006/relationships/tags" Target="../tags/tag1640.xml"/><Relationship Id="rId73" Type="http://schemas.openxmlformats.org/officeDocument/2006/relationships/chart" Target="../charts/chart74.xml"/><Relationship Id="rId78" Type="http://schemas.openxmlformats.org/officeDocument/2006/relationships/hyperlink" Target="https://www.fusionindustryassociation.org/wp-content/uploads/2024/07/2024-annual-global-fusion-industry-report.pdf" TargetMode="External"/><Relationship Id="rId81" Type="http://schemas.openxmlformats.org/officeDocument/2006/relationships/hyperlink" Target="https://commission.europa.eu/strategy-and-policy/eu-budget/eu-borrower-investor-relations/euratom_en" TargetMode="External"/><Relationship Id="rId86" Type="http://schemas.openxmlformats.org/officeDocument/2006/relationships/hyperlink" Target="https://www.fusionindustryassociation.org/fia-urges-prioritization-of-commercializing-fusion-energy-in-u-s-fy25-budget/?utm_source=chatgpt.com" TargetMode="External"/><Relationship Id="rId4" Type="http://schemas.openxmlformats.org/officeDocument/2006/relationships/tags" Target="../tags/tag1579.xml"/><Relationship Id="rId9" Type="http://schemas.openxmlformats.org/officeDocument/2006/relationships/tags" Target="../tags/tag1584.xml"/><Relationship Id="rId13" Type="http://schemas.openxmlformats.org/officeDocument/2006/relationships/tags" Target="../tags/tag1588.xml"/><Relationship Id="rId18" Type="http://schemas.openxmlformats.org/officeDocument/2006/relationships/tags" Target="../tags/tag1593.xml"/><Relationship Id="rId39" Type="http://schemas.openxmlformats.org/officeDocument/2006/relationships/tags" Target="../tags/tag1614.xml"/><Relationship Id="rId34" Type="http://schemas.openxmlformats.org/officeDocument/2006/relationships/tags" Target="../tags/tag1609.xml"/><Relationship Id="rId50" Type="http://schemas.openxmlformats.org/officeDocument/2006/relationships/tags" Target="../tags/tag1625.xml"/><Relationship Id="rId55" Type="http://schemas.openxmlformats.org/officeDocument/2006/relationships/tags" Target="../tags/tag1630.xml"/><Relationship Id="rId76" Type="http://schemas.openxmlformats.org/officeDocument/2006/relationships/hyperlink" Target="https://www.energy.gov/eere/solar/federal-solar-tax-credits-businesses#:~:text=Solar%20systems%20that%20are%20placed,)%5B5%5D%20in%20size." TargetMode="External"/><Relationship Id="rId7" Type="http://schemas.openxmlformats.org/officeDocument/2006/relationships/tags" Target="../tags/tag1582.xml"/><Relationship Id="rId71" Type="http://schemas.openxmlformats.org/officeDocument/2006/relationships/image" Target="../media/image12.emf"/><Relationship Id="rId92" Type="http://schemas.openxmlformats.org/officeDocument/2006/relationships/image" Target="../media/image105.gif"/><Relationship Id="rId2" Type="http://schemas.openxmlformats.org/officeDocument/2006/relationships/tags" Target="../tags/tag1577.xml"/><Relationship Id="rId29" Type="http://schemas.openxmlformats.org/officeDocument/2006/relationships/tags" Target="../tags/tag1604.xml"/><Relationship Id="rId24" Type="http://schemas.openxmlformats.org/officeDocument/2006/relationships/tags" Target="../tags/tag1599.xml"/><Relationship Id="rId40" Type="http://schemas.openxmlformats.org/officeDocument/2006/relationships/tags" Target="../tags/tag1615.xml"/><Relationship Id="rId45" Type="http://schemas.openxmlformats.org/officeDocument/2006/relationships/tags" Target="../tags/tag1620.xml"/><Relationship Id="rId66" Type="http://schemas.openxmlformats.org/officeDocument/2006/relationships/tags" Target="../tags/tag1641.xml"/><Relationship Id="rId87" Type="http://schemas.openxmlformats.org/officeDocument/2006/relationships/hyperlink" Target="https://www.world-nuclear-news.org/articles/germany-plans-massive-investment-in-fusion" TargetMode="External"/><Relationship Id="rId61" Type="http://schemas.openxmlformats.org/officeDocument/2006/relationships/tags" Target="../tags/tag1636.xml"/><Relationship Id="rId82" Type="http://schemas.openxmlformats.org/officeDocument/2006/relationships/hyperlink" Target="https://blog.cfs.energy/the-race-to-lead-the-world-in-fusion-has-begun/" TargetMode="External"/><Relationship Id="rId19" Type="http://schemas.openxmlformats.org/officeDocument/2006/relationships/tags" Target="../tags/tag1594.xml"/><Relationship Id="rId14" Type="http://schemas.openxmlformats.org/officeDocument/2006/relationships/tags" Target="../tags/tag1589.xml"/><Relationship Id="rId30" Type="http://schemas.openxmlformats.org/officeDocument/2006/relationships/tags" Target="../tags/tag1605.xml"/><Relationship Id="rId35" Type="http://schemas.openxmlformats.org/officeDocument/2006/relationships/tags" Target="../tags/tag1610.xml"/><Relationship Id="rId56" Type="http://schemas.openxmlformats.org/officeDocument/2006/relationships/tags" Target="../tags/tag1631.xml"/><Relationship Id="rId77" Type="http://schemas.openxmlformats.org/officeDocument/2006/relationships/hyperlink" Target="https://pitchbook.com/" TargetMode="External"/></Relationships>
</file>

<file path=ppt/slides/_rels/slide63.xml.rels><?xml version="1.0" encoding="UTF-8" standalone="yes"?>
<Relationships xmlns="http://schemas.openxmlformats.org/package/2006/relationships"><Relationship Id="rId8" Type="http://schemas.openxmlformats.org/officeDocument/2006/relationships/image" Target="../media/image134.jpeg"/><Relationship Id="rId13" Type="http://schemas.openxmlformats.org/officeDocument/2006/relationships/hyperlink" Target="mailto:hk2901@Columbia.edu" TargetMode="External"/><Relationship Id="rId3" Type="http://schemas.openxmlformats.org/officeDocument/2006/relationships/oleObject" Target="../embeddings/oleObject67.bin"/><Relationship Id="rId7" Type="http://schemas.openxmlformats.org/officeDocument/2006/relationships/image" Target="../media/image133.jpeg"/><Relationship Id="rId12" Type="http://schemas.openxmlformats.org/officeDocument/2006/relationships/image" Target="../media/image137.jpeg"/><Relationship Id="rId17" Type="http://schemas.openxmlformats.org/officeDocument/2006/relationships/image" Target="../media/image141.png"/><Relationship Id="rId2" Type="http://schemas.openxmlformats.org/officeDocument/2006/relationships/slideLayout" Target="../slideLayouts/slideLayout7.xml"/><Relationship Id="rId16" Type="http://schemas.openxmlformats.org/officeDocument/2006/relationships/image" Target="../media/image140.jpeg"/><Relationship Id="rId1" Type="http://schemas.openxmlformats.org/officeDocument/2006/relationships/tags" Target="../tags/tag1644.xml"/><Relationship Id="rId6" Type="http://schemas.openxmlformats.org/officeDocument/2006/relationships/image" Target="../media/image132.jpeg"/><Relationship Id="rId11" Type="http://schemas.openxmlformats.org/officeDocument/2006/relationships/image" Target="../media/image136.png"/><Relationship Id="rId5" Type="http://schemas.openxmlformats.org/officeDocument/2006/relationships/image" Target="../media/image131.jpeg"/><Relationship Id="rId15" Type="http://schemas.openxmlformats.org/officeDocument/2006/relationships/image" Target="../media/image139.jpeg"/><Relationship Id="rId10" Type="http://schemas.openxmlformats.org/officeDocument/2006/relationships/hyperlink" Target="mailto:gwagner@Columbia.edu" TargetMode="External"/><Relationship Id="rId4" Type="http://schemas.openxmlformats.org/officeDocument/2006/relationships/image" Target="../media/image130.emf"/><Relationship Id="rId9" Type="http://schemas.openxmlformats.org/officeDocument/2006/relationships/image" Target="../media/image135.jpeg"/><Relationship Id="rId14" Type="http://schemas.openxmlformats.org/officeDocument/2006/relationships/image" Target="../media/image138.jpeg"/></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646.xml"/><Relationship Id="rId1" Type="http://schemas.openxmlformats.org/officeDocument/2006/relationships/tags" Target="../tags/tag1645.xml"/><Relationship Id="rId5" Type="http://schemas.openxmlformats.org/officeDocument/2006/relationships/image" Target="../media/image15.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hyperlink" Target="https://www-pub.iaea.org/MTCD/Publications/PDF/P1756_web.pdf" TargetMode="External"/><Relationship Id="rId13" Type="http://schemas.openxmlformats.org/officeDocument/2006/relationships/hyperlink" Target="https://atb.nrel.gov/electricity/2024/nuclear%E2%80%8B" TargetMode="External"/><Relationship Id="rId18" Type="http://schemas.openxmlformats.org/officeDocument/2006/relationships/hyperlink" Target="https://business.columbia.edu/faculty/people/gernot-wagner" TargetMode="External"/><Relationship Id="rId3" Type="http://schemas.openxmlformats.org/officeDocument/2006/relationships/slideLayout" Target="../slideLayouts/slideLayout7.xml"/><Relationship Id="rId7" Type="http://schemas.openxmlformats.org/officeDocument/2006/relationships/image" Target="../media/image15.emf"/><Relationship Id="rId12" Type="http://schemas.openxmlformats.org/officeDocument/2006/relationships/hyperlink" Target="https://edf.hal.science/hal-01977209/document" TargetMode="External"/><Relationship Id="rId17" Type="http://schemas.openxmlformats.org/officeDocument/2006/relationships/hyperlink" Target="https://www.energy.gov/ne/articles/what-generation-capacity" TargetMode="External"/><Relationship Id="rId2" Type="http://schemas.openxmlformats.org/officeDocument/2006/relationships/tags" Target="../tags/tag1648.xml"/><Relationship Id="rId16" Type="http://schemas.openxmlformats.org/officeDocument/2006/relationships/hyperlink" Target="https://iea.blob.core.windows.net/assets/cbe6ad3a-eb3e-463f-8b2a-5d1fa4ce39bf/TheFutureofGeothermal.pdf" TargetMode="External"/><Relationship Id="rId1" Type="http://schemas.openxmlformats.org/officeDocument/2006/relationships/tags" Target="../tags/tag1647.xml"/><Relationship Id="rId6" Type="http://schemas.openxmlformats.org/officeDocument/2006/relationships/oleObject" Target="../embeddings/oleObject69.bin"/><Relationship Id="rId11" Type="http://schemas.openxmlformats.org/officeDocument/2006/relationships/hyperlink" Target="https://www.eia.gov/tools/faqs/faq.php?id=228&amp;t=3" TargetMode="External"/><Relationship Id="rId5" Type="http://schemas.microsoft.com/office/2018/10/relationships/comments" Target="../comments/modernComment_7FFFFF51_5D8498FA.xml"/><Relationship Id="rId15" Type="http://schemas.openxmlformats.org/officeDocument/2006/relationships/hyperlink" Target="https://journals.plos.org/plosone/article?id=10.1371/journal.pone.0270155" TargetMode="External"/><Relationship Id="rId10" Type="http://schemas.openxmlformats.org/officeDocument/2006/relationships/hyperlink" Target="https://www.energy.gov/ne/benefits-small-modular-reactors-smrs" TargetMode="External"/><Relationship Id="rId19" Type="http://schemas.openxmlformats.org/officeDocument/2006/relationships/hyperlink" Target="https://business.columbia.edu/insights/climate/cki" TargetMode="External"/><Relationship Id="rId4" Type="http://schemas.openxmlformats.org/officeDocument/2006/relationships/notesSlide" Target="../notesSlides/notesSlide53.xml"/><Relationship Id="rId9" Type="http://schemas.openxmlformats.org/officeDocument/2006/relationships/hyperlink" Target="https://www.iaea.org/newscenter/news/what-are-small-modular-reactors-smrs" TargetMode="External"/><Relationship Id="rId14" Type="http://schemas.openxmlformats.org/officeDocument/2006/relationships/hyperlink" Target="file:///Users/clarazibell/Downloads/%7bA0F5C88B-0000-C521-AAAD-996DCC98AF0F%7d%20(1).pdf" TargetMode="External"/></Relationships>
</file>

<file path=ppt/slides/_rels/slide66.xml.rels><?xml version="1.0" encoding="UTF-8" standalone="yes"?>
<Relationships xmlns="http://schemas.openxmlformats.org/package/2006/relationships"><Relationship Id="rId8" Type="http://schemas.openxmlformats.org/officeDocument/2006/relationships/tags" Target="../tags/tag1656.xml"/><Relationship Id="rId13" Type="http://schemas.openxmlformats.org/officeDocument/2006/relationships/tags" Target="../tags/tag1661.xml"/><Relationship Id="rId18" Type="http://schemas.openxmlformats.org/officeDocument/2006/relationships/oleObject" Target="../embeddings/oleObject70.bin"/><Relationship Id="rId26" Type="http://schemas.openxmlformats.org/officeDocument/2006/relationships/hyperlink" Target="https://business.columbia.edu/faculty/people/gernot-wagner" TargetMode="External"/><Relationship Id="rId3" Type="http://schemas.openxmlformats.org/officeDocument/2006/relationships/tags" Target="../tags/tag1651.xml"/><Relationship Id="rId21" Type="http://schemas.openxmlformats.org/officeDocument/2006/relationships/hyperlink" Target="https://nuclearinnovationalliance.org/safety" TargetMode="External"/><Relationship Id="rId7" Type="http://schemas.openxmlformats.org/officeDocument/2006/relationships/tags" Target="../tags/tag1655.xml"/><Relationship Id="rId12" Type="http://schemas.openxmlformats.org/officeDocument/2006/relationships/tags" Target="../tags/tag1660.xml"/><Relationship Id="rId17" Type="http://schemas.openxmlformats.org/officeDocument/2006/relationships/notesSlide" Target="../notesSlides/notesSlide54.xml"/><Relationship Id="rId25" Type="http://schemas.openxmlformats.org/officeDocument/2006/relationships/hyperlink" Target="https://ourworldindata.org/grapher/death-rates-from-energy-production-per-twh" TargetMode="External"/><Relationship Id="rId2" Type="http://schemas.openxmlformats.org/officeDocument/2006/relationships/tags" Target="../tags/tag1650.xml"/><Relationship Id="rId16" Type="http://schemas.openxmlformats.org/officeDocument/2006/relationships/slideLayout" Target="../slideLayouts/slideLayout7.xml"/><Relationship Id="rId20" Type="http://schemas.openxmlformats.org/officeDocument/2006/relationships/hyperlink" Target="https://www.energy.gov/eere/solar/federal-solar-tax-credits-businesses#:~:text=Solar%20systems%20that%20are%20placed,)%5B5%5D%20in%20size." TargetMode="External"/><Relationship Id="rId1" Type="http://schemas.openxmlformats.org/officeDocument/2006/relationships/tags" Target="../tags/tag1649.xml"/><Relationship Id="rId6" Type="http://schemas.openxmlformats.org/officeDocument/2006/relationships/tags" Target="../tags/tag1654.xml"/><Relationship Id="rId11" Type="http://schemas.openxmlformats.org/officeDocument/2006/relationships/tags" Target="../tags/tag1659.xml"/><Relationship Id="rId24" Type="http://schemas.openxmlformats.org/officeDocument/2006/relationships/hyperlink" Target="https://www.nuscalepower.com/exploring-smrs/smr-101/nuclear-power-and-safety" TargetMode="External"/><Relationship Id="rId5" Type="http://schemas.openxmlformats.org/officeDocument/2006/relationships/tags" Target="../tags/tag1653.xml"/><Relationship Id="rId15" Type="http://schemas.openxmlformats.org/officeDocument/2006/relationships/tags" Target="../tags/tag1663.xml"/><Relationship Id="rId23" Type="http://schemas.openxmlformats.org/officeDocument/2006/relationships/hyperlink" Target="https://www.ucs.org/resources/small-modular-reactors" TargetMode="External"/><Relationship Id="rId28" Type="http://schemas.openxmlformats.org/officeDocument/2006/relationships/chart" Target="../charts/chart77.xml"/><Relationship Id="rId10" Type="http://schemas.openxmlformats.org/officeDocument/2006/relationships/tags" Target="../tags/tag1658.xml"/><Relationship Id="rId19" Type="http://schemas.openxmlformats.org/officeDocument/2006/relationships/image" Target="../media/image15.emf"/><Relationship Id="rId4" Type="http://schemas.openxmlformats.org/officeDocument/2006/relationships/tags" Target="../tags/tag1652.xml"/><Relationship Id="rId9" Type="http://schemas.openxmlformats.org/officeDocument/2006/relationships/tags" Target="../tags/tag1657.xml"/><Relationship Id="rId14" Type="http://schemas.openxmlformats.org/officeDocument/2006/relationships/tags" Target="../tags/tag1662.xml"/><Relationship Id="rId22" Type="http://schemas.openxmlformats.org/officeDocument/2006/relationships/hyperlink" Target="https://energy.ec.europa.eu/topics/nuclear-energy/small-modular-reactors/small-modular-reactors-explained_en" TargetMode="External"/><Relationship Id="rId27" Type="http://schemas.openxmlformats.org/officeDocument/2006/relationships/hyperlink" Target="https://business.columbia.edu/insights/climate/cki" TargetMode="External"/></Relationships>
</file>

<file path=ppt/slides/_rels/slide67.xml.rels><?xml version="1.0" encoding="UTF-8" standalone="yes"?>
<Relationships xmlns="http://schemas.openxmlformats.org/package/2006/relationships"><Relationship Id="rId26" Type="http://schemas.openxmlformats.org/officeDocument/2006/relationships/tags" Target="../tags/tag1689.xml"/><Relationship Id="rId21" Type="http://schemas.openxmlformats.org/officeDocument/2006/relationships/tags" Target="../tags/tag1684.xml"/><Relationship Id="rId42" Type="http://schemas.openxmlformats.org/officeDocument/2006/relationships/tags" Target="../tags/tag1705.xml"/><Relationship Id="rId47" Type="http://schemas.openxmlformats.org/officeDocument/2006/relationships/tags" Target="../tags/tag1710.xml"/><Relationship Id="rId63" Type="http://schemas.openxmlformats.org/officeDocument/2006/relationships/tags" Target="../tags/tag1726.xml"/><Relationship Id="rId68" Type="http://schemas.openxmlformats.org/officeDocument/2006/relationships/tags" Target="../tags/tag1731.xml"/><Relationship Id="rId84" Type="http://schemas.openxmlformats.org/officeDocument/2006/relationships/tags" Target="../tags/tag1747.xml"/><Relationship Id="rId89" Type="http://schemas.microsoft.com/office/2018/10/relationships/comments" Target="../comments/modernComment_7FFFF178_18835E18.xml"/><Relationship Id="rId16" Type="http://schemas.openxmlformats.org/officeDocument/2006/relationships/tags" Target="../tags/tag1679.xml"/><Relationship Id="rId11" Type="http://schemas.openxmlformats.org/officeDocument/2006/relationships/tags" Target="../tags/tag1674.xml"/><Relationship Id="rId32" Type="http://schemas.openxmlformats.org/officeDocument/2006/relationships/tags" Target="../tags/tag1695.xml"/><Relationship Id="rId37" Type="http://schemas.openxmlformats.org/officeDocument/2006/relationships/tags" Target="../tags/tag1700.xml"/><Relationship Id="rId53" Type="http://schemas.openxmlformats.org/officeDocument/2006/relationships/tags" Target="../tags/tag1716.xml"/><Relationship Id="rId58" Type="http://schemas.openxmlformats.org/officeDocument/2006/relationships/tags" Target="../tags/tag1721.xml"/><Relationship Id="rId74" Type="http://schemas.openxmlformats.org/officeDocument/2006/relationships/tags" Target="../tags/tag1737.xml"/><Relationship Id="rId79" Type="http://schemas.openxmlformats.org/officeDocument/2006/relationships/tags" Target="../tags/tag1742.xml"/><Relationship Id="rId5" Type="http://schemas.openxmlformats.org/officeDocument/2006/relationships/tags" Target="../tags/tag1668.xml"/><Relationship Id="rId90" Type="http://schemas.openxmlformats.org/officeDocument/2006/relationships/oleObject" Target="../embeddings/oleObject71.bin"/><Relationship Id="rId95" Type="http://schemas.openxmlformats.org/officeDocument/2006/relationships/hyperlink" Target="https://www.sciencedirect.com/science/article/pii/S2214629625000416#:~:text=Carbon%20capture%2C%20utilisation%20and%20storage%2C%20often%20referred%20to%20simply%20as,%2C%20societal%20acceptance%2C%20and%20financing." TargetMode="External"/><Relationship Id="rId22" Type="http://schemas.openxmlformats.org/officeDocument/2006/relationships/tags" Target="../tags/tag1685.xml"/><Relationship Id="rId27" Type="http://schemas.openxmlformats.org/officeDocument/2006/relationships/tags" Target="../tags/tag1690.xml"/><Relationship Id="rId43" Type="http://schemas.openxmlformats.org/officeDocument/2006/relationships/tags" Target="../tags/tag1706.xml"/><Relationship Id="rId48" Type="http://schemas.openxmlformats.org/officeDocument/2006/relationships/tags" Target="../tags/tag1711.xml"/><Relationship Id="rId64" Type="http://schemas.openxmlformats.org/officeDocument/2006/relationships/tags" Target="../tags/tag1727.xml"/><Relationship Id="rId69" Type="http://schemas.openxmlformats.org/officeDocument/2006/relationships/tags" Target="../tags/tag1732.xml"/><Relationship Id="rId80" Type="http://schemas.openxmlformats.org/officeDocument/2006/relationships/tags" Target="../tags/tag1743.xml"/><Relationship Id="rId85" Type="http://schemas.openxmlformats.org/officeDocument/2006/relationships/tags" Target="../tags/tag1748.xml"/><Relationship Id="rId12" Type="http://schemas.openxmlformats.org/officeDocument/2006/relationships/tags" Target="../tags/tag1675.xml"/><Relationship Id="rId17" Type="http://schemas.openxmlformats.org/officeDocument/2006/relationships/tags" Target="../tags/tag1680.xml"/><Relationship Id="rId25" Type="http://schemas.openxmlformats.org/officeDocument/2006/relationships/tags" Target="../tags/tag1688.xml"/><Relationship Id="rId33" Type="http://schemas.openxmlformats.org/officeDocument/2006/relationships/tags" Target="../tags/tag1696.xml"/><Relationship Id="rId38" Type="http://schemas.openxmlformats.org/officeDocument/2006/relationships/tags" Target="../tags/tag1701.xml"/><Relationship Id="rId46" Type="http://schemas.openxmlformats.org/officeDocument/2006/relationships/tags" Target="../tags/tag1709.xml"/><Relationship Id="rId59" Type="http://schemas.openxmlformats.org/officeDocument/2006/relationships/tags" Target="../tags/tag1722.xml"/><Relationship Id="rId67" Type="http://schemas.openxmlformats.org/officeDocument/2006/relationships/tags" Target="../tags/tag1730.xml"/><Relationship Id="rId20" Type="http://schemas.openxmlformats.org/officeDocument/2006/relationships/tags" Target="../tags/tag1683.xml"/><Relationship Id="rId41" Type="http://schemas.openxmlformats.org/officeDocument/2006/relationships/tags" Target="../tags/tag1704.xml"/><Relationship Id="rId54" Type="http://schemas.openxmlformats.org/officeDocument/2006/relationships/tags" Target="../tags/tag1717.xml"/><Relationship Id="rId62" Type="http://schemas.openxmlformats.org/officeDocument/2006/relationships/tags" Target="../tags/tag1725.xml"/><Relationship Id="rId70" Type="http://schemas.openxmlformats.org/officeDocument/2006/relationships/tags" Target="../tags/tag1733.xml"/><Relationship Id="rId75" Type="http://schemas.openxmlformats.org/officeDocument/2006/relationships/tags" Target="../tags/tag1738.xml"/><Relationship Id="rId83" Type="http://schemas.openxmlformats.org/officeDocument/2006/relationships/tags" Target="../tags/tag1746.xml"/><Relationship Id="rId88" Type="http://schemas.openxmlformats.org/officeDocument/2006/relationships/notesSlide" Target="../notesSlides/notesSlide55.xml"/><Relationship Id="rId91" Type="http://schemas.openxmlformats.org/officeDocument/2006/relationships/image" Target="../media/image142.emf"/><Relationship Id="rId96" Type="http://schemas.openxmlformats.org/officeDocument/2006/relationships/hyperlink" Target="https://ourworldindata.org/grapher/death-rates-from-energy-production-per-twh?tab=table" TargetMode="External"/><Relationship Id="rId1" Type="http://schemas.openxmlformats.org/officeDocument/2006/relationships/tags" Target="../tags/tag1664.xml"/><Relationship Id="rId6" Type="http://schemas.openxmlformats.org/officeDocument/2006/relationships/tags" Target="../tags/tag1669.xml"/><Relationship Id="rId15" Type="http://schemas.openxmlformats.org/officeDocument/2006/relationships/tags" Target="../tags/tag1678.xml"/><Relationship Id="rId23" Type="http://schemas.openxmlformats.org/officeDocument/2006/relationships/tags" Target="../tags/tag1686.xml"/><Relationship Id="rId28" Type="http://schemas.openxmlformats.org/officeDocument/2006/relationships/tags" Target="../tags/tag1691.xml"/><Relationship Id="rId36" Type="http://schemas.openxmlformats.org/officeDocument/2006/relationships/tags" Target="../tags/tag1699.xml"/><Relationship Id="rId49" Type="http://schemas.openxmlformats.org/officeDocument/2006/relationships/tags" Target="../tags/tag1712.xml"/><Relationship Id="rId57" Type="http://schemas.openxmlformats.org/officeDocument/2006/relationships/tags" Target="../tags/tag1720.xml"/><Relationship Id="rId10" Type="http://schemas.openxmlformats.org/officeDocument/2006/relationships/tags" Target="../tags/tag1673.xml"/><Relationship Id="rId31" Type="http://schemas.openxmlformats.org/officeDocument/2006/relationships/tags" Target="../tags/tag1694.xml"/><Relationship Id="rId44" Type="http://schemas.openxmlformats.org/officeDocument/2006/relationships/tags" Target="../tags/tag1707.xml"/><Relationship Id="rId52" Type="http://schemas.openxmlformats.org/officeDocument/2006/relationships/tags" Target="../tags/tag1715.xml"/><Relationship Id="rId60" Type="http://schemas.openxmlformats.org/officeDocument/2006/relationships/tags" Target="../tags/tag1723.xml"/><Relationship Id="rId65" Type="http://schemas.openxmlformats.org/officeDocument/2006/relationships/tags" Target="../tags/tag1728.xml"/><Relationship Id="rId73" Type="http://schemas.openxmlformats.org/officeDocument/2006/relationships/tags" Target="../tags/tag1736.xml"/><Relationship Id="rId78" Type="http://schemas.openxmlformats.org/officeDocument/2006/relationships/tags" Target="../tags/tag1741.xml"/><Relationship Id="rId81" Type="http://schemas.openxmlformats.org/officeDocument/2006/relationships/tags" Target="../tags/tag1744.xml"/><Relationship Id="rId86" Type="http://schemas.openxmlformats.org/officeDocument/2006/relationships/tags" Target="../tags/tag1749.xml"/><Relationship Id="rId94" Type="http://schemas.openxmlformats.org/officeDocument/2006/relationships/hyperlink" Target="https://www.energy.gov/sites/default/files/2025-07/LIFTOFF_DOE_Carbon-Management.pdf" TargetMode="External"/><Relationship Id="rId99" Type="http://schemas.openxmlformats.org/officeDocument/2006/relationships/hyperlink" Target="https://business.columbia.edu/faculty/people/gernot-wagner" TargetMode="External"/><Relationship Id="rId101" Type="http://schemas.openxmlformats.org/officeDocument/2006/relationships/chart" Target="../charts/chart79.xml"/><Relationship Id="rId4" Type="http://schemas.openxmlformats.org/officeDocument/2006/relationships/tags" Target="../tags/tag1667.xml"/><Relationship Id="rId9" Type="http://schemas.openxmlformats.org/officeDocument/2006/relationships/tags" Target="../tags/tag1672.xml"/><Relationship Id="rId13" Type="http://schemas.openxmlformats.org/officeDocument/2006/relationships/tags" Target="../tags/tag1676.xml"/><Relationship Id="rId18" Type="http://schemas.openxmlformats.org/officeDocument/2006/relationships/tags" Target="../tags/tag1681.xml"/><Relationship Id="rId39" Type="http://schemas.openxmlformats.org/officeDocument/2006/relationships/tags" Target="../tags/tag1702.xml"/><Relationship Id="rId34" Type="http://schemas.openxmlformats.org/officeDocument/2006/relationships/tags" Target="../tags/tag1697.xml"/><Relationship Id="rId50" Type="http://schemas.openxmlformats.org/officeDocument/2006/relationships/tags" Target="../tags/tag1713.xml"/><Relationship Id="rId55" Type="http://schemas.openxmlformats.org/officeDocument/2006/relationships/tags" Target="../tags/tag1718.xml"/><Relationship Id="rId76" Type="http://schemas.openxmlformats.org/officeDocument/2006/relationships/tags" Target="../tags/tag1739.xml"/><Relationship Id="rId97" Type="http://schemas.openxmlformats.org/officeDocument/2006/relationships/hyperlink" Target="https://www.bisconti.com/blog/record-high-support-2024" TargetMode="External"/><Relationship Id="rId7" Type="http://schemas.openxmlformats.org/officeDocument/2006/relationships/tags" Target="../tags/tag1670.xml"/><Relationship Id="rId71" Type="http://schemas.openxmlformats.org/officeDocument/2006/relationships/tags" Target="../tags/tag1734.xml"/><Relationship Id="rId92" Type="http://schemas.openxmlformats.org/officeDocument/2006/relationships/chart" Target="../charts/chart78.xml"/><Relationship Id="rId2" Type="http://schemas.openxmlformats.org/officeDocument/2006/relationships/tags" Target="../tags/tag1665.xml"/><Relationship Id="rId29" Type="http://schemas.openxmlformats.org/officeDocument/2006/relationships/tags" Target="../tags/tag1692.xml"/><Relationship Id="rId24" Type="http://schemas.openxmlformats.org/officeDocument/2006/relationships/tags" Target="../tags/tag1687.xml"/><Relationship Id="rId40" Type="http://schemas.openxmlformats.org/officeDocument/2006/relationships/tags" Target="../tags/tag1703.xml"/><Relationship Id="rId45" Type="http://schemas.openxmlformats.org/officeDocument/2006/relationships/tags" Target="../tags/tag1708.xml"/><Relationship Id="rId66" Type="http://schemas.openxmlformats.org/officeDocument/2006/relationships/tags" Target="../tags/tag1729.xml"/><Relationship Id="rId87" Type="http://schemas.openxmlformats.org/officeDocument/2006/relationships/slideLayout" Target="../slideLayouts/slideLayout41.xml"/><Relationship Id="rId61" Type="http://schemas.openxmlformats.org/officeDocument/2006/relationships/tags" Target="../tags/tag1724.xml"/><Relationship Id="rId82" Type="http://schemas.openxmlformats.org/officeDocument/2006/relationships/tags" Target="../tags/tag1745.xml"/><Relationship Id="rId19" Type="http://schemas.openxmlformats.org/officeDocument/2006/relationships/tags" Target="../tags/tag1682.xml"/><Relationship Id="rId14" Type="http://schemas.openxmlformats.org/officeDocument/2006/relationships/tags" Target="../tags/tag1677.xml"/><Relationship Id="rId30" Type="http://schemas.openxmlformats.org/officeDocument/2006/relationships/tags" Target="../tags/tag1693.xml"/><Relationship Id="rId35" Type="http://schemas.openxmlformats.org/officeDocument/2006/relationships/tags" Target="../tags/tag1698.xml"/><Relationship Id="rId56" Type="http://schemas.openxmlformats.org/officeDocument/2006/relationships/tags" Target="../tags/tag1719.xml"/><Relationship Id="rId77" Type="http://schemas.openxmlformats.org/officeDocument/2006/relationships/tags" Target="../tags/tag1740.xml"/><Relationship Id="rId100" Type="http://schemas.openxmlformats.org/officeDocument/2006/relationships/hyperlink" Target="https://business.columbia.edu/insights/climate/cki" TargetMode="External"/><Relationship Id="rId8" Type="http://schemas.openxmlformats.org/officeDocument/2006/relationships/tags" Target="../tags/tag1671.xml"/><Relationship Id="rId51" Type="http://schemas.openxmlformats.org/officeDocument/2006/relationships/tags" Target="../tags/tag1714.xml"/><Relationship Id="rId72" Type="http://schemas.openxmlformats.org/officeDocument/2006/relationships/tags" Target="../tags/tag1735.xml"/><Relationship Id="rId93" Type="http://schemas.openxmlformats.org/officeDocument/2006/relationships/hyperlink" Target="https://www.energy.gov/eere/solar/federal-solar-tax-credits-businesses#:~:text=Solar%20systems%20that%20are%20placed,)%5B5%5D%20in%20size." TargetMode="External"/><Relationship Id="rId98" Type="http://schemas.openxmlformats.org/officeDocument/2006/relationships/hyperlink" Target="https://nuclearinnovationalliance.org/safety" TargetMode="External"/><Relationship Id="rId3" Type="http://schemas.openxmlformats.org/officeDocument/2006/relationships/tags" Target="../tags/tag1666.xml"/></Relationships>
</file>

<file path=ppt/slides/_rels/slide68.xml.rels><?xml version="1.0" encoding="UTF-8" standalone="yes"?>
<Relationships xmlns="http://schemas.openxmlformats.org/package/2006/relationships"><Relationship Id="rId8" Type="http://schemas.openxmlformats.org/officeDocument/2006/relationships/hyperlink" Target="https://www.mdpi.com/2071-1050/15/23/16466#B8-sustainability-15-16466" TargetMode="External"/><Relationship Id="rId13" Type="http://schemas.openxmlformats.org/officeDocument/2006/relationships/hyperlink" Target="https://business.columbia.edu/insights/climate/cki" TargetMode="External"/><Relationship Id="rId3" Type="http://schemas.openxmlformats.org/officeDocument/2006/relationships/slideLayout" Target="../slideLayouts/slideLayout42.xml"/><Relationship Id="rId7" Type="http://schemas.openxmlformats.org/officeDocument/2006/relationships/hyperlink" Target="https://www.sustainabilitybynumbers.com/p/renewables-waste" TargetMode="External"/><Relationship Id="rId12" Type="http://schemas.openxmlformats.org/officeDocument/2006/relationships/hyperlink" Target="https://business.columbia.edu/faculty/people/gernot-wagner" TargetMode="External"/><Relationship Id="rId2" Type="http://schemas.openxmlformats.org/officeDocument/2006/relationships/tags" Target="../tags/tag1751.xml"/><Relationship Id="rId1" Type="http://schemas.openxmlformats.org/officeDocument/2006/relationships/tags" Target="../tags/tag1750.xml"/><Relationship Id="rId6" Type="http://schemas.openxmlformats.org/officeDocument/2006/relationships/image" Target="../media/image52.emf"/><Relationship Id="rId11" Type="http://schemas.openxmlformats.org/officeDocument/2006/relationships/hyperlink" Target="https://www.epa.gov/coalash/coal-ash-basics#:~:text=Some%20power%20plants%20may%20dispose,ash%20was%20generated%20in%202014." TargetMode="External"/><Relationship Id="rId5" Type="http://schemas.openxmlformats.org/officeDocument/2006/relationships/oleObject" Target="../embeddings/oleObject72.bin"/><Relationship Id="rId10" Type="http://schemas.openxmlformats.org/officeDocument/2006/relationships/hyperlink" Target="https://www.mdpi.com/2071-1050/16/11/4517#:~:text=Accordingly%2C%20scholars%20and%20researchers%20have,to%20keep%20the%20environment%20safe." TargetMode="External"/><Relationship Id="rId4" Type="http://schemas.openxmlformats.org/officeDocument/2006/relationships/notesSlide" Target="../notesSlides/notesSlide56.xml"/><Relationship Id="rId9" Type="http://schemas.openxmlformats.org/officeDocument/2006/relationships/hyperlink" Target="https://www.sciencedirect.com/science/article/pii/S2667378924000117#bib0006" TargetMode="External"/></Relationships>
</file>

<file path=ppt/slides/_rels/slide69.xml.rels><?xml version="1.0" encoding="UTF-8" standalone="yes"?>
<Relationships xmlns="http://schemas.openxmlformats.org/package/2006/relationships"><Relationship Id="rId26" Type="http://schemas.openxmlformats.org/officeDocument/2006/relationships/tags" Target="../tags/tag1777.xml"/><Relationship Id="rId21" Type="http://schemas.openxmlformats.org/officeDocument/2006/relationships/tags" Target="../tags/tag1772.xml"/><Relationship Id="rId42" Type="http://schemas.openxmlformats.org/officeDocument/2006/relationships/tags" Target="../tags/tag1793.xml"/><Relationship Id="rId47" Type="http://schemas.openxmlformats.org/officeDocument/2006/relationships/tags" Target="../tags/tag1798.xml"/><Relationship Id="rId63" Type="http://schemas.openxmlformats.org/officeDocument/2006/relationships/tags" Target="../tags/tag1814.xml"/><Relationship Id="rId68" Type="http://schemas.openxmlformats.org/officeDocument/2006/relationships/tags" Target="../tags/tag1819.xml"/><Relationship Id="rId16" Type="http://schemas.openxmlformats.org/officeDocument/2006/relationships/tags" Target="../tags/tag1767.xml"/><Relationship Id="rId11" Type="http://schemas.openxmlformats.org/officeDocument/2006/relationships/tags" Target="../tags/tag1762.xml"/><Relationship Id="rId32" Type="http://schemas.openxmlformats.org/officeDocument/2006/relationships/tags" Target="../tags/tag1783.xml"/><Relationship Id="rId37" Type="http://schemas.openxmlformats.org/officeDocument/2006/relationships/tags" Target="../tags/tag1788.xml"/><Relationship Id="rId53" Type="http://schemas.openxmlformats.org/officeDocument/2006/relationships/tags" Target="../tags/tag1804.xml"/><Relationship Id="rId58" Type="http://schemas.openxmlformats.org/officeDocument/2006/relationships/tags" Target="../tags/tag1809.xml"/><Relationship Id="rId74" Type="http://schemas.openxmlformats.org/officeDocument/2006/relationships/hyperlink" Target="https://www.sciencedirect.com/book/9780123859716/materials-and-the-environment?via=ihub=" TargetMode="External"/><Relationship Id="rId79" Type="http://schemas.openxmlformats.org/officeDocument/2006/relationships/chart" Target="../charts/chart80.xml"/><Relationship Id="rId5" Type="http://schemas.openxmlformats.org/officeDocument/2006/relationships/tags" Target="../tags/tag1756.xml"/><Relationship Id="rId61" Type="http://schemas.openxmlformats.org/officeDocument/2006/relationships/tags" Target="../tags/tag1812.xml"/><Relationship Id="rId19" Type="http://schemas.openxmlformats.org/officeDocument/2006/relationships/tags" Target="../tags/tag1770.xml"/><Relationship Id="rId14" Type="http://schemas.openxmlformats.org/officeDocument/2006/relationships/tags" Target="../tags/tag1765.xml"/><Relationship Id="rId22" Type="http://schemas.openxmlformats.org/officeDocument/2006/relationships/tags" Target="../tags/tag1773.xml"/><Relationship Id="rId27" Type="http://schemas.openxmlformats.org/officeDocument/2006/relationships/tags" Target="../tags/tag1778.xml"/><Relationship Id="rId30" Type="http://schemas.openxmlformats.org/officeDocument/2006/relationships/tags" Target="../tags/tag1781.xml"/><Relationship Id="rId35" Type="http://schemas.openxmlformats.org/officeDocument/2006/relationships/tags" Target="../tags/tag1786.xml"/><Relationship Id="rId43" Type="http://schemas.openxmlformats.org/officeDocument/2006/relationships/tags" Target="../tags/tag1794.xml"/><Relationship Id="rId48" Type="http://schemas.openxmlformats.org/officeDocument/2006/relationships/tags" Target="../tags/tag1799.xml"/><Relationship Id="rId56" Type="http://schemas.openxmlformats.org/officeDocument/2006/relationships/tags" Target="../tags/tag1807.xml"/><Relationship Id="rId64" Type="http://schemas.openxmlformats.org/officeDocument/2006/relationships/tags" Target="../tags/tag1815.xml"/><Relationship Id="rId69" Type="http://schemas.openxmlformats.org/officeDocument/2006/relationships/slideLayout" Target="../slideLayouts/slideLayout7.xml"/><Relationship Id="rId77" Type="http://schemas.openxmlformats.org/officeDocument/2006/relationships/hyperlink" Target="https://business.columbia.edu/faculty/people/gernot-wagner" TargetMode="External"/><Relationship Id="rId8" Type="http://schemas.openxmlformats.org/officeDocument/2006/relationships/tags" Target="../tags/tag1759.xml"/><Relationship Id="rId51" Type="http://schemas.openxmlformats.org/officeDocument/2006/relationships/tags" Target="../tags/tag1802.xml"/><Relationship Id="rId72" Type="http://schemas.openxmlformats.org/officeDocument/2006/relationships/image" Target="../media/image78.emf"/><Relationship Id="rId80" Type="http://schemas.openxmlformats.org/officeDocument/2006/relationships/chart" Target="../charts/chart81.xml"/><Relationship Id="rId3" Type="http://schemas.openxmlformats.org/officeDocument/2006/relationships/tags" Target="../tags/tag1754.xml"/><Relationship Id="rId12" Type="http://schemas.openxmlformats.org/officeDocument/2006/relationships/tags" Target="../tags/tag1763.xml"/><Relationship Id="rId17" Type="http://schemas.openxmlformats.org/officeDocument/2006/relationships/tags" Target="../tags/tag1768.xml"/><Relationship Id="rId25" Type="http://schemas.openxmlformats.org/officeDocument/2006/relationships/tags" Target="../tags/tag1776.xml"/><Relationship Id="rId33" Type="http://schemas.openxmlformats.org/officeDocument/2006/relationships/tags" Target="../tags/tag1784.xml"/><Relationship Id="rId38" Type="http://schemas.openxmlformats.org/officeDocument/2006/relationships/tags" Target="../tags/tag1789.xml"/><Relationship Id="rId46" Type="http://schemas.openxmlformats.org/officeDocument/2006/relationships/tags" Target="../tags/tag1797.xml"/><Relationship Id="rId59" Type="http://schemas.openxmlformats.org/officeDocument/2006/relationships/tags" Target="../tags/tag1810.xml"/><Relationship Id="rId67" Type="http://schemas.openxmlformats.org/officeDocument/2006/relationships/tags" Target="../tags/tag1818.xml"/><Relationship Id="rId20" Type="http://schemas.openxmlformats.org/officeDocument/2006/relationships/tags" Target="../tags/tag1771.xml"/><Relationship Id="rId41" Type="http://schemas.openxmlformats.org/officeDocument/2006/relationships/tags" Target="../tags/tag1792.xml"/><Relationship Id="rId54" Type="http://schemas.openxmlformats.org/officeDocument/2006/relationships/tags" Target="../tags/tag1805.xml"/><Relationship Id="rId62" Type="http://schemas.openxmlformats.org/officeDocument/2006/relationships/tags" Target="../tags/tag1813.xml"/><Relationship Id="rId70" Type="http://schemas.openxmlformats.org/officeDocument/2006/relationships/notesSlide" Target="../notesSlides/notesSlide57.xml"/><Relationship Id="rId75" Type="http://schemas.openxmlformats.org/officeDocument/2006/relationships/hyperlink" Target="https://world-nuclear.org/information-library/nuclear-fuel-cycle/nuclear-power-reactors/advanced-nuclear-power-reactors" TargetMode="External"/><Relationship Id="rId1" Type="http://schemas.openxmlformats.org/officeDocument/2006/relationships/tags" Target="../tags/tag1752.xml"/><Relationship Id="rId6" Type="http://schemas.openxmlformats.org/officeDocument/2006/relationships/tags" Target="../tags/tag1757.xml"/><Relationship Id="rId15" Type="http://schemas.openxmlformats.org/officeDocument/2006/relationships/tags" Target="../tags/tag1766.xml"/><Relationship Id="rId23" Type="http://schemas.openxmlformats.org/officeDocument/2006/relationships/tags" Target="../tags/tag1774.xml"/><Relationship Id="rId28" Type="http://schemas.openxmlformats.org/officeDocument/2006/relationships/tags" Target="../tags/tag1779.xml"/><Relationship Id="rId36" Type="http://schemas.openxmlformats.org/officeDocument/2006/relationships/tags" Target="../tags/tag1787.xml"/><Relationship Id="rId49" Type="http://schemas.openxmlformats.org/officeDocument/2006/relationships/tags" Target="../tags/tag1800.xml"/><Relationship Id="rId57" Type="http://schemas.openxmlformats.org/officeDocument/2006/relationships/tags" Target="../tags/tag1808.xml"/><Relationship Id="rId10" Type="http://schemas.openxmlformats.org/officeDocument/2006/relationships/tags" Target="../tags/tag1761.xml"/><Relationship Id="rId31" Type="http://schemas.openxmlformats.org/officeDocument/2006/relationships/tags" Target="../tags/tag1782.xml"/><Relationship Id="rId44" Type="http://schemas.openxmlformats.org/officeDocument/2006/relationships/tags" Target="../tags/tag1795.xml"/><Relationship Id="rId52" Type="http://schemas.openxmlformats.org/officeDocument/2006/relationships/tags" Target="../tags/tag1803.xml"/><Relationship Id="rId60" Type="http://schemas.openxmlformats.org/officeDocument/2006/relationships/tags" Target="../tags/tag1811.xml"/><Relationship Id="rId65" Type="http://schemas.openxmlformats.org/officeDocument/2006/relationships/tags" Target="../tags/tag1816.xml"/><Relationship Id="rId73" Type="http://schemas.openxmlformats.org/officeDocument/2006/relationships/hyperlink" Target="https://www.energy.gov/sites/default/files/2024-12/Nuclear%2520Energy%2520Supply%2520Chain%2520Report%2520-%2520Final%5B1%5D.pdf" TargetMode="External"/><Relationship Id="rId78" Type="http://schemas.openxmlformats.org/officeDocument/2006/relationships/hyperlink" Target="https://business.columbia.edu/insights/climate/cki" TargetMode="External"/><Relationship Id="rId81" Type="http://schemas.openxmlformats.org/officeDocument/2006/relationships/chart" Target="../charts/chart82.xml"/><Relationship Id="rId4" Type="http://schemas.openxmlformats.org/officeDocument/2006/relationships/tags" Target="../tags/tag1755.xml"/><Relationship Id="rId9" Type="http://schemas.openxmlformats.org/officeDocument/2006/relationships/tags" Target="../tags/tag1760.xml"/><Relationship Id="rId13" Type="http://schemas.openxmlformats.org/officeDocument/2006/relationships/tags" Target="../tags/tag1764.xml"/><Relationship Id="rId18" Type="http://schemas.openxmlformats.org/officeDocument/2006/relationships/tags" Target="../tags/tag1769.xml"/><Relationship Id="rId39" Type="http://schemas.openxmlformats.org/officeDocument/2006/relationships/tags" Target="../tags/tag1790.xml"/><Relationship Id="rId34" Type="http://schemas.openxmlformats.org/officeDocument/2006/relationships/tags" Target="../tags/tag1785.xml"/><Relationship Id="rId50" Type="http://schemas.openxmlformats.org/officeDocument/2006/relationships/tags" Target="../tags/tag1801.xml"/><Relationship Id="rId55" Type="http://schemas.openxmlformats.org/officeDocument/2006/relationships/tags" Target="../tags/tag1806.xml"/><Relationship Id="rId76" Type="http://schemas.openxmlformats.org/officeDocument/2006/relationships/hyperlink" Target="https://fhr.nuc.berkeley.edu/wp-content/uploads/2014/10/05-001-A_Material_input.pdf" TargetMode="External"/><Relationship Id="rId7" Type="http://schemas.openxmlformats.org/officeDocument/2006/relationships/tags" Target="../tags/tag1758.xml"/><Relationship Id="rId71" Type="http://schemas.openxmlformats.org/officeDocument/2006/relationships/oleObject" Target="../embeddings/oleObject73.bin"/><Relationship Id="rId2" Type="http://schemas.openxmlformats.org/officeDocument/2006/relationships/tags" Target="../tags/tag1753.xml"/><Relationship Id="rId29" Type="http://schemas.openxmlformats.org/officeDocument/2006/relationships/tags" Target="../tags/tag1780.xml"/><Relationship Id="rId24" Type="http://schemas.openxmlformats.org/officeDocument/2006/relationships/tags" Target="../tags/tag1775.xml"/><Relationship Id="rId40" Type="http://schemas.openxmlformats.org/officeDocument/2006/relationships/tags" Target="../tags/tag1791.xml"/><Relationship Id="rId45" Type="http://schemas.openxmlformats.org/officeDocument/2006/relationships/tags" Target="../tags/tag1796.xml"/><Relationship Id="rId66" Type="http://schemas.openxmlformats.org/officeDocument/2006/relationships/tags" Target="../tags/tag1817.xml"/></Relationships>
</file>

<file path=ppt/slides/_rels/slide7.xml.rels><?xml version="1.0" encoding="UTF-8" standalone="yes"?>
<Relationships xmlns="http://schemas.openxmlformats.org/package/2006/relationships"><Relationship Id="rId13" Type="http://schemas.openxmlformats.org/officeDocument/2006/relationships/tags" Target="../tags/tag172.xml"/><Relationship Id="rId18" Type="http://schemas.openxmlformats.org/officeDocument/2006/relationships/tags" Target="../tags/tag177.xml"/><Relationship Id="rId26" Type="http://schemas.openxmlformats.org/officeDocument/2006/relationships/tags" Target="../tags/tag185.xml"/><Relationship Id="rId39" Type="http://schemas.openxmlformats.org/officeDocument/2006/relationships/oleObject" Target="../embeddings/oleObject13.bin"/><Relationship Id="rId21" Type="http://schemas.openxmlformats.org/officeDocument/2006/relationships/tags" Target="../tags/tag180.xml"/><Relationship Id="rId34" Type="http://schemas.openxmlformats.org/officeDocument/2006/relationships/tags" Target="../tags/tag193.xml"/><Relationship Id="rId42" Type="http://schemas.openxmlformats.org/officeDocument/2006/relationships/hyperlink" Target="https://www.eia.gov/electricity/gridmonitor/dashboard/electric_overview/US48/US48" TargetMode="External"/><Relationship Id="rId7" Type="http://schemas.openxmlformats.org/officeDocument/2006/relationships/tags" Target="../tags/tag166.xml"/><Relationship Id="rId2" Type="http://schemas.openxmlformats.org/officeDocument/2006/relationships/tags" Target="../tags/tag161.xml"/><Relationship Id="rId16" Type="http://schemas.openxmlformats.org/officeDocument/2006/relationships/tags" Target="../tags/tag175.xml"/><Relationship Id="rId29" Type="http://schemas.openxmlformats.org/officeDocument/2006/relationships/tags" Target="../tags/tag188.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24" Type="http://schemas.openxmlformats.org/officeDocument/2006/relationships/tags" Target="../tags/tag183.xml"/><Relationship Id="rId32" Type="http://schemas.openxmlformats.org/officeDocument/2006/relationships/tags" Target="../tags/tag191.xml"/><Relationship Id="rId37" Type="http://schemas.openxmlformats.org/officeDocument/2006/relationships/slideLayout" Target="../slideLayouts/slideLayout41.xml"/><Relationship Id="rId40" Type="http://schemas.openxmlformats.org/officeDocument/2006/relationships/image" Target="../media/image18.emf"/><Relationship Id="rId45" Type="http://schemas.openxmlformats.org/officeDocument/2006/relationships/hyperlink" Target="https://business.columbia.edu/insights/climate/cki" TargetMode="External"/><Relationship Id="rId5" Type="http://schemas.openxmlformats.org/officeDocument/2006/relationships/tags" Target="../tags/tag164.xml"/><Relationship Id="rId15" Type="http://schemas.openxmlformats.org/officeDocument/2006/relationships/tags" Target="../tags/tag174.xml"/><Relationship Id="rId23" Type="http://schemas.openxmlformats.org/officeDocument/2006/relationships/tags" Target="../tags/tag182.xml"/><Relationship Id="rId28" Type="http://schemas.openxmlformats.org/officeDocument/2006/relationships/tags" Target="../tags/tag187.xml"/><Relationship Id="rId36" Type="http://schemas.openxmlformats.org/officeDocument/2006/relationships/tags" Target="../tags/tag195.xml"/><Relationship Id="rId10" Type="http://schemas.openxmlformats.org/officeDocument/2006/relationships/tags" Target="../tags/tag169.xml"/><Relationship Id="rId19" Type="http://schemas.openxmlformats.org/officeDocument/2006/relationships/tags" Target="../tags/tag178.xml"/><Relationship Id="rId31" Type="http://schemas.openxmlformats.org/officeDocument/2006/relationships/tags" Target="../tags/tag190.xml"/><Relationship Id="rId44" Type="http://schemas.openxmlformats.org/officeDocument/2006/relationships/hyperlink" Target="https://business.columbia.edu/faculty/people/gernot-wagner" TargetMode="Externa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 Id="rId22" Type="http://schemas.openxmlformats.org/officeDocument/2006/relationships/tags" Target="../tags/tag181.xml"/><Relationship Id="rId27" Type="http://schemas.openxmlformats.org/officeDocument/2006/relationships/tags" Target="../tags/tag186.xml"/><Relationship Id="rId30" Type="http://schemas.openxmlformats.org/officeDocument/2006/relationships/tags" Target="../tags/tag189.xml"/><Relationship Id="rId35" Type="http://schemas.openxmlformats.org/officeDocument/2006/relationships/tags" Target="../tags/tag194.xml"/><Relationship Id="rId43" Type="http://schemas.openxmlformats.org/officeDocument/2006/relationships/hyperlink" Target="https://world-nuclear.org/information-library/country-profiles/countries-t-z/usa-nuclear-power" TargetMode="External"/><Relationship Id="rId8" Type="http://schemas.openxmlformats.org/officeDocument/2006/relationships/tags" Target="../tags/tag167.xml"/><Relationship Id="rId3" Type="http://schemas.openxmlformats.org/officeDocument/2006/relationships/tags" Target="../tags/tag162.xml"/><Relationship Id="rId12" Type="http://schemas.openxmlformats.org/officeDocument/2006/relationships/tags" Target="../tags/tag171.xml"/><Relationship Id="rId17" Type="http://schemas.openxmlformats.org/officeDocument/2006/relationships/tags" Target="../tags/tag176.xml"/><Relationship Id="rId25" Type="http://schemas.openxmlformats.org/officeDocument/2006/relationships/tags" Target="../tags/tag184.xml"/><Relationship Id="rId33" Type="http://schemas.openxmlformats.org/officeDocument/2006/relationships/tags" Target="../tags/tag192.xml"/><Relationship Id="rId38" Type="http://schemas.openxmlformats.org/officeDocument/2006/relationships/notesSlide" Target="../notesSlides/notesSlide7.xml"/><Relationship Id="rId46" Type="http://schemas.openxmlformats.org/officeDocument/2006/relationships/chart" Target="../charts/chart6.xml"/><Relationship Id="rId20" Type="http://schemas.openxmlformats.org/officeDocument/2006/relationships/tags" Target="../tags/tag179.xml"/><Relationship Id="rId41" Type="http://schemas.openxmlformats.org/officeDocument/2006/relationships/hyperlink" Target="https://www.lazard.com/media/eijnqja3/lazards-lcoeplus-june-2025.pdf" TargetMode="External"/></Relationships>
</file>

<file path=ppt/slides/_rels/slide70.xml.rels><?xml version="1.0" encoding="UTF-8" standalone="yes"?>
<Relationships xmlns="http://schemas.openxmlformats.org/package/2006/relationships"><Relationship Id="rId13" Type="http://schemas.openxmlformats.org/officeDocument/2006/relationships/tags" Target="../tags/tag1832.xml"/><Relationship Id="rId18" Type="http://schemas.openxmlformats.org/officeDocument/2006/relationships/tags" Target="../tags/tag1837.xml"/><Relationship Id="rId26" Type="http://schemas.openxmlformats.org/officeDocument/2006/relationships/notesSlide" Target="../notesSlides/notesSlide58.xml"/><Relationship Id="rId39" Type="http://schemas.openxmlformats.org/officeDocument/2006/relationships/chart" Target="../charts/chart84.xml"/><Relationship Id="rId21" Type="http://schemas.openxmlformats.org/officeDocument/2006/relationships/tags" Target="../tags/tag1840.xml"/><Relationship Id="rId34" Type="http://schemas.openxmlformats.org/officeDocument/2006/relationships/hyperlink" Target="https://www.base.bund.de/en/nuclear-safety/nuclear-phase-out/nuclear-phase-out_content.html#a456438" TargetMode="External"/><Relationship Id="rId7" Type="http://schemas.openxmlformats.org/officeDocument/2006/relationships/tags" Target="../tags/tag1826.xml"/><Relationship Id="rId12" Type="http://schemas.openxmlformats.org/officeDocument/2006/relationships/tags" Target="../tags/tag1831.xml"/><Relationship Id="rId17" Type="http://schemas.openxmlformats.org/officeDocument/2006/relationships/tags" Target="../tags/tag1836.xml"/><Relationship Id="rId25" Type="http://schemas.openxmlformats.org/officeDocument/2006/relationships/slideLayout" Target="../slideLayouts/slideLayout7.xml"/><Relationship Id="rId33" Type="http://schemas.openxmlformats.org/officeDocument/2006/relationships/hyperlink" Target="https://www.asahi.com/special/08003/TKY201105250637.html" TargetMode="External"/><Relationship Id="rId38" Type="http://schemas.openxmlformats.org/officeDocument/2006/relationships/chart" Target="../charts/chart83.xml"/><Relationship Id="rId2" Type="http://schemas.openxmlformats.org/officeDocument/2006/relationships/tags" Target="../tags/tag1821.xml"/><Relationship Id="rId16" Type="http://schemas.openxmlformats.org/officeDocument/2006/relationships/tags" Target="../tags/tag1835.xml"/><Relationship Id="rId20" Type="http://schemas.openxmlformats.org/officeDocument/2006/relationships/tags" Target="../tags/tag1839.xml"/><Relationship Id="rId29" Type="http://schemas.openxmlformats.org/officeDocument/2006/relationships/image" Target="../media/image15.emf"/><Relationship Id="rId1" Type="http://schemas.openxmlformats.org/officeDocument/2006/relationships/tags" Target="../tags/tag1820.xml"/><Relationship Id="rId6" Type="http://schemas.openxmlformats.org/officeDocument/2006/relationships/tags" Target="../tags/tag1825.xml"/><Relationship Id="rId11" Type="http://schemas.openxmlformats.org/officeDocument/2006/relationships/tags" Target="../tags/tag1830.xml"/><Relationship Id="rId24" Type="http://schemas.openxmlformats.org/officeDocument/2006/relationships/tags" Target="../tags/tag1843.xml"/><Relationship Id="rId32" Type="http://schemas.openxmlformats.org/officeDocument/2006/relationships/hyperlink" Target="https://k1project.columbia.edu/news/french-nuclear-policy-after-fukushima" TargetMode="External"/><Relationship Id="rId37" Type="http://schemas.openxmlformats.org/officeDocument/2006/relationships/hyperlink" Target="https://business.columbia.edu/insights/climate/cki" TargetMode="External"/><Relationship Id="rId40" Type="http://schemas.openxmlformats.org/officeDocument/2006/relationships/chart" Target="../charts/chart85.xml"/><Relationship Id="rId5" Type="http://schemas.openxmlformats.org/officeDocument/2006/relationships/tags" Target="../tags/tag1824.xml"/><Relationship Id="rId15" Type="http://schemas.openxmlformats.org/officeDocument/2006/relationships/tags" Target="../tags/tag1834.xml"/><Relationship Id="rId23" Type="http://schemas.openxmlformats.org/officeDocument/2006/relationships/tags" Target="../tags/tag1842.xml"/><Relationship Id="rId28" Type="http://schemas.openxmlformats.org/officeDocument/2006/relationships/oleObject" Target="../embeddings/oleObject74.bin"/><Relationship Id="rId36" Type="http://schemas.openxmlformats.org/officeDocument/2006/relationships/hyperlink" Target="https://business.columbia.edu/faculty/people/gernot-wagner" TargetMode="External"/><Relationship Id="rId10" Type="http://schemas.openxmlformats.org/officeDocument/2006/relationships/tags" Target="../tags/tag1829.xml"/><Relationship Id="rId19" Type="http://schemas.openxmlformats.org/officeDocument/2006/relationships/tags" Target="../tags/tag1838.xml"/><Relationship Id="rId31" Type="http://schemas.openxmlformats.org/officeDocument/2006/relationships/hyperlink" Target="https://ember-energy.org/data/electricity-data-explorer/" TargetMode="External"/><Relationship Id="rId4" Type="http://schemas.openxmlformats.org/officeDocument/2006/relationships/tags" Target="../tags/tag1823.xml"/><Relationship Id="rId9" Type="http://schemas.openxmlformats.org/officeDocument/2006/relationships/tags" Target="../tags/tag1828.xml"/><Relationship Id="rId14" Type="http://schemas.openxmlformats.org/officeDocument/2006/relationships/tags" Target="../tags/tag1833.xml"/><Relationship Id="rId22" Type="http://schemas.openxmlformats.org/officeDocument/2006/relationships/tags" Target="../tags/tag1841.xml"/><Relationship Id="rId27" Type="http://schemas.microsoft.com/office/2018/10/relationships/comments" Target="../comments/modernComment_7FFFF163_511D0173.xml"/><Relationship Id="rId30" Type="http://schemas.openxmlformats.org/officeDocument/2006/relationships/hyperlink" Target="https://www.energy.gov/eere/solar/federal-solar-tax-credits-businesses#:~:text=Solar%20systems%20that%20are%20placed,)%5B5%5D%20in%20size." TargetMode="External"/><Relationship Id="rId35" Type="http://schemas.openxmlformats.org/officeDocument/2006/relationships/hyperlink" Target="https://www.theguardian.com/world/2011/jun/27/nicolas-sarkozy-france-nuclear-power" TargetMode="External"/><Relationship Id="rId8" Type="http://schemas.openxmlformats.org/officeDocument/2006/relationships/tags" Target="../tags/tag1827.xml"/><Relationship Id="rId3" Type="http://schemas.openxmlformats.org/officeDocument/2006/relationships/tags" Target="../tags/tag1822.xml"/></Relationships>
</file>

<file path=ppt/slides/_rels/slide71.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tags" Target="../tags/tag1846.xml"/><Relationship Id="rId7" Type="http://schemas.openxmlformats.org/officeDocument/2006/relationships/image" Target="../media/image15.emf"/><Relationship Id="rId2" Type="http://schemas.openxmlformats.org/officeDocument/2006/relationships/tags" Target="../tags/tag1845.xml"/><Relationship Id="rId1" Type="http://schemas.openxmlformats.org/officeDocument/2006/relationships/tags" Target="../tags/tag1844.xml"/><Relationship Id="rId6" Type="http://schemas.openxmlformats.org/officeDocument/2006/relationships/oleObject" Target="../embeddings/oleObject75.bin"/><Relationship Id="rId5" Type="http://schemas.openxmlformats.org/officeDocument/2006/relationships/notesSlide" Target="../notesSlides/notesSlide59.xml"/><Relationship Id="rId4" Type="http://schemas.openxmlformats.org/officeDocument/2006/relationships/slideLayout" Target="../slideLayouts/slideLayout7.xml"/><Relationship Id="rId9" Type="http://schemas.openxmlformats.org/officeDocument/2006/relationships/hyperlink" Target="https://business.columbia.edu/insights/climate/cki" TargetMode="External"/></Relationships>
</file>

<file path=ppt/slides/_rels/slide72.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tags" Target="../tags/tag1849.xml"/><Relationship Id="rId7" Type="http://schemas.openxmlformats.org/officeDocument/2006/relationships/image" Target="../media/image15.emf"/><Relationship Id="rId2" Type="http://schemas.openxmlformats.org/officeDocument/2006/relationships/tags" Target="../tags/tag1848.xml"/><Relationship Id="rId1" Type="http://schemas.openxmlformats.org/officeDocument/2006/relationships/tags" Target="../tags/tag1847.xml"/><Relationship Id="rId6" Type="http://schemas.openxmlformats.org/officeDocument/2006/relationships/oleObject" Target="../embeddings/oleObject75.bin"/><Relationship Id="rId5" Type="http://schemas.openxmlformats.org/officeDocument/2006/relationships/notesSlide" Target="../notesSlides/notesSlide60.xml"/><Relationship Id="rId4" Type="http://schemas.openxmlformats.org/officeDocument/2006/relationships/slideLayout" Target="../slideLayouts/slideLayout7.xml"/><Relationship Id="rId9" Type="http://schemas.openxmlformats.org/officeDocument/2006/relationships/hyperlink" Target="https://business.columbia.edu/insights/climate/cki" TargetMode="Externa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business.columbia.edu/insights/climate/cki" TargetMode="External"/><Relationship Id="rId2" Type="http://schemas.openxmlformats.org/officeDocument/2006/relationships/tags" Target="../tags/tag1851.xml"/><Relationship Id="rId1" Type="http://schemas.openxmlformats.org/officeDocument/2006/relationships/tags" Target="../tags/tag1850.xml"/><Relationship Id="rId6" Type="http://schemas.openxmlformats.org/officeDocument/2006/relationships/hyperlink" Target="https://business.columbia.edu/faculty/people/gernot-wagner" TargetMode="External"/><Relationship Id="rId5" Type="http://schemas.openxmlformats.org/officeDocument/2006/relationships/image" Target="../media/image143.emf"/><Relationship Id="rId4" Type="http://schemas.openxmlformats.org/officeDocument/2006/relationships/oleObject" Target="../embeddings/oleObject76.bin"/></Relationships>
</file>

<file path=ppt/slides/_rels/slide8.xml.rels><?xml version="1.0" encoding="UTF-8" standalone="yes"?>
<Relationships xmlns="http://schemas.openxmlformats.org/package/2006/relationships"><Relationship Id="rId8" Type="http://schemas.openxmlformats.org/officeDocument/2006/relationships/hyperlink" Target="https://atb.nrel.gov/electricity/2024/utility-scale_battery%E2%80%8B_storage" TargetMode="External"/><Relationship Id="rId13" Type="http://schemas.openxmlformats.org/officeDocument/2006/relationships/hyperlink" Target="https://www.eia.gov/tools/faqs/faq.php?id=228&amp;t=3" TargetMode="External"/><Relationship Id="rId18" Type="http://schemas.openxmlformats.org/officeDocument/2006/relationships/hyperlink" Target="https://iea.blob.core.windows.net/assets/cbe6ad3a-eb3e-463f-8b2a-5d1fa4ce39bf/TheFutureofGeothermal.pdf" TargetMode="External"/><Relationship Id="rId3" Type="http://schemas.openxmlformats.org/officeDocument/2006/relationships/notesSlide" Target="../notesSlides/notesSlide8.xml"/><Relationship Id="rId21" Type="http://schemas.openxmlformats.org/officeDocument/2006/relationships/hyperlink" Target="https://business.columbia.edu/faculty/people/gernot-wagner" TargetMode="External"/><Relationship Id="rId7" Type="http://schemas.openxmlformats.org/officeDocument/2006/relationships/hyperlink" Target="https://www.lazard.com/media/eijnqja3/lazards-lcoeplus-june-2025.pdf" TargetMode="External"/><Relationship Id="rId12" Type="http://schemas.openxmlformats.org/officeDocument/2006/relationships/hyperlink" Target="https://www.energy.gov/ne/benefits-small-modular-reactors-smrs" TargetMode="External"/><Relationship Id="rId17" Type="http://schemas.openxmlformats.org/officeDocument/2006/relationships/hyperlink" Target="https://journals.plos.org/plosone/article?id=10.1371/journal.pone.0270155" TargetMode="External"/><Relationship Id="rId2" Type="http://schemas.openxmlformats.org/officeDocument/2006/relationships/slideLayout" Target="../slideLayouts/slideLayout42.xml"/><Relationship Id="rId16" Type="http://schemas.openxmlformats.org/officeDocument/2006/relationships/hyperlink" Target="https://documents.dps.ny.gov/public/Common/ViewDoc.aspx?DocRefId=%7BA0F5C88B-0000-C521-AAAD-996DCC98AF0F%7D" TargetMode="External"/><Relationship Id="rId20" Type="http://schemas.openxmlformats.org/officeDocument/2006/relationships/hyperlink" Target="https://www.slb.com/resource-library/insights-articles/beyond-lcoe-what's-the-true-value-of-geothermal-energy" TargetMode="External"/><Relationship Id="rId1" Type="http://schemas.openxmlformats.org/officeDocument/2006/relationships/tags" Target="../tags/tag196.xml"/><Relationship Id="rId6" Type="http://schemas.openxmlformats.org/officeDocument/2006/relationships/chart" Target="../charts/chart7.xml"/><Relationship Id="rId11" Type="http://schemas.openxmlformats.org/officeDocument/2006/relationships/hyperlink" Target="https://www.iaea.org/newscenter/news/what-are-small-modular-reactors-smrs" TargetMode="External"/><Relationship Id="rId5" Type="http://schemas.openxmlformats.org/officeDocument/2006/relationships/image" Target="../media/image17.emf"/><Relationship Id="rId15" Type="http://schemas.openxmlformats.org/officeDocument/2006/relationships/hyperlink" Target="https://atb.nrel.gov/electricity/2024/nuclear%E2%80%8B" TargetMode="External"/><Relationship Id="rId10" Type="http://schemas.openxmlformats.org/officeDocument/2006/relationships/hyperlink" Target="https://www-pub.iaea.org/MTCD/Publications/PDF/P1756_web.pdf" TargetMode="External"/><Relationship Id="rId19" Type="http://schemas.openxmlformats.org/officeDocument/2006/relationships/hyperlink" Target="https://www.energy.gov/ne/articles/what-generation-capacity" TargetMode="External"/><Relationship Id="rId4" Type="http://schemas.openxmlformats.org/officeDocument/2006/relationships/oleObject" Target="../embeddings/oleObject14.bin"/><Relationship Id="rId9" Type="http://schemas.openxmlformats.org/officeDocument/2006/relationships/hyperlink" Target="https://www.energy.gov/eere/analysis/2022-grid-energy-storage-technology-cost-and-performance-assessment" TargetMode="External"/><Relationship Id="rId14" Type="http://schemas.openxmlformats.org/officeDocument/2006/relationships/hyperlink" Target="https://edf.hal.science/hal-01977209/document" TargetMode="External"/><Relationship Id="rId22" Type="http://schemas.openxmlformats.org/officeDocument/2006/relationships/hyperlink" Target="https://business.columbia.edu/insights/climate/cki" TargetMode="External"/></Relationships>
</file>

<file path=ppt/slides/_rels/slide9.xml.rels><?xml version="1.0" encoding="UTF-8" standalone="yes"?>
<Relationships xmlns="http://schemas.openxmlformats.org/package/2006/relationships"><Relationship Id="rId13" Type="http://schemas.openxmlformats.org/officeDocument/2006/relationships/tags" Target="../tags/tag209.xml"/><Relationship Id="rId18" Type="http://schemas.openxmlformats.org/officeDocument/2006/relationships/tags" Target="../tags/tag214.xml"/><Relationship Id="rId26" Type="http://schemas.openxmlformats.org/officeDocument/2006/relationships/tags" Target="../tags/tag222.xml"/><Relationship Id="rId39" Type="http://schemas.openxmlformats.org/officeDocument/2006/relationships/tags" Target="../tags/tag235.xml"/><Relationship Id="rId21" Type="http://schemas.openxmlformats.org/officeDocument/2006/relationships/tags" Target="../tags/tag217.xml"/><Relationship Id="rId34" Type="http://schemas.openxmlformats.org/officeDocument/2006/relationships/tags" Target="../tags/tag230.xml"/><Relationship Id="rId42" Type="http://schemas.openxmlformats.org/officeDocument/2006/relationships/tags" Target="../tags/tag238.xml"/><Relationship Id="rId47" Type="http://schemas.openxmlformats.org/officeDocument/2006/relationships/tags" Target="../tags/tag243.xml"/><Relationship Id="rId50" Type="http://schemas.openxmlformats.org/officeDocument/2006/relationships/notesSlide" Target="../notesSlides/notesSlide9.xml"/><Relationship Id="rId55" Type="http://schemas.openxmlformats.org/officeDocument/2006/relationships/hyperlink" Target="https://world-nuclear.org/our-association/publications/global-trends-reports/world-nuclear-performance-report-2024" TargetMode="External"/><Relationship Id="rId7" Type="http://schemas.openxmlformats.org/officeDocument/2006/relationships/tags" Target="../tags/tag203.xml"/><Relationship Id="rId2" Type="http://schemas.openxmlformats.org/officeDocument/2006/relationships/tags" Target="../tags/tag198.xml"/><Relationship Id="rId16" Type="http://schemas.openxmlformats.org/officeDocument/2006/relationships/tags" Target="../tags/tag212.xml"/><Relationship Id="rId29" Type="http://schemas.openxmlformats.org/officeDocument/2006/relationships/tags" Target="../tags/tag225.xml"/><Relationship Id="rId11" Type="http://schemas.openxmlformats.org/officeDocument/2006/relationships/tags" Target="../tags/tag207.xml"/><Relationship Id="rId24" Type="http://schemas.openxmlformats.org/officeDocument/2006/relationships/tags" Target="../tags/tag220.xml"/><Relationship Id="rId32" Type="http://schemas.openxmlformats.org/officeDocument/2006/relationships/tags" Target="../tags/tag228.xml"/><Relationship Id="rId37" Type="http://schemas.openxmlformats.org/officeDocument/2006/relationships/tags" Target="../tags/tag233.xml"/><Relationship Id="rId40" Type="http://schemas.openxmlformats.org/officeDocument/2006/relationships/tags" Target="../tags/tag236.xml"/><Relationship Id="rId45" Type="http://schemas.openxmlformats.org/officeDocument/2006/relationships/tags" Target="../tags/tag241.xml"/><Relationship Id="rId53" Type="http://schemas.openxmlformats.org/officeDocument/2006/relationships/chart" Target="../charts/chart8.xml"/><Relationship Id="rId58" Type="http://schemas.openxmlformats.org/officeDocument/2006/relationships/hyperlink" Target="https://business.columbia.edu/faculty/people/gernot-wagner" TargetMode="External"/><Relationship Id="rId5" Type="http://schemas.openxmlformats.org/officeDocument/2006/relationships/tags" Target="../tags/tag201.xml"/><Relationship Id="rId19" Type="http://schemas.openxmlformats.org/officeDocument/2006/relationships/tags" Target="../tags/tag215.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tags" Target="../tags/tag210.xml"/><Relationship Id="rId22" Type="http://schemas.openxmlformats.org/officeDocument/2006/relationships/tags" Target="../tags/tag218.xml"/><Relationship Id="rId27" Type="http://schemas.openxmlformats.org/officeDocument/2006/relationships/tags" Target="../tags/tag223.xml"/><Relationship Id="rId30" Type="http://schemas.openxmlformats.org/officeDocument/2006/relationships/tags" Target="../tags/tag226.xml"/><Relationship Id="rId35" Type="http://schemas.openxmlformats.org/officeDocument/2006/relationships/tags" Target="../tags/tag231.xml"/><Relationship Id="rId43" Type="http://schemas.openxmlformats.org/officeDocument/2006/relationships/tags" Target="../tags/tag239.xml"/><Relationship Id="rId48" Type="http://schemas.openxmlformats.org/officeDocument/2006/relationships/tags" Target="../tags/tag244.xml"/><Relationship Id="rId56" Type="http://schemas.openxmlformats.org/officeDocument/2006/relationships/hyperlink" Target="https://www.iea.org/data-and-statistics/charts/evolution-of-nuclear-power-generation-by-region-1972-2026" TargetMode="External"/><Relationship Id="rId8" Type="http://schemas.openxmlformats.org/officeDocument/2006/relationships/tags" Target="../tags/tag204.xml"/><Relationship Id="rId51" Type="http://schemas.openxmlformats.org/officeDocument/2006/relationships/oleObject" Target="../embeddings/oleObject15.bin"/><Relationship Id="rId3" Type="http://schemas.openxmlformats.org/officeDocument/2006/relationships/tags" Target="../tags/tag199.xml"/><Relationship Id="rId12" Type="http://schemas.openxmlformats.org/officeDocument/2006/relationships/tags" Target="../tags/tag208.xml"/><Relationship Id="rId17" Type="http://schemas.openxmlformats.org/officeDocument/2006/relationships/tags" Target="../tags/tag213.xml"/><Relationship Id="rId25" Type="http://schemas.openxmlformats.org/officeDocument/2006/relationships/tags" Target="../tags/tag221.xml"/><Relationship Id="rId33" Type="http://schemas.openxmlformats.org/officeDocument/2006/relationships/tags" Target="../tags/tag229.xml"/><Relationship Id="rId38" Type="http://schemas.openxmlformats.org/officeDocument/2006/relationships/tags" Target="../tags/tag234.xml"/><Relationship Id="rId46" Type="http://schemas.openxmlformats.org/officeDocument/2006/relationships/tags" Target="../tags/tag242.xml"/><Relationship Id="rId59" Type="http://schemas.openxmlformats.org/officeDocument/2006/relationships/hyperlink" Target="https://business.columbia.edu/insights/climate/cki" TargetMode="External"/><Relationship Id="rId20" Type="http://schemas.openxmlformats.org/officeDocument/2006/relationships/tags" Target="../tags/tag216.xml"/><Relationship Id="rId41" Type="http://schemas.openxmlformats.org/officeDocument/2006/relationships/tags" Target="../tags/tag237.xml"/><Relationship Id="rId54" Type="http://schemas.openxmlformats.org/officeDocument/2006/relationships/hyperlink" Target="https://www.energy.gov/eere/solar/federal-solar-tax-credits-businesses#:~:text=Solar%20systems%20that%20are%20placed,)%5B5%5D%20in%20size." TargetMode="External"/><Relationship Id="rId1" Type="http://schemas.openxmlformats.org/officeDocument/2006/relationships/tags" Target="../tags/tag197.xml"/><Relationship Id="rId6" Type="http://schemas.openxmlformats.org/officeDocument/2006/relationships/tags" Target="../tags/tag202.xml"/><Relationship Id="rId15" Type="http://schemas.openxmlformats.org/officeDocument/2006/relationships/tags" Target="../tags/tag211.xml"/><Relationship Id="rId23" Type="http://schemas.openxmlformats.org/officeDocument/2006/relationships/tags" Target="../tags/tag219.xml"/><Relationship Id="rId28" Type="http://schemas.openxmlformats.org/officeDocument/2006/relationships/tags" Target="../tags/tag224.xml"/><Relationship Id="rId36" Type="http://schemas.openxmlformats.org/officeDocument/2006/relationships/tags" Target="../tags/tag232.xml"/><Relationship Id="rId49" Type="http://schemas.openxmlformats.org/officeDocument/2006/relationships/slideLayout" Target="../slideLayouts/slideLayout7.xml"/><Relationship Id="rId57" Type="http://schemas.openxmlformats.org/officeDocument/2006/relationships/hyperlink" Target="https://www.iaea.org/sites/default/files/26404794246.pdf" TargetMode="External"/><Relationship Id="rId10" Type="http://schemas.openxmlformats.org/officeDocument/2006/relationships/tags" Target="../tags/tag206.xml"/><Relationship Id="rId31" Type="http://schemas.openxmlformats.org/officeDocument/2006/relationships/tags" Target="../tags/tag227.xml"/><Relationship Id="rId44" Type="http://schemas.openxmlformats.org/officeDocument/2006/relationships/tags" Target="../tags/tag240.xml"/><Relationship Id="rId52" Type="http://schemas.openxmlformats.org/officeDocument/2006/relationships/image" Target="../media/image1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73C9B1-D482-A9EE-B213-50BDA6EC6008}"/>
              </a:ext>
              <a:ext uri="{C183D7F6-B498-43B3-948B-1728B52AA6E4}">
                <adec:decorative xmlns:adec="http://schemas.microsoft.com/office/drawing/2017/decorative" val="0"/>
              </a:ext>
            </a:extLst>
          </p:cNvPr>
          <p:cNvGraphicFramePr>
            <a:graphicFrameLocks noChangeAspect="1"/>
          </p:cNvGraphicFramePr>
          <p:nvPr>
            <p:custDataLst>
              <p:tags r:id="rId2"/>
            </p:custDataLst>
            <p:extLst>
              <p:ext uri="{D42A27DB-BD31-4B8C-83A1-F6EECF244321}">
                <p14:modId xmlns:p14="http://schemas.microsoft.com/office/powerpoint/2010/main" val="2634465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7" name="think-cell data - do not delete" hidden="1">
                        <a:extLst>
                          <a:ext uri="{FF2B5EF4-FFF2-40B4-BE49-F238E27FC236}">
                            <a16:creationId xmlns:a16="http://schemas.microsoft.com/office/drawing/2014/main" id="{8373C9B1-D482-A9EE-B213-50BDA6EC6008}"/>
                          </a:ext>
                          <a:ext uri="{C183D7F6-B498-43B3-948B-1728B52AA6E4}">
                            <adec:decorative xmlns:adec="http://schemas.microsoft.com/office/drawing/2017/decorative" val="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2A7501-57ED-42A1-A874-B8B05F13756E}"/>
              </a:ext>
            </a:extLst>
          </p:cNvPr>
          <p:cNvSpPr>
            <a:spLocks noGrp="1"/>
          </p:cNvSpPr>
          <p:nvPr>
            <p:ph type="title"/>
          </p:nvPr>
        </p:nvSpPr>
        <p:spPr/>
        <p:txBody>
          <a:bodyPr vert="horz">
            <a:normAutofit/>
          </a:bodyPr>
          <a:lstStyle/>
          <a:p>
            <a:pPr>
              <a:lnSpc>
                <a:spcPts val="5000"/>
              </a:lnSpc>
              <a:spcBef>
                <a:spcPts val="600"/>
              </a:spcBef>
            </a:pPr>
            <a:r>
              <a:rPr lang="en-US" sz="4800"/>
              <a:t>Reenergizing Nuclear</a:t>
            </a:r>
          </a:p>
        </p:txBody>
      </p:sp>
      <p:sp>
        <p:nvSpPr>
          <p:cNvPr id="3"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p:txBody>
          <a:bodyPr vert="horz" lIns="0" tIns="45720" rIns="91440" bIns="45720" rtlCol="0" anchor="t">
            <a:normAutofit fontScale="85000" lnSpcReduction="10000"/>
          </a:bodyPr>
          <a:lstStyle/>
          <a:p>
            <a:r>
              <a:rPr lang="en-US">
                <a:latin typeface="Arial"/>
                <a:cs typeface="Arial"/>
              </a:rPr>
              <a:t>Quint </a:t>
            </a:r>
            <a:r>
              <a:rPr lang="en-US" err="1">
                <a:latin typeface="Arial"/>
                <a:cs typeface="Arial"/>
              </a:rPr>
              <a:t>Houwink</a:t>
            </a:r>
            <a:r>
              <a:rPr lang="en-US">
                <a:latin typeface="Arial"/>
                <a:cs typeface="Arial"/>
              </a:rPr>
              <a:t>, Adele Teh, Hinako Arai, Vedant Bhansali, </a:t>
            </a:r>
            <a:r>
              <a:rPr lang="en-US"/>
              <a:t>Khande-Jaé Fisher, </a:t>
            </a:r>
            <a:r>
              <a:rPr lang="en-US">
                <a:latin typeface="Arial"/>
                <a:cs typeface="Arial"/>
              </a:rPr>
              <a:t>Brenda Rain, Christian </a:t>
            </a:r>
            <a:r>
              <a:rPr lang="en-US" err="1">
                <a:latin typeface="Arial"/>
                <a:cs typeface="Arial"/>
              </a:rPr>
              <a:t>Sandjaja</a:t>
            </a:r>
            <a:r>
              <a:rPr lang="en-US">
                <a:latin typeface="Arial"/>
                <a:cs typeface="Arial"/>
              </a:rPr>
              <a:t>, Clara Zibell, Isabel Hoyos, </a:t>
            </a:r>
            <a:r>
              <a:rPr lang="en-US" err="1">
                <a:latin typeface="Arial"/>
                <a:cs typeface="Arial"/>
              </a:rPr>
              <a:t>Hyae</a:t>
            </a:r>
            <a:r>
              <a:rPr lang="en-US">
                <a:latin typeface="Arial"/>
                <a:cs typeface="Arial"/>
              </a:rPr>
              <a:t> Ryung Kim, and Gernot Wagner</a:t>
            </a:r>
          </a:p>
        </p:txBody>
      </p:sp>
      <p:sp>
        <p:nvSpPr>
          <p:cNvPr id="5" name="Text Placeholder 2">
            <a:extLst>
              <a:ext uri="{FF2B5EF4-FFF2-40B4-BE49-F238E27FC236}">
                <a16:creationId xmlns:a16="http://schemas.microsoft.com/office/drawing/2014/main" id="{BF6853DA-26B4-912B-BDE2-31A8244F8A97}"/>
              </a:ext>
            </a:extLst>
          </p:cNvPr>
          <p:cNvSpPr>
            <a:spLocks noGrp="1"/>
          </p:cNvSpPr>
          <p:nvPr>
            <p:ph type="body" sz="quarter" idx="11"/>
          </p:nvPr>
        </p:nvSpPr>
        <p:spPr>
          <a:xfrm>
            <a:off x="5280951" y="494787"/>
            <a:ext cx="6432630" cy="1181301"/>
          </a:xfrm>
        </p:spPr>
        <p:txBody>
          <a:bodyPr vert="horz" lIns="0" tIns="45720" rIns="91440" bIns="45720" rtlCol="0" anchor="t">
            <a:normAutofit/>
          </a:bodyPr>
          <a:lstStyle/>
          <a:p>
            <a:pPr algn="l"/>
            <a:r>
              <a:rPr lang="en-US" dirty="0">
                <a:latin typeface="Arial"/>
                <a:cs typeface="Arial"/>
              </a:rPr>
              <a:t>23 September 2025</a:t>
            </a:r>
          </a:p>
        </p:txBody>
      </p:sp>
    </p:spTree>
    <p:custDataLst>
      <p:tags r:id="rId1"/>
    </p:custDataLst>
    <p:extLst>
      <p:ext uri="{BB962C8B-B14F-4D97-AF65-F5344CB8AC3E}">
        <p14:creationId xmlns:p14="http://schemas.microsoft.com/office/powerpoint/2010/main" val="26678647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9EBED-1E63-BE6F-EFB3-1EB335ECABE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E2721FC-0AAB-7CE0-484F-F261A6059C88}"/>
              </a:ext>
            </a:extLst>
          </p:cNvPr>
          <p:cNvGraphicFramePr>
            <a:graphicFrameLocks noChangeAspect="1"/>
          </p:cNvGraphicFramePr>
          <p:nvPr>
            <p:custDataLst>
              <p:tags r:id="rId2"/>
            </p:custDataLst>
            <p:extLst>
              <p:ext uri="{D42A27DB-BD31-4B8C-83A1-F6EECF244321}">
                <p14:modId xmlns:p14="http://schemas.microsoft.com/office/powerpoint/2010/main" val="3146702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2" imgW="592" imgH="591" progId="TCLayout.ActiveDocument.1">
                  <p:embed/>
                </p:oleObj>
              </mc:Choice>
              <mc:Fallback>
                <p:oleObj name="think-cell Slide" r:id="rId92" imgW="592" imgH="591" progId="TCLayout.ActiveDocument.1">
                  <p:embed/>
                  <p:pic>
                    <p:nvPicPr>
                      <p:cNvPr id="7" name="think-cell data - do not delete" hidden="1">
                        <a:extLst>
                          <a:ext uri="{FF2B5EF4-FFF2-40B4-BE49-F238E27FC236}">
                            <a16:creationId xmlns:a16="http://schemas.microsoft.com/office/drawing/2014/main" id="{6E2721FC-0AAB-7CE0-484F-F261A6059C88}"/>
                          </a:ext>
                        </a:extLst>
                      </p:cNvPr>
                      <p:cNvPicPr/>
                      <p:nvPr/>
                    </p:nvPicPr>
                    <p:blipFill>
                      <a:blip r:embed="rId93"/>
                      <a:stretch>
                        <a:fillRect/>
                      </a:stretch>
                    </p:blipFill>
                    <p:spPr>
                      <a:xfrm>
                        <a:off x="1588" y="1588"/>
                        <a:ext cx="1588" cy="1588"/>
                      </a:xfrm>
                      <a:prstGeom prst="rect">
                        <a:avLst/>
                      </a:prstGeom>
                    </p:spPr>
                  </p:pic>
                </p:oleObj>
              </mc:Fallback>
            </mc:AlternateContent>
          </a:graphicData>
        </a:graphic>
      </p:graphicFrame>
      <p:grpSp>
        <p:nvGrpSpPr>
          <p:cNvPr id="52" name="Group 51">
            <a:extLst>
              <a:ext uri="{FF2B5EF4-FFF2-40B4-BE49-F238E27FC236}">
                <a16:creationId xmlns:a16="http://schemas.microsoft.com/office/drawing/2014/main" id="{2BCD4C7A-B06D-129F-6F18-C5F253A2607A}"/>
              </a:ext>
            </a:extLst>
          </p:cNvPr>
          <p:cNvGrpSpPr/>
          <p:nvPr/>
        </p:nvGrpSpPr>
        <p:grpSpPr>
          <a:xfrm>
            <a:off x="3122613" y="1849438"/>
            <a:ext cx="6799263" cy="4114800"/>
            <a:chOff x="3158978" y="1688354"/>
            <a:chExt cx="6798731" cy="4565482"/>
          </a:xfrm>
        </p:grpSpPr>
        <p:sp>
          <p:nvSpPr>
            <p:cNvPr id="652" name="Rectangle 651">
              <a:extLst>
                <a:ext uri="{FF2B5EF4-FFF2-40B4-BE49-F238E27FC236}">
                  <a16:creationId xmlns:a16="http://schemas.microsoft.com/office/drawing/2014/main" id="{302E52DA-CFF0-B14D-1881-7AE4A59233C2}"/>
                </a:ext>
              </a:extLst>
            </p:cNvPr>
            <p:cNvSpPr/>
            <p:nvPr/>
          </p:nvSpPr>
          <p:spPr bwMode="gray">
            <a:xfrm>
              <a:off x="6574429" y="1688354"/>
              <a:ext cx="3383280" cy="4565482"/>
            </a:xfrm>
            <a:prstGeom prst="rect">
              <a:avLst/>
            </a:prstGeom>
            <a:solidFill>
              <a:schemeClr val="accent6">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50" name="Rectangle 649">
              <a:extLst>
                <a:ext uri="{FF2B5EF4-FFF2-40B4-BE49-F238E27FC236}">
                  <a16:creationId xmlns:a16="http://schemas.microsoft.com/office/drawing/2014/main" id="{09333CC7-962B-9DC7-F264-B9D5327CAD7E}"/>
                </a:ext>
              </a:extLst>
            </p:cNvPr>
            <p:cNvSpPr/>
            <p:nvPr/>
          </p:nvSpPr>
          <p:spPr bwMode="gray">
            <a:xfrm>
              <a:off x="3158978" y="1688354"/>
              <a:ext cx="3380984" cy="4565482"/>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cxnSp>
        <p:nvCxnSpPr>
          <p:cNvPr id="395" name="btfpColumnHeaderBoxLine223027">
            <a:extLst>
              <a:ext uri="{FF2B5EF4-FFF2-40B4-BE49-F238E27FC236}">
                <a16:creationId xmlns:a16="http://schemas.microsoft.com/office/drawing/2014/main" id="{BDCE31E1-D0AA-8963-9A37-C838A8D725B3}"/>
              </a:ext>
            </a:extLst>
          </p:cNvPr>
          <p:cNvCxnSpPr/>
          <p:nvPr/>
        </p:nvCxnSpPr>
        <p:spPr bwMode="gray">
          <a:xfrm>
            <a:off x="339725" y="4003675"/>
            <a:ext cx="9567863"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B3B594A6-32D3-84F0-21B8-226A094B7E6F}"/>
              </a:ext>
            </a:extLst>
          </p:cNvPr>
          <p:cNvSpPr>
            <a:spLocks noGrp="1"/>
          </p:cNvSpPr>
          <p:nvPr>
            <p:ph type="title"/>
          </p:nvPr>
        </p:nvSpPr>
        <p:spPr>
          <a:xfrm>
            <a:off x="330200" y="513158"/>
            <a:ext cx="11531600" cy="882788"/>
          </a:xfrm>
        </p:spPr>
        <p:txBody>
          <a:bodyPr vert="horz">
            <a:noAutofit/>
          </a:bodyPr>
          <a:lstStyle/>
          <a:p>
            <a:r>
              <a:rPr lang="en-US"/>
              <a:t>Nuclear projected to generate 6-11% of global electricity by 2050 and prevent 1 to 3 GT CO</a:t>
            </a:r>
            <a:r>
              <a:rPr lang="en-US" baseline="-25000"/>
              <a:t>2</a:t>
            </a:r>
            <a:r>
              <a:rPr lang="en-US"/>
              <a:t> annually until 2050</a:t>
            </a:r>
          </a:p>
        </p:txBody>
      </p:sp>
      <p:sp>
        <p:nvSpPr>
          <p:cNvPr id="32" name="btfpNotesBox368131">
            <a:hlinkClick r:id="rId94"/>
            <a:extLst>
              <a:ext uri="{FF2B5EF4-FFF2-40B4-BE49-F238E27FC236}">
                <a16:creationId xmlns:a16="http://schemas.microsoft.com/office/drawing/2014/main" id="{1D9AED3B-5E9D-DF11-330A-DB7012381B16}"/>
              </a:ext>
            </a:extLst>
          </p:cNvPr>
          <p:cNvSpPr txBox="1"/>
          <p:nvPr>
            <p:custDataLst>
              <p:tags r:id="rId3"/>
            </p:custDataLst>
          </p:nvPr>
        </p:nvSpPr>
        <p:spPr bwMode="gray">
          <a:xfrm>
            <a:off x="330200" y="6309360"/>
            <a:ext cx="9468708" cy="492443"/>
          </a:xfrm>
          <a:prstGeom prst="rect">
            <a:avLst/>
          </a:prstGeom>
          <a:noFill/>
        </p:spPr>
        <p:txBody>
          <a:bodyPr vert="horz" wrap="square" lIns="0" tIns="0" rIns="0" bIns="0" rtlCol="0" anchor="b">
            <a:spAutoFit/>
          </a:bodyPr>
          <a:lstStyle/>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Assumes average grid carbon intensity per region</a:t>
            </a:r>
            <a:r>
              <a:rPr lang="en-US" sz="800" dirty="0">
                <a:solidFill>
                  <a:srgbClr val="000000"/>
                </a:solidFill>
                <a:latin typeface="Arial"/>
              </a:rPr>
              <a:t> in 2024</a:t>
            </a:r>
            <a:r>
              <a:rPr kumimoji="0" lang="en-US" sz="800" b="0" i="0" u="none" strike="noStrike" kern="1200" cap="none" spc="0" normalizeH="0" baseline="0" noProof="0" dirty="0">
                <a:ln>
                  <a:noFill/>
                </a:ln>
                <a:solidFill>
                  <a:srgbClr val="000000"/>
                </a:solidFill>
                <a:effectLst/>
                <a:uLnTx/>
                <a:uFillTx/>
                <a:latin typeface="Arial"/>
                <a:ea typeface="+mn-ea"/>
                <a:cs typeface="+mn-cs"/>
              </a:rPr>
              <a:t>. As the average includes nuclear, the actual emissions prevented will be slightly higher until 2030 and lower after 2030 as renewables grow.</a:t>
            </a: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A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5"/>
              </a:rPr>
              <a:t>Climate Change and Nuclear Power</a:t>
            </a:r>
            <a:r>
              <a:rPr kumimoji="0" lang="en-US" sz="800" b="0" i="0" u="none" strike="noStrike" kern="1200" cap="none" spc="0" normalizeH="0" baseline="0" noProof="0" dirty="0">
                <a:ln>
                  <a:noFill/>
                </a:ln>
                <a:solidFill>
                  <a:srgbClr val="000000"/>
                </a:solidFill>
                <a:effectLst/>
                <a:uLnTx/>
                <a:uFillTx/>
                <a:latin typeface="Arial"/>
                <a:ea typeface="+mn-ea"/>
                <a:cs typeface="+mn-cs"/>
              </a:rPr>
              <a:t> (2022); </a:t>
            </a:r>
            <a:r>
              <a:rPr kumimoji="0" lang="en-US" sz="800" b="0" i="0" u="none" strike="noStrike" kern="1200" cap="none" spc="0" normalizeH="0" baseline="0" noProof="0" dirty="0" err="1">
                <a:ln>
                  <a:noFill/>
                </a:ln>
                <a:solidFill>
                  <a:srgbClr val="000000"/>
                </a:solidFill>
                <a:effectLst/>
                <a:uLnTx/>
                <a:uFillTx/>
                <a:latin typeface="Arial"/>
                <a:ea typeface="+mn-ea"/>
                <a:cs typeface="+mn-cs"/>
              </a:rPr>
              <a:t>Enerdat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6"/>
              </a:rPr>
              <a:t>Total electricity genera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4); IA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7"/>
              </a:rPr>
              <a:t>Energy, Electricity and Nuclear Power Estimates for the Period up to 2050</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err="1">
                <a:ln>
                  <a:noFill/>
                </a:ln>
                <a:solidFill>
                  <a:srgbClr val="000000"/>
                </a:solidFill>
                <a:effectLst/>
                <a:uLnTx/>
                <a:uFillTx/>
                <a:latin typeface="Arial"/>
                <a:ea typeface="+mn-ea"/>
                <a:cs typeface="+mn-cs"/>
              </a:rPr>
              <a:t>Eneroutloo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8"/>
              </a:rPr>
              <a:t>CO2 intensity of electricity generation</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2).</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0"/>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graphicFrame>
        <p:nvGraphicFramePr>
          <p:cNvPr id="131" name="Chart 130"/>
          <p:cNvGraphicFramePr/>
          <p:nvPr>
            <p:custDataLst>
              <p:tags r:id="rId4"/>
            </p:custDataLst>
            <p:extLst>
              <p:ext uri="{D42A27DB-BD31-4B8C-83A1-F6EECF244321}">
                <p14:modId xmlns:p14="http://schemas.microsoft.com/office/powerpoint/2010/main" val="3316265778"/>
              </p:ext>
            </p:extLst>
          </p:nvPr>
        </p:nvGraphicFramePr>
        <p:xfrm>
          <a:off x="1890713" y="2398713"/>
          <a:ext cx="8099425" cy="1844675"/>
        </p:xfrm>
        <a:graphic>
          <a:graphicData uri="http://schemas.openxmlformats.org/drawingml/2006/chart">
            <c:chart xmlns:c="http://schemas.openxmlformats.org/drawingml/2006/chart" xmlns:r="http://schemas.openxmlformats.org/officeDocument/2006/relationships" r:id="rId101"/>
          </a:graphicData>
        </a:graphic>
      </p:graphicFrame>
      <p:cxnSp>
        <p:nvCxnSpPr>
          <p:cNvPr id="20" name="Straight Connector 19">
            <a:extLst>
              <a:ext uri="{FF2B5EF4-FFF2-40B4-BE49-F238E27FC236}">
                <a16:creationId xmlns:a16="http://schemas.microsoft.com/office/drawing/2014/main" id="{90C61F4A-B296-9690-80AC-F77A86314196}"/>
              </a:ext>
            </a:extLst>
          </p:cNvPr>
          <p:cNvCxnSpPr/>
          <p:nvPr>
            <p:custDataLst>
              <p:tags r:id="rId5"/>
            </p:custDataLst>
          </p:nvPr>
        </p:nvCxnSpPr>
        <p:spPr bwMode="auto">
          <a:xfrm flipH="1">
            <a:off x="4402138" y="2878138"/>
            <a:ext cx="1111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B1240351-57F1-3ED5-69BD-FCC508B105AE}"/>
              </a:ext>
            </a:extLst>
          </p:cNvPr>
          <p:cNvCxnSpPr/>
          <p:nvPr>
            <p:custDataLst>
              <p:tags r:id="rId6"/>
            </p:custDataLst>
          </p:nvPr>
        </p:nvCxnSpPr>
        <p:spPr bwMode="auto">
          <a:xfrm>
            <a:off x="4402138" y="2878138"/>
            <a:ext cx="0" cy="669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ABEF123-EDF6-2F93-0CE4-348F4F49CE7E}"/>
              </a:ext>
            </a:extLst>
          </p:cNvPr>
          <p:cNvCxnSpPr/>
          <p:nvPr>
            <p:custDataLst>
              <p:tags r:id="rId7"/>
            </p:custDataLst>
          </p:nvPr>
        </p:nvCxnSpPr>
        <p:spPr bwMode="auto">
          <a:xfrm flipH="1">
            <a:off x="4491038" y="3046413"/>
            <a:ext cx="222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73C996D3-4198-CBD7-B80F-9DF6E39A508E}"/>
              </a:ext>
            </a:extLst>
          </p:cNvPr>
          <p:cNvCxnSpPr/>
          <p:nvPr>
            <p:custDataLst>
              <p:tags r:id="rId8"/>
            </p:custDataLst>
          </p:nvPr>
        </p:nvCxnSpPr>
        <p:spPr bwMode="auto">
          <a:xfrm>
            <a:off x="4491038" y="3046413"/>
            <a:ext cx="0" cy="5762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F45D4FC9-65F3-6125-77A8-AEBE3A88C036}"/>
              </a:ext>
            </a:extLst>
          </p:cNvPr>
          <p:cNvCxnSpPr/>
          <p:nvPr>
            <p:custDataLst>
              <p:tags r:id="rId9"/>
            </p:custDataLst>
          </p:nvPr>
        </p:nvCxnSpPr>
        <p:spPr bwMode="auto">
          <a:xfrm>
            <a:off x="4579938" y="3298825"/>
            <a:ext cx="0" cy="3873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 name="Straight Connector 3"/>
          <p:cNvCxnSpPr/>
          <p:nvPr>
            <p:custDataLst>
              <p:tags r:id="rId10"/>
            </p:custDataLst>
          </p:nvPr>
        </p:nvCxnSpPr>
        <p:spPr bwMode="auto">
          <a:xfrm>
            <a:off x="2374900" y="3457575"/>
            <a:ext cx="0" cy="1365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 name="Straight Connector 4"/>
          <p:cNvCxnSpPr/>
          <p:nvPr>
            <p:custDataLst>
              <p:tags r:id="rId11"/>
            </p:custDataLst>
          </p:nvPr>
        </p:nvCxnSpPr>
        <p:spPr bwMode="auto">
          <a:xfrm>
            <a:off x="2511425" y="3205163"/>
            <a:ext cx="19208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p:cNvCxnSpPr/>
          <p:nvPr>
            <p:custDataLst>
              <p:tags r:id="rId12"/>
            </p:custDataLst>
          </p:nvPr>
        </p:nvCxnSpPr>
        <p:spPr bwMode="auto">
          <a:xfrm>
            <a:off x="2703513" y="3205163"/>
            <a:ext cx="0" cy="3190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18"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3289300" y="3619500"/>
            <a:ext cx="274638" cy="168275"/>
          </a:xfrm>
          <a:prstGeom prst="rect">
            <a:avLst/>
          </a:prstGeom>
          <a:solidFill>
            <a:schemeClr val="accent4"/>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886254-AE4C-4D51-89B1-D63BCB3068CF}" type="datetime'''''''''4''''''''''6''''''''''''''''''''0'''''''''''">
              <a:rPr lang="en-US" altLang="en-US" sz="1100" smtClean="0">
                <a:solidFill>
                  <a:schemeClr val="bg1"/>
                </a:solidFill>
                <a:effectLst/>
              </a:rPr>
              <a:pPr marL="0" lvl="0" indent="0" algn="ctr">
                <a:spcBef>
                  <a:spcPct val="0"/>
                </a:spcBef>
                <a:spcAft>
                  <a:spcPct val="0"/>
                </a:spcAft>
                <a:buNone/>
              </a:pPr>
              <a:t>460</a:t>
            </a:fld>
            <a:endParaRPr lang="en-US" sz="1100">
              <a:solidFill>
                <a:schemeClr val="bg1"/>
              </a:solidFill>
            </a:endParaRPr>
          </a:p>
        </p:txBody>
      </p: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3289300" y="3854450"/>
            <a:ext cx="274638" cy="168275"/>
          </a:xfrm>
          <a:prstGeom prst="rect">
            <a:avLst/>
          </a:prstGeom>
          <a:solidFill>
            <a:srgbClr val="4C6C9C"/>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479DFC9-DF97-42F7-908E-0797802D06CE}" type="datetime'''''6''''6''''''''''''''''''''''''''''''''3'''''">
              <a:rPr lang="en-US" altLang="en-US" sz="1100" smtClean="0">
                <a:solidFill>
                  <a:schemeClr val="bg1"/>
                </a:solidFill>
                <a:effectLst/>
              </a:rPr>
              <a:pPr marL="0" lvl="0" indent="0" algn="ctr">
                <a:spcBef>
                  <a:spcPct val="0"/>
                </a:spcBef>
                <a:spcAft>
                  <a:spcPct val="0"/>
                </a:spcAft>
                <a:buNone/>
              </a:pPr>
              <a:t>663</a:t>
            </a:fld>
            <a:endParaRPr lang="en-US" sz="1100">
              <a:solidFill>
                <a:schemeClr val="bg1"/>
              </a:solidFill>
            </a:endParaRPr>
          </a:p>
        </p:txBody>
      </p:sp>
      <p:sp>
        <p:nvSpPr>
          <p:cNvPr id="164"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6049963" y="3549650"/>
            <a:ext cx="274638" cy="168275"/>
          </a:xfrm>
          <a:prstGeom prst="rect">
            <a:avLst/>
          </a:prstGeom>
          <a:solidFill>
            <a:schemeClr val="accent6"/>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A800D0-064C-414F-B56E-0CBBC11057D5}" type="datetime'''''''''''''''''2''''''3''8'''''''''''''''''''''''''''">
              <a:rPr lang="en-US" altLang="en-US" sz="1100" smtClean="0">
                <a:solidFill>
                  <a:schemeClr val="bg1"/>
                </a:solidFill>
                <a:effectLst/>
              </a:rPr>
              <a:pPr marL="0" lvl="0" indent="0" algn="ctr">
                <a:spcBef>
                  <a:spcPct val="0"/>
                </a:spcBef>
                <a:spcAft>
                  <a:spcPct val="0"/>
                </a:spcAft>
                <a:buNone/>
              </a:pPr>
              <a:t>238</a:t>
            </a:fld>
            <a:endParaRPr lang="en-US" sz="1100">
              <a:solidFill>
                <a:schemeClr val="bg1"/>
              </a:solidFill>
            </a:endParaRPr>
          </a:p>
        </p:txBody>
      </p:sp>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5556250" y="3624263"/>
            <a:ext cx="274638" cy="168275"/>
          </a:xfrm>
          <a:prstGeom prst="rect">
            <a:avLst/>
          </a:prstGeom>
          <a:solidFill>
            <a:schemeClr val="accent4"/>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9E5DA98-61EB-4052-A903-A01324CA7BC9}" type="datetime'''''''''6''''''''''''''14'''''''''''''">
              <a:rPr lang="en-US" altLang="en-US" sz="1100" smtClean="0">
                <a:solidFill>
                  <a:schemeClr val="bg1"/>
                </a:solidFill>
                <a:effectLst/>
              </a:rPr>
              <a:pPr marL="0" lvl="0" indent="0" algn="ctr">
                <a:spcBef>
                  <a:spcPct val="0"/>
                </a:spcBef>
                <a:spcAft>
                  <a:spcPct val="0"/>
                </a:spcAft>
                <a:buNone/>
              </a:pPr>
              <a:t>614</a:t>
            </a:fld>
            <a:endParaRPr lang="en-US" sz="1100">
              <a:solidFill>
                <a:schemeClr val="bg1"/>
              </a:solidFill>
            </a:endParaRPr>
          </a:p>
        </p:txBody>
      </p:sp>
      <p:sp>
        <p:nvSpPr>
          <p:cNvPr id="14"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6049963" y="3736975"/>
            <a:ext cx="274638" cy="168275"/>
          </a:xfrm>
          <a:prstGeom prst="rect">
            <a:avLst/>
          </a:prstGeom>
          <a:solidFill>
            <a:schemeClr val="accent1"/>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33A46CD-BBEC-48B8-9C47-F777A5932E70}" type="datetime'6''''''''''59'''''''">
              <a:rPr lang="en-US" altLang="en-US" sz="1100" smtClean="0">
                <a:solidFill>
                  <a:schemeClr val="bg1"/>
                </a:solidFill>
                <a:effectLst/>
              </a:rPr>
              <a:pPr marL="0" lvl="0" indent="0" algn="ctr">
                <a:spcBef>
                  <a:spcPct val="0"/>
                </a:spcBef>
                <a:spcAft>
                  <a:spcPct val="0"/>
                </a:spcAft>
                <a:buNone/>
              </a:pPr>
              <a:t>659</a:t>
            </a:fld>
            <a:endParaRPr lang="en-US" sz="1100">
              <a:solidFill>
                <a:schemeClr val="bg1"/>
              </a:solidFill>
            </a:endParaRPr>
          </a:p>
        </p:txBody>
      </p:sp>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5556250" y="3854450"/>
            <a:ext cx="274638" cy="168275"/>
          </a:xfrm>
          <a:prstGeom prst="rect">
            <a:avLst/>
          </a:prstGeom>
          <a:solidFill>
            <a:srgbClr val="4C6C9C"/>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39AEB71-1F69-40A2-A5E8-2E39182A08CB}" type="datetime'''''''''''''''6''''''''''6''''''''''''''''6'''''''">
              <a:rPr lang="en-US" altLang="en-US" sz="1100" smtClean="0">
                <a:solidFill>
                  <a:schemeClr val="bg1"/>
                </a:solidFill>
                <a:effectLst/>
              </a:rPr>
              <a:pPr marL="0" lvl="0" indent="0" algn="ctr">
                <a:spcBef>
                  <a:spcPct val="0"/>
                </a:spcBef>
                <a:spcAft>
                  <a:spcPct val="0"/>
                </a:spcAft>
                <a:buNone/>
              </a:pPr>
              <a:t>666</a:t>
            </a:fld>
            <a:endParaRPr lang="en-US" sz="1100">
              <a:solidFill>
                <a:schemeClr val="bg1"/>
              </a:solidFill>
            </a:endParaRPr>
          </a:p>
        </p:txBody>
      </p:sp>
      <p:sp>
        <p:nvSpPr>
          <p:cNvPr id="375"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6689725" y="3498850"/>
            <a:ext cx="274638" cy="168275"/>
          </a:xfrm>
          <a:prstGeom prst="rect">
            <a:avLst/>
          </a:prstGeom>
          <a:solidFill>
            <a:schemeClr val="accent2"/>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BD216D-66E2-486C-9D05-60BC42332F25}" type="datetime'''''''''''''''''''5''''''''4''''''''''6'''''''''">
              <a:rPr lang="en-US" altLang="en-US" sz="1100" smtClean="0">
                <a:solidFill>
                  <a:schemeClr val="bg1"/>
                </a:solidFill>
                <a:effectLst/>
              </a:rPr>
              <a:pPr marL="0" lvl="0" indent="0" algn="ctr">
                <a:spcBef>
                  <a:spcPct val="0"/>
                </a:spcBef>
                <a:spcAft>
                  <a:spcPct val="0"/>
                </a:spcAft>
                <a:buNone/>
              </a:pPr>
              <a:t>546</a:t>
            </a:fld>
            <a:endParaRPr lang="en-US" sz="1100">
              <a:solidFill>
                <a:schemeClr val="bg1"/>
              </a:solidFill>
            </a:endParaRPr>
          </a:p>
        </p:txBody>
      </p:sp>
      <p:sp>
        <p:nvSpPr>
          <p:cNvPr id="28"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2155825" y="3602038"/>
            <a:ext cx="274638" cy="168275"/>
          </a:xfrm>
          <a:prstGeom prst="rect">
            <a:avLst/>
          </a:prstGeom>
          <a:solidFill>
            <a:schemeClr val="accent4"/>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0E7378-9B3F-4E45-AC9A-233B9C137417}" type="datetime'''''''''''''''''''''''''''''''''''567'''''''''">
              <a:rPr lang="en-US" altLang="en-US" sz="1100" smtClean="0">
                <a:solidFill>
                  <a:schemeClr val="bg1"/>
                </a:solidFill>
                <a:effectLst/>
              </a:rPr>
              <a:pPr marL="0" lvl="0" indent="0" algn="ctr">
                <a:spcBef>
                  <a:spcPct val="0"/>
                </a:spcBef>
                <a:spcAft>
                  <a:spcPct val="0"/>
                </a:spcAft>
                <a:buNone/>
              </a:pPr>
              <a:t>567</a:t>
            </a:fld>
            <a:endParaRPr lang="en-US" sz="1100">
              <a:solidFill>
                <a:schemeClr val="bg1"/>
              </a:solidFill>
            </a:endParaRPr>
          </a:p>
        </p:txBody>
      </p:sp>
      <p:sp>
        <p:nvSpPr>
          <p:cNvPr id="376"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6689725" y="3609975"/>
            <a:ext cx="274638" cy="168275"/>
          </a:xfrm>
          <a:prstGeom prst="rect">
            <a:avLst/>
          </a:prstGeom>
          <a:solidFill>
            <a:schemeClr val="accent4"/>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53247A3-C27D-487F-BCD1-C854C6838A32}" type="datetime'''''50''1'''''''''''''''''''''''''''">
              <a:rPr lang="en-US" altLang="en-US" sz="1100" smtClean="0">
                <a:solidFill>
                  <a:schemeClr val="bg1"/>
                </a:solidFill>
                <a:effectLst/>
              </a:rPr>
              <a:pPr marL="0" lvl="0" indent="0" algn="ctr">
                <a:spcBef>
                  <a:spcPct val="0"/>
                </a:spcBef>
                <a:spcAft>
                  <a:spcPct val="0"/>
                </a:spcAft>
                <a:buNone/>
              </a:pPr>
              <a:t>501</a:t>
            </a:fld>
            <a:endParaRPr lang="en-US" sz="1100">
              <a:solidFill>
                <a:schemeClr val="bg1"/>
              </a:solidFill>
            </a:endParaRPr>
          </a:p>
        </p:txBody>
      </p:sp>
      <p:sp>
        <p:nvSpPr>
          <p:cNvPr id="92" name="Text Placeholder 10">
            <a:extLst>
              <a:ext uri="{FF2B5EF4-FFF2-40B4-BE49-F238E27FC236}">
                <a16:creationId xmlns:a16="http://schemas.microsoft.com/office/drawing/2014/main" id="{90145CFF-6388-70B2-BBF6-8E169BA0BDB0}"/>
              </a:ext>
            </a:extLst>
          </p:cNvPr>
          <p:cNvSpPr>
            <a:spLocks noGrp="1"/>
          </p:cNvSpPr>
          <p:nvPr>
            <p:custDataLst>
              <p:tags r:id="rId22"/>
            </p:custDataLst>
          </p:nvPr>
        </p:nvSpPr>
        <p:spPr bwMode="gray">
          <a:xfrm>
            <a:off x="8316913" y="3370263"/>
            <a:ext cx="274638" cy="168275"/>
          </a:xfrm>
          <a:prstGeom prst="rect">
            <a:avLst/>
          </a:prstGeom>
          <a:solidFill>
            <a:schemeClr val="accent6"/>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211AB82-0D08-46D2-A991-76AB6B5ADA0E}" type="datetime'''''''''''''''''2''''''''''''''''''''87'''''''''''''''">
              <a:rPr lang="en-US" altLang="en-US" sz="1100" smtClean="0">
                <a:solidFill>
                  <a:schemeClr val="bg1"/>
                </a:solidFill>
                <a:effectLst/>
              </a:rPr>
              <a:pPr marL="0" lvl="0" indent="0" algn="ctr">
                <a:spcBef>
                  <a:spcPct val="0"/>
                </a:spcBef>
                <a:spcAft>
                  <a:spcPct val="0"/>
                </a:spcAft>
                <a:buNone/>
              </a:pPr>
              <a:t>287</a:t>
            </a:fld>
            <a:endParaRPr lang="en-US" sz="1100">
              <a:solidFill>
                <a:schemeClr val="bg1"/>
              </a:solidFill>
            </a:endParaRPr>
          </a:p>
        </p:txBody>
      </p:sp>
      <p:sp>
        <p:nvSpPr>
          <p:cNvPr id="220"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9450388" y="3133725"/>
            <a:ext cx="274638" cy="168275"/>
          </a:xfrm>
          <a:prstGeom prst="rect">
            <a:avLst/>
          </a:prstGeom>
          <a:solidFill>
            <a:schemeClr val="accent6"/>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F256C4-C9EE-4144-BE0B-C6E0C7A1174E}" type="datetime'''''''''''''''''''''''''''''''4''6''''''''5'''''''">
              <a:rPr lang="en-US" altLang="en-US" sz="1100" smtClean="0">
                <a:solidFill>
                  <a:schemeClr val="bg1"/>
                </a:solidFill>
                <a:effectLst/>
              </a:rPr>
              <a:pPr marL="0" lvl="0" indent="0" algn="ctr">
                <a:spcBef>
                  <a:spcPct val="0"/>
                </a:spcBef>
                <a:spcAft>
                  <a:spcPct val="0"/>
                </a:spcAft>
                <a:buNone/>
              </a:pPr>
              <a:t>465</a:t>
            </a:fld>
            <a:endParaRPr lang="en-US" sz="1100">
              <a:solidFill>
                <a:schemeClr val="bg1"/>
              </a:solidFill>
            </a:endParaRPr>
          </a:p>
        </p:txBody>
      </p:sp>
      <p:sp>
        <p:nvSpPr>
          <p:cNvPr id="38" name="Text Placeholder 10">
            <a:extLst>
              <a:ext uri="{FF2B5EF4-FFF2-40B4-BE49-F238E27FC236}">
                <a16:creationId xmlns:a16="http://schemas.microsoft.com/office/drawing/2014/main" id="{AEE2E54C-6C91-3B58-9418-01E11A69CF30}"/>
              </a:ext>
            </a:extLst>
          </p:cNvPr>
          <p:cNvSpPr>
            <a:spLocks noGrp="1"/>
          </p:cNvSpPr>
          <p:nvPr>
            <p:custDataLst>
              <p:tags r:id="rId24"/>
            </p:custDataLst>
          </p:nvPr>
        </p:nvSpPr>
        <p:spPr bwMode="gray">
          <a:xfrm>
            <a:off x="2343150" y="2952750"/>
            <a:ext cx="3905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43B50C-EA70-4558-82F7-576AD2A7B7E9}" type="datetime'''''''''''''''''''2,''''''''9''''15'''''''''">
              <a:rPr lang="en-US" altLang="en-US" sz="1100" smtClean="0"/>
              <a:pPr marL="0" lvl="0" indent="0" algn="ctr">
                <a:spcBef>
                  <a:spcPct val="0"/>
                </a:spcBef>
                <a:spcAft>
                  <a:spcPct val="0"/>
                </a:spcAft>
                <a:buNone/>
              </a:pPr>
              <a:t>2,915</a:t>
            </a:fld>
            <a:endParaRPr lang="en-US" sz="1100"/>
          </a:p>
        </p:txBody>
      </p:sp>
      <p:sp>
        <p:nvSpPr>
          <p:cNvPr id="74" name="Text Placeholder 10">
            <a:extLst>
              <a:ext uri="{FF2B5EF4-FFF2-40B4-BE49-F238E27FC236}">
                <a16:creationId xmlns:a16="http://schemas.microsoft.com/office/drawing/2014/main" id="{9C7F868D-F9CA-621D-40AC-DC10FBDE34C6}"/>
              </a:ext>
            </a:extLst>
          </p:cNvPr>
          <p:cNvSpPr>
            <a:spLocks noGrp="1"/>
          </p:cNvSpPr>
          <p:nvPr>
            <p:custDataLst>
              <p:tags r:id="rId25"/>
            </p:custDataLst>
          </p:nvPr>
        </p:nvSpPr>
        <p:spPr bwMode="gray">
          <a:xfrm>
            <a:off x="3476625" y="3259138"/>
            <a:ext cx="3905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2DD8D08-5F09-4FB1-8EF9-00A392A7F0E0}" type="datetime'''''3'',''''''0''''''''''''''''''''''''''''''8''''''''''4'">
              <a:rPr lang="en-US" altLang="en-US" sz="1100" smtClean="0"/>
              <a:pPr marL="0" lvl="0" indent="0" algn="ctr">
                <a:spcBef>
                  <a:spcPct val="0"/>
                </a:spcBef>
                <a:spcAft>
                  <a:spcPct val="0"/>
                </a:spcAft>
                <a:buNone/>
              </a:pPr>
              <a:t>3,084</a:t>
            </a:fld>
            <a:endParaRPr lang="en-US" sz="1100"/>
          </a:p>
        </p:txBody>
      </p:sp>
      <p:sp>
        <p:nvSpPr>
          <p:cNvPr id="75" name="Text Placeholder 10">
            <a:extLst>
              <a:ext uri="{FF2B5EF4-FFF2-40B4-BE49-F238E27FC236}">
                <a16:creationId xmlns:a16="http://schemas.microsoft.com/office/drawing/2014/main" id="{F7F22502-0421-8DC3-D299-BA4052305572}"/>
              </a:ext>
            </a:extLst>
          </p:cNvPr>
          <p:cNvSpPr>
            <a:spLocks noGrp="1"/>
          </p:cNvSpPr>
          <p:nvPr>
            <p:custDataLst>
              <p:tags r:id="rId26"/>
            </p:custDataLst>
          </p:nvPr>
        </p:nvSpPr>
        <p:spPr bwMode="gray">
          <a:xfrm>
            <a:off x="4610100" y="2625725"/>
            <a:ext cx="3905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1493ECD-8B13-49CD-A733-8DBF9C34DBE5}" type="datetime'3'''''''''',''''8''''''''''''''''''''''1''''''''2'''''''''''">
              <a:rPr lang="en-US" altLang="en-US" sz="1100" smtClean="0"/>
              <a:pPr marL="0" lvl="0" indent="0" algn="ctr">
                <a:spcBef>
                  <a:spcPct val="0"/>
                </a:spcBef>
                <a:spcAft>
                  <a:spcPct val="0"/>
                </a:spcAft>
                <a:buNone/>
              </a:pPr>
              <a:t>3,812</a:t>
            </a:fld>
            <a:endParaRPr lang="en-US" sz="1100"/>
          </a:p>
        </p:txBody>
      </p:sp>
      <p:sp>
        <p:nvSpPr>
          <p:cNvPr id="76" name="Text Placeholder 10">
            <a:extLst>
              <a:ext uri="{FF2B5EF4-FFF2-40B4-BE49-F238E27FC236}">
                <a16:creationId xmlns:a16="http://schemas.microsoft.com/office/drawing/2014/main" id="{9F501C38-6BEC-22C6-3347-120651E7DAA2}"/>
              </a:ext>
            </a:extLst>
          </p:cNvPr>
          <p:cNvSpPr>
            <a:spLocks noGrp="1"/>
          </p:cNvSpPr>
          <p:nvPr>
            <p:custDataLst>
              <p:tags r:id="rId27"/>
            </p:custDataLst>
          </p:nvPr>
        </p:nvSpPr>
        <p:spPr bwMode="gray">
          <a:xfrm>
            <a:off x="5743575" y="3070225"/>
            <a:ext cx="3905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72942BC-8BEC-480D-97D5-4056F752A900}" type="datetime'''''''''''4'''''''''',1''''''''''''57'''''''''''">
              <a:rPr lang="en-US" altLang="en-US" sz="1100" smtClean="0"/>
              <a:pPr marL="0" lvl="0" indent="0" algn="ctr">
                <a:spcBef>
                  <a:spcPct val="0"/>
                </a:spcBef>
                <a:spcAft>
                  <a:spcPct val="0"/>
                </a:spcAft>
                <a:buNone/>
              </a:pPr>
              <a:t>4,157</a:t>
            </a:fld>
            <a:endParaRPr lang="en-US" sz="1100"/>
          </a:p>
        </p:txBody>
      </p:sp>
      <p:sp>
        <p:nvSpPr>
          <p:cNvPr id="88" name="Text Placeholder 10">
            <a:extLst>
              <a:ext uri="{FF2B5EF4-FFF2-40B4-BE49-F238E27FC236}">
                <a16:creationId xmlns:a16="http://schemas.microsoft.com/office/drawing/2014/main" id="{382DFBB9-0464-EC72-851D-E20EC0CA1A59}"/>
              </a:ext>
            </a:extLst>
          </p:cNvPr>
          <p:cNvSpPr>
            <a:spLocks noGrp="1"/>
          </p:cNvSpPr>
          <p:nvPr>
            <p:custDataLst>
              <p:tags r:id="rId28"/>
            </p:custDataLst>
          </p:nvPr>
        </p:nvSpPr>
        <p:spPr bwMode="gray">
          <a:xfrm>
            <a:off x="6877050" y="3195638"/>
            <a:ext cx="3905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74F52A8-F7FB-485E-B3AF-0309C8A2D8CF}" type="datetime'''''3'''''''''''',''''''''''''4''''''''43'''''''''''''''">
              <a:rPr lang="en-US" altLang="en-US" sz="1100" smtClean="0"/>
              <a:pPr marL="0" lvl="0" indent="0" algn="ctr">
                <a:spcBef>
                  <a:spcPct val="0"/>
                </a:spcBef>
                <a:spcAft>
                  <a:spcPct val="0"/>
                </a:spcAft>
                <a:buNone/>
              </a:pPr>
              <a:t>3,443</a:t>
            </a:fld>
            <a:endParaRPr lang="en-US" sz="1100"/>
          </a:p>
        </p:txBody>
      </p:sp>
      <p:sp>
        <p:nvSpPr>
          <p:cNvPr id="91" name="Text Placeholder 10">
            <a:extLst>
              <a:ext uri="{FF2B5EF4-FFF2-40B4-BE49-F238E27FC236}">
                <a16:creationId xmlns:a16="http://schemas.microsoft.com/office/drawing/2014/main" id="{79578E44-4B12-FF9A-0F59-E508B4026CE3}"/>
              </a:ext>
            </a:extLst>
          </p:cNvPr>
          <p:cNvSpPr>
            <a:spLocks noGrp="1"/>
          </p:cNvSpPr>
          <p:nvPr>
            <p:custDataLst>
              <p:tags r:id="rId29"/>
            </p:custDataLst>
          </p:nvPr>
        </p:nvSpPr>
        <p:spPr bwMode="gray">
          <a:xfrm>
            <a:off x="8010525" y="2852738"/>
            <a:ext cx="3905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65B96F2-CF55-44CC-B97C-71CA8A843DF9}" type="datetime'''''''''''''''''5'''''''''''''',3''''''9''''0'''''''''">
              <a:rPr lang="en-US" altLang="en-US" sz="1100" smtClean="0"/>
              <a:pPr marL="0" lvl="0" indent="0" algn="ctr">
                <a:spcBef>
                  <a:spcPct val="0"/>
                </a:spcBef>
                <a:spcAft>
                  <a:spcPct val="0"/>
                </a:spcAft>
                <a:buNone/>
              </a:pPr>
              <a:t>5,390</a:t>
            </a:fld>
            <a:endParaRPr lang="en-US" sz="1100"/>
          </a:p>
        </p:txBody>
      </p:sp>
      <p:sp>
        <p:nvSpPr>
          <p:cNvPr id="93" name="Text Placeholder 10">
            <a:extLst>
              <a:ext uri="{FF2B5EF4-FFF2-40B4-BE49-F238E27FC236}">
                <a16:creationId xmlns:a16="http://schemas.microsoft.com/office/drawing/2014/main" id="{819685D9-BCAA-05DF-1BB4-1C17D23A619C}"/>
              </a:ext>
            </a:extLst>
          </p:cNvPr>
          <p:cNvSpPr>
            <a:spLocks noGrp="1"/>
          </p:cNvSpPr>
          <p:nvPr>
            <p:custDataLst>
              <p:tags r:id="rId30"/>
            </p:custDataLst>
          </p:nvPr>
        </p:nvSpPr>
        <p:spPr bwMode="gray">
          <a:xfrm>
            <a:off x="9144000" y="2451100"/>
            <a:ext cx="3905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A4A83A2-3BE9-468D-A76A-62DD4918FF8E}" type="datetime'''7'''''',''''''''''''''''''''''''''6''''''''6''''''''''6'''">
              <a:rPr lang="en-US" altLang="en-US" sz="1100" smtClean="0"/>
              <a:pPr marL="0" lvl="0" indent="0" algn="ctr">
                <a:spcBef>
                  <a:spcPct val="0"/>
                </a:spcBef>
                <a:spcAft>
                  <a:spcPct val="0"/>
                </a:spcAft>
                <a:buNone/>
              </a:pPr>
              <a:t>7,666</a:t>
            </a:fld>
            <a:endParaRPr lang="en-US" sz="1100"/>
          </a:p>
        </p:txBody>
      </p:sp>
      <p:sp>
        <p:nvSpPr>
          <p:cNvPr id="115"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4422775" y="3848100"/>
            <a:ext cx="274638" cy="168275"/>
          </a:xfrm>
          <a:prstGeom prst="rect">
            <a:avLst/>
          </a:prstGeom>
          <a:solidFill>
            <a:srgbClr val="4C6C9C"/>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2C9E9BE-BF6D-4E80-801D-7E68877BC9DD}" type="datetime'''''''''''''''''''''''''''''''73''''''''''''''''''''''9'">
              <a:rPr lang="en-US" altLang="en-US" sz="1100" smtClean="0">
                <a:solidFill>
                  <a:schemeClr val="bg1"/>
                </a:solidFill>
              </a:rPr>
              <a:pPr marL="0" lvl="0" indent="0" algn="ctr">
                <a:spcBef>
                  <a:spcPct val="0"/>
                </a:spcBef>
                <a:spcAft>
                  <a:spcPct val="0"/>
                </a:spcAft>
                <a:buNone/>
              </a:pPr>
              <a:t>739</a:t>
            </a:fld>
            <a:endParaRPr lang="en-US" sz="1100">
              <a:solidFill>
                <a:schemeClr val="bg1"/>
              </a:solidFill>
            </a:endParaRPr>
          </a:p>
        </p:txBody>
      </p:sp>
      <p:sp>
        <p:nvSpPr>
          <p:cNvPr id="123"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6689725" y="3852863"/>
            <a:ext cx="274638" cy="168275"/>
          </a:xfrm>
          <a:prstGeom prst="rect">
            <a:avLst/>
          </a:prstGeom>
          <a:solidFill>
            <a:srgbClr val="4C6C9C"/>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D680DAD-517C-4F0B-9105-AF0CDD017694}" type="datetime'''''6''''8''7'''''''''''''''''''">
              <a:rPr lang="en-US" altLang="en-US" sz="1100" smtClean="0">
                <a:solidFill>
                  <a:schemeClr val="bg1"/>
                </a:solidFill>
              </a:rPr>
              <a:pPr marL="0" lvl="0" indent="0" algn="ctr">
                <a:spcBef>
                  <a:spcPct val="0"/>
                </a:spcBef>
                <a:spcAft>
                  <a:spcPct val="0"/>
                </a:spcAft>
                <a:buNone/>
              </a:pPr>
              <a:t>687</a:t>
            </a:fld>
            <a:endParaRPr lang="en-US" sz="1100">
              <a:solidFill>
                <a:schemeClr val="bg1"/>
              </a:solidFill>
            </a:endParaRPr>
          </a:p>
        </p:txBody>
      </p:sp>
      <p:sp>
        <p:nvSpPr>
          <p:cNvPr id="9"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2155825" y="3856038"/>
            <a:ext cx="274638" cy="168275"/>
          </a:xfrm>
          <a:prstGeom prst="rect">
            <a:avLst/>
          </a:prstGeom>
          <a:solidFill>
            <a:srgbClr val="4C6C9C"/>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0229E18-F96C-4704-BAC6-9E46204BA76D}" type="datetime'''''''''''6''''''''''''''''''''4''''''5'''''">
              <a:rPr lang="en-US" altLang="en-US" sz="1100" smtClean="0">
                <a:solidFill>
                  <a:schemeClr val="bg1"/>
                </a:solidFill>
                <a:effectLst/>
              </a:rPr>
              <a:pPr marL="0" lvl="0" indent="0" algn="ctr">
                <a:spcBef>
                  <a:spcPct val="0"/>
                </a:spcBef>
                <a:spcAft>
                  <a:spcPct val="0"/>
                </a:spcAft>
                <a:buNone/>
              </a:pPr>
              <a:t>645</a:t>
            </a:fld>
            <a:endParaRPr lang="en-US" sz="1100">
              <a:solidFill>
                <a:schemeClr val="bg1"/>
              </a:solidFill>
            </a:endParaRPr>
          </a:p>
        </p:txBody>
      </p: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3289300" y="3427413"/>
            <a:ext cx="274638" cy="168275"/>
          </a:xfrm>
          <a:prstGeom prst="rect">
            <a:avLst/>
          </a:prstGeom>
          <a:solidFill>
            <a:srgbClr val="C30C3E"/>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C442198-EDCA-4030-988F-A843F56E2D36}" type="datetime'''''''''''''''6''''6''''''''''''''''''''''6'">
              <a:rPr lang="en-US" altLang="en-US" sz="1100" smtClean="0">
                <a:solidFill>
                  <a:schemeClr val="bg1"/>
                </a:solidFill>
                <a:effectLst/>
              </a:rPr>
              <a:pPr marL="0" lvl="0" indent="0" algn="ctr">
                <a:spcBef>
                  <a:spcPct val="0"/>
                </a:spcBef>
                <a:spcAft>
                  <a:spcPct val="0"/>
                </a:spcAft>
                <a:buNone/>
              </a:pPr>
              <a:t>666</a:t>
            </a:fld>
            <a:endParaRPr lang="en-US" sz="1100">
              <a:solidFill>
                <a:schemeClr val="bg1"/>
              </a:solidFill>
            </a:endParaRPr>
          </a:p>
        </p:txBody>
      </p:sp>
      <p:sp>
        <p:nvSpPr>
          <p:cNvPr id="217"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3783013" y="3525838"/>
            <a:ext cx="274638" cy="168275"/>
          </a:xfrm>
          <a:prstGeom prst="rect">
            <a:avLst/>
          </a:prstGeom>
          <a:solidFill>
            <a:schemeClr val="accent2"/>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EC60649-665A-49BD-9193-AFA21BB6148F}" type="datetime'4''4''''4'''''''''''''''''''''''''''''''''''''''">
              <a:rPr lang="en-US" altLang="en-US" sz="1100" smtClean="0">
                <a:solidFill>
                  <a:schemeClr val="bg1"/>
                </a:solidFill>
                <a:effectLst/>
              </a:rPr>
              <a:pPr marL="0" lvl="0" indent="0" algn="ctr">
                <a:spcBef>
                  <a:spcPct val="0"/>
                </a:spcBef>
                <a:spcAft>
                  <a:spcPct val="0"/>
                </a:spcAft>
                <a:buNone/>
              </a:pPr>
              <a:t>444</a:t>
            </a:fld>
            <a:endParaRPr lang="en-US" sz="1100">
              <a:solidFill>
                <a:schemeClr val="bg1"/>
              </a:solidFill>
            </a:endParaRPr>
          </a:p>
        </p:txBody>
      </p:sp>
      <p:sp>
        <p:nvSpPr>
          <p:cNvPr id="236"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gray">
          <a:xfrm>
            <a:off x="7183438" y="3556000"/>
            <a:ext cx="274638" cy="168275"/>
          </a:xfrm>
          <a:prstGeom prst="rect">
            <a:avLst/>
          </a:prstGeom>
          <a:solidFill>
            <a:schemeClr val="accent6"/>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136404-CFF8-4079-A59F-A547D890CC34}" type="datetime'''''''''''''''''''''''''''10''''''''''5'''">
              <a:rPr lang="en-US" altLang="en-US" sz="1100" smtClean="0">
                <a:solidFill>
                  <a:schemeClr val="bg1"/>
                </a:solidFill>
                <a:effectLst/>
              </a:rPr>
              <a:pPr marL="0" lvl="0" indent="0" algn="ctr">
                <a:spcBef>
                  <a:spcPct val="0"/>
                </a:spcBef>
                <a:spcAft>
                  <a:spcPct val="0"/>
                </a:spcAft>
                <a:buNone/>
              </a:pPr>
              <a:t>105</a:t>
            </a:fld>
            <a:endParaRPr lang="en-US" sz="1100">
              <a:solidFill>
                <a:schemeClr val="bg1"/>
              </a:solidFill>
            </a:endParaRPr>
          </a:p>
        </p:txBody>
      </p:sp>
      <p:sp>
        <p:nvSpPr>
          <p:cNvPr id="681" name="Rectangle 680">
            <a:extLst>
              <a:ext uri="{FF2B5EF4-FFF2-40B4-BE49-F238E27FC236}">
                <a16:creationId xmlns:a16="http://schemas.microsoft.com/office/drawing/2014/main" id="{CF70AE26-4B8A-450D-AFFF-B1C06212254F}"/>
              </a:ext>
            </a:extLst>
          </p:cNvPr>
          <p:cNvSpPr/>
          <p:nvPr>
            <p:custDataLst>
              <p:tags r:id="rId37"/>
            </p:custDataLst>
          </p:nvPr>
        </p:nvSpPr>
        <p:spPr bwMode="auto">
          <a:xfrm>
            <a:off x="354013" y="2651125"/>
            <a:ext cx="1416050" cy="12700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7" name="Rectangle 116">
            <a:extLst>
              <a:ext uri="{FF2B5EF4-FFF2-40B4-BE49-F238E27FC236}">
                <a16:creationId xmlns:a16="http://schemas.microsoft.com/office/drawing/2014/main" id="{0950A57C-A0EE-DDD0-939D-A8D25018E5F2}"/>
              </a:ext>
            </a:extLst>
          </p:cNvPr>
          <p:cNvSpPr/>
          <p:nvPr>
            <p:custDataLst>
              <p:tags r:id="rId38"/>
            </p:custDataLst>
          </p:nvPr>
        </p:nvSpPr>
        <p:spPr bwMode="auto">
          <a:xfrm>
            <a:off x="404813" y="2706688"/>
            <a:ext cx="179388" cy="133350"/>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8" name="Rectangle 117">
            <a:extLst>
              <a:ext uri="{FF2B5EF4-FFF2-40B4-BE49-F238E27FC236}">
                <a16:creationId xmlns:a16="http://schemas.microsoft.com/office/drawing/2014/main" id="{AD4CC6A4-A5BE-7F03-401E-7A46A413E4C2}"/>
              </a:ext>
            </a:extLst>
          </p:cNvPr>
          <p:cNvSpPr/>
          <p:nvPr>
            <p:custDataLst>
              <p:tags r:id="rId39"/>
            </p:custDataLst>
          </p:nvPr>
        </p:nvSpPr>
        <p:spPr bwMode="auto">
          <a:xfrm>
            <a:off x="404813" y="2909888"/>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9" name="Rectangle 118">
            <a:extLst>
              <a:ext uri="{FF2B5EF4-FFF2-40B4-BE49-F238E27FC236}">
                <a16:creationId xmlns:a16="http://schemas.microsoft.com/office/drawing/2014/main" id="{EAA95995-8A68-DEDC-C31D-F389CAF5A887}"/>
              </a:ext>
            </a:extLst>
          </p:cNvPr>
          <p:cNvSpPr/>
          <p:nvPr>
            <p:custDataLst>
              <p:tags r:id="rId40"/>
            </p:custDataLst>
          </p:nvPr>
        </p:nvSpPr>
        <p:spPr bwMode="auto">
          <a:xfrm>
            <a:off x="404813" y="3113088"/>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0" name="Rectangle 119">
            <a:extLst>
              <a:ext uri="{FF2B5EF4-FFF2-40B4-BE49-F238E27FC236}">
                <a16:creationId xmlns:a16="http://schemas.microsoft.com/office/drawing/2014/main" id="{3657353A-9D29-04BA-5AB5-DDE381B3EB62}"/>
              </a:ext>
            </a:extLst>
          </p:cNvPr>
          <p:cNvSpPr/>
          <p:nvPr>
            <p:custDataLst>
              <p:tags r:id="rId41"/>
            </p:custDataLst>
          </p:nvPr>
        </p:nvSpPr>
        <p:spPr bwMode="auto">
          <a:xfrm>
            <a:off x="404813" y="3316288"/>
            <a:ext cx="179388" cy="133350"/>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1" name="Rectangle 120">
            <a:extLst>
              <a:ext uri="{FF2B5EF4-FFF2-40B4-BE49-F238E27FC236}">
                <a16:creationId xmlns:a16="http://schemas.microsoft.com/office/drawing/2014/main" id="{C280F24D-39B3-830B-42F3-94076DF70633}"/>
              </a:ext>
            </a:extLst>
          </p:cNvPr>
          <p:cNvSpPr/>
          <p:nvPr>
            <p:custDataLst>
              <p:tags r:id="rId42"/>
            </p:custDataLst>
          </p:nvPr>
        </p:nvSpPr>
        <p:spPr bwMode="auto">
          <a:xfrm>
            <a:off x="404813" y="351948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2" name="Rectangle 121">
            <a:extLst>
              <a:ext uri="{FF2B5EF4-FFF2-40B4-BE49-F238E27FC236}">
                <a16:creationId xmlns:a16="http://schemas.microsoft.com/office/drawing/2014/main" id="{6350DC50-9389-8219-B979-712C06CD697A}"/>
              </a:ext>
            </a:extLst>
          </p:cNvPr>
          <p:cNvSpPr/>
          <p:nvPr>
            <p:custDataLst>
              <p:tags r:id="rId43"/>
            </p:custDataLst>
          </p:nvPr>
        </p:nvSpPr>
        <p:spPr bwMode="auto">
          <a:xfrm>
            <a:off x="404813" y="3722688"/>
            <a:ext cx="179388" cy="133350"/>
          </a:xfrm>
          <a:prstGeom prst="rect">
            <a:avLst/>
          </a:prstGeom>
          <a:solidFill>
            <a:srgbClr val="C3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635000" y="2701925"/>
            <a:ext cx="9112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02D2DB6-A3D0-4B22-8152-86762756D914}" type="datetime'''''Eur''''''''''op''''''''''ea''''''n'''' ''U''''ni''on'''">
              <a:rPr lang="en-US" altLang="en-US" sz="1000" smtClean="0">
                <a:effectLst/>
              </a:rPr>
              <a:pPr marL="0" lvl="0" indent="0">
                <a:spcBef>
                  <a:spcPct val="0"/>
                </a:spcBef>
                <a:spcAft>
                  <a:spcPct val="0"/>
                </a:spcAft>
                <a:buNone/>
              </a:pPr>
              <a:t>European Union</a:t>
            </a:fld>
            <a:endParaRPr lang="en-US" sz="1000"/>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635000" y="2905125"/>
            <a:ext cx="757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effectLst/>
              </a:rPr>
              <a:t>U.S.</a:t>
            </a:r>
            <a:endParaRPr lang="en-US" sz="1000"/>
          </a:p>
        </p:txBody>
      </p:sp>
      <p:sp>
        <p:nvSpPr>
          <p:cNvPr id="29"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635000" y="3108325"/>
            <a:ext cx="1084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26D8AAA-8A98-4966-A5DA-14BE6DC99CB6}" type="datetime'''''''''''''''''''''''O''''''''''''''''''t''''''he''''r'">
              <a:rPr lang="en-US" altLang="en-US" sz="1000" smtClean="0">
                <a:solidFill>
                  <a:srgbClr val="000000"/>
                </a:solidFill>
              </a:rPr>
              <a:pPr marL="0" lvl="0" indent="0">
                <a:spcBef>
                  <a:spcPct val="0"/>
                </a:spcBef>
                <a:spcAft>
                  <a:spcPct val="0"/>
                </a:spcAft>
                <a:buNone/>
              </a:pPr>
              <a:t>Other</a:t>
            </a:fld>
            <a:r>
              <a:rPr lang="en-US" altLang="en-US" sz="1000">
                <a:effectLst/>
              </a:rPr>
              <a:t> (incl. Russia)</a:t>
            </a:r>
            <a:endParaRPr lang="en-US" sz="1000"/>
          </a:p>
        </p:txBody>
      </p:sp>
      <p:sp>
        <p:nvSpPr>
          <p:cNvPr id="37" name="Text Placeholder 10">
            <a:extLst>
              <a:ext uri="{FF2B5EF4-FFF2-40B4-BE49-F238E27FC236}">
                <a16:creationId xmlns:a16="http://schemas.microsoft.com/office/drawing/2014/main" id="{45E4206E-CACB-C6B1-EF05-A0BB2E84DE2D}"/>
              </a:ext>
            </a:extLst>
          </p:cNvPr>
          <p:cNvSpPr>
            <a:spLocks noGrp="1"/>
          </p:cNvSpPr>
          <p:nvPr>
            <p:custDataLst>
              <p:tags r:id="rId47"/>
            </p:custDataLst>
          </p:nvPr>
        </p:nvSpPr>
        <p:spPr bwMode="auto">
          <a:xfrm>
            <a:off x="635000" y="3311525"/>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1EEA3FC-2D57-4BD9-9501-9591350E9672}" type="datetime'''''I''''''''''''n''''''''''''''''''''''di''''''a'''''''''">
              <a:rPr lang="en-US" altLang="en-US" sz="1000" smtClean="0"/>
              <a:pPr marL="0" lvl="0" indent="0">
                <a:spcBef>
                  <a:spcPct val="0"/>
                </a:spcBef>
                <a:spcAft>
                  <a:spcPct val="0"/>
                </a:spcAft>
                <a:buNone/>
              </a:pPr>
              <a:t>India</a:t>
            </a:fld>
            <a:endParaRPr lang="en-US" sz="1000"/>
          </a:p>
        </p:txBody>
      </p:sp>
      <p:sp>
        <p:nvSpPr>
          <p:cNvPr id="36" name="Text Placeholder 10">
            <a:extLst>
              <a:ext uri="{FF2B5EF4-FFF2-40B4-BE49-F238E27FC236}">
                <a16:creationId xmlns:a16="http://schemas.microsoft.com/office/drawing/2014/main" id="{C21CD552-D674-4668-7FE1-29E32B255362}"/>
              </a:ext>
            </a:extLst>
          </p:cNvPr>
          <p:cNvSpPr>
            <a:spLocks noGrp="1"/>
          </p:cNvSpPr>
          <p:nvPr>
            <p:custDataLst>
              <p:tags r:id="rId48"/>
            </p:custDataLst>
          </p:nvPr>
        </p:nvSpPr>
        <p:spPr bwMode="auto">
          <a:xfrm>
            <a:off x="635000" y="3514725"/>
            <a:ext cx="596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AF9546C-9B6C-4E97-BDB6-61047B9BF838}" type="datetime'O''t''''h''''''''''''e''''r'''' A''''si''''''''''''''''''''a'">
              <a:rPr lang="en-US" altLang="en-US" sz="1000" smtClean="0"/>
              <a:pPr marL="0" lvl="0" indent="0">
                <a:spcBef>
                  <a:spcPct val="0"/>
                </a:spcBef>
                <a:spcAft>
                  <a:spcPct val="0"/>
                </a:spcAft>
                <a:buNone/>
              </a:pPr>
              <a:t>Other Asia</a:t>
            </a:fld>
            <a:endParaRPr lang="en-US" sz="1000"/>
          </a:p>
        </p:txBody>
      </p:sp>
      <p:sp>
        <p:nvSpPr>
          <p:cNvPr id="35" name="Text Placeholder 10">
            <a:extLst>
              <a:ext uri="{FF2B5EF4-FFF2-40B4-BE49-F238E27FC236}">
                <a16:creationId xmlns:a16="http://schemas.microsoft.com/office/drawing/2014/main" id="{5A209A28-EE1C-8B28-4510-6FAA5F47652B}"/>
              </a:ext>
            </a:extLst>
          </p:cNvPr>
          <p:cNvSpPr>
            <a:spLocks noGrp="1"/>
          </p:cNvSpPr>
          <p:nvPr>
            <p:custDataLst>
              <p:tags r:id="rId49"/>
            </p:custDataLst>
          </p:nvPr>
        </p:nvSpPr>
        <p:spPr bwMode="auto">
          <a:xfrm>
            <a:off x="635000" y="3717925"/>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6966692-9D84-4EE7-BD7B-A710CBF0E7CF}" type="datetime'''''''''''''''C''''h''''''ina'">
              <a:rPr lang="en-US" altLang="en-US" sz="1000" smtClean="0"/>
              <a:pPr marL="0" lvl="0" indent="0">
                <a:spcBef>
                  <a:spcPct val="0"/>
                </a:spcBef>
                <a:spcAft>
                  <a:spcPct val="0"/>
                </a:spcAft>
                <a:buNone/>
              </a:pPr>
              <a:t>China</a:t>
            </a:fld>
            <a:endParaRPr lang="en-US" sz="1000"/>
          </a:p>
        </p:txBody>
      </p:sp>
      <p:sp>
        <p:nvSpPr>
          <p:cNvPr id="178" name="TextBox 177">
            <a:extLst>
              <a:ext uri="{FF2B5EF4-FFF2-40B4-BE49-F238E27FC236}">
                <a16:creationId xmlns:a16="http://schemas.microsoft.com/office/drawing/2014/main" id="{33CBA626-1372-30D9-ED3C-91EDA6AC6048}"/>
              </a:ext>
            </a:extLst>
          </p:cNvPr>
          <p:cNvSpPr txBox="1"/>
          <p:nvPr/>
        </p:nvSpPr>
        <p:spPr bwMode="gray">
          <a:xfrm>
            <a:off x="366713" y="2003425"/>
            <a:ext cx="1454150" cy="461963"/>
          </a:xfrm>
          <a:prstGeom prst="rect">
            <a:avLst/>
          </a:prstGeom>
          <a:noFill/>
        </p:spPr>
        <p:txBody>
          <a:bodyPr wrap="square" lIns="36576" tIns="0" rIns="0" bIns="0" rtlCol="0">
            <a:spAutoFit/>
          </a:bodyPr>
          <a:lstStyle/>
          <a:p>
            <a:pPr marL="0" indent="0" algn="l">
              <a:spcBef>
                <a:spcPts val="600"/>
              </a:spcBef>
              <a:spcAft>
                <a:spcPts val="600"/>
              </a:spcAft>
              <a:buNone/>
            </a:pPr>
            <a:r>
              <a:rPr lang="en-US" sz="1000" b="1"/>
              <a:t>Nuclear power generation outlook</a:t>
            </a:r>
            <a:r>
              <a:rPr lang="en-US" sz="1000"/>
              <a:t>, </a:t>
            </a:r>
            <a:r>
              <a:rPr lang="en-US" sz="1000" err="1"/>
              <a:t>TWh</a:t>
            </a:r>
            <a:endParaRPr lang="en-US" sz="1000" b="1"/>
          </a:p>
        </p:txBody>
      </p:sp>
      <p:sp>
        <p:nvSpPr>
          <p:cNvPr id="180" name="btfpColumnHeaderBoxText223027">
            <a:extLst>
              <a:ext uri="{FF2B5EF4-FFF2-40B4-BE49-F238E27FC236}">
                <a16:creationId xmlns:a16="http://schemas.microsoft.com/office/drawing/2014/main" id="{CDF8632C-7B95-E489-EAB1-EB53EB83AE71}"/>
              </a:ext>
            </a:extLst>
          </p:cNvPr>
          <p:cNvSpPr txBox="1"/>
          <p:nvPr/>
        </p:nvSpPr>
        <p:spPr bwMode="gray">
          <a:xfrm>
            <a:off x="329184" y="1554480"/>
            <a:ext cx="9567863"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Nuclear power generation and emissions prevented</a:t>
            </a:r>
            <a:r>
              <a:rPr lang="en-US" sz="1400">
                <a:solidFill>
                  <a:srgbClr val="000000"/>
                </a:solidFill>
              </a:rPr>
              <a:t>, 2025-2050</a:t>
            </a:r>
          </a:p>
        </p:txBody>
      </p:sp>
      <p:cxnSp>
        <p:nvCxnSpPr>
          <p:cNvPr id="181" name="btfpColumnHeaderBoxLine223027">
            <a:extLst>
              <a:ext uri="{FF2B5EF4-FFF2-40B4-BE49-F238E27FC236}">
                <a16:creationId xmlns:a16="http://schemas.microsoft.com/office/drawing/2014/main" id="{D9618CF8-368F-0932-8C3A-59EE9588A460}"/>
              </a:ext>
            </a:extLst>
          </p:cNvPr>
          <p:cNvCxnSpPr/>
          <p:nvPr/>
        </p:nvCxnSpPr>
        <p:spPr bwMode="gray">
          <a:xfrm>
            <a:off x="316944" y="1849438"/>
            <a:ext cx="96012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E8D9FE4D-9164-C5C4-A0D9-84660F8B2CF6}"/>
              </a:ext>
            </a:extLst>
          </p:cNvPr>
          <p:cNvSpPr txBox="1"/>
          <p:nvPr/>
        </p:nvSpPr>
        <p:spPr bwMode="gray">
          <a:xfrm>
            <a:off x="366713" y="4264025"/>
            <a:ext cx="1454150" cy="307975"/>
          </a:xfrm>
          <a:prstGeom prst="rect">
            <a:avLst/>
          </a:prstGeom>
          <a:noFill/>
        </p:spPr>
        <p:txBody>
          <a:bodyPr wrap="square" lIns="36576" tIns="0" rIns="0" bIns="0" rtlCol="0">
            <a:spAutoFit/>
          </a:bodyPr>
          <a:lstStyle/>
          <a:p>
            <a:pPr marL="0" indent="0" algn="l">
              <a:spcBef>
                <a:spcPts val="600"/>
              </a:spcBef>
              <a:spcAft>
                <a:spcPts val="600"/>
              </a:spcAft>
              <a:buNone/>
            </a:pPr>
            <a:r>
              <a:rPr lang="en-US" sz="1000" b="1"/>
              <a:t>Annual emissions prevented*, </a:t>
            </a:r>
            <a:r>
              <a:rPr lang="en-US" sz="1000"/>
              <a:t>MTCO</a:t>
            </a:r>
            <a:r>
              <a:rPr lang="en-US" sz="1000" baseline="-25000"/>
              <a:t>2</a:t>
            </a:r>
            <a:endParaRPr lang="en-US" sz="1000"/>
          </a:p>
        </p:txBody>
      </p:sp>
      <p:sp>
        <p:nvSpPr>
          <p:cNvPr id="200" name="Oval 199">
            <a:extLst>
              <a:ext uri="{FF2B5EF4-FFF2-40B4-BE49-F238E27FC236}">
                <a16:creationId xmlns:a16="http://schemas.microsoft.com/office/drawing/2014/main" id="{827BC72C-497C-E0EB-6ACB-19601C19A284}"/>
              </a:ext>
            </a:extLst>
          </p:cNvPr>
          <p:cNvSpPr/>
          <p:nvPr/>
        </p:nvSpPr>
        <p:spPr bwMode="gray">
          <a:xfrm>
            <a:off x="2317750" y="2127250"/>
            <a:ext cx="469900" cy="2413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10%</a:t>
            </a:r>
          </a:p>
        </p:txBody>
      </p:sp>
      <p:sp>
        <p:nvSpPr>
          <p:cNvPr id="201" name="Oval 200">
            <a:extLst>
              <a:ext uri="{FF2B5EF4-FFF2-40B4-BE49-F238E27FC236}">
                <a16:creationId xmlns:a16="http://schemas.microsoft.com/office/drawing/2014/main" id="{294CB7A6-CD8E-99F6-A4DD-AD1BA66D5CA4}"/>
              </a:ext>
            </a:extLst>
          </p:cNvPr>
          <p:cNvSpPr/>
          <p:nvPr/>
        </p:nvSpPr>
        <p:spPr bwMode="gray">
          <a:xfrm>
            <a:off x="4589462" y="2127250"/>
            <a:ext cx="471488" cy="2413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7%</a:t>
            </a:r>
          </a:p>
        </p:txBody>
      </p:sp>
      <p:sp>
        <p:nvSpPr>
          <p:cNvPr id="202" name="Oval 201">
            <a:extLst>
              <a:ext uri="{FF2B5EF4-FFF2-40B4-BE49-F238E27FC236}">
                <a16:creationId xmlns:a16="http://schemas.microsoft.com/office/drawing/2014/main" id="{FBC4E578-1422-7B6C-C041-7F1F0B2C2C97}"/>
              </a:ext>
            </a:extLst>
          </p:cNvPr>
          <p:cNvSpPr/>
          <p:nvPr/>
        </p:nvSpPr>
        <p:spPr bwMode="gray">
          <a:xfrm>
            <a:off x="6864351" y="2127250"/>
            <a:ext cx="468313" cy="2413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8%</a:t>
            </a:r>
          </a:p>
        </p:txBody>
      </p:sp>
      <p:sp>
        <p:nvSpPr>
          <p:cNvPr id="203" name="Oval 202">
            <a:extLst>
              <a:ext uri="{FF2B5EF4-FFF2-40B4-BE49-F238E27FC236}">
                <a16:creationId xmlns:a16="http://schemas.microsoft.com/office/drawing/2014/main" id="{CD401281-ED14-FBE2-AA29-2B5E1214EBF3}"/>
              </a:ext>
            </a:extLst>
          </p:cNvPr>
          <p:cNvSpPr/>
          <p:nvPr/>
        </p:nvSpPr>
        <p:spPr bwMode="gray">
          <a:xfrm>
            <a:off x="9136063" y="2127250"/>
            <a:ext cx="469900" cy="2413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11%</a:t>
            </a:r>
          </a:p>
        </p:txBody>
      </p:sp>
      <p:sp>
        <p:nvSpPr>
          <p:cNvPr id="205" name="Oval 204">
            <a:extLst>
              <a:ext uri="{FF2B5EF4-FFF2-40B4-BE49-F238E27FC236}">
                <a16:creationId xmlns:a16="http://schemas.microsoft.com/office/drawing/2014/main" id="{BBD26B79-720B-590B-C40E-64D4DD03E407}"/>
              </a:ext>
            </a:extLst>
          </p:cNvPr>
          <p:cNvSpPr/>
          <p:nvPr/>
        </p:nvSpPr>
        <p:spPr bwMode="gray">
          <a:xfrm>
            <a:off x="3454401" y="2127250"/>
            <a:ext cx="468313" cy="2413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8%</a:t>
            </a:r>
          </a:p>
        </p:txBody>
      </p:sp>
      <p:sp>
        <p:nvSpPr>
          <p:cNvPr id="206" name="Oval 205">
            <a:extLst>
              <a:ext uri="{FF2B5EF4-FFF2-40B4-BE49-F238E27FC236}">
                <a16:creationId xmlns:a16="http://schemas.microsoft.com/office/drawing/2014/main" id="{D6F0E5CE-B06B-B401-9685-4D07328C4F87}"/>
              </a:ext>
            </a:extLst>
          </p:cNvPr>
          <p:cNvSpPr/>
          <p:nvPr/>
        </p:nvSpPr>
        <p:spPr bwMode="gray">
          <a:xfrm>
            <a:off x="5727701" y="2127250"/>
            <a:ext cx="468313" cy="2413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6%</a:t>
            </a:r>
          </a:p>
        </p:txBody>
      </p:sp>
      <p:sp>
        <p:nvSpPr>
          <p:cNvPr id="207" name="Oval 206">
            <a:extLst>
              <a:ext uri="{FF2B5EF4-FFF2-40B4-BE49-F238E27FC236}">
                <a16:creationId xmlns:a16="http://schemas.microsoft.com/office/drawing/2014/main" id="{EA8585A6-7770-57F7-E3C0-6A76209E7FEA}"/>
              </a:ext>
            </a:extLst>
          </p:cNvPr>
          <p:cNvSpPr/>
          <p:nvPr/>
        </p:nvSpPr>
        <p:spPr bwMode="gray">
          <a:xfrm>
            <a:off x="7999413" y="2127250"/>
            <a:ext cx="469900" cy="2413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100">
                <a:solidFill>
                  <a:schemeClr val="tx1"/>
                </a:solidFill>
              </a:rPr>
              <a:t>9%</a:t>
            </a:r>
          </a:p>
        </p:txBody>
      </p:sp>
      <p:graphicFrame>
        <p:nvGraphicFramePr>
          <p:cNvPr id="132" name="Chart 131"/>
          <p:cNvGraphicFramePr/>
          <p:nvPr>
            <p:custDataLst>
              <p:tags r:id="rId50"/>
            </p:custDataLst>
            <p:extLst>
              <p:ext uri="{D42A27DB-BD31-4B8C-83A1-F6EECF244321}">
                <p14:modId xmlns:p14="http://schemas.microsoft.com/office/powerpoint/2010/main" val="1470013451"/>
              </p:ext>
            </p:extLst>
          </p:nvPr>
        </p:nvGraphicFramePr>
        <p:xfrm>
          <a:off x="1905000" y="3992563"/>
          <a:ext cx="8085138" cy="1854200"/>
        </p:xfrm>
        <a:graphic>
          <a:graphicData uri="http://schemas.openxmlformats.org/drawingml/2006/chart">
            <c:chart xmlns:c="http://schemas.openxmlformats.org/drawingml/2006/chart" xmlns:r="http://schemas.openxmlformats.org/officeDocument/2006/relationships" r:id="rId102"/>
          </a:graphicData>
        </a:graphic>
      </p:graphicFrame>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2662238" y="5207000"/>
            <a:ext cx="274638" cy="168275"/>
          </a:xfrm>
          <a:prstGeom prst="rect">
            <a:avLst/>
          </a:prstGeom>
          <a:solidFill>
            <a:schemeClr val="accent2"/>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FF784B-3CC6-4AD4-A7B2-D9138C937C4A}" type="datetime'1''''''''''''''5''''''''''''''''''''''4'''''''''">
              <a:rPr lang="en-US" altLang="en-US" sz="1100" smtClean="0">
                <a:solidFill>
                  <a:schemeClr val="bg1"/>
                </a:solidFill>
                <a:effectLst/>
              </a:rPr>
              <a:pPr marL="0" lvl="0" indent="0" algn="ctr">
                <a:spcBef>
                  <a:spcPct val="0"/>
                </a:spcBef>
                <a:spcAft>
                  <a:spcPct val="0"/>
                </a:spcAft>
                <a:buNone/>
              </a:pPr>
              <a:t>154</a:t>
            </a:fld>
            <a:endParaRPr lang="en-US" sz="1100">
              <a:solidFill>
                <a:schemeClr val="bg1"/>
              </a:solidFill>
            </a:endParaRPr>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gray">
          <a:xfrm>
            <a:off x="2170113" y="5311775"/>
            <a:ext cx="274638" cy="168275"/>
          </a:xfrm>
          <a:prstGeom prst="rect">
            <a:avLst/>
          </a:prstGeom>
          <a:solidFill>
            <a:schemeClr val="accent4"/>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16A5AF-A900-42B8-AD2B-33908D31B479}" type="datetime'''''''''''''''''''''''''1''''''''8''''''''''''''''''9'''''''''">
              <a:rPr lang="en-US" altLang="en-US" sz="1100" smtClean="0">
                <a:solidFill>
                  <a:schemeClr val="bg1"/>
                </a:solidFill>
                <a:effectLst/>
              </a:rPr>
              <a:pPr marL="0" lvl="0" indent="0" algn="ctr">
                <a:spcBef>
                  <a:spcPct val="0"/>
                </a:spcBef>
                <a:spcAft>
                  <a:spcPct val="0"/>
                </a:spcAft>
                <a:buNone/>
              </a:pPr>
              <a:t>189</a:t>
            </a:fld>
            <a:endParaRPr lang="en-US" sz="1100">
              <a:solidFill>
                <a:schemeClr val="bg1"/>
              </a:solidFill>
            </a:endParaRPr>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gray">
          <a:xfrm>
            <a:off x="2662238" y="5414963"/>
            <a:ext cx="274638" cy="168275"/>
          </a:xfrm>
          <a:prstGeom prst="rect">
            <a:avLst/>
          </a:prstGeom>
          <a:solidFill>
            <a:schemeClr val="accent1"/>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1A506F4-89CC-4D77-B6DF-D1E76213AC43}" type="datetime'2''''2''''''''''''''''''6'''''''''">
              <a:rPr lang="en-US" altLang="en-US" sz="1100" smtClean="0">
                <a:solidFill>
                  <a:schemeClr val="bg1"/>
                </a:solidFill>
                <a:effectLst/>
              </a:rPr>
              <a:pPr marL="0" lvl="0" indent="0" algn="ctr">
                <a:spcBef>
                  <a:spcPct val="0"/>
                </a:spcBef>
                <a:spcAft>
                  <a:spcPct val="0"/>
                </a:spcAft>
                <a:buNone/>
              </a:pPr>
              <a:t>226</a:t>
            </a:fld>
            <a:endParaRPr lang="en-US" sz="1100">
              <a:solidFill>
                <a:schemeClr val="bg1"/>
              </a:solidFill>
            </a:endParaRPr>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54"/>
            </p:custDataLst>
          </p:nvPr>
        </p:nvSpPr>
        <p:spPr bwMode="gray">
          <a:xfrm>
            <a:off x="2208213" y="5492750"/>
            <a:ext cx="196850" cy="168275"/>
          </a:xfrm>
          <a:prstGeom prst="rect">
            <a:avLst/>
          </a:prstGeom>
          <a:solidFill>
            <a:srgbClr val="4C6C9C"/>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EE7C346-392B-4666-B608-4F7E10C32E18}" type="datetime'9''''2'''''''''''''''''''''''''''''''''''''''''''">
              <a:rPr lang="en-US" altLang="en-US" sz="1100" smtClean="0">
                <a:solidFill>
                  <a:schemeClr val="bg1"/>
                </a:solidFill>
                <a:effectLst/>
              </a:rPr>
              <a:pPr marL="0" lvl="0" indent="0" algn="ctr">
                <a:spcBef>
                  <a:spcPct val="0"/>
                </a:spcBef>
                <a:spcAft>
                  <a:spcPct val="0"/>
                </a:spcAft>
                <a:buNone/>
              </a:pPr>
              <a:t>92</a:t>
            </a:fld>
            <a:endParaRPr lang="en-US" sz="1100">
              <a:solidFill>
                <a:schemeClr val="bg1"/>
              </a:solidFill>
            </a:endParaRPr>
          </a:p>
        </p:txBody>
      </p:sp>
      <p:sp>
        <p:nvSpPr>
          <p:cNvPr id="667" name="Text Placeholder 10">
            <a:extLst>
              <a:ext uri="{FF2B5EF4-FFF2-40B4-BE49-F238E27FC236}">
                <a16:creationId xmlns:a16="http://schemas.microsoft.com/office/drawing/2014/main" id="{115DFB91-512B-3844-A114-92FBEDCA92F2}"/>
              </a:ext>
            </a:extLst>
          </p:cNvPr>
          <p:cNvSpPr>
            <a:spLocks noGrp="1"/>
          </p:cNvSpPr>
          <p:nvPr>
            <p:custDataLst>
              <p:tags r:id="rId55"/>
            </p:custDataLst>
          </p:nvPr>
        </p:nvSpPr>
        <p:spPr bwMode="auto">
          <a:xfrm>
            <a:off x="2390775" y="57070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8BF5C2-B412-456C-91DD-E8D967C9668E}" type="datetime'''''2''''''''''''''''''''''''''0''''''''''''2''''5'''">
              <a:rPr lang="en-US" altLang="en-US" sz="1100" smtClean="0">
                <a:effectLst/>
              </a:rPr>
              <a:pPr marL="0" lvl="0" indent="0" algn="ctr">
                <a:spcBef>
                  <a:spcPct val="0"/>
                </a:spcBef>
                <a:spcAft>
                  <a:spcPct val="0"/>
                </a:spcAft>
                <a:buNone/>
              </a:pPr>
              <a:t>2025</a:t>
            </a:fld>
            <a:endParaRPr lang="en-US" sz="1100"/>
          </a:p>
        </p:txBody>
      </p:sp>
      <p:sp>
        <p:nvSpPr>
          <p:cNvPr id="34" name="Text Placeholder 10">
            <a:extLst>
              <a:ext uri="{FF2B5EF4-FFF2-40B4-BE49-F238E27FC236}">
                <a16:creationId xmlns:a16="http://schemas.microsoft.com/office/drawing/2014/main" id="{115DFB91-512B-3844-A114-92FBEDCA92F2}"/>
              </a:ext>
            </a:extLst>
          </p:cNvPr>
          <p:cNvSpPr>
            <a:spLocks noGrp="1"/>
          </p:cNvSpPr>
          <p:nvPr>
            <p:custDataLst>
              <p:tags r:id="rId56"/>
            </p:custDataLst>
          </p:nvPr>
        </p:nvSpPr>
        <p:spPr bwMode="gray">
          <a:xfrm>
            <a:off x="3302000" y="5216525"/>
            <a:ext cx="274638" cy="168275"/>
          </a:xfrm>
          <a:prstGeom prst="rect">
            <a:avLst/>
          </a:prstGeom>
          <a:solidFill>
            <a:schemeClr val="accent2"/>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0C61E28-A566-4A64-8147-68488261222C}" type="datetime'2''''''''''''''''''''''''''''''06'''''''''''">
              <a:rPr lang="en-US" altLang="en-US" sz="1100" smtClean="0">
                <a:solidFill>
                  <a:schemeClr val="bg1"/>
                </a:solidFill>
                <a:effectLst/>
              </a:rPr>
              <a:pPr marL="0" lvl="0" indent="0" algn="ctr">
                <a:spcBef>
                  <a:spcPct val="0"/>
                </a:spcBef>
                <a:spcAft>
                  <a:spcPct val="0"/>
                </a:spcAft>
                <a:buNone/>
              </a:pPr>
              <a:t>206</a:t>
            </a:fld>
            <a:endParaRPr lang="en-US" sz="1100">
              <a:solidFill>
                <a:schemeClr val="bg1"/>
              </a:solidFill>
            </a:endParaRPr>
          </a:p>
        </p:txBody>
      </p:sp>
      <p:sp>
        <p:nvSpPr>
          <p:cNvPr id="462" name="Text Placeholder 10">
            <a:extLst>
              <a:ext uri="{FF2B5EF4-FFF2-40B4-BE49-F238E27FC236}">
                <a16:creationId xmlns:a16="http://schemas.microsoft.com/office/drawing/2014/main" id="{115DFB91-512B-3844-A114-92FBEDCA92F2}"/>
              </a:ext>
            </a:extLst>
          </p:cNvPr>
          <p:cNvSpPr>
            <a:spLocks noGrp="1"/>
          </p:cNvSpPr>
          <p:nvPr>
            <p:custDataLst>
              <p:tags r:id="rId57"/>
            </p:custDataLst>
          </p:nvPr>
        </p:nvSpPr>
        <p:spPr bwMode="gray">
          <a:xfrm>
            <a:off x="3832225" y="5278438"/>
            <a:ext cx="196850" cy="168275"/>
          </a:xfrm>
          <a:prstGeom prst="rect">
            <a:avLst/>
          </a:prstGeom>
          <a:solidFill>
            <a:schemeClr val="accent6"/>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F021B7-F0B6-4749-9C44-7373874F78F2}" type="datetime'''4''''5'''''''''''''''''''''''''''''''">
              <a:rPr lang="en-US" altLang="en-US" sz="1100" smtClean="0">
                <a:solidFill>
                  <a:schemeClr val="bg1"/>
                </a:solidFill>
                <a:effectLst/>
              </a:rPr>
              <a:pPr marL="0" lvl="0" indent="0" algn="ctr">
                <a:spcBef>
                  <a:spcPct val="0"/>
                </a:spcBef>
                <a:spcAft>
                  <a:spcPct val="0"/>
                </a:spcAft>
                <a:buNone/>
              </a:pPr>
              <a:t>45</a:t>
            </a:fld>
            <a:endParaRPr lang="en-US" sz="1100">
              <a:solidFill>
                <a:schemeClr val="bg1"/>
              </a:solidFill>
            </a:endParaRPr>
          </a:p>
        </p:txBody>
      </p:sp>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58"/>
            </p:custDataLst>
          </p:nvPr>
        </p:nvSpPr>
        <p:spPr bwMode="gray">
          <a:xfrm>
            <a:off x="3302000" y="5327650"/>
            <a:ext cx="274638" cy="168275"/>
          </a:xfrm>
          <a:prstGeom prst="rect">
            <a:avLst/>
          </a:prstGeom>
          <a:solidFill>
            <a:schemeClr val="accent4"/>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803385-D604-4C48-B82B-36AD4FE400DA}" type="datetime'''''1''''''''''''''''''''''''''''''''53'''''''''''''''''''">
              <a:rPr lang="en-US" altLang="en-US" sz="1100" smtClean="0">
                <a:solidFill>
                  <a:schemeClr val="bg1"/>
                </a:solidFill>
                <a:effectLst/>
              </a:rPr>
              <a:pPr marL="0" lvl="0" indent="0" algn="ctr">
                <a:spcBef>
                  <a:spcPct val="0"/>
                </a:spcBef>
                <a:spcAft>
                  <a:spcPct val="0"/>
                </a:spcAft>
                <a:buNone/>
              </a:pPr>
              <a:t>153</a:t>
            </a:fld>
            <a:endParaRPr lang="en-US" sz="1100">
              <a:solidFill>
                <a:schemeClr val="bg1"/>
              </a:solidFill>
            </a:endParaRPr>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gray">
          <a:xfrm>
            <a:off x="3794125" y="5416550"/>
            <a:ext cx="274638" cy="168275"/>
          </a:xfrm>
          <a:prstGeom prst="rect">
            <a:avLst/>
          </a:prstGeom>
          <a:solidFill>
            <a:schemeClr val="accent1"/>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D3FE5E-423A-4ECD-9E91-C64277DA51A9}" type="datetime'''''''2''''''''''''09'''''''''''">
              <a:rPr lang="en-US" altLang="en-US" sz="1100" smtClean="0">
                <a:solidFill>
                  <a:schemeClr val="bg1"/>
                </a:solidFill>
                <a:effectLst/>
              </a:rPr>
              <a:pPr marL="0" lvl="0" indent="0" algn="ctr">
                <a:spcBef>
                  <a:spcPct val="0"/>
                </a:spcBef>
                <a:spcAft>
                  <a:spcPct val="0"/>
                </a:spcAft>
                <a:buNone/>
              </a:pPr>
              <a:t>209</a:t>
            </a:fld>
            <a:endParaRPr lang="en-US" sz="1100">
              <a:solidFill>
                <a:schemeClr val="bg1"/>
              </a:solidFill>
            </a:endParaRPr>
          </a:p>
        </p:txBody>
      </p:sp>
      <p:sp>
        <p:nvSpPr>
          <p:cNvPr id="455" name="Text Placeholder 10">
            <a:extLst>
              <a:ext uri="{FF2B5EF4-FFF2-40B4-BE49-F238E27FC236}">
                <a16:creationId xmlns:a16="http://schemas.microsoft.com/office/drawing/2014/main" id="{F12A5FCC-EB81-FF7A-5D0D-EC0911CAFDA8}"/>
              </a:ext>
            </a:extLst>
          </p:cNvPr>
          <p:cNvSpPr>
            <a:spLocks noGrp="1"/>
          </p:cNvSpPr>
          <p:nvPr>
            <p:custDataLst>
              <p:tags r:id="rId60"/>
            </p:custDataLst>
          </p:nvPr>
        </p:nvSpPr>
        <p:spPr bwMode="gray">
          <a:xfrm>
            <a:off x="3340100" y="5492750"/>
            <a:ext cx="196850" cy="168275"/>
          </a:xfrm>
          <a:prstGeom prst="rect">
            <a:avLst/>
          </a:prstGeom>
          <a:solidFill>
            <a:srgbClr val="4C6C9C"/>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822FE2-CF36-42B9-A877-68F20AE1DF5F}" type="datetime'''95'''''''''''''''''''''''''">
              <a:rPr lang="en-US" altLang="en-US" sz="1100" smtClean="0">
                <a:solidFill>
                  <a:schemeClr val="bg1"/>
                </a:solidFill>
                <a:effectLst/>
              </a:rPr>
              <a:pPr marL="0" lvl="0" indent="0" algn="ctr">
                <a:spcBef>
                  <a:spcPct val="0"/>
                </a:spcBef>
                <a:spcAft>
                  <a:spcPct val="0"/>
                </a:spcAft>
                <a:buNone/>
              </a:pPr>
              <a:t>95</a:t>
            </a:fld>
            <a:endParaRPr lang="en-US" sz="1100">
              <a:solidFill>
                <a:schemeClr val="bg1"/>
              </a:solidFill>
            </a:endParaRPr>
          </a:p>
        </p:txBody>
      </p:sp>
      <p:sp>
        <p:nvSpPr>
          <p:cNvPr id="668"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auto">
          <a:xfrm>
            <a:off x="3522663" y="57070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0ACCEE-E4DA-4769-B137-42E655BAA806}" type="datetime'''''''''''''''''''2''''''''0''''''3''''''0'''''''''''">
              <a:rPr lang="en-US" altLang="en-US" sz="1100" smtClean="0">
                <a:effectLst/>
              </a:rPr>
              <a:pPr marL="0" lvl="0" indent="0" algn="ctr">
                <a:spcBef>
                  <a:spcPct val="0"/>
                </a:spcBef>
                <a:spcAft>
                  <a:spcPct val="0"/>
                </a:spcAft>
                <a:buNone/>
              </a:pPr>
              <a:t>2030</a:t>
            </a:fld>
            <a:endParaRPr lang="en-US" sz="1100"/>
          </a:p>
        </p:txBody>
      </p:sp>
      <p:sp>
        <p:nvSpPr>
          <p:cNvPr id="552" name="Text Placeholder 10">
            <a:extLst>
              <a:ext uri="{FF2B5EF4-FFF2-40B4-BE49-F238E27FC236}">
                <a16:creationId xmlns:a16="http://schemas.microsoft.com/office/drawing/2014/main" id="{115DFB91-512B-3844-A114-92FBEDCA92F2}"/>
              </a:ext>
            </a:extLst>
          </p:cNvPr>
          <p:cNvSpPr>
            <a:spLocks noGrp="1"/>
          </p:cNvSpPr>
          <p:nvPr>
            <p:custDataLst>
              <p:tags r:id="rId62"/>
            </p:custDataLst>
          </p:nvPr>
        </p:nvSpPr>
        <p:spPr bwMode="gray">
          <a:xfrm>
            <a:off x="4962525" y="5249863"/>
            <a:ext cx="196850" cy="168275"/>
          </a:xfrm>
          <a:prstGeom prst="rect">
            <a:avLst/>
          </a:prstGeom>
          <a:solidFill>
            <a:schemeClr val="accent6"/>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E1B636-526E-490C-8883-96C7640B13E1}" type="datetime'''''''''''''''''''''''''''''''''95'''''''''''''''''''''''''''">
              <a:rPr lang="en-US" altLang="en-US" sz="1100" smtClean="0">
                <a:solidFill>
                  <a:schemeClr val="bg1"/>
                </a:solidFill>
                <a:effectLst/>
              </a:rPr>
              <a:pPr marL="0" lvl="0" indent="0" algn="ctr">
                <a:spcBef>
                  <a:spcPct val="0"/>
                </a:spcBef>
                <a:spcAft>
                  <a:spcPct val="0"/>
                </a:spcAft>
                <a:buNone/>
              </a:pPr>
              <a:t>95</a:t>
            </a:fld>
            <a:endParaRPr lang="en-US" sz="1100">
              <a:solidFill>
                <a:schemeClr val="bg1"/>
              </a:solidFill>
            </a:endParaRPr>
          </a:p>
        </p:txBody>
      </p: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63"/>
            </p:custDataLst>
          </p:nvPr>
        </p:nvSpPr>
        <p:spPr bwMode="gray">
          <a:xfrm>
            <a:off x="4432300" y="5318125"/>
            <a:ext cx="274638" cy="168275"/>
          </a:xfrm>
          <a:prstGeom prst="rect">
            <a:avLst/>
          </a:prstGeom>
          <a:solidFill>
            <a:schemeClr val="accent4"/>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DD20EA0-6DC1-46A2-B1D7-5BD70ECEA3A2}" type="datetime'''''''''''''''''''''1''''''''''7''''''9'''''''''''''''''''''">
              <a:rPr lang="en-US" altLang="en-US" sz="1100" smtClean="0">
                <a:solidFill>
                  <a:schemeClr val="bg1"/>
                </a:solidFill>
                <a:effectLst/>
              </a:rPr>
              <a:pPr marL="0" lvl="0" indent="0" algn="ctr">
                <a:spcBef>
                  <a:spcPct val="0"/>
                </a:spcBef>
                <a:spcAft>
                  <a:spcPct val="0"/>
                </a:spcAft>
                <a:buNone/>
              </a:pPr>
              <a:t>179</a:t>
            </a:fld>
            <a:endParaRPr lang="en-US" sz="1100">
              <a:solidFill>
                <a:schemeClr val="bg1"/>
              </a:solidFill>
            </a:endParaRPr>
          </a:p>
        </p:txBody>
      </p:sp>
      <p:sp>
        <p:nvSpPr>
          <p:cNvPr id="48" name="Text Placeholder 10">
            <a:extLst>
              <a:ext uri="{FF2B5EF4-FFF2-40B4-BE49-F238E27FC236}">
                <a16:creationId xmlns:a16="http://schemas.microsoft.com/office/drawing/2014/main" id="{ED173792-E9A2-73A5-5A73-82AC0C6585E0}"/>
              </a:ext>
            </a:extLst>
          </p:cNvPr>
          <p:cNvSpPr>
            <a:spLocks noGrp="1"/>
          </p:cNvSpPr>
          <p:nvPr>
            <p:custDataLst>
              <p:tags r:id="rId64"/>
            </p:custDataLst>
          </p:nvPr>
        </p:nvSpPr>
        <p:spPr bwMode="gray">
          <a:xfrm>
            <a:off x="4924425" y="5413375"/>
            <a:ext cx="274638" cy="168275"/>
          </a:xfrm>
          <a:prstGeom prst="rect">
            <a:avLst/>
          </a:prstGeom>
          <a:solidFill>
            <a:schemeClr val="accent1"/>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1E3085-A37A-4A6C-BCB9-EC0DE69801FA}" type="datetime'''2''''''''''0''''''''''''''''''5'''''''''''''''''''''''">
              <a:rPr lang="en-US" altLang="en-US" sz="1100" smtClean="0">
                <a:solidFill>
                  <a:schemeClr val="bg1"/>
                </a:solidFill>
                <a:effectLst/>
              </a:rPr>
              <a:pPr marL="0" lvl="0" indent="0" algn="ctr">
                <a:spcBef>
                  <a:spcPct val="0"/>
                </a:spcBef>
                <a:spcAft>
                  <a:spcPct val="0"/>
                </a:spcAft>
                <a:buNone/>
              </a:pPr>
              <a:t>205</a:t>
            </a:fld>
            <a:endParaRPr lang="en-US" sz="1100">
              <a:solidFill>
                <a:schemeClr val="bg1"/>
              </a:solidFill>
            </a:endParaRPr>
          </a:p>
        </p:txBody>
      </p:sp>
      <p:sp>
        <p:nvSpPr>
          <p:cNvPr id="553" name="Text Placeholder 10">
            <a:extLst>
              <a:ext uri="{FF2B5EF4-FFF2-40B4-BE49-F238E27FC236}">
                <a16:creationId xmlns:a16="http://schemas.microsoft.com/office/drawing/2014/main" id="{115DFB91-512B-3844-A114-92FBEDCA92F2}"/>
              </a:ext>
            </a:extLst>
          </p:cNvPr>
          <p:cNvSpPr>
            <a:spLocks noGrp="1"/>
          </p:cNvSpPr>
          <p:nvPr>
            <p:custDataLst>
              <p:tags r:id="rId65"/>
            </p:custDataLst>
          </p:nvPr>
        </p:nvSpPr>
        <p:spPr bwMode="gray">
          <a:xfrm>
            <a:off x="4432300" y="5489575"/>
            <a:ext cx="274638" cy="168275"/>
          </a:xfrm>
          <a:prstGeom prst="rect">
            <a:avLst/>
          </a:prstGeom>
          <a:solidFill>
            <a:srgbClr val="4C6C9C"/>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43E96DF-AC6B-4EDC-8530-2AAB76BD964B}" type="datetime'''''''''''''''''''''''''''''1''''''''''''''0''''''5'">
              <a:rPr lang="en-US" altLang="en-US" sz="1100" smtClean="0">
                <a:solidFill>
                  <a:schemeClr val="bg1"/>
                </a:solidFill>
                <a:effectLst/>
              </a:rPr>
              <a:pPr marL="0" lvl="0" indent="0" algn="ctr">
                <a:spcBef>
                  <a:spcPct val="0"/>
                </a:spcBef>
                <a:spcAft>
                  <a:spcPct val="0"/>
                </a:spcAft>
                <a:buNone/>
              </a:pPr>
              <a:t>105</a:t>
            </a:fld>
            <a:endParaRPr lang="en-US" sz="1100">
              <a:solidFill>
                <a:schemeClr val="bg1"/>
              </a:solidFill>
            </a:endParaRPr>
          </a:p>
        </p:txBody>
      </p:sp>
      <p:sp>
        <p:nvSpPr>
          <p:cNvPr id="669" name="Text Placeholder 10">
            <a:extLst>
              <a:ext uri="{FF2B5EF4-FFF2-40B4-BE49-F238E27FC236}">
                <a16:creationId xmlns:a16="http://schemas.microsoft.com/office/drawing/2014/main" id="{115DFB91-512B-3844-A114-92FBEDCA92F2}"/>
              </a:ext>
            </a:extLst>
          </p:cNvPr>
          <p:cNvSpPr>
            <a:spLocks noGrp="1"/>
          </p:cNvSpPr>
          <p:nvPr>
            <p:custDataLst>
              <p:tags r:id="rId66"/>
            </p:custDataLst>
          </p:nvPr>
        </p:nvSpPr>
        <p:spPr bwMode="auto">
          <a:xfrm>
            <a:off x="4652963" y="57070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DF18AA4-8FFB-42A9-948E-F3D9A23AE10A}" type="datetime'''''''''2''''''''''''0''''''''''''4''0'''''''''''''''">
              <a:rPr lang="en-US" altLang="en-US" sz="1100" smtClean="0">
                <a:effectLst/>
              </a:rPr>
              <a:pPr marL="0" lvl="0" indent="0" algn="ctr">
                <a:spcBef>
                  <a:spcPct val="0"/>
                </a:spcBef>
                <a:spcAft>
                  <a:spcPct val="0"/>
                </a:spcAft>
                <a:buNone/>
              </a:pPr>
              <a:t>2040</a:t>
            </a:fld>
            <a:endParaRPr lang="en-US" sz="11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67"/>
            </p:custDataLst>
          </p:nvPr>
        </p:nvSpPr>
        <p:spPr bwMode="gray">
          <a:xfrm>
            <a:off x="6056313" y="5329238"/>
            <a:ext cx="274638" cy="168275"/>
          </a:xfrm>
          <a:prstGeom prst="rect">
            <a:avLst/>
          </a:prstGeom>
          <a:solidFill>
            <a:schemeClr val="accent4"/>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F422CC4-DFBD-45D7-BAEE-1B6AC8F200B6}" type="datetime'''2''''''''0''''''''''''''''''''''''''5'''''''''''''''''''''">
              <a:rPr lang="en-US" altLang="en-US" sz="1100" smtClean="0">
                <a:solidFill>
                  <a:schemeClr val="bg1"/>
                </a:solidFill>
                <a:effectLst/>
              </a:rPr>
              <a:pPr marL="0" lvl="0" indent="0" algn="ctr">
                <a:spcBef>
                  <a:spcPct val="0"/>
                </a:spcBef>
                <a:spcAft>
                  <a:spcPct val="0"/>
                </a:spcAft>
                <a:buNone/>
              </a:pPr>
              <a:t>205</a:t>
            </a:fld>
            <a:endParaRPr lang="en-US" sz="1100">
              <a:solidFill>
                <a:schemeClr val="bg1"/>
              </a:solidFill>
            </a:endParaRPr>
          </a:p>
        </p:txBody>
      </p:sp>
      <p:sp>
        <p:nvSpPr>
          <p:cNvPr id="44" name="Text Placeholder 10">
            <a:extLst>
              <a:ext uri="{FF2B5EF4-FFF2-40B4-BE49-F238E27FC236}">
                <a16:creationId xmlns:a16="http://schemas.microsoft.com/office/drawing/2014/main" id="{F0B2CA81-6CFE-F677-9649-399A1445F633}"/>
              </a:ext>
            </a:extLst>
          </p:cNvPr>
          <p:cNvSpPr>
            <a:spLocks noGrp="1"/>
          </p:cNvSpPr>
          <p:nvPr>
            <p:custDataLst>
              <p:tags r:id="rId68"/>
            </p:custDataLst>
          </p:nvPr>
        </p:nvSpPr>
        <p:spPr bwMode="gray">
          <a:xfrm>
            <a:off x="5564188" y="5424488"/>
            <a:ext cx="274638" cy="168275"/>
          </a:xfrm>
          <a:prstGeom prst="rect">
            <a:avLst/>
          </a:prstGeom>
          <a:solidFill>
            <a:schemeClr val="accent1"/>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B1E2A7F-29AF-4000-9DF7-F57358ADB8B0}" type="datetime'''''''''''1''''''''''''7''''''''''''9'''''''''">
              <a:rPr lang="en-US" altLang="en-US" sz="1100" smtClean="0">
                <a:solidFill>
                  <a:schemeClr val="bg1"/>
                </a:solidFill>
                <a:effectLst/>
              </a:rPr>
              <a:pPr marL="0" lvl="0" indent="0" algn="ctr">
                <a:spcBef>
                  <a:spcPct val="0"/>
                </a:spcBef>
                <a:spcAft>
                  <a:spcPct val="0"/>
                </a:spcAft>
                <a:buNone/>
              </a:pPr>
              <a:t>179</a:t>
            </a:fld>
            <a:endParaRPr lang="en-US" sz="1100">
              <a:solidFill>
                <a:schemeClr val="bg1"/>
              </a:solidFill>
            </a:endParaRPr>
          </a:p>
        </p:txBody>
      </p:sp>
      <p:sp>
        <p:nvSpPr>
          <p:cNvPr id="670" name="Text Placeholder 10">
            <a:extLst>
              <a:ext uri="{FF2B5EF4-FFF2-40B4-BE49-F238E27FC236}">
                <a16:creationId xmlns:a16="http://schemas.microsoft.com/office/drawing/2014/main" id="{115DFB91-512B-3844-A114-92FBEDCA92F2}"/>
              </a:ext>
            </a:extLst>
          </p:cNvPr>
          <p:cNvSpPr>
            <a:spLocks noGrp="1"/>
          </p:cNvSpPr>
          <p:nvPr>
            <p:custDataLst>
              <p:tags r:id="rId69"/>
            </p:custDataLst>
          </p:nvPr>
        </p:nvSpPr>
        <p:spPr bwMode="auto">
          <a:xfrm>
            <a:off x="5784850" y="57070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1196E81-1162-429E-81B5-C407CBAEE793}" type="datetime'''''''''''''''''2''0''''''''''''''''''''''''''''5''0'''''''">
              <a:rPr lang="en-US" altLang="en-US" sz="1100" smtClean="0">
                <a:effectLst/>
              </a:rPr>
              <a:pPr marL="0" lvl="0" indent="0" algn="ctr">
                <a:spcBef>
                  <a:spcPct val="0"/>
                </a:spcBef>
                <a:spcAft>
                  <a:spcPct val="0"/>
                </a:spcAft>
                <a:buNone/>
              </a:pPr>
              <a:t>2050</a:t>
            </a:fld>
            <a:endParaRPr lang="en-US" sz="11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70"/>
            </p:custDataLst>
          </p:nvPr>
        </p:nvSpPr>
        <p:spPr bwMode="gray">
          <a:xfrm>
            <a:off x="2170113" y="5111750"/>
            <a:ext cx="274638" cy="168275"/>
          </a:xfrm>
          <a:prstGeom prst="rect">
            <a:avLst/>
          </a:prstGeom>
          <a:solidFill>
            <a:srgbClr val="C30C3E"/>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C6E4394-8181-4492-9A39-9C6E1B0AFDBD}" type="datetime'''''''''''''''''''''''''''''23''''''''0'''''''''''''">
              <a:rPr lang="en-US" altLang="en-US" sz="1100" smtClean="0">
                <a:solidFill>
                  <a:schemeClr val="bg1"/>
                </a:solidFill>
                <a:effectLst/>
              </a:rPr>
              <a:pPr marL="0" lvl="0" indent="0" algn="ctr">
                <a:spcBef>
                  <a:spcPct val="0"/>
                </a:spcBef>
                <a:spcAft>
                  <a:spcPct val="0"/>
                </a:spcAft>
                <a:buNone/>
              </a:pPr>
              <a:t>230</a:t>
            </a:fld>
            <a:endParaRPr lang="en-US" sz="1100">
              <a:solidFill>
                <a:schemeClr val="bg1"/>
              </a:solidFill>
            </a:endParaRPr>
          </a:p>
        </p:txBody>
      </p:sp>
      <p:sp>
        <p:nvSpPr>
          <p:cNvPr id="25" name="Text Placeholder 10">
            <a:extLst>
              <a:ext uri="{FF2B5EF4-FFF2-40B4-BE49-F238E27FC236}">
                <a16:creationId xmlns:a16="http://schemas.microsoft.com/office/drawing/2014/main" id="{115DFB91-512B-3844-A114-92FBEDCA92F2}"/>
              </a:ext>
            </a:extLst>
          </p:cNvPr>
          <p:cNvSpPr>
            <a:spLocks noGrp="1"/>
          </p:cNvSpPr>
          <p:nvPr>
            <p:custDataLst>
              <p:tags r:id="rId71"/>
            </p:custDataLst>
          </p:nvPr>
        </p:nvSpPr>
        <p:spPr bwMode="gray">
          <a:xfrm>
            <a:off x="6696075" y="5321300"/>
            <a:ext cx="274638" cy="168275"/>
          </a:xfrm>
          <a:prstGeom prst="rect">
            <a:avLst/>
          </a:prstGeom>
          <a:solidFill>
            <a:schemeClr val="accent4"/>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C53F82A-981B-421D-B9C2-8049A20C6EF6}" type="datetime'''''''''1''''''''6''''''''''''''''''''''''7'''''">
              <a:rPr lang="en-US" altLang="en-US" sz="1100" smtClean="0">
                <a:solidFill>
                  <a:schemeClr val="bg1"/>
                </a:solidFill>
                <a:effectLst/>
              </a:rPr>
              <a:pPr marL="0" lvl="0" indent="0" algn="ctr">
                <a:spcBef>
                  <a:spcPct val="0"/>
                </a:spcBef>
                <a:spcAft>
                  <a:spcPct val="0"/>
                </a:spcAft>
                <a:buNone/>
              </a:pPr>
              <a:t>167</a:t>
            </a:fld>
            <a:endParaRPr lang="en-US" sz="1100">
              <a:solidFill>
                <a:schemeClr val="bg1"/>
              </a:solidFill>
            </a:endParaRPr>
          </a:p>
        </p:txBody>
      </p:sp>
      <p:sp>
        <p:nvSpPr>
          <p:cNvPr id="46" name="Text Placeholder 10">
            <a:extLst>
              <a:ext uri="{FF2B5EF4-FFF2-40B4-BE49-F238E27FC236}">
                <a16:creationId xmlns:a16="http://schemas.microsoft.com/office/drawing/2014/main" id="{96F25D46-BAD9-B69C-4D27-1CF118C0468C}"/>
              </a:ext>
            </a:extLst>
          </p:cNvPr>
          <p:cNvSpPr>
            <a:spLocks noGrp="1"/>
          </p:cNvSpPr>
          <p:nvPr>
            <p:custDataLst>
              <p:tags r:id="rId72"/>
            </p:custDataLst>
          </p:nvPr>
        </p:nvSpPr>
        <p:spPr bwMode="gray">
          <a:xfrm>
            <a:off x="7188200" y="5414963"/>
            <a:ext cx="274638" cy="168275"/>
          </a:xfrm>
          <a:prstGeom prst="rect">
            <a:avLst/>
          </a:prstGeom>
          <a:solidFill>
            <a:schemeClr val="accent1"/>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6AE4E18-5774-49DF-A132-F1CE4E76DF51}" type="datetime'''2''''1''''''''2'''''''''''''''''''''''''''''''''''''''''''''">
              <a:rPr lang="en-US" altLang="en-US" sz="1100" smtClean="0">
                <a:solidFill>
                  <a:schemeClr val="bg1"/>
                </a:solidFill>
                <a:effectLst/>
              </a:rPr>
              <a:pPr marL="0" lvl="0" indent="0" algn="ctr">
                <a:spcBef>
                  <a:spcPct val="0"/>
                </a:spcBef>
                <a:spcAft>
                  <a:spcPct val="0"/>
                </a:spcAft>
                <a:buNone/>
              </a:pPr>
              <a:t>212</a:t>
            </a:fld>
            <a:endParaRPr lang="en-US" sz="1100">
              <a:solidFill>
                <a:schemeClr val="bg1"/>
              </a:solidFill>
            </a:endParaRPr>
          </a:p>
        </p:txBody>
      </p:sp>
      <p:sp>
        <p:nvSpPr>
          <p:cNvPr id="460" name="Text Placeholder 10">
            <a:extLst>
              <a:ext uri="{FF2B5EF4-FFF2-40B4-BE49-F238E27FC236}">
                <a16:creationId xmlns:a16="http://schemas.microsoft.com/office/drawing/2014/main" id="{575063AE-78EA-114F-E971-383D6D202DAB}"/>
              </a:ext>
            </a:extLst>
          </p:cNvPr>
          <p:cNvSpPr>
            <a:spLocks noGrp="1"/>
          </p:cNvSpPr>
          <p:nvPr>
            <p:custDataLst>
              <p:tags r:id="rId73"/>
            </p:custDataLst>
          </p:nvPr>
        </p:nvSpPr>
        <p:spPr bwMode="gray">
          <a:xfrm>
            <a:off x="6734175" y="5491163"/>
            <a:ext cx="196850" cy="168275"/>
          </a:xfrm>
          <a:prstGeom prst="rect">
            <a:avLst/>
          </a:prstGeom>
          <a:solidFill>
            <a:srgbClr val="4C6C9C"/>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978C93D-BC93-4F63-90A0-A8B7956DEC25}" type="datetime'''''98'''''''''''''''''''''''">
              <a:rPr lang="en-US" altLang="en-US" sz="1100" smtClean="0">
                <a:solidFill>
                  <a:schemeClr val="bg1"/>
                </a:solidFill>
                <a:effectLst/>
              </a:rPr>
              <a:pPr marL="0" lvl="0" indent="0" algn="ctr">
                <a:spcBef>
                  <a:spcPct val="0"/>
                </a:spcBef>
                <a:spcAft>
                  <a:spcPct val="0"/>
                </a:spcAft>
                <a:buNone/>
              </a:pPr>
              <a:t>98</a:t>
            </a:fld>
            <a:endParaRPr lang="en-US" sz="1100">
              <a:solidFill>
                <a:schemeClr val="bg1"/>
              </a:solidFill>
            </a:endParaRPr>
          </a:p>
        </p:txBody>
      </p:sp>
      <p:sp>
        <p:nvSpPr>
          <p:cNvPr id="671" name="Text Placeholder 10">
            <a:extLst>
              <a:ext uri="{FF2B5EF4-FFF2-40B4-BE49-F238E27FC236}">
                <a16:creationId xmlns:a16="http://schemas.microsoft.com/office/drawing/2014/main" id="{115DFB91-512B-3844-A114-92FBEDCA92F2}"/>
              </a:ext>
            </a:extLst>
          </p:cNvPr>
          <p:cNvSpPr>
            <a:spLocks noGrp="1"/>
          </p:cNvSpPr>
          <p:nvPr>
            <p:custDataLst>
              <p:tags r:id="rId74"/>
            </p:custDataLst>
          </p:nvPr>
        </p:nvSpPr>
        <p:spPr bwMode="auto">
          <a:xfrm>
            <a:off x="6916738" y="57070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8DF6381-44EC-4C50-9FED-778D3563FA07}" type="datetime'''''''''''''2''''''''''0''''''''''''3''0'''''">
              <a:rPr lang="en-US" altLang="en-US" sz="1100" smtClean="0">
                <a:effectLst/>
              </a:rPr>
              <a:pPr marL="0" lvl="0" indent="0" algn="ctr">
                <a:spcBef>
                  <a:spcPct val="0"/>
                </a:spcBef>
                <a:spcAft>
                  <a:spcPct val="0"/>
                </a:spcAft>
                <a:buNone/>
              </a:pPr>
              <a:t>2030</a:t>
            </a:fld>
            <a:endParaRPr lang="en-US" sz="1100"/>
          </a:p>
        </p:txBody>
      </p:sp>
      <p:sp>
        <p:nvSpPr>
          <p:cNvPr id="566" name="Text Placeholder 10">
            <a:extLst>
              <a:ext uri="{FF2B5EF4-FFF2-40B4-BE49-F238E27FC236}">
                <a16:creationId xmlns:a16="http://schemas.microsoft.com/office/drawing/2014/main" id="{115DFB91-512B-3844-A114-92FBEDCA92F2}"/>
              </a:ext>
            </a:extLst>
          </p:cNvPr>
          <p:cNvSpPr>
            <a:spLocks noGrp="1"/>
          </p:cNvSpPr>
          <p:nvPr>
            <p:custDataLst>
              <p:tags r:id="rId75"/>
            </p:custDataLst>
          </p:nvPr>
        </p:nvSpPr>
        <p:spPr bwMode="gray">
          <a:xfrm>
            <a:off x="8320088" y="5119688"/>
            <a:ext cx="274638" cy="168275"/>
          </a:xfrm>
          <a:prstGeom prst="rect">
            <a:avLst/>
          </a:prstGeom>
          <a:solidFill>
            <a:schemeClr val="accent6"/>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6D6B52-634B-4FAD-8476-6CA08D25AD93}" type="datetime'''''''''''''''''1''''''''''''''5''''''''''5'''">
              <a:rPr lang="en-US" altLang="en-US" sz="1100" smtClean="0">
                <a:solidFill>
                  <a:schemeClr val="bg1"/>
                </a:solidFill>
                <a:effectLst/>
              </a:rPr>
              <a:pPr marL="0" lvl="0" indent="0" algn="ctr">
                <a:spcBef>
                  <a:spcPct val="0"/>
                </a:spcBef>
                <a:spcAft>
                  <a:spcPct val="0"/>
                </a:spcAft>
                <a:buNone/>
              </a:pPr>
              <a:t>155</a:t>
            </a:fld>
            <a:endParaRPr lang="en-US" sz="1100">
              <a:solidFill>
                <a:schemeClr val="bg1"/>
              </a:solidFill>
            </a:endParaRPr>
          </a:p>
        </p:txBody>
      </p:sp>
      <p:sp>
        <p:nvSpPr>
          <p:cNvPr id="568" name="Text Placeholder 10">
            <a:extLst>
              <a:ext uri="{FF2B5EF4-FFF2-40B4-BE49-F238E27FC236}">
                <a16:creationId xmlns:a16="http://schemas.microsoft.com/office/drawing/2014/main" id="{115DFB91-512B-3844-A114-92FBEDCA92F2}"/>
              </a:ext>
            </a:extLst>
          </p:cNvPr>
          <p:cNvSpPr>
            <a:spLocks noGrp="1"/>
          </p:cNvSpPr>
          <p:nvPr>
            <p:custDataLst>
              <p:tags r:id="rId76"/>
            </p:custDataLst>
          </p:nvPr>
        </p:nvSpPr>
        <p:spPr bwMode="gray">
          <a:xfrm>
            <a:off x="7827963" y="5481638"/>
            <a:ext cx="274638" cy="168275"/>
          </a:xfrm>
          <a:prstGeom prst="rect">
            <a:avLst/>
          </a:prstGeom>
          <a:solidFill>
            <a:srgbClr val="4C6C9C"/>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D7B487E-4919-4F1C-862E-A57D3ABC42BB}" type="datetime'''''''''''''''''''''''''''''1''''''''''''4''''''2'">
              <a:rPr lang="en-US" altLang="en-US" sz="1100" smtClean="0">
                <a:solidFill>
                  <a:schemeClr val="bg1"/>
                </a:solidFill>
                <a:effectLst/>
              </a:rPr>
              <a:pPr marL="0" lvl="0" indent="0" algn="ctr">
                <a:spcBef>
                  <a:spcPct val="0"/>
                </a:spcBef>
                <a:spcAft>
                  <a:spcPct val="0"/>
                </a:spcAft>
                <a:buNone/>
              </a:pPr>
              <a:t>142</a:t>
            </a:fld>
            <a:endParaRPr lang="en-US" sz="1100">
              <a:solidFill>
                <a:schemeClr val="bg1"/>
              </a:solidFill>
            </a:endParaRPr>
          </a:p>
        </p:txBody>
      </p:sp>
      <p:sp>
        <p:nvSpPr>
          <p:cNvPr id="672" name="Text Placeholder 10">
            <a:extLst>
              <a:ext uri="{FF2B5EF4-FFF2-40B4-BE49-F238E27FC236}">
                <a16:creationId xmlns:a16="http://schemas.microsoft.com/office/drawing/2014/main" id="{115DFB91-512B-3844-A114-92FBEDCA92F2}"/>
              </a:ext>
            </a:extLst>
          </p:cNvPr>
          <p:cNvSpPr>
            <a:spLocks noGrp="1"/>
          </p:cNvSpPr>
          <p:nvPr>
            <p:custDataLst>
              <p:tags r:id="rId77"/>
            </p:custDataLst>
          </p:nvPr>
        </p:nvSpPr>
        <p:spPr bwMode="auto">
          <a:xfrm>
            <a:off x="8048625" y="57070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3E15DAE-E52B-4F97-9421-6797AB677A13}" type="datetime'''''''''''''''''20''''4''''''0'''''">
              <a:rPr lang="en-US" altLang="en-US" sz="1100" smtClean="0">
                <a:effectLst/>
              </a:rPr>
              <a:pPr marL="0" lvl="0" indent="0" algn="ctr">
                <a:spcBef>
                  <a:spcPct val="0"/>
                </a:spcBef>
                <a:spcAft>
                  <a:spcPct val="0"/>
                </a:spcAft>
                <a:buNone/>
              </a:pPr>
              <a:t>2040</a:t>
            </a:fld>
            <a:endParaRPr lang="en-US" sz="1100"/>
          </a:p>
        </p:txBody>
      </p:sp>
      <p:sp>
        <p:nvSpPr>
          <p:cNvPr id="570" name="Text Placeholder 10">
            <a:extLst>
              <a:ext uri="{FF2B5EF4-FFF2-40B4-BE49-F238E27FC236}">
                <a16:creationId xmlns:a16="http://schemas.microsoft.com/office/drawing/2014/main" id="{115DFB91-512B-3844-A114-92FBEDCA92F2}"/>
              </a:ext>
            </a:extLst>
          </p:cNvPr>
          <p:cNvSpPr>
            <a:spLocks noGrp="1"/>
          </p:cNvSpPr>
          <p:nvPr>
            <p:custDataLst>
              <p:tags r:id="rId78"/>
            </p:custDataLst>
          </p:nvPr>
        </p:nvSpPr>
        <p:spPr bwMode="gray">
          <a:xfrm>
            <a:off x="9204325" y="5472113"/>
            <a:ext cx="274638" cy="168275"/>
          </a:xfrm>
          <a:prstGeom prst="rect">
            <a:avLst/>
          </a:prstGeom>
          <a:solidFill>
            <a:srgbClr val="4C6C9C"/>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32D148A-7CC2-4F9F-B0E3-0EC03F5B833B}" type="datetime'''''''''''''''1''''''''''''''''''8''1'''''''">
              <a:rPr lang="en-US" altLang="en-US" sz="1100" smtClean="0">
                <a:solidFill>
                  <a:schemeClr val="bg1"/>
                </a:solidFill>
                <a:effectLst/>
              </a:rPr>
              <a:pPr marL="0" lvl="0" indent="0" algn="ctr">
                <a:spcBef>
                  <a:spcPct val="0"/>
                </a:spcBef>
                <a:spcAft>
                  <a:spcPct val="0"/>
                </a:spcAft>
                <a:buNone/>
              </a:pPr>
              <a:t>181</a:t>
            </a:fld>
            <a:endParaRPr lang="en-US" sz="1100">
              <a:solidFill>
                <a:schemeClr val="bg1"/>
              </a:solidFill>
            </a:endParaRPr>
          </a:p>
        </p:txBody>
      </p:sp>
      <p:sp>
        <p:nvSpPr>
          <p:cNvPr id="673" name="Text Placeholder 10">
            <a:extLst>
              <a:ext uri="{FF2B5EF4-FFF2-40B4-BE49-F238E27FC236}">
                <a16:creationId xmlns:a16="http://schemas.microsoft.com/office/drawing/2014/main" id="{115DFB91-512B-3844-A114-92FBEDCA92F2}"/>
              </a:ext>
            </a:extLst>
          </p:cNvPr>
          <p:cNvSpPr>
            <a:spLocks noGrp="1"/>
          </p:cNvSpPr>
          <p:nvPr>
            <p:custDataLst>
              <p:tags r:id="rId79"/>
            </p:custDataLst>
          </p:nvPr>
        </p:nvSpPr>
        <p:spPr bwMode="auto">
          <a:xfrm>
            <a:off x="9178925" y="57070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FF96AD7-D2BA-4237-BEE6-ABF1B03C94FF}" type="datetime'''''''''2''''''''''''''05''''''''''''''''''''''''0'''''">
              <a:rPr lang="en-US" altLang="en-US" sz="1100" smtClean="0">
                <a:effectLst/>
              </a:rPr>
              <a:pPr marL="0" lvl="0" indent="0" algn="ctr">
                <a:spcBef>
                  <a:spcPct val="0"/>
                </a:spcBef>
                <a:spcAft>
                  <a:spcPct val="0"/>
                </a:spcAft>
                <a:buNone/>
              </a:pPr>
              <a:t>2050</a:t>
            </a:fld>
            <a:endParaRPr lang="en-US" sz="1100"/>
          </a:p>
        </p:txBody>
      </p:sp>
      <p:sp>
        <p:nvSpPr>
          <p:cNvPr id="314" name="Text Placeholder 10">
            <a:extLst>
              <a:ext uri="{FF2B5EF4-FFF2-40B4-BE49-F238E27FC236}">
                <a16:creationId xmlns:a16="http://schemas.microsoft.com/office/drawing/2014/main" id="{CD5540C7-17D9-E26A-8050-4BF5E9C2DC9D}"/>
              </a:ext>
            </a:extLst>
          </p:cNvPr>
          <p:cNvSpPr>
            <a:spLocks noGrp="1"/>
          </p:cNvSpPr>
          <p:nvPr>
            <p:custDataLst>
              <p:tags r:id="rId80"/>
            </p:custDataLst>
          </p:nvPr>
        </p:nvSpPr>
        <p:spPr bwMode="gray">
          <a:xfrm>
            <a:off x="2416175" y="4943475"/>
            <a:ext cx="2746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4E00C7C-4920-4FEB-9735-B237B370B18F}" type="datetime'''93''2'''''''''''''''''''''''''">
              <a:rPr lang="en-US" altLang="en-US" sz="1100" smtClean="0"/>
              <a:pPr marL="0" lvl="0" indent="0" algn="ctr">
                <a:spcBef>
                  <a:spcPct val="0"/>
                </a:spcBef>
                <a:spcAft>
                  <a:spcPct val="0"/>
                </a:spcAft>
                <a:buNone/>
              </a:pPr>
              <a:t>932</a:t>
            </a:fld>
            <a:endParaRPr lang="en-US" sz="1100"/>
          </a:p>
        </p:txBody>
      </p:sp>
      <p:sp>
        <p:nvSpPr>
          <p:cNvPr id="315" name="Text Placeholder 10">
            <a:extLst>
              <a:ext uri="{FF2B5EF4-FFF2-40B4-BE49-F238E27FC236}">
                <a16:creationId xmlns:a16="http://schemas.microsoft.com/office/drawing/2014/main" id="{6024398A-4F15-563B-C3CB-D28334B5ABFC}"/>
              </a:ext>
            </a:extLst>
          </p:cNvPr>
          <p:cNvSpPr>
            <a:spLocks noGrp="1"/>
          </p:cNvSpPr>
          <p:nvPr>
            <p:custDataLst>
              <p:tags r:id="rId81"/>
            </p:custDataLst>
          </p:nvPr>
        </p:nvSpPr>
        <p:spPr bwMode="gray">
          <a:xfrm>
            <a:off x="3489325" y="4894263"/>
            <a:ext cx="3905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965BF6-0FFE-4D54-B4C3-734EA7155879}" type="datetime'''''''''''''''1'''''''''',''''0''''''''''3''7'''''''''''">
              <a:rPr lang="en-US" altLang="en-US" sz="1100" smtClean="0"/>
              <a:pPr marL="0" lvl="0" indent="0" algn="ctr">
                <a:spcBef>
                  <a:spcPct val="0"/>
                </a:spcBef>
                <a:spcAft>
                  <a:spcPct val="0"/>
                </a:spcAft>
                <a:buNone/>
              </a:pPr>
              <a:t>1,037</a:t>
            </a:fld>
            <a:endParaRPr lang="en-US" sz="1100"/>
          </a:p>
        </p:txBody>
      </p:sp>
      <p:sp>
        <p:nvSpPr>
          <p:cNvPr id="316" name="Text Placeholder 10">
            <a:extLst>
              <a:ext uri="{FF2B5EF4-FFF2-40B4-BE49-F238E27FC236}">
                <a16:creationId xmlns:a16="http://schemas.microsoft.com/office/drawing/2014/main" id="{AC2EF23C-8238-B246-56C6-FC4C5D34E59D}"/>
              </a:ext>
            </a:extLst>
          </p:cNvPr>
          <p:cNvSpPr>
            <a:spLocks noGrp="1"/>
          </p:cNvSpPr>
          <p:nvPr>
            <p:custDataLst>
              <p:tags r:id="rId82"/>
            </p:custDataLst>
          </p:nvPr>
        </p:nvSpPr>
        <p:spPr bwMode="gray">
          <a:xfrm>
            <a:off x="4619625" y="4733925"/>
            <a:ext cx="3905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627E4AC-1B6B-4390-BE81-3A6A7C73496C}" type="datetime'''''''''''''''1'''''',''''''''''''3''58'''''">
              <a:rPr lang="en-US" altLang="en-US" sz="1100" smtClean="0"/>
              <a:pPr marL="0" lvl="0" indent="0" algn="ctr">
                <a:spcBef>
                  <a:spcPct val="0"/>
                </a:spcBef>
                <a:spcAft>
                  <a:spcPct val="0"/>
                </a:spcAft>
                <a:buNone/>
              </a:pPr>
              <a:t>1,358</a:t>
            </a:fld>
            <a:endParaRPr lang="en-US" sz="1100"/>
          </a:p>
        </p:txBody>
      </p:sp>
      <p:sp>
        <p:nvSpPr>
          <p:cNvPr id="317" name="Text Placeholder 10">
            <a:extLst>
              <a:ext uri="{FF2B5EF4-FFF2-40B4-BE49-F238E27FC236}">
                <a16:creationId xmlns:a16="http://schemas.microsoft.com/office/drawing/2014/main" id="{51FBA01A-C0AD-B4FF-8D38-267CF0EBE0C1}"/>
              </a:ext>
            </a:extLst>
          </p:cNvPr>
          <p:cNvSpPr>
            <a:spLocks noGrp="1"/>
          </p:cNvSpPr>
          <p:nvPr>
            <p:custDataLst>
              <p:tags r:id="rId83"/>
            </p:custDataLst>
          </p:nvPr>
        </p:nvSpPr>
        <p:spPr bwMode="gray">
          <a:xfrm>
            <a:off x="5751513" y="4633913"/>
            <a:ext cx="3905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530F31E-9195-4748-9BC3-4FAC3E0523CA}" type="datetime'1'',''''''''''5''''''''''''''''''''''''''''''''''6''''''''''1'">
              <a:rPr lang="en-US" altLang="en-US" sz="1100" smtClean="0"/>
              <a:pPr marL="0" lvl="0" indent="0" algn="ctr">
                <a:spcBef>
                  <a:spcPct val="0"/>
                </a:spcBef>
                <a:spcAft>
                  <a:spcPct val="0"/>
                </a:spcAft>
                <a:buNone/>
              </a:pPr>
              <a:t>1,561</a:t>
            </a:fld>
            <a:endParaRPr lang="en-US" sz="1100"/>
          </a:p>
        </p:txBody>
      </p:sp>
      <p:sp>
        <p:nvSpPr>
          <p:cNvPr id="328" name="Text Placeholder 10">
            <a:extLst>
              <a:ext uri="{FF2B5EF4-FFF2-40B4-BE49-F238E27FC236}">
                <a16:creationId xmlns:a16="http://schemas.microsoft.com/office/drawing/2014/main" id="{6D4A2347-D1DA-016A-C12B-85893B9D58AA}"/>
              </a:ext>
            </a:extLst>
          </p:cNvPr>
          <p:cNvSpPr>
            <a:spLocks noGrp="1"/>
          </p:cNvSpPr>
          <p:nvPr>
            <p:custDataLst>
              <p:tags r:id="rId84"/>
            </p:custDataLst>
          </p:nvPr>
        </p:nvSpPr>
        <p:spPr bwMode="gray">
          <a:xfrm>
            <a:off x="6883400" y="4814888"/>
            <a:ext cx="3905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32013C-A44D-44A4-99FE-C5C88EA38E37}" type="datetime'''''''''''''''''1'',''''''''1''''9''''''''5'''''''">
              <a:rPr lang="en-US" altLang="en-US" sz="1100" smtClean="0"/>
              <a:pPr marL="0" lvl="0" indent="0" algn="ctr">
                <a:spcBef>
                  <a:spcPct val="0"/>
                </a:spcBef>
                <a:spcAft>
                  <a:spcPct val="0"/>
                </a:spcAft>
                <a:buNone/>
              </a:pPr>
              <a:t>1,195</a:t>
            </a:fld>
            <a:endParaRPr lang="en-US" sz="1100"/>
          </a:p>
        </p:txBody>
      </p:sp>
      <p:sp>
        <p:nvSpPr>
          <p:cNvPr id="330" name="Text Placeholder 10">
            <a:extLst>
              <a:ext uri="{FF2B5EF4-FFF2-40B4-BE49-F238E27FC236}">
                <a16:creationId xmlns:a16="http://schemas.microsoft.com/office/drawing/2014/main" id="{741140C6-10CA-EF92-A310-9FDA9A4DE39B}"/>
              </a:ext>
            </a:extLst>
          </p:cNvPr>
          <p:cNvSpPr>
            <a:spLocks noGrp="1"/>
          </p:cNvSpPr>
          <p:nvPr>
            <p:custDataLst>
              <p:tags r:id="rId85"/>
            </p:custDataLst>
          </p:nvPr>
        </p:nvSpPr>
        <p:spPr bwMode="gray">
          <a:xfrm>
            <a:off x="8015288" y="4456113"/>
            <a:ext cx="3905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23E00B1-079B-40B1-942C-2267411FE958}" type="datetime'''''1'''''''''''''''',''''''''''''''''''9''2''''1'">
              <a:rPr lang="en-US" altLang="en-US" sz="1100" smtClean="0"/>
              <a:pPr marL="0" lvl="0" indent="0" algn="ctr">
                <a:spcBef>
                  <a:spcPct val="0"/>
                </a:spcBef>
                <a:spcAft>
                  <a:spcPct val="0"/>
                </a:spcAft>
                <a:buNone/>
              </a:pPr>
              <a:t>1,921</a:t>
            </a:fld>
            <a:endParaRPr lang="en-US" sz="1100"/>
          </a:p>
        </p:txBody>
      </p:sp>
      <p:sp>
        <p:nvSpPr>
          <p:cNvPr id="332" name="Text Placeholder 10">
            <a:extLst>
              <a:ext uri="{FF2B5EF4-FFF2-40B4-BE49-F238E27FC236}">
                <a16:creationId xmlns:a16="http://schemas.microsoft.com/office/drawing/2014/main" id="{841388E5-3F97-DE99-28F3-C0DC3697E0C8}"/>
              </a:ext>
            </a:extLst>
          </p:cNvPr>
          <p:cNvSpPr>
            <a:spLocks noGrp="1"/>
          </p:cNvSpPr>
          <p:nvPr>
            <p:custDataLst>
              <p:tags r:id="rId86"/>
            </p:custDataLst>
          </p:nvPr>
        </p:nvSpPr>
        <p:spPr bwMode="gray">
          <a:xfrm>
            <a:off x="9145588" y="4044950"/>
            <a:ext cx="3905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5A00AE4-7C69-46E0-90F2-9CDC1962CE37}" type="datetime'''2'',''''''''7''''''''''''''5''''''''''''''1'''''''''''''">
              <a:rPr lang="en-US" altLang="en-US" sz="1100" smtClean="0"/>
              <a:pPr marL="0" lvl="0" indent="0" algn="ctr">
                <a:spcBef>
                  <a:spcPct val="0"/>
                </a:spcBef>
                <a:spcAft>
                  <a:spcPct val="0"/>
                </a:spcAft>
                <a:buNone/>
              </a:pPr>
              <a:t>2,751</a:t>
            </a:fld>
            <a:endParaRPr lang="en-US" sz="1100"/>
          </a:p>
        </p:txBody>
      </p:sp>
      <p:sp>
        <p:nvSpPr>
          <p:cNvPr id="125" name="Text Placeholder 10">
            <a:extLst>
              <a:ext uri="{FF2B5EF4-FFF2-40B4-BE49-F238E27FC236}">
                <a16:creationId xmlns:a16="http://schemas.microsoft.com/office/drawing/2014/main" id="{115DFB91-512B-3844-A114-92FBEDCA92F2}"/>
              </a:ext>
            </a:extLst>
          </p:cNvPr>
          <p:cNvSpPr>
            <a:spLocks noGrp="1"/>
          </p:cNvSpPr>
          <p:nvPr>
            <p:custDataLst>
              <p:tags r:id="rId87"/>
            </p:custDataLst>
          </p:nvPr>
        </p:nvSpPr>
        <p:spPr bwMode="gray">
          <a:xfrm>
            <a:off x="6696075" y="5187950"/>
            <a:ext cx="274638" cy="168275"/>
          </a:xfrm>
          <a:prstGeom prst="rect">
            <a:avLst/>
          </a:prstGeom>
          <a:solidFill>
            <a:schemeClr val="accent2"/>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485A8D-D176-47D2-AC77-45059269D9E2}" type="datetime'''''''''''''''''''''''''2''''''''''54'''">
              <a:rPr lang="en-US" altLang="en-US" sz="1100" smtClean="0">
                <a:solidFill>
                  <a:schemeClr val="bg1"/>
                </a:solidFill>
              </a:rPr>
              <a:pPr marL="0" lvl="0" indent="0" algn="ctr">
                <a:spcBef>
                  <a:spcPct val="0"/>
                </a:spcBef>
                <a:spcAft>
                  <a:spcPct val="0"/>
                </a:spcAft>
                <a:buNone/>
              </a:pPr>
              <a:t>254</a:t>
            </a:fld>
            <a:endParaRPr lang="en-US" sz="1100">
              <a:solidFill>
                <a:schemeClr val="bg1"/>
              </a:solidFill>
            </a:endParaRPr>
          </a:p>
        </p:txBody>
      </p:sp>
      <p:sp>
        <p:nvSpPr>
          <p:cNvPr id="126" name="Text Placeholder 10">
            <a:extLst>
              <a:ext uri="{FF2B5EF4-FFF2-40B4-BE49-F238E27FC236}">
                <a16:creationId xmlns:a16="http://schemas.microsoft.com/office/drawing/2014/main" id="{115DFB91-512B-3844-A114-92FBEDCA92F2}"/>
              </a:ext>
            </a:extLst>
          </p:cNvPr>
          <p:cNvSpPr>
            <a:spLocks noGrp="1"/>
          </p:cNvSpPr>
          <p:nvPr>
            <p:custDataLst>
              <p:tags r:id="rId88"/>
            </p:custDataLst>
          </p:nvPr>
        </p:nvSpPr>
        <p:spPr bwMode="gray">
          <a:xfrm>
            <a:off x="9204325" y="4935538"/>
            <a:ext cx="274638" cy="168275"/>
          </a:xfrm>
          <a:prstGeom prst="rect">
            <a:avLst/>
          </a:prstGeom>
          <a:solidFill>
            <a:schemeClr val="accent6"/>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F4E05CE-75F3-44AB-89D8-6D2D18E4AF02}" type="datetime'''''''''''2''''''''''''''''''''''''''''''''52'''">
              <a:rPr lang="en-US" altLang="en-US" sz="1100" smtClean="0">
                <a:solidFill>
                  <a:schemeClr val="bg1"/>
                </a:solidFill>
              </a:rPr>
              <a:pPr marL="0" lvl="0" indent="0" algn="ctr">
                <a:spcBef>
                  <a:spcPct val="0"/>
                </a:spcBef>
                <a:spcAft>
                  <a:spcPct val="0"/>
                </a:spcAft>
                <a:buNone/>
              </a:pPr>
              <a:t>252</a:t>
            </a:fld>
            <a:endParaRPr lang="en-US" sz="1100">
              <a:solidFill>
                <a:schemeClr val="bg1"/>
              </a:solidFill>
            </a:endParaRPr>
          </a:p>
        </p:txBody>
      </p:sp>
      <p:sp>
        <p:nvSpPr>
          <p:cNvPr id="468" name="Text Placeholder 10">
            <a:extLst>
              <a:ext uri="{FF2B5EF4-FFF2-40B4-BE49-F238E27FC236}">
                <a16:creationId xmlns:a16="http://schemas.microsoft.com/office/drawing/2014/main" id="{115DFB91-512B-3844-A114-92FBEDCA92F2}"/>
              </a:ext>
            </a:extLst>
          </p:cNvPr>
          <p:cNvSpPr>
            <a:spLocks noGrp="1"/>
          </p:cNvSpPr>
          <p:nvPr>
            <p:custDataLst>
              <p:tags r:id="rId89"/>
            </p:custDataLst>
          </p:nvPr>
        </p:nvSpPr>
        <p:spPr bwMode="gray">
          <a:xfrm>
            <a:off x="7226300" y="5265738"/>
            <a:ext cx="196850" cy="168275"/>
          </a:xfrm>
          <a:prstGeom prst="rect">
            <a:avLst/>
          </a:prstGeom>
          <a:solidFill>
            <a:schemeClr val="accent6"/>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52E08BD-EE4A-4A93-86A4-69CF747F5B75}" type="datetime'''57'''''''''''''''''''''''''''''''''''''''''''''''''''''''''">
              <a:rPr lang="en-US" altLang="en-US" sz="1100" smtClean="0">
                <a:solidFill>
                  <a:schemeClr val="bg1"/>
                </a:solidFill>
                <a:effectLst/>
              </a:rPr>
              <a:pPr marL="0" lvl="0" indent="0" algn="ctr">
                <a:spcBef>
                  <a:spcPct val="0"/>
                </a:spcBef>
                <a:spcAft>
                  <a:spcPct val="0"/>
                </a:spcAft>
                <a:buNone/>
              </a:pPr>
              <a:t>57</a:t>
            </a:fld>
            <a:endParaRPr lang="en-US" sz="1100">
              <a:solidFill>
                <a:schemeClr val="bg1"/>
              </a:solidFill>
            </a:endParaRPr>
          </a:p>
        </p:txBody>
      </p:sp>
      <p:sp>
        <p:nvSpPr>
          <p:cNvPr id="392" name="TextBox 391">
            <a:extLst>
              <a:ext uri="{FF2B5EF4-FFF2-40B4-BE49-F238E27FC236}">
                <a16:creationId xmlns:a16="http://schemas.microsoft.com/office/drawing/2014/main" id="{6BB860B3-E879-1608-6127-FC79282811FA}"/>
              </a:ext>
            </a:extLst>
          </p:cNvPr>
          <p:cNvSpPr txBox="1"/>
          <p:nvPr/>
        </p:nvSpPr>
        <p:spPr bwMode="gray">
          <a:xfrm>
            <a:off x="7538993" y="1625156"/>
            <a:ext cx="2416619" cy="153888"/>
          </a:xfrm>
          <a:prstGeom prst="rect">
            <a:avLst/>
          </a:prstGeom>
          <a:noFill/>
        </p:spPr>
        <p:txBody>
          <a:bodyPr wrap="square" lIns="36576" tIns="0" rIns="0" bIns="0" rtlCol="0">
            <a:spAutoFit/>
          </a:bodyPr>
          <a:lstStyle/>
          <a:p>
            <a:pPr marL="0" indent="0" algn="l">
              <a:spcBef>
                <a:spcPts val="600"/>
              </a:spcBef>
              <a:spcAft>
                <a:spcPts val="600"/>
              </a:spcAft>
              <a:buNone/>
            </a:pPr>
            <a:r>
              <a:rPr lang="en-US" sz="1000" b="1"/>
              <a:t>Nuclear fraction of global electricity, </a:t>
            </a:r>
            <a:r>
              <a:rPr lang="en-US" sz="1000"/>
              <a:t>%</a:t>
            </a:r>
            <a:endParaRPr lang="en-US" sz="1000" b="1"/>
          </a:p>
        </p:txBody>
      </p:sp>
      <p:sp>
        <p:nvSpPr>
          <p:cNvPr id="646" name="TextBox 645">
            <a:extLst>
              <a:ext uri="{FF2B5EF4-FFF2-40B4-BE49-F238E27FC236}">
                <a16:creationId xmlns:a16="http://schemas.microsoft.com/office/drawing/2014/main" id="{9109C52A-9E01-824E-CEE5-7ADF2AD51E35}"/>
              </a:ext>
            </a:extLst>
          </p:cNvPr>
          <p:cNvSpPr txBox="1"/>
          <p:nvPr/>
        </p:nvSpPr>
        <p:spPr bwMode="gray">
          <a:xfrm>
            <a:off x="2139950" y="1908175"/>
            <a:ext cx="820738" cy="153988"/>
          </a:xfrm>
          <a:prstGeom prst="rect">
            <a:avLst/>
          </a:prstGeom>
          <a:noFill/>
        </p:spPr>
        <p:txBody>
          <a:bodyPr wrap="square" lIns="36576" tIns="0" rIns="0" bIns="0" rtlCol="0">
            <a:spAutoFit/>
          </a:bodyPr>
          <a:lstStyle/>
          <a:p>
            <a:pPr marL="0" indent="0" algn="ctr">
              <a:spcBef>
                <a:spcPts val="600"/>
              </a:spcBef>
              <a:spcAft>
                <a:spcPts val="600"/>
              </a:spcAft>
              <a:buNone/>
            </a:pPr>
            <a:r>
              <a:rPr lang="en-US" sz="1000" b="1"/>
              <a:t>Actual</a:t>
            </a:r>
          </a:p>
        </p:txBody>
      </p:sp>
      <p:sp>
        <p:nvSpPr>
          <p:cNvPr id="647" name="TextBox 646">
            <a:extLst>
              <a:ext uri="{FF2B5EF4-FFF2-40B4-BE49-F238E27FC236}">
                <a16:creationId xmlns:a16="http://schemas.microsoft.com/office/drawing/2014/main" id="{B9586FF6-1E40-16FA-7EE9-C0A5DDEC0BF4}"/>
              </a:ext>
            </a:extLst>
          </p:cNvPr>
          <p:cNvSpPr txBox="1"/>
          <p:nvPr/>
        </p:nvSpPr>
        <p:spPr bwMode="gray">
          <a:xfrm>
            <a:off x="4086225" y="1908175"/>
            <a:ext cx="1454150" cy="153988"/>
          </a:xfrm>
          <a:prstGeom prst="rect">
            <a:avLst/>
          </a:prstGeom>
          <a:noFill/>
        </p:spPr>
        <p:txBody>
          <a:bodyPr wrap="square" lIns="36576" tIns="0" rIns="0" bIns="0" rtlCol="0">
            <a:spAutoFit/>
          </a:bodyPr>
          <a:lstStyle/>
          <a:p>
            <a:pPr marL="0" indent="0" algn="ctr">
              <a:spcBef>
                <a:spcPts val="600"/>
              </a:spcBef>
              <a:spcAft>
                <a:spcPts val="600"/>
              </a:spcAft>
              <a:buNone/>
            </a:pPr>
            <a:r>
              <a:rPr lang="en-US" sz="1000" b="1"/>
              <a:t>Low outlook</a:t>
            </a:r>
          </a:p>
        </p:txBody>
      </p:sp>
      <p:sp>
        <p:nvSpPr>
          <p:cNvPr id="648" name="TextBox 647">
            <a:extLst>
              <a:ext uri="{FF2B5EF4-FFF2-40B4-BE49-F238E27FC236}">
                <a16:creationId xmlns:a16="http://schemas.microsoft.com/office/drawing/2014/main" id="{C0A295C3-A27E-B5CC-CDED-BCC761386E5F}"/>
              </a:ext>
            </a:extLst>
          </p:cNvPr>
          <p:cNvSpPr txBox="1"/>
          <p:nvPr/>
        </p:nvSpPr>
        <p:spPr bwMode="gray">
          <a:xfrm>
            <a:off x="7502525" y="1908175"/>
            <a:ext cx="1454150" cy="153988"/>
          </a:xfrm>
          <a:prstGeom prst="rect">
            <a:avLst/>
          </a:prstGeom>
          <a:noFill/>
        </p:spPr>
        <p:txBody>
          <a:bodyPr wrap="square" lIns="36576" tIns="0" rIns="0" bIns="0" rtlCol="0">
            <a:spAutoFit/>
          </a:bodyPr>
          <a:lstStyle/>
          <a:p>
            <a:pPr marL="0" indent="0" algn="ctr">
              <a:spcBef>
                <a:spcPts val="600"/>
              </a:spcBef>
              <a:spcAft>
                <a:spcPts val="600"/>
              </a:spcAft>
              <a:buNone/>
            </a:pPr>
            <a:r>
              <a:rPr lang="en-US" sz="1000" b="1"/>
              <a:t>High outlook</a:t>
            </a:r>
          </a:p>
        </p:txBody>
      </p:sp>
      <p:sp>
        <p:nvSpPr>
          <p:cNvPr id="660" name="TextBox 8">
            <a:extLst>
              <a:ext uri="{FF2B5EF4-FFF2-40B4-BE49-F238E27FC236}">
                <a16:creationId xmlns:a16="http://schemas.microsoft.com/office/drawing/2014/main" id="{665A9845-BCE0-0010-E3EA-45185C48CF5C}"/>
              </a:ext>
            </a:extLst>
          </p:cNvPr>
          <p:cNvSpPr txBox="1"/>
          <p:nvPr/>
        </p:nvSpPr>
        <p:spPr bwMode="gray">
          <a:xfrm>
            <a:off x="10048547" y="1554480"/>
            <a:ext cx="1895616" cy="3772828"/>
          </a:xfrm>
          <a:prstGeom prst="rect">
            <a:avLst/>
          </a:prstGeom>
          <a:solidFill>
            <a:srgbClr val="E3E8EE"/>
          </a:solidFill>
        </p:spPr>
        <p:txBody>
          <a:bodyPr wrap="square" lIns="137160" tIns="137160" rIns="137160" bIns="137160" rtlCol="0" anchor="t">
            <a:spAutoFit/>
          </a:bodyPr>
          <a:lstStyle/>
          <a:p>
            <a:pPr marL="0" indent="0">
              <a:spcAft>
                <a:spcPts val="600"/>
              </a:spcAft>
              <a:buNone/>
            </a:pPr>
            <a:r>
              <a:rPr lang="en-US" sz="1200" b="1"/>
              <a:t>Observations</a:t>
            </a:r>
            <a:r>
              <a:rPr lang="en-US" sz="1600" b="1"/>
              <a:t>   </a:t>
            </a:r>
            <a:endParaRPr kumimoji="0" lang="en-US" sz="1200" i="0" u="none" strike="noStrike" kern="1200" cap="none" spc="0" normalizeH="0" baseline="0" noProof="0">
              <a:ln>
                <a:noFill/>
              </a:ln>
              <a:solidFill>
                <a:srgbClr val="000000"/>
              </a:solidFill>
              <a:effectLst/>
              <a:uLnTx/>
              <a:uFillTx/>
              <a:latin typeface="Arial"/>
              <a:ea typeface="+mn-ea"/>
              <a:cs typeface="+mn-cs"/>
            </a:endParaRPr>
          </a:p>
          <a:p>
            <a:pPr marL="171450" indent="-171450">
              <a:spcBef>
                <a:spcPts val="0"/>
              </a:spcBef>
              <a:spcAft>
                <a:spcPts val="400"/>
              </a:spcAft>
              <a:buFont typeface="Arial" panose="020B0604020202020204" pitchFamily="34" charset="0"/>
              <a:buChar char="•"/>
            </a:pPr>
            <a:r>
              <a:rPr lang="en-US" sz="1050" b="1"/>
              <a:t>Current nuclear </a:t>
            </a:r>
            <a:br>
              <a:rPr lang="en-US" sz="1050" b="1"/>
            </a:br>
            <a:r>
              <a:rPr lang="en-US" sz="1050" b="1"/>
              <a:t>power production is expected to grow 1.5x to 3x until 2050 </a:t>
            </a:r>
            <a:r>
              <a:rPr lang="en-US" sz="1050"/>
              <a:t>depending on the scenario.</a:t>
            </a:r>
          </a:p>
          <a:p>
            <a:pPr marL="171450" indent="-171450">
              <a:spcBef>
                <a:spcPts val="0"/>
              </a:spcBef>
              <a:spcAft>
                <a:spcPts val="400"/>
              </a:spcAft>
              <a:buFont typeface="Arial" panose="020B0604020202020204" pitchFamily="34" charset="0"/>
              <a:buChar char="•"/>
            </a:pPr>
            <a:r>
              <a:rPr lang="en-US" sz="1050" b="1"/>
              <a:t>Growth will be driven by the United States and emerging economies</a:t>
            </a:r>
            <a:r>
              <a:rPr lang="en-US" sz="1050"/>
              <a:t>, which will be responsible for over half of nuclear power by 2050.</a:t>
            </a:r>
          </a:p>
          <a:p>
            <a:pPr marL="171450" indent="-171450">
              <a:spcBef>
                <a:spcPts val="0"/>
              </a:spcBef>
              <a:spcAft>
                <a:spcPts val="400"/>
              </a:spcAft>
              <a:buFont typeface="Arial" panose="020B0604020202020204" pitchFamily="34" charset="0"/>
              <a:buChar char="•"/>
            </a:pPr>
            <a:r>
              <a:rPr lang="en-US" sz="1050"/>
              <a:t>Emissions prevented increase with nuclear power.</a:t>
            </a:r>
            <a:r>
              <a:rPr lang="en-US" sz="1050" b="1"/>
              <a:t> The true impact decreases as grids decarbonize in other ways.</a:t>
            </a:r>
          </a:p>
        </p:txBody>
      </p:sp>
      <p:sp>
        <p:nvSpPr>
          <p:cNvPr id="11" name="Oval 10">
            <a:extLst>
              <a:ext uri="{FF2B5EF4-FFF2-40B4-BE49-F238E27FC236}">
                <a16:creationId xmlns:a16="http://schemas.microsoft.com/office/drawing/2014/main" id="{2BB7C5D9-6993-4063-3786-A3CD97ED4762}"/>
              </a:ext>
            </a:extLst>
          </p:cNvPr>
          <p:cNvSpPr/>
          <p:nvPr/>
        </p:nvSpPr>
        <p:spPr bwMode="gray">
          <a:xfrm>
            <a:off x="7121799" y="1596921"/>
            <a:ext cx="387350" cy="199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000">
                <a:solidFill>
                  <a:schemeClr val="tx1"/>
                </a:solidFill>
              </a:rPr>
              <a:t>x%</a:t>
            </a:r>
          </a:p>
        </p:txBody>
      </p:sp>
    </p:spTree>
    <p:custDataLst>
      <p:tags r:id="rId1"/>
    </p:custDataLst>
    <p:extLst>
      <p:ext uri="{BB962C8B-B14F-4D97-AF65-F5344CB8AC3E}">
        <p14:creationId xmlns:p14="http://schemas.microsoft.com/office/powerpoint/2010/main" val="19336388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006ACB-5F40-6E53-8AF8-7738CFB78B9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9F89F9E-9207-7A3C-21F7-D6BBC53E7E2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89F89F9E-9207-7A3C-21F7-D6BBC53E7E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BD542301-9200-0FA0-2124-AA4C74202288}"/>
              </a:ext>
            </a:extLst>
          </p:cNvPr>
          <p:cNvSpPr/>
          <p:nvPr/>
        </p:nvSpPr>
        <p:spPr bwMode="gray">
          <a:xfrm>
            <a:off x="9835662" y="1437378"/>
            <a:ext cx="1454640" cy="4487171"/>
          </a:xfrm>
          <a:prstGeom prst="rect">
            <a:avLst/>
          </a:prstGeom>
          <a:solidFill>
            <a:schemeClr val="tx2">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 name="Rectangle 20">
            <a:extLst>
              <a:ext uri="{FF2B5EF4-FFF2-40B4-BE49-F238E27FC236}">
                <a16:creationId xmlns:a16="http://schemas.microsoft.com/office/drawing/2014/main" id="{80187A06-2E67-674A-1199-13980F85AFBB}"/>
              </a:ext>
            </a:extLst>
          </p:cNvPr>
          <p:cNvSpPr/>
          <p:nvPr/>
        </p:nvSpPr>
        <p:spPr bwMode="gray">
          <a:xfrm>
            <a:off x="5263662" y="1437378"/>
            <a:ext cx="4478215" cy="4487171"/>
          </a:xfrm>
          <a:prstGeom prst="rect">
            <a:avLst/>
          </a:prstGeom>
          <a:solidFill>
            <a:schemeClr val="bg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 name="Rectangle 19">
            <a:extLst>
              <a:ext uri="{FF2B5EF4-FFF2-40B4-BE49-F238E27FC236}">
                <a16:creationId xmlns:a16="http://schemas.microsoft.com/office/drawing/2014/main" id="{D9134F65-1288-E3D6-A963-730A6B9F3528}"/>
              </a:ext>
            </a:extLst>
          </p:cNvPr>
          <p:cNvSpPr/>
          <p:nvPr/>
        </p:nvSpPr>
        <p:spPr bwMode="gray">
          <a:xfrm>
            <a:off x="3762375" y="1437378"/>
            <a:ext cx="1501287" cy="4487171"/>
          </a:xfrm>
          <a:prstGeom prst="rect">
            <a:avLst/>
          </a:prstGeom>
          <a:solidFill>
            <a:schemeClr val="bg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8" name="Rectangle 17">
            <a:extLst>
              <a:ext uri="{FF2B5EF4-FFF2-40B4-BE49-F238E27FC236}">
                <a16:creationId xmlns:a16="http://schemas.microsoft.com/office/drawing/2014/main" id="{67BE675D-B6B2-11A6-1F74-945AC084F278}"/>
              </a:ext>
            </a:extLst>
          </p:cNvPr>
          <p:cNvSpPr/>
          <p:nvPr/>
        </p:nvSpPr>
        <p:spPr bwMode="gray">
          <a:xfrm>
            <a:off x="2003426" y="1437378"/>
            <a:ext cx="1758949" cy="4487171"/>
          </a:xfrm>
          <a:prstGeom prst="rect">
            <a:avLst/>
          </a:prstGeom>
          <a:solidFill>
            <a:schemeClr val="bg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 name="Rectangle 15">
            <a:extLst>
              <a:ext uri="{FF2B5EF4-FFF2-40B4-BE49-F238E27FC236}">
                <a16:creationId xmlns:a16="http://schemas.microsoft.com/office/drawing/2014/main" id="{873EF746-F9FF-D6A6-F46B-294597B31EA5}"/>
              </a:ext>
            </a:extLst>
          </p:cNvPr>
          <p:cNvSpPr/>
          <p:nvPr/>
        </p:nvSpPr>
        <p:spPr bwMode="gray">
          <a:xfrm>
            <a:off x="2022473" y="5321565"/>
            <a:ext cx="9253728" cy="781828"/>
          </a:xfrm>
          <a:prstGeom prst="rect">
            <a:avLst/>
          </a:prstGeom>
          <a:gradFill flip="none" rotWithShape="1">
            <a:gsLst>
              <a:gs pos="34000">
                <a:schemeClr val="bg1"/>
              </a:gs>
              <a:gs pos="24000">
                <a:schemeClr val="accent6">
                  <a:lumMod val="20000"/>
                  <a:lumOff val="80000"/>
                </a:schemeClr>
              </a:gs>
              <a:gs pos="0">
                <a:schemeClr val="accent6">
                  <a:lumMod val="60000"/>
                  <a:lumOff val="40000"/>
                </a:schemeClr>
              </a:gs>
              <a:gs pos="44000">
                <a:schemeClr val="bg1"/>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 name="Rectangle 10">
            <a:extLst>
              <a:ext uri="{FF2B5EF4-FFF2-40B4-BE49-F238E27FC236}">
                <a16:creationId xmlns:a16="http://schemas.microsoft.com/office/drawing/2014/main" id="{808D882B-EC69-7DED-5FCD-008499245DAF}"/>
              </a:ext>
            </a:extLst>
          </p:cNvPr>
          <p:cNvSpPr/>
          <p:nvPr/>
        </p:nvSpPr>
        <p:spPr bwMode="gray">
          <a:xfrm>
            <a:off x="2022473" y="4960077"/>
            <a:ext cx="9253728" cy="383188"/>
          </a:xfrm>
          <a:prstGeom prst="rect">
            <a:avLst/>
          </a:prstGeom>
          <a:gradFill flip="none" rotWithShape="1">
            <a:gsLst>
              <a:gs pos="37000">
                <a:schemeClr val="accent6">
                  <a:lumMod val="60000"/>
                  <a:lumOff val="40000"/>
                </a:schemeClr>
              </a:gs>
              <a:gs pos="0">
                <a:schemeClr val="accent6">
                  <a:lumMod val="75000"/>
                </a:schemeClr>
              </a:gs>
              <a:gs pos="100000">
                <a:schemeClr val="bg1"/>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8" name="Rectangle 7">
            <a:extLst>
              <a:ext uri="{FF2B5EF4-FFF2-40B4-BE49-F238E27FC236}">
                <a16:creationId xmlns:a16="http://schemas.microsoft.com/office/drawing/2014/main" id="{0CC50DBB-01EA-C361-15CE-A41084B73B11}"/>
              </a:ext>
            </a:extLst>
          </p:cNvPr>
          <p:cNvSpPr/>
          <p:nvPr/>
        </p:nvSpPr>
        <p:spPr bwMode="gray">
          <a:xfrm>
            <a:off x="2022473" y="4259135"/>
            <a:ext cx="9253728" cy="334835"/>
          </a:xfrm>
          <a:prstGeom prst="rect">
            <a:avLst/>
          </a:prstGeom>
          <a:gradFill flip="none" rotWithShape="1">
            <a:gsLst>
              <a:gs pos="28000">
                <a:schemeClr val="accent6">
                  <a:lumMod val="40000"/>
                  <a:lumOff val="60000"/>
                </a:schemeClr>
              </a:gs>
              <a:gs pos="0">
                <a:schemeClr val="accent6">
                  <a:lumMod val="20000"/>
                  <a:lumOff val="80000"/>
                </a:schemeClr>
              </a:gs>
              <a:gs pos="57000">
                <a:schemeClr val="accent6">
                  <a:lumMod val="60000"/>
                  <a:lumOff val="40000"/>
                </a:schemeClr>
              </a:gs>
              <a:gs pos="83000">
                <a:schemeClr val="accent6"/>
              </a:gs>
              <a:gs pos="100000">
                <a:schemeClr val="accent6">
                  <a:lumMod val="75000"/>
                </a:schemeClr>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 name="Rectangle 8">
            <a:extLst>
              <a:ext uri="{FF2B5EF4-FFF2-40B4-BE49-F238E27FC236}">
                <a16:creationId xmlns:a16="http://schemas.microsoft.com/office/drawing/2014/main" id="{396B9808-023F-A887-9B58-DDA761D00E5B}"/>
              </a:ext>
            </a:extLst>
          </p:cNvPr>
          <p:cNvSpPr/>
          <p:nvPr/>
        </p:nvSpPr>
        <p:spPr bwMode="gray">
          <a:xfrm>
            <a:off x="2022473" y="4593970"/>
            <a:ext cx="9253728" cy="366107"/>
          </a:xfrm>
          <a:prstGeom prst="rect">
            <a:avLst/>
          </a:prstGeom>
          <a:gradFill flip="none" rotWithShape="1">
            <a:gsLst>
              <a:gs pos="39000">
                <a:schemeClr val="accent6">
                  <a:lumMod val="75000"/>
                </a:schemeClr>
              </a:gs>
              <a:gs pos="28000">
                <a:schemeClr val="accent6">
                  <a:lumMod val="20000"/>
                  <a:lumOff val="80000"/>
                </a:schemeClr>
              </a:gs>
              <a:gs pos="51000">
                <a:schemeClr val="accent6">
                  <a:lumMod val="75000"/>
                </a:schemeClr>
              </a:gs>
              <a:gs pos="78500">
                <a:schemeClr val="bg1"/>
              </a:gs>
              <a:gs pos="67000">
                <a:schemeClr val="bg1"/>
              </a:gs>
              <a:gs pos="94000">
                <a:schemeClr val="accent6">
                  <a:lumMod val="75000"/>
                </a:schemeClr>
              </a:gs>
              <a:gs pos="19000">
                <a:schemeClr val="accent6">
                  <a:lumMod val="20000"/>
                  <a:lumOff val="80000"/>
                </a:schemeClr>
              </a:gs>
              <a:gs pos="1000">
                <a:schemeClr val="accent6">
                  <a:lumMod val="75000"/>
                </a:schemeClr>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 name="Title 5">
            <a:extLst>
              <a:ext uri="{FF2B5EF4-FFF2-40B4-BE49-F238E27FC236}">
                <a16:creationId xmlns:a16="http://schemas.microsoft.com/office/drawing/2014/main" id="{4E547110-9F93-3D63-F66A-473A8B1203D0}"/>
              </a:ext>
            </a:extLst>
          </p:cNvPr>
          <p:cNvSpPr>
            <a:spLocks noGrp="1"/>
          </p:cNvSpPr>
          <p:nvPr>
            <p:ph type="title"/>
          </p:nvPr>
        </p:nvSpPr>
        <p:spPr/>
        <p:txBody>
          <a:bodyPr vert="horz">
            <a:noAutofit/>
          </a:bodyPr>
          <a:lstStyle/>
          <a:p>
            <a:r>
              <a:rPr lang="en-US"/>
              <a:t>Life extension is most economically favorable option; new smaller reactors are costlier yet safer and less wasteful</a:t>
            </a:r>
          </a:p>
        </p:txBody>
      </p:sp>
      <p:sp>
        <p:nvSpPr>
          <p:cNvPr id="453" name="Rectangle 452">
            <a:extLst>
              <a:ext uri="{FF2B5EF4-FFF2-40B4-BE49-F238E27FC236}">
                <a16:creationId xmlns:a16="http://schemas.microsoft.com/office/drawing/2014/main" id="{1DA2BF71-E531-EC12-D49A-483257CB1257}"/>
              </a:ext>
            </a:extLst>
          </p:cNvPr>
          <p:cNvSpPr/>
          <p:nvPr/>
        </p:nvSpPr>
        <p:spPr bwMode="gray">
          <a:xfrm rot="16200000">
            <a:off x="-84801" y="4429783"/>
            <a:ext cx="1415830" cy="411127"/>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b="1">
                <a:solidFill>
                  <a:schemeClr val="bg1"/>
                </a:solidFill>
              </a:rPr>
              <a:t>Policies and regulation</a:t>
            </a:r>
          </a:p>
        </p:txBody>
      </p:sp>
      <p:sp>
        <p:nvSpPr>
          <p:cNvPr id="454" name="Rectangle 453">
            <a:extLst>
              <a:ext uri="{FF2B5EF4-FFF2-40B4-BE49-F238E27FC236}">
                <a16:creationId xmlns:a16="http://schemas.microsoft.com/office/drawing/2014/main" id="{B80FB096-DA35-22EE-E288-4576B9D5583E}"/>
              </a:ext>
            </a:extLst>
          </p:cNvPr>
          <p:cNvSpPr/>
          <p:nvPr/>
        </p:nvSpPr>
        <p:spPr bwMode="gray">
          <a:xfrm rot="16200000">
            <a:off x="236821" y="5523991"/>
            <a:ext cx="772584" cy="411129"/>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b="1" err="1">
                <a:solidFill>
                  <a:schemeClr val="bg1"/>
                </a:solidFill>
              </a:rPr>
              <a:t>Economicviability</a:t>
            </a:r>
            <a:endParaRPr lang="en-US" sz="1100" b="1">
              <a:solidFill>
                <a:schemeClr val="bg1"/>
              </a:solidFill>
            </a:endParaRPr>
          </a:p>
        </p:txBody>
      </p:sp>
      <p:sp>
        <p:nvSpPr>
          <p:cNvPr id="702" name="Rectangle 701">
            <a:extLst>
              <a:ext uri="{FF2B5EF4-FFF2-40B4-BE49-F238E27FC236}">
                <a16:creationId xmlns:a16="http://schemas.microsoft.com/office/drawing/2014/main" id="{3EA603C6-2181-072E-7AE1-B0FC80F92F9E}"/>
              </a:ext>
            </a:extLst>
          </p:cNvPr>
          <p:cNvSpPr/>
          <p:nvPr/>
        </p:nvSpPr>
        <p:spPr bwMode="gray">
          <a:xfrm rot="16200000">
            <a:off x="-419904" y="2675720"/>
            <a:ext cx="2086035" cy="411128"/>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b="1">
                <a:solidFill>
                  <a:schemeClr val="bg1"/>
                </a:solidFill>
              </a:rPr>
              <a:t>Technology</a:t>
            </a:r>
          </a:p>
        </p:txBody>
      </p:sp>
      <p:sp>
        <p:nvSpPr>
          <p:cNvPr id="24" name="Rectangle 23">
            <a:extLst>
              <a:ext uri="{FF2B5EF4-FFF2-40B4-BE49-F238E27FC236}">
                <a16:creationId xmlns:a16="http://schemas.microsoft.com/office/drawing/2014/main" id="{905672CD-0FA2-577B-F3FD-4104DA880F4D}"/>
              </a:ext>
            </a:extLst>
          </p:cNvPr>
          <p:cNvSpPr/>
          <p:nvPr/>
        </p:nvSpPr>
        <p:spPr bwMode="gray">
          <a:xfrm rot="5400000">
            <a:off x="11278726" y="4906627"/>
            <a:ext cx="942019" cy="224129"/>
          </a:xfrm>
          <a:prstGeom prst="rect">
            <a:avLst/>
          </a:prstGeom>
          <a:gradFill flip="none" rotWithShape="1">
            <a:gsLst>
              <a:gs pos="40000">
                <a:schemeClr val="accent6">
                  <a:lumMod val="40000"/>
                  <a:lumOff val="60000"/>
                </a:schemeClr>
              </a:gs>
              <a:gs pos="19000">
                <a:schemeClr val="bg1"/>
              </a:gs>
              <a:gs pos="77000">
                <a:schemeClr val="accent6"/>
              </a:gs>
              <a:gs pos="100000">
                <a:schemeClr val="accent6">
                  <a:lumMod val="75000"/>
                </a:schemeClr>
              </a:gs>
            </a:gsLst>
            <a:lin ang="0" scaled="0"/>
            <a:tileRect/>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5" name="TextBox 24">
            <a:extLst>
              <a:ext uri="{FF2B5EF4-FFF2-40B4-BE49-F238E27FC236}">
                <a16:creationId xmlns:a16="http://schemas.microsoft.com/office/drawing/2014/main" id="{DB31EF42-3A84-37ED-4AFE-6B413514D99B}"/>
              </a:ext>
            </a:extLst>
          </p:cNvPr>
          <p:cNvSpPr txBox="1"/>
          <p:nvPr/>
        </p:nvSpPr>
        <p:spPr bwMode="gray">
          <a:xfrm>
            <a:off x="11382968" y="5558051"/>
            <a:ext cx="733535" cy="323165"/>
          </a:xfrm>
          <a:prstGeom prst="rect">
            <a:avLst/>
          </a:prstGeom>
          <a:noFill/>
        </p:spPr>
        <p:txBody>
          <a:bodyPr wrap="square" lIns="0" tIns="0" rIns="0" bIns="0" rtlCol="0">
            <a:spAutoFit/>
          </a:bodyPr>
          <a:lstStyle/>
          <a:p>
            <a:pPr marL="0" indent="0" algn="ctr">
              <a:spcBef>
                <a:spcPts val="600"/>
              </a:spcBef>
              <a:spcAft>
                <a:spcPts val="600"/>
              </a:spcAft>
              <a:buNone/>
            </a:pPr>
            <a:r>
              <a:rPr lang="en-US" sz="1050"/>
              <a:t>More favorable</a:t>
            </a:r>
          </a:p>
        </p:txBody>
      </p:sp>
      <p:sp>
        <p:nvSpPr>
          <p:cNvPr id="26" name="TextBox 25">
            <a:extLst>
              <a:ext uri="{FF2B5EF4-FFF2-40B4-BE49-F238E27FC236}">
                <a16:creationId xmlns:a16="http://schemas.microsoft.com/office/drawing/2014/main" id="{5D5BB3F3-3038-B9F0-5F97-238534B6F0B1}"/>
              </a:ext>
            </a:extLst>
          </p:cNvPr>
          <p:cNvSpPr txBox="1"/>
          <p:nvPr/>
        </p:nvSpPr>
        <p:spPr bwMode="gray">
          <a:xfrm>
            <a:off x="11357249" y="4156167"/>
            <a:ext cx="784973" cy="323165"/>
          </a:xfrm>
          <a:prstGeom prst="rect">
            <a:avLst/>
          </a:prstGeom>
          <a:noFill/>
        </p:spPr>
        <p:txBody>
          <a:bodyPr wrap="square" lIns="0" tIns="0" rIns="0" bIns="0" rtlCol="0">
            <a:spAutoFit/>
          </a:bodyPr>
          <a:lstStyle/>
          <a:p>
            <a:pPr marL="0" indent="0" algn="ctr">
              <a:spcBef>
                <a:spcPts val="600"/>
              </a:spcBef>
              <a:spcAft>
                <a:spcPts val="600"/>
              </a:spcAft>
              <a:buNone/>
            </a:pPr>
            <a:r>
              <a:rPr lang="en-US" sz="1050"/>
              <a:t>Less favorable</a:t>
            </a:r>
          </a:p>
        </p:txBody>
      </p:sp>
      <p:sp>
        <p:nvSpPr>
          <p:cNvPr id="29" name="btfpNotesBox368131">
            <a:hlinkClick r:id="rId8"/>
            <a:extLst>
              <a:ext uri="{FF2B5EF4-FFF2-40B4-BE49-F238E27FC236}">
                <a16:creationId xmlns:a16="http://schemas.microsoft.com/office/drawing/2014/main" id="{8CFE6171-CAF3-356E-52A4-726443697809}"/>
              </a:ext>
            </a:extLst>
          </p:cNvPr>
          <p:cNvSpPr txBox="1"/>
          <p:nvPr>
            <p:custDataLst>
              <p:tags r:id="rId3"/>
            </p:custDataLst>
          </p:nvPr>
        </p:nvSpPr>
        <p:spPr bwMode="gray">
          <a:xfrm>
            <a:off x="461621" y="6159639"/>
            <a:ext cx="8974988" cy="615553"/>
          </a:xfrm>
          <a:prstGeom prst="rect">
            <a:avLst/>
          </a:prstGeom>
          <a:noFill/>
        </p:spPr>
        <p:txBody>
          <a:bodyPr vert="horz" wrap="square" lIns="0" tIns="0" rIns="0" bIns="0" rtlCol="0" anchor="b">
            <a:spAutoFit/>
          </a:bodyPr>
          <a:lstStyle/>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Based on a 20-year extension and 7% real discount rate. (**) </a:t>
            </a:r>
            <a:r>
              <a:rPr lang="en-US" sz="800" dirty="0">
                <a:solidFill>
                  <a:srgbClr val="000000"/>
                </a:solidFill>
                <a:latin typeface="Arial"/>
              </a:rPr>
              <a:t>Extending</a:t>
            </a:r>
            <a:r>
              <a:rPr kumimoji="0" lang="en-US" sz="800" b="0" i="0" u="none" strike="noStrike" kern="1200" cap="none" spc="0" normalizeH="0" baseline="0" noProof="0" dirty="0">
                <a:ln>
                  <a:noFill/>
                </a:ln>
                <a:solidFill>
                  <a:srgbClr val="000000"/>
                </a:solidFill>
                <a:effectLst/>
                <a:uLnTx/>
                <a:uFillTx/>
                <a:latin typeface="Arial"/>
                <a:ea typeface="+mn-ea"/>
                <a:cs typeface="+mn-cs"/>
              </a:rPr>
              <a:t> life and </a:t>
            </a:r>
            <a:r>
              <a:rPr lang="en-US" sz="800" dirty="0">
                <a:solidFill>
                  <a:srgbClr val="000000"/>
                </a:solidFill>
                <a:latin typeface="Arial"/>
              </a:rPr>
              <a:t>b</a:t>
            </a:r>
            <a:r>
              <a:rPr kumimoji="0" lang="en-US" sz="800" b="0" i="0" u="none" strike="noStrike" kern="1200" cap="none" spc="0" normalizeH="0" baseline="0" noProof="0" dirty="0" err="1">
                <a:ln>
                  <a:noFill/>
                </a:ln>
                <a:solidFill>
                  <a:srgbClr val="000000"/>
                </a:solidFill>
                <a:effectLst/>
                <a:uLnTx/>
                <a:uFillTx/>
                <a:latin typeface="Arial"/>
                <a:ea typeface="+mn-ea"/>
                <a:cs typeface="+mn-cs"/>
              </a:rPr>
              <a:t>uild</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of large</a:t>
            </a:r>
            <a:r>
              <a:rPr kumimoji="0" lang="en-US" sz="800" b="0" i="0" u="none" strike="noStrike" kern="1200" cap="none" spc="0" normalizeH="0" baseline="0" noProof="0" dirty="0">
                <a:ln>
                  <a:noFill/>
                </a:ln>
                <a:solidFill>
                  <a:srgbClr val="000000"/>
                </a:solidFill>
                <a:effectLst/>
                <a:uLnTx/>
                <a:uFillTx/>
                <a:latin typeface="Arial"/>
                <a:ea typeface="+mn-ea"/>
                <a:cs typeface="+mn-cs"/>
              </a:rPr>
              <a:t> reactors for 2020</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smaller reactors from 2019, fusion from 2023.</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Nuclear Power and Secure Energy Transitions</a:t>
            </a:r>
            <a:r>
              <a:rPr kumimoji="0" lang="en-US" sz="800" b="0" i="0" u="none" strike="noStrike" kern="1200" cap="none" spc="0" normalizeH="0" baseline="0" noProof="0" dirty="0">
                <a:ln>
                  <a:noFill/>
                </a:ln>
                <a:solidFill>
                  <a:srgbClr val="000000"/>
                </a:solidFill>
                <a:effectLst/>
                <a:uLnTx/>
                <a:uFillTx/>
                <a:latin typeface="Arial"/>
                <a:ea typeface="+mn-ea"/>
                <a:cs typeface="+mn-cs"/>
              </a:rPr>
              <a:t> (2022); IA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Climate Change and Nuclear Power</a:t>
            </a:r>
            <a:r>
              <a:rPr kumimoji="0" lang="en-US" sz="800" b="0" i="0" u="none" strike="noStrike" kern="1200" cap="none" spc="0" normalizeH="0" baseline="0" noProof="0" dirty="0">
                <a:ln>
                  <a:noFill/>
                </a:ln>
                <a:solidFill>
                  <a:srgbClr val="000000"/>
                </a:solidFill>
                <a:effectLst/>
                <a:uLnTx/>
                <a:uFillTx/>
                <a:latin typeface="Arial"/>
                <a:ea typeface="+mn-ea"/>
                <a:cs typeface="+mn-cs"/>
              </a:rPr>
              <a:t> (2020, 2024); Fusion Industry Associat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The global fusion industry</a:t>
            </a:r>
            <a:r>
              <a:rPr kumimoji="0" lang="en-US" sz="800" b="0" i="0" u="none" strike="noStrike" kern="1200" cap="none" spc="0" normalizeH="0" baseline="0" noProof="0" dirty="0">
                <a:ln>
                  <a:noFill/>
                </a:ln>
                <a:solidFill>
                  <a:srgbClr val="000000"/>
                </a:solidFill>
                <a:effectLst/>
                <a:uLnTx/>
                <a:uFillTx/>
                <a:latin typeface="Arial"/>
                <a:ea typeface="+mn-ea"/>
                <a:cs typeface="+mn-cs"/>
              </a:rPr>
              <a:t> (2024); Lazar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LCOE</a:t>
            </a:r>
            <a:r>
              <a:rPr kumimoji="0" lang="en-US" sz="800" b="0" i="0" u="none" strike="noStrike" kern="1200" cap="none" spc="0" normalizeH="0" baseline="0" noProof="0" dirty="0">
                <a:ln>
                  <a:noFill/>
                </a:ln>
                <a:solidFill>
                  <a:srgbClr val="000000"/>
                </a:solidFill>
                <a:effectLst/>
                <a:uLnTx/>
                <a:uFillTx/>
                <a:latin typeface="Arial"/>
                <a:ea typeface="+mn-ea"/>
                <a:cs typeface="+mn-cs"/>
              </a:rPr>
              <a:t> (2025); NUCNE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Nuclear Fusion</a:t>
            </a:r>
            <a:r>
              <a:rPr kumimoji="0" lang="en-US" sz="800" b="0" i="0" u="none" strike="noStrike" kern="1200" cap="none" spc="0" normalizeH="0" baseline="0" noProof="0" dirty="0">
                <a:ln>
                  <a:noFill/>
                </a:ln>
                <a:solidFill>
                  <a:srgbClr val="000000"/>
                </a:solidFill>
                <a:effectLst/>
                <a:uLnTx/>
                <a:uFillTx/>
                <a:latin typeface="Arial"/>
                <a:ea typeface="+mn-ea"/>
                <a:cs typeface="+mn-cs"/>
              </a:rPr>
              <a:t> (2021); I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Literature Review of Advanced Reactor Cost Estimates </a:t>
            </a:r>
            <a:r>
              <a:rPr kumimoji="0" lang="en-US" sz="800" b="0" i="0" u="none" strike="noStrike" kern="1200" cap="none" spc="0" normalizeH="0" baseline="0" noProof="0" dirty="0">
                <a:ln>
                  <a:noFill/>
                </a:ln>
                <a:solidFill>
                  <a:srgbClr val="000000"/>
                </a:solidFill>
                <a:effectLst/>
                <a:uLnTx/>
                <a:uFillTx/>
                <a:latin typeface="Arial"/>
                <a:ea typeface="+mn-ea"/>
                <a:cs typeface="+mn-cs"/>
              </a:rPr>
              <a:t>(2020);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Projected costs of generating electricity</a:t>
            </a:r>
            <a:r>
              <a:rPr kumimoji="0" lang="en-US" sz="800" b="0" i="0" u="none" strike="noStrike" kern="1200" cap="none" spc="0" normalizeH="0" baseline="0" noProof="0" dirty="0">
                <a:ln>
                  <a:noFill/>
                </a:ln>
                <a:solidFill>
                  <a:srgbClr val="000000"/>
                </a:solidFill>
                <a:effectLst/>
                <a:uLnTx/>
                <a:uFillTx/>
                <a:latin typeface="Arial"/>
                <a:ea typeface="+mn-ea"/>
                <a:cs typeface="+mn-cs"/>
              </a:rPr>
              <a:t> (2020);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The path to a new era for nuclear energy </a:t>
            </a:r>
            <a:r>
              <a:rPr kumimoji="0" lang="en-US" sz="800" b="0" i="0" u="none" strike="noStrike" kern="1200" cap="none" spc="0" normalizeH="0" baseline="0" noProof="0" dirty="0">
                <a:ln>
                  <a:noFill/>
                </a:ln>
                <a:solidFill>
                  <a:srgbClr val="000000"/>
                </a:solidFill>
                <a:effectLst/>
                <a:uLnTx/>
                <a:uFillTx/>
                <a:latin typeface="Arial"/>
                <a:ea typeface="+mn-ea"/>
                <a:cs typeface="+mn-cs"/>
              </a:rPr>
              <a:t>(2025); </a:t>
            </a:r>
            <a:r>
              <a:rPr kumimoji="0" lang="en-US" sz="800" b="0" i="0" u="none" strike="noStrike" kern="1200" cap="none" spc="0" normalizeH="0" baseline="0" noProof="0" dirty="0" err="1">
                <a:ln>
                  <a:noFill/>
                </a:ln>
                <a:solidFill>
                  <a:srgbClr val="000000"/>
                </a:solidFill>
                <a:effectLst/>
                <a:uLnTx/>
                <a:uFillTx/>
                <a:latin typeface="Arial"/>
                <a:ea typeface="+mn-ea"/>
                <a:cs typeface="+mn-cs"/>
              </a:rPr>
              <a:t>Smoliski</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et al., </a:t>
            </a:r>
            <a:r>
              <a:rPr kumimoji="0" lang="en-US" sz="800" b="0" i="0" u="none" strike="noStrike" kern="1200" cap="none" spc="0" normalizeH="0" baseline="0" noProof="0" dirty="0">
                <a:ln>
                  <a:noFill/>
                </a:ln>
                <a:solidFill>
                  <a:srgbClr val="000000"/>
                </a:solidFill>
                <a:effectLst/>
                <a:uLnTx/>
                <a:uFillTx/>
                <a:latin typeface="Arial"/>
                <a:hlinkClick r:id="rId17"/>
              </a:rPr>
              <a:t>From conception to technological implementation – SMR’s technology </a:t>
            </a:r>
            <a:r>
              <a:rPr lang="en-US" sz="800" dirty="0">
                <a:solidFill>
                  <a:srgbClr val="000000"/>
                </a:solidFill>
                <a:latin typeface="Arial"/>
                <a:hlinkClick r:id="rId17"/>
              </a:rPr>
              <a:t>readiness</a:t>
            </a:r>
            <a:r>
              <a:rPr kumimoji="0" lang="en-US" sz="800" b="0" i="0" u="none" strike="noStrike" kern="1200" cap="none" spc="0" normalizeH="0" baseline="0" noProof="0" dirty="0">
                <a:ln>
                  <a:noFill/>
                </a:ln>
                <a:solidFill>
                  <a:srgbClr val="000000"/>
                </a:solidFill>
                <a:effectLst/>
                <a:uLnTx/>
                <a:uFillTx/>
                <a:latin typeface="Arial"/>
                <a:hlinkClick r:id="rId17"/>
              </a:rPr>
              <a:t> levels</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Brenda Rain,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a:t>
            </a:r>
            <a:r>
              <a:rPr lang="en-US" sz="800" dirty="0">
                <a:solidFill>
                  <a:srgbClr val="000000"/>
                </a:solidFill>
                <a:latin typeface="Arial"/>
              </a:rPr>
              <a:t>23 September </a:t>
            </a:r>
            <a:r>
              <a:rPr kumimoji="0" lang="en-US" sz="800" b="0" i="0" u="none" strike="noStrike" kern="1200" cap="none" spc="0" normalizeH="0" baseline="0" noProof="0" dirty="0">
                <a:ln>
                  <a:noFill/>
                </a:ln>
                <a:solidFill>
                  <a:srgbClr val="000000"/>
                </a:solidFill>
                <a:effectLst/>
                <a:uLnTx/>
                <a:uFillTx/>
                <a:latin typeface="Arial"/>
                <a:ea typeface="+mn-ea"/>
                <a:cs typeface="+mn-cs"/>
              </a:rPr>
              <a:t>2025).</a:t>
            </a:r>
          </a:p>
        </p:txBody>
      </p:sp>
      <p:sp>
        <p:nvSpPr>
          <p:cNvPr id="46" name="Rectangle 45">
            <a:extLst>
              <a:ext uri="{FF2B5EF4-FFF2-40B4-BE49-F238E27FC236}">
                <a16:creationId xmlns:a16="http://schemas.microsoft.com/office/drawing/2014/main" id="{0CC50DBB-01EA-C361-15CE-A41084B73B11}"/>
              </a:ext>
            </a:extLst>
          </p:cNvPr>
          <p:cNvSpPr/>
          <p:nvPr/>
        </p:nvSpPr>
        <p:spPr bwMode="gray">
          <a:xfrm>
            <a:off x="2022473" y="3928800"/>
            <a:ext cx="9253728" cy="334835"/>
          </a:xfrm>
          <a:prstGeom prst="rect">
            <a:avLst/>
          </a:prstGeom>
          <a:gradFill flip="none" rotWithShape="1">
            <a:gsLst>
              <a:gs pos="28000">
                <a:schemeClr val="accent6">
                  <a:lumMod val="40000"/>
                  <a:lumOff val="60000"/>
                </a:schemeClr>
              </a:gs>
              <a:gs pos="0">
                <a:schemeClr val="accent6">
                  <a:lumMod val="20000"/>
                  <a:lumOff val="80000"/>
                </a:schemeClr>
              </a:gs>
              <a:gs pos="57000">
                <a:schemeClr val="accent6">
                  <a:lumMod val="60000"/>
                  <a:lumOff val="40000"/>
                </a:schemeClr>
              </a:gs>
              <a:gs pos="83000">
                <a:schemeClr val="accent6"/>
              </a:gs>
              <a:gs pos="100000">
                <a:schemeClr val="accent6">
                  <a:lumMod val="75000"/>
                </a:schemeClr>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aphicFrame>
        <p:nvGraphicFramePr>
          <p:cNvPr id="4" name="Table 3">
            <a:extLst>
              <a:ext uri="{FF2B5EF4-FFF2-40B4-BE49-F238E27FC236}">
                <a16:creationId xmlns:a16="http://schemas.microsoft.com/office/drawing/2014/main" id="{2BE5234F-7BB7-A54F-9C06-F73DD729E8F9}"/>
              </a:ext>
            </a:extLst>
          </p:cNvPr>
          <p:cNvGraphicFramePr>
            <a:graphicFrameLocks noGrp="1"/>
          </p:cNvGraphicFramePr>
          <p:nvPr>
            <p:extLst>
              <p:ext uri="{D42A27DB-BD31-4B8C-83A1-F6EECF244321}">
                <p14:modId xmlns:p14="http://schemas.microsoft.com/office/powerpoint/2010/main" val="2920812877"/>
              </p:ext>
            </p:extLst>
          </p:nvPr>
        </p:nvGraphicFramePr>
        <p:xfrm>
          <a:off x="828678" y="1394382"/>
          <a:ext cx="10461624" cy="4719902"/>
        </p:xfrm>
        <a:graphic>
          <a:graphicData uri="http://schemas.openxmlformats.org/drawingml/2006/table">
            <a:tbl>
              <a:tblPr firstRow="1" bandRow="1">
                <a:tableStyleId>{5940675A-B579-460E-94D1-54222C63F5DA}</a:tableStyleId>
              </a:tblPr>
              <a:tblGrid>
                <a:gridCol w="1176738">
                  <a:extLst>
                    <a:ext uri="{9D8B030D-6E8A-4147-A177-3AD203B41FA5}">
                      <a16:colId xmlns:a16="http://schemas.microsoft.com/office/drawing/2014/main" val="218360474"/>
                    </a:ext>
                  </a:extLst>
                </a:gridCol>
                <a:gridCol w="1751830">
                  <a:extLst>
                    <a:ext uri="{9D8B030D-6E8A-4147-A177-3AD203B41FA5}">
                      <a16:colId xmlns:a16="http://schemas.microsoft.com/office/drawing/2014/main" val="1290963886"/>
                    </a:ext>
                  </a:extLst>
                </a:gridCol>
                <a:gridCol w="1506416">
                  <a:extLst>
                    <a:ext uri="{9D8B030D-6E8A-4147-A177-3AD203B41FA5}">
                      <a16:colId xmlns:a16="http://schemas.microsoft.com/office/drawing/2014/main" val="3495052323"/>
                    </a:ext>
                  </a:extLst>
                </a:gridCol>
                <a:gridCol w="2349009">
                  <a:extLst>
                    <a:ext uri="{9D8B030D-6E8A-4147-A177-3AD203B41FA5}">
                      <a16:colId xmlns:a16="http://schemas.microsoft.com/office/drawing/2014/main" val="542061086"/>
                    </a:ext>
                  </a:extLst>
                </a:gridCol>
                <a:gridCol w="2215534">
                  <a:extLst>
                    <a:ext uri="{9D8B030D-6E8A-4147-A177-3AD203B41FA5}">
                      <a16:colId xmlns:a16="http://schemas.microsoft.com/office/drawing/2014/main" val="3179223344"/>
                    </a:ext>
                  </a:extLst>
                </a:gridCol>
                <a:gridCol w="1462097">
                  <a:extLst>
                    <a:ext uri="{9D8B030D-6E8A-4147-A177-3AD203B41FA5}">
                      <a16:colId xmlns:a16="http://schemas.microsoft.com/office/drawing/2014/main" val="3457830857"/>
                    </a:ext>
                  </a:extLst>
                </a:gridCol>
              </a:tblGrid>
              <a:tr h="445339">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00" b="1" kern="1200">
                          <a:solidFill>
                            <a:schemeClr val="tx1"/>
                          </a:solidFill>
                          <a:latin typeface="+mn-lt"/>
                          <a:ea typeface="+mn-ea"/>
                          <a:cs typeface="+mn-cs"/>
                        </a:rPr>
                        <a:t>Pathwa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00" b="1">
                          <a:solidFill>
                            <a:schemeClr val="tx1"/>
                          </a:solidFill>
                        </a:rPr>
                        <a:t> Life</a:t>
                      </a:r>
                      <a:r>
                        <a:rPr lang="en-US" sz="1200" b="1" baseline="0">
                          <a:solidFill>
                            <a:schemeClr val="tx1"/>
                          </a:solidFill>
                        </a:rPr>
                        <a:t> extension</a:t>
                      </a:r>
                      <a:endParaRPr lang="en-US" sz="1200" b="1">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00" b="1">
                          <a:solidFill>
                            <a:schemeClr val="tx1"/>
                          </a:solidFill>
                        </a:rPr>
                        <a:t>New large reactors</a:t>
                      </a:r>
                    </a:p>
                  </a:txBody>
                  <a:tcPr marL="45720" marR="45720" anchor="ctr">
                    <a:lnL w="12700" cap="flat" cmpd="sng" algn="ctr">
                      <a:no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ctr">
                        <a:buNone/>
                      </a:pPr>
                      <a:r>
                        <a:rPr lang="en-US" sz="1200" b="1">
                          <a:solidFill>
                            <a:schemeClr val="tx1"/>
                          </a:solidFill>
                        </a:rPr>
                        <a:t>New smaller reactors</a:t>
                      </a:r>
                    </a:p>
                  </a:txBody>
                  <a:tcPr marL="45720" marR="45720" anchor="ctr">
                    <a:lnL w="12700" cmpd="sng">
                      <a:noFill/>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a:buNone/>
                      </a:pPr>
                      <a:endParaRPr lang="en-US" sz="1200" b="1"/>
                    </a:p>
                  </a:txBody>
                  <a:tcPr marL="45720" marR="45720" anchor="ctr">
                    <a:lnL w="12700" cmpd="sng">
                      <a:noFill/>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None/>
                      </a:pPr>
                      <a:r>
                        <a:rPr lang="en-US" sz="1200" b="1">
                          <a:solidFill>
                            <a:schemeClr val="tx1"/>
                          </a:solidFill>
                        </a:rPr>
                        <a:t>Fusion</a:t>
                      </a:r>
                    </a:p>
                  </a:txBody>
                  <a:tcPr marL="45720" marR="4572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4392410"/>
                  </a:ext>
                </a:extLst>
              </a:tr>
              <a:tr h="356271">
                <a:tc>
                  <a:txBody>
                    <a:bodyPr/>
                    <a:lstStyle/>
                    <a:p>
                      <a:pPr marL="0" indent="0" algn="l">
                        <a:buNone/>
                      </a:pPr>
                      <a:r>
                        <a:rPr lang="en-US" sz="900" b="1"/>
                        <a:t>Type</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b="1"/>
                        <a:t>Water reactor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b="1"/>
                        <a:t>Mostly water</a:t>
                      </a:r>
                      <a:r>
                        <a:rPr lang="en-US" sz="900" b="1" baseline="0"/>
                        <a:t> reactors</a:t>
                      </a:r>
                      <a:endParaRPr lang="en-US" sz="900" b="1"/>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None/>
                      </a:pPr>
                      <a:r>
                        <a:rPr lang="en-US" sz="900" b="1"/>
                        <a:t>Water reactor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None/>
                      </a:pPr>
                      <a:r>
                        <a:rPr lang="en-US" sz="900" b="1"/>
                        <a:t>Gas, liquid metal, molten salt</a:t>
                      </a:r>
                      <a:r>
                        <a:rPr lang="en-US" sz="900" b="1" baseline="0"/>
                        <a:t> reactors</a:t>
                      </a:r>
                      <a:endParaRPr lang="en-US" sz="900" b="1"/>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b="1"/>
                        <a:t>MCF or ICF</a:t>
                      </a:r>
                    </a:p>
                  </a:txBody>
                  <a:tcPr marL="45720" marR="457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12805242"/>
                  </a:ext>
                </a:extLst>
              </a:tr>
              <a:tr h="222669">
                <a:tc>
                  <a:txBody>
                    <a:bodyPr/>
                    <a:lstStyle/>
                    <a:p>
                      <a:pPr marL="0" indent="0" algn="l">
                        <a:buNone/>
                      </a:pPr>
                      <a:r>
                        <a:rPr lang="en-US" sz="900" b="1"/>
                        <a:t>TRL</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9</a:t>
                      </a:r>
                    </a:p>
                  </a:txBody>
                  <a:tcPr marL="45720" marR="4572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Varies</a:t>
                      </a:r>
                    </a:p>
                  </a:txBody>
                  <a:tcPr marL="45720" marR="4572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3-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b="0"/>
                        <a:t>Most 2-3</a:t>
                      </a:r>
                      <a:endParaRPr lang="en-US" sz="90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None/>
                      </a:pPr>
                      <a:r>
                        <a:rPr lang="en-US" sz="900" b="0"/>
                        <a:t>3-4 </a:t>
                      </a:r>
                    </a:p>
                  </a:txBody>
                  <a:tcPr marL="45720" marR="457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23662637"/>
                  </a:ext>
                </a:extLst>
              </a:tr>
              <a:tr h="222669">
                <a:tc>
                  <a:txBody>
                    <a:bodyPr/>
                    <a:lstStyle/>
                    <a:p>
                      <a:pPr marL="0" indent="0" algn="l">
                        <a:buNone/>
                      </a:pPr>
                      <a:r>
                        <a:rPr lang="en-US" sz="900" b="1"/>
                        <a:t>Size </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gt; 1,000 MW</a:t>
                      </a:r>
                    </a:p>
                  </a:txBody>
                  <a:tcPr marL="45720" marR="4572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gt; 1,000 MW</a:t>
                      </a:r>
                    </a:p>
                  </a:txBody>
                  <a:tcPr marL="45720" marR="4572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XMR (&lt;50 MW) | Small (&lt; ~400 MW)</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XMR (&lt;50 MW) | Small (&lt; ~400 MW)</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None/>
                      </a:pPr>
                      <a:r>
                        <a:rPr lang="en-US" sz="900" b="0"/>
                        <a:t>&lt; 500 MW</a:t>
                      </a:r>
                    </a:p>
                  </a:txBody>
                  <a:tcPr marL="45720" marR="457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0085938"/>
                  </a:ext>
                </a:extLst>
              </a:tr>
              <a:tr h="356271">
                <a:tc>
                  <a:txBody>
                    <a:bodyPr/>
                    <a:lstStyle/>
                    <a:p>
                      <a:pPr marL="0" indent="0" algn="l">
                        <a:buNone/>
                      </a:pPr>
                      <a:r>
                        <a:rPr lang="en-US" sz="900" b="1"/>
                        <a:t>Construction or deployment time</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Immediate </a:t>
                      </a:r>
                    </a:p>
                  </a:txBody>
                  <a:tcPr marL="45720" marR="4572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10-12 years</a:t>
                      </a:r>
                    </a:p>
                  </a:txBody>
                  <a:tcPr marL="45720" marR="4572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3-5 year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b="0"/>
                        <a:t>3-5 years</a:t>
                      </a:r>
                      <a:endParaRPr lang="en-US" sz="90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None/>
                      </a:pPr>
                      <a:r>
                        <a:rPr lang="en-US" sz="900" b="0"/>
                        <a:t>Earliest by mid-2030s</a:t>
                      </a:r>
                    </a:p>
                  </a:txBody>
                  <a:tcPr marL="45720" marR="457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5207551"/>
                  </a:ext>
                </a:extLst>
              </a:tr>
              <a:tr h="356271">
                <a:tc>
                  <a:txBody>
                    <a:bodyPr/>
                    <a:lstStyle/>
                    <a:p>
                      <a:pPr marL="0" indent="0" algn="l">
                        <a:buNone/>
                      </a:pPr>
                      <a:r>
                        <a:rPr lang="en-US" sz="900" b="1"/>
                        <a:t>Potential application</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Grid services</a:t>
                      </a:r>
                    </a:p>
                  </a:txBody>
                  <a:tcPr marL="45720" marR="4572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Grid services</a:t>
                      </a:r>
                    </a:p>
                  </a:txBody>
                  <a:tcPr marL="45720" marR="4572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b="0"/>
                        <a:t>Grid</a:t>
                      </a:r>
                      <a:r>
                        <a:rPr lang="en-US" sz="900" b="0" baseline="0"/>
                        <a:t> services,</a:t>
                      </a:r>
                      <a:r>
                        <a:rPr lang="en-US" sz="900" b="0"/>
                        <a:t> district heating, mining,</a:t>
                      </a:r>
                      <a:r>
                        <a:rPr lang="en-US" sz="900" b="0" baseline="0"/>
                        <a:t> </a:t>
                      </a:r>
                      <a:r>
                        <a:rPr lang="en-US" sz="900" b="0"/>
                        <a:t>desalination, data center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b="0"/>
                        <a:t>Grid</a:t>
                      </a:r>
                      <a:r>
                        <a:rPr lang="en-US" sz="900" b="0" baseline="0"/>
                        <a:t> services,</a:t>
                      </a:r>
                      <a:r>
                        <a:rPr lang="en-US" sz="900" b="0"/>
                        <a:t> hydrogen, hard-to-abate industries, data center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None/>
                      </a:pPr>
                      <a:r>
                        <a:rPr lang="en-US" sz="900" b="0"/>
                        <a:t>Grid services </a:t>
                      </a:r>
                    </a:p>
                  </a:txBody>
                  <a:tcPr marL="45720" marR="457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9586556"/>
                  </a:ext>
                </a:extLst>
              </a:tr>
              <a:tr h="544753">
                <a:tc>
                  <a:txBody>
                    <a:bodyPr/>
                    <a:lstStyle/>
                    <a:p>
                      <a:pPr marL="0" indent="0" algn="l">
                        <a:buNone/>
                      </a:pPr>
                      <a:r>
                        <a:rPr lang="en-US" sz="900" b="1"/>
                        <a:t>Financing</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Mostly public funding, some commercial debt</a:t>
                      </a:r>
                    </a:p>
                  </a:txBody>
                  <a:tcPr marL="45720" marR="4572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t>Mostly public funding</a:t>
                      </a:r>
                    </a:p>
                  </a:txBody>
                  <a:tcPr marL="45720" marR="4572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b="0"/>
                        <a:t>Mostly public-private partnership, but</a:t>
                      </a:r>
                      <a:br>
                        <a:rPr lang="en-US" sz="900" b="0"/>
                      </a:br>
                      <a:r>
                        <a:rPr lang="en-US" sz="900" b="0"/>
                        <a:t>MAG-7 and private </a:t>
                      </a:r>
                      <a:r>
                        <a:rPr lang="en-US" sz="900" b="0" err="1"/>
                        <a:t>offtakers</a:t>
                      </a:r>
                      <a:r>
                        <a:rPr lang="en-US" sz="900" b="0"/>
                        <a:t> increasing</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b="0"/>
                        <a:t>Mostly public-private partnership, but MAG-7 and private </a:t>
                      </a:r>
                      <a:r>
                        <a:rPr lang="en-US" sz="900" b="0" err="1"/>
                        <a:t>offtakers</a:t>
                      </a:r>
                      <a:r>
                        <a:rPr lang="en-US" sz="900" b="0"/>
                        <a:t> increasing</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None/>
                      </a:pPr>
                      <a:r>
                        <a:rPr lang="en-US" sz="900" b="0"/>
                        <a:t>Public funding and VC, MAG-7 and private </a:t>
                      </a:r>
                      <a:r>
                        <a:rPr lang="en-US" sz="900" b="0" err="1"/>
                        <a:t>offtakers</a:t>
                      </a:r>
                      <a:endParaRPr lang="en-US" sz="900" b="0"/>
                    </a:p>
                  </a:txBody>
                  <a:tcPr marL="45720" marR="457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33592388"/>
                  </a:ext>
                </a:extLst>
              </a:tr>
              <a:tr h="356271">
                <a:tc>
                  <a:txBody>
                    <a:bodyPr/>
                    <a:lstStyle/>
                    <a:p>
                      <a:pPr marL="0" indent="0" algn="l">
                        <a:buNone/>
                      </a:pPr>
                      <a:r>
                        <a:rPr lang="en-US" sz="900" b="1"/>
                        <a:t>Waste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Conventional</a:t>
                      </a: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Varie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Less waste</a:t>
                      </a:r>
                    </a:p>
                  </a:txBody>
                  <a:tcPr marL="45720" marR="45720"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b="0"/>
                        <a:t>Less waste, reprocessing, extended use</a:t>
                      </a:r>
                      <a:endParaRPr lang="en-US" sz="900"/>
                    </a:p>
                  </a:txBody>
                  <a:tcPr marL="45720" marR="4572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indent="0" algn="l">
                        <a:buNone/>
                      </a:pPr>
                      <a:r>
                        <a:rPr lang="en-US" sz="900" b="0"/>
                        <a:t>Minimal waste</a:t>
                      </a:r>
                    </a:p>
                  </a:txBody>
                  <a:tcPr marL="45720" marR="4572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5416271"/>
                  </a:ext>
                </a:extLst>
              </a:tr>
              <a:tr h="305129">
                <a:tc>
                  <a:txBody>
                    <a:bodyPr/>
                    <a:lstStyle/>
                    <a:p>
                      <a:pPr marL="0" indent="0" algn="l">
                        <a:buNone/>
                      </a:pPr>
                      <a:r>
                        <a:rPr lang="en-US" sz="900" b="1"/>
                        <a:t>Safe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Active</a:t>
                      </a: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Active or passiv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Mainly passive</a:t>
                      </a:r>
                    </a:p>
                  </a:txBody>
                  <a:tcPr marL="45720" marR="4572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b="0"/>
                        <a:t>Mainly passive</a:t>
                      </a:r>
                      <a:endParaRPr lang="en-US" sz="900"/>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lgn="l">
                        <a:buNone/>
                      </a:pPr>
                      <a:r>
                        <a:rPr lang="en-US" sz="900" b="0"/>
                        <a:t>Naturally the safest</a:t>
                      </a:r>
                    </a:p>
                  </a:txBody>
                  <a:tcPr marL="45720" marR="45720" anchor="ct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4961447"/>
                  </a:ext>
                </a:extLst>
              </a:tr>
              <a:tr h="369025">
                <a:tc>
                  <a:txBody>
                    <a:bodyPr/>
                    <a:lstStyle/>
                    <a:p>
                      <a:pPr marL="0" indent="0" algn="l">
                        <a:buNone/>
                      </a:pPr>
                      <a:r>
                        <a:rPr lang="en-US" sz="900" b="1"/>
                        <a:t>Prolifer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LEU &lt; ~5%</a:t>
                      </a: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Mainly LEU</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LEU &lt; ~5%</a:t>
                      </a:r>
                    </a:p>
                  </a:txBody>
                  <a:tcPr marL="45720" marR="4572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20% &gt; HALEU &gt; 5%</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lgn="l">
                        <a:buNone/>
                      </a:pPr>
                      <a:r>
                        <a:rPr lang="en-US" sz="900" b="0"/>
                        <a:t>Almost free</a:t>
                      </a:r>
                    </a:p>
                  </a:txBody>
                  <a:tcPr marL="45720" marR="45720" anchor="ct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1385324"/>
                  </a:ext>
                </a:extLst>
              </a:tr>
              <a:tr h="331686">
                <a:tc>
                  <a:txBody>
                    <a:bodyPr/>
                    <a:lstStyle/>
                    <a:p>
                      <a:pPr marL="0" indent="0" algn="l">
                        <a:buNone/>
                      </a:pPr>
                      <a:r>
                        <a:rPr lang="en-US" sz="900" b="1"/>
                        <a:t>Supply chai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Mature for fuel but challenging to replace outdated hardware</a:t>
                      </a: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Mature for water</a:t>
                      </a:r>
                      <a:r>
                        <a:rPr lang="en-US" sz="900" baseline="0"/>
                        <a:t> reactors</a:t>
                      </a:r>
                      <a:endParaRPr lang="en-US" sz="90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Mature for fuel but less for hardware of</a:t>
                      </a:r>
                      <a:r>
                        <a:rPr lang="en-US" sz="900" baseline="0"/>
                        <a:t> </a:t>
                      </a:r>
                      <a:r>
                        <a:rPr lang="en-US" sz="900"/>
                        <a:t>novelty of designs</a:t>
                      </a:r>
                    </a:p>
                  </a:txBody>
                  <a:tcPr marL="45720" marR="45720" anchor="ctr">
                    <a:lnL w="12700" cap="flat" cmpd="sng" algn="ctr">
                      <a:no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b="0"/>
                        <a:t>Immature for fuel and hardware</a:t>
                      </a:r>
                      <a:endParaRPr lang="en-US" sz="900"/>
                    </a:p>
                  </a:txBody>
                  <a:tcPr marL="45720" marR="4572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None/>
                      </a:pPr>
                      <a:r>
                        <a:rPr lang="en-US" sz="900" b="0"/>
                        <a:t>Highly immature</a:t>
                      </a:r>
                    </a:p>
                  </a:txBody>
                  <a:tcPr marL="45720" marR="45720" anchor="ct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4639448"/>
                  </a:ext>
                </a:extLst>
              </a:tr>
              <a:tr h="489873">
                <a:tc>
                  <a:txBody>
                    <a:bodyPr/>
                    <a:lstStyle/>
                    <a:p>
                      <a:pPr marL="0" indent="0" algn="l">
                        <a:buNone/>
                      </a:pPr>
                      <a:r>
                        <a:rPr lang="en-US" sz="900" b="1"/>
                        <a:t>Initial co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450-950 USD/</a:t>
                      </a:r>
                      <a:r>
                        <a:rPr lang="en-US" sz="900" err="1"/>
                        <a:t>kWe</a:t>
                      </a:r>
                      <a:r>
                        <a:rPr lang="en-US" sz="900"/>
                        <a:t> for 10-20 years of extension</a:t>
                      </a: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t>1,800-4,300 USD/</a:t>
                      </a:r>
                      <a:r>
                        <a:rPr lang="en-US" sz="900" err="1"/>
                        <a:t>kWe</a:t>
                      </a:r>
                      <a:r>
                        <a:rPr lang="en-US" sz="900"/>
                        <a:t>, but 1-5x cost overrun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 4,000 USD/</a:t>
                      </a:r>
                      <a:r>
                        <a:rPr lang="en-US" sz="900" err="1"/>
                        <a:t>kWe</a:t>
                      </a:r>
                      <a:r>
                        <a:rPr lang="en-US" sz="900"/>
                        <a:t>, highly uncertain (HU)</a:t>
                      </a:r>
                    </a:p>
                  </a:txBody>
                  <a:tcPr marL="45720" marR="45720"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6,000-7,000 USD/</a:t>
                      </a:r>
                      <a:r>
                        <a:rPr lang="en-US" sz="900" err="1"/>
                        <a:t>kWe</a:t>
                      </a:r>
                      <a:r>
                        <a:rPr lang="en-US" sz="900"/>
                        <a:t>, HU</a:t>
                      </a:r>
                    </a:p>
                  </a:txBody>
                  <a:tcPr marL="45720" marR="4572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indent="0" algn="l">
                        <a:buNone/>
                      </a:pPr>
                      <a:r>
                        <a:rPr lang="en-US" sz="900" b="0"/>
                        <a:t>4,000-8,000 USD/</a:t>
                      </a:r>
                      <a:r>
                        <a:rPr lang="en-US" sz="900" err="1"/>
                        <a:t>kWe</a:t>
                      </a:r>
                      <a:r>
                        <a:rPr lang="en-US" sz="900" b="0"/>
                        <a:t>, HU</a:t>
                      </a:r>
                    </a:p>
                  </a:txBody>
                  <a:tcPr marL="45720" marR="4572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104487"/>
                  </a:ext>
                </a:extLst>
              </a:tr>
              <a:tr h="289272">
                <a:tc>
                  <a:txBody>
                    <a:bodyPr/>
                    <a:lstStyle/>
                    <a:p>
                      <a:pPr marL="0" indent="0" algn="l">
                        <a:buNone/>
                      </a:pPr>
                      <a:r>
                        <a:rPr lang="en-US" sz="900" b="1"/>
                        <a:t>LCO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a:t>$30-$40/MWh*</a:t>
                      </a: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b="0"/>
                        <a:t>$138-$222/MWh</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b="0"/>
                        <a:t>$50-$120/MWh, HU</a:t>
                      </a:r>
                    </a:p>
                  </a:txBody>
                  <a:tcPr marL="45720" marR="45720" anchor="ctr">
                    <a:lnL w="12700" cap="flat" cmpd="sng" algn="ctr">
                      <a:no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b="0"/>
                        <a:t>$50-$120/MWh, HU</a:t>
                      </a:r>
                    </a:p>
                  </a:txBody>
                  <a:tcPr marL="45720" marR="4572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None/>
                      </a:pPr>
                      <a:r>
                        <a:rPr lang="en-US" sz="900" b="0" dirty="0"/>
                        <a:t>$20-$100/MWh, HU</a:t>
                      </a:r>
                    </a:p>
                  </a:txBody>
                  <a:tcPr marL="45720" marR="45720" anchor="ct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8081894"/>
                  </a:ext>
                </a:extLst>
              </a:tr>
            </a:tbl>
          </a:graphicData>
        </a:graphic>
      </p:graphicFrame>
    </p:spTree>
    <p:custDataLst>
      <p:tags r:id="rId1"/>
    </p:custDataLst>
    <p:extLst>
      <p:ext uri="{BB962C8B-B14F-4D97-AF65-F5344CB8AC3E}">
        <p14:creationId xmlns:p14="http://schemas.microsoft.com/office/powerpoint/2010/main" val="17416820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731C9C-459D-62B5-F4F3-D4FEE2F7B51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8465149-520C-F37C-84D5-4798C00D3E32}"/>
              </a:ext>
            </a:extLst>
          </p:cNvPr>
          <p:cNvGraphicFramePr>
            <a:graphicFrameLocks noChangeAspect="1"/>
          </p:cNvGraphicFramePr>
          <p:nvPr>
            <p:custDataLst>
              <p:tags r:id="rId2"/>
            </p:custDataLst>
            <p:extLst>
              <p:ext uri="{D42A27DB-BD31-4B8C-83A1-F6EECF244321}">
                <p14:modId xmlns:p14="http://schemas.microsoft.com/office/powerpoint/2010/main" val="583175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592" imgH="591" progId="TCLayout.ActiveDocument.1">
                  <p:embed/>
                </p:oleObj>
              </mc:Choice>
              <mc:Fallback>
                <p:oleObj name="think-cell Slide" r:id="rId39" imgW="592" imgH="591" progId="TCLayout.ActiveDocument.1">
                  <p:embed/>
                  <p:pic>
                    <p:nvPicPr>
                      <p:cNvPr id="7" name="think-cell data - do not delete" hidden="1">
                        <a:extLst>
                          <a:ext uri="{FF2B5EF4-FFF2-40B4-BE49-F238E27FC236}">
                            <a16:creationId xmlns:a16="http://schemas.microsoft.com/office/drawing/2014/main" id="{F8465149-520C-F37C-84D5-4798C00D3E32}"/>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D8E189C-D309-49DA-60DF-54FA19766308}"/>
              </a:ext>
            </a:extLst>
          </p:cNvPr>
          <p:cNvSpPr>
            <a:spLocks noGrp="1"/>
          </p:cNvSpPr>
          <p:nvPr>
            <p:ph type="title"/>
          </p:nvPr>
        </p:nvSpPr>
        <p:spPr>
          <a:xfrm>
            <a:off x="330199" y="523318"/>
            <a:ext cx="11861801" cy="882788"/>
          </a:xfrm>
        </p:spPr>
        <p:txBody>
          <a:bodyPr vert="horz">
            <a:noAutofit/>
          </a:bodyPr>
          <a:lstStyle/>
          <a:p>
            <a:r>
              <a:rPr lang="en-US"/>
              <a:t>The average age of nuclear power plants doubled since 2000 to 31 years, indicating the need to extend their lifetime beyond 40 years</a:t>
            </a:r>
          </a:p>
        </p:txBody>
      </p:sp>
      <p:sp>
        <p:nvSpPr>
          <p:cNvPr id="32" name="btfpNotesBox368131">
            <a:hlinkClick r:id="rId41"/>
            <a:extLst>
              <a:ext uri="{FF2B5EF4-FFF2-40B4-BE49-F238E27FC236}">
                <a16:creationId xmlns:a16="http://schemas.microsoft.com/office/drawing/2014/main" id="{5AC31D2C-F7A1-BCDF-07B9-86955E8BFCB2}"/>
              </a:ext>
            </a:extLst>
          </p:cNvPr>
          <p:cNvSpPr txBox="1"/>
          <p:nvPr>
            <p:custDataLst>
              <p:tags r:id="rId3"/>
            </p:custDataLst>
          </p:nvPr>
        </p:nvSpPr>
        <p:spPr bwMode="gray">
          <a:xfrm>
            <a:off x="330199" y="6309360"/>
            <a:ext cx="11531600" cy="492443"/>
          </a:xfrm>
          <a:prstGeom prst="rect">
            <a:avLst/>
          </a:prstGeom>
          <a:noFill/>
        </p:spPr>
        <p:txBody>
          <a:bodyPr vert="horz" wrap="square" lIns="0" tIns="0" rIns="0" bIns="0" rtlCol="0" anchor="b">
            <a:spAutoFit/>
          </a:bodyPr>
          <a:lstStyle/>
          <a:p>
            <a:pPr defTabSz="71120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endParaRPr lang="en-US" sz="800" dirty="0">
              <a:solidFill>
                <a:srgbClr val="000000"/>
              </a:solidFill>
              <a:latin typeface="Arial"/>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rPr>
              <a:t>WN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2"/>
              </a:rPr>
              <a:t>World Nuclear Performance Report</a:t>
            </a:r>
            <a:r>
              <a:rPr kumimoji="0" lang="en-US" sz="800" b="0" i="0" u="none" strike="noStrike" kern="1200" cap="none" spc="0" normalizeH="0" baseline="0" noProof="0" dirty="0">
                <a:ln>
                  <a:noFill/>
                </a:ln>
                <a:solidFill>
                  <a:srgbClr val="000000"/>
                </a:solidFill>
                <a:effectLst/>
                <a:uLnTx/>
                <a:uFillTx/>
                <a:latin typeface="Arial"/>
                <a:ea typeface="+mn-ea"/>
                <a:cs typeface="+mn-cs"/>
              </a:rPr>
              <a:t> (2024); Global Energy Monito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3"/>
              </a:rPr>
              <a:t>Global Nuclear Power Tracker</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4"/>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graphicFrame>
        <p:nvGraphicFramePr>
          <p:cNvPr id="19" name="Chart 18">
            <a:extLst>
              <a:ext uri="{FF2B5EF4-FFF2-40B4-BE49-F238E27FC236}">
                <a16:creationId xmlns:a16="http://schemas.microsoft.com/office/drawing/2014/main" id="{6A3CF95E-8D01-0E8D-BCFC-A6B1D510F5E2}"/>
              </a:ext>
            </a:extLst>
          </p:cNvPr>
          <p:cNvGraphicFramePr/>
          <p:nvPr>
            <p:custDataLst>
              <p:tags r:id="rId4"/>
            </p:custDataLst>
            <p:extLst>
              <p:ext uri="{D42A27DB-BD31-4B8C-83A1-F6EECF244321}">
                <p14:modId xmlns:p14="http://schemas.microsoft.com/office/powerpoint/2010/main" val="2680950875"/>
              </p:ext>
            </p:extLst>
          </p:nvPr>
        </p:nvGraphicFramePr>
        <p:xfrm>
          <a:off x="446088" y="2732088"/>
          <a:ext cx="8797925" cy="3006725"/>
        </p:xfrm>
        <a:graphic>
          <a:graphicData uri="http://schemas.openxmlformats.org/drawingml/2006/chart">
            <c:chart xmlns:c="http://schemas.openxmlformats.org/drawingml/2006/chart" xmlns:r="http://schemas.openxmlformats.org/officeDocument/2006/relationships" r:id="rId46"/>
          </a:graphicData>
        </a:graphic>
      </p:graphicFrame>
      <p:sp>
        <p:nvSpPr>
          <p:cNvPr id="1206" name="Text Placeholder 10">
            <a:extLst>
              <a:ext uri="{FF2B5EF4-FFF2-40B4-BE49-F238E27FC236}">
                <a16:creationId xmlns:a16="http://schemas.microsoft.com/office/drawing/2014/main" id="{2CF57A5D-5BE3-AC2F-9928-065376B8C0C9}"/>
              </a:ext>
            </a:extLst>
          </p:cNvPr>
          <p:cNvSpPr>
            <a:spLocks noGrp="1"/>
          </p:cNvSpPr>
          <p:nvPr>
            <p:custDataLst>
              <p:tags r:id="rId5"/>
            </p:custDataLst>
          </p:nvPr>
        </p:nvSpPr>
        <p:spPr bwMode="auto">
          <a:xfrm>
            <a:off x="431800" y="570706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EC5B27-BEAD-4302-9688-55FD8696BB38}" type="datetime'''''''1''''''''''''''''''''''''9''''''70'''''''''''''''''''''">
              <a:rPr lang="en-US" altLang="en-US" sz="1200" smtClean="0"/>
              <a:pPr marL="0" lvl="0" indent="0" algn="ctr">
                <a:spcBef>
                  <a:spcPct val="0"/>
                </a:spcBef>
                <a:spcAft>
                  <a:spcPct val="0"/>
                </a:spcAft>
                <a:buNone/>
              </a:pPr>
              <a:t>1970</a:t>
            </a:fld>
            <a:endParaRPr lang="en-US" sz="1200"/>
          </a:p>
        </p:txBody>
      </p:sp>
      <p:sp>
        <p:nvSpPr>
          <p:cNvPr id="1312" name="Text Placeholder 10">
            <a:extLst>
              <a:ext uri="{FF2B5EF4-FFF2-40B4-BE49-F238E27FC236}">
                <a16:creationId xmlns:a16="http://schemas.microsoft.com/office/drawing/2014/main" id="{833A054A-4EA9-EF5E-8554-55661F4F8FBE}"/>
              </a:ext>
            </a:extLst>
          </p:cNvPr>
          <p:cNvSpPr>
            <a:spLocks noGrp="1"/>
          </p:cNvSpPr>
          <p:nvPr>
            <p:custDataLst>
              <p:tags r:id="rId6"/>
            </p:custDataLst>
          </p:nvPr>
        </p:nvSpPr>
        <p:spPr bwMode="auto">
          <a:xfrm>
            <a:off x="2001838" y="570706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81C5C03-2AFD-442A-96DA-14A150A1FE1A}" type="datetime'''1''''''''''''''9''''''''''''''''8''''''''''0'''''''">
              <a:rPr lang="en-US" altLang="en-US" sz="1200" smtClean="0"/>
              <a:pPr marL="0" lvl="0" indent="0" algn="ctr">
                <a:spcBef>
                  <a:spcPct val="0"/>
                </a:spcBef>
                <a:spcAft>
                  <a:spcPct val="0"/>
                </a:spcAft>
                <a:buNone/>
              </a:pPr>
              <a:t>1980</a:t>
            </a:fld>
            <a:endParaRPr lang="en-US" sz="1200"/>
          </a:p>
        </p:txBody>
      </p:sp>
      <p:sp>
        <p:nvSpPr>
          <p:cNvPr id="1313" name="Text Placeholder 10">
            <a:extLst>
              <a:ext uri="{FF2B5EF4-FFF2-40B4-BE49-F238E27FC236}">
                <a16:creationId xmlns:a16="http://schemas.microsoft.com/office/drawing/2014/main" id="{04A3AE99-2352-817D-9F0A-EB2048F6FE7F}"/>
              </a:ext>
            </a:extLst>
          </p:cNvPr>
          <p:cNvSpPr>
            <a:spLocks noGrp="1"/>
          </p:cNvSpPr>
          <p:nvPr>
            <p:custDataLst>
              <p:tags r:id="rId7"/>
            </p:custDataLst>
          </p:nvPr>
        </p:nvSpPr>
        <p:spPr bwMode="auto">
          <a:xfrm>
            <a:off x="3570288" y="570706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AFD330-996B-4A9A-A83D-9C9052C76438}" type="datetime'''''''''''''1''''''''''''9''''''''''''''9''''''''''0'''">
              <a:rPr lang="en-US" altLang="en-US" sz="1200" smtClean="0"/>
              <a:pPr marL="0" lvl="0" indent="0" algn="ctr">
                <a:spcBef>
                  <a:spcPct val="0"/>
                </a:spcBef>
                <a:spcAft>
                  <a:spcPct val="0"/>
                </a:spcAft>
                <a:buNone/>
              </a:pPr>
              <a:t>1990</a:t>
            </a:fld>
            <a:endParaRPr lang="en-US" sz="1200"/>
          </a:p>
        </p:txBody>
      </p:sp>
      <p:sp>
        <p:nvSpPr>
          <p:cNvPr id="1314" name="Text Placeholder 10">
            <a:extLst>
              <a:ext uri="{FF2B5EF4-FFF2-40B4-BE49-F238E27FC236}">
                <a16:creationId xmlns:a16="http://schemas.microsoft.com/office/drawing/2014/main" id="{EB3A5CAA-8994-2C7E-FA51-E5F8411EDA97}"/>
              </a:ext>
            </a:extLst>
          </p:cNvPr>
          <p:cNvSpPr>
            <a:spLocks noGrp="1"/>
          </p:cNvSpPr>
          <p:nvPr>
            <p:custDataLst>
              <p:tags r:id="rId8"/>
            </p:custDataLst>
          </p:nvPr>
        </p:nvSpPr>
        <p:spPr bwMode="auto">
          <a:xfrm>
            <a:off x="5140325" y="570706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9601FA2-7A8D-4D06-BAC4-8B913D83258D}" type="datetime'''2''''0''''''''0''''''''''''''''''''''0'''''''''''''">
              <a:rPr lang="en-US" altLang="en-US" sz="1200" smtClean="0"/>
              <a:pPr marL="0" lvl="0" indent="0" algn="ctr">
                <a:spcBef>
                  <a:spcPct val="0"/>
                </a:spcBef>
                <a:spcAft>
                  <a:spcPct val="0"/>
                </a:spcAft>
                <a:buNone/>
              </a:pPr>
              <a:t>2000</a:t>
            </a:fld>
            <a:endParaRPr lang="en-US" sz="1200"/>
          </a:p>
        </p:txBody>
      </p:sp>
      <p:sp>
        <p:nvSpPr>
          <p:cNvPr id="1315" name="Text Placeholder 10">
            <a:extLst>
              <a:ext uri="{FF2B5EF4-FFF2-40B4-BE49-F238E27FC236}">
                <a16:creationId xmlns:a16="http://schemas.microsoft.com/office/drawing/2014/main" id="{B8F7CEA7-560D-F1AE-7BD1-2FDDB424CE3E}"/>
              </a:ext>
            </a:extLst>
          </p:cNvPr>
          <p:cNvSpPr>
            <a:spLocks noGrp="1"/>
          </p:cNvSpPr>
          <p:nvPr>
            <p:custDataLst>
              <p:tags r:id="rId9"/>
            </p:custDataLst>
          </p:nvPr>
        </p:nvSpPr>
        <p:spPr bwMode="auto">
          <a:xfrm>
            <a:off x="6710363" y="570706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36B2DCE-76EF-4CC6-9E04-3342219F2EB0}" type="datetime'''2''''''''''''''''''''''''''''0''''''''''1''''''''''''''0'">
              <a:rPr lang="en-US" altLang="en-US" sz="1200" smtClean="0"/>
              <a:pPr marL="0" lvl="0" indent="0" algn="ctr">
                <a:spcBef>
                  <a:spcPct val="0"/>
                </a:spcBef>
                <a:spcAft>
                  <a:spcPct val="0"/>
                </a:spcAft>
                <a:buNone/>
              </a:pPr>
              <a:t>2010</a:t>
            </a:fld>
            <a:endParaRPr lang="en-US" sz="1200"/>
          </a:p>
        </p:txBody>
      </p:sp>
      <p:sp>
        <p:nvSpPr>
          <p:cNvPr id="1316" name="Text Placeholder 10">
            <a:extLst>
              <a:ext uri="{FF2B5EF4-FFF2-40B4-BE49-F238E27FC236}">
                <a16:creationId xmlns:a16="http://schemas.microsoft.com/office/drawing/2014/main" id="{DAE09AAD-EE6B-9E20-1338-56DA211DDF2A}"/>
              </a:ext>
            </a:extLst>
          </p:cNvPr>
          <p:cNvSpPr>
            <a:spLocks noGrp="1"/>
          </p:cNvSpPr>
          <p:nvPr>
            <p:custDataLst>
              <p:tags r:id="rId10"/>
            </p:custDataLst>
          </p:nvPr>
        </p:nvSpPr>
        <p:spPr bwMode="auto">
          <a:xfrm>
            <a:off x="8280400" y="570706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C79250-6651-4C47-A2E2-2962AF1B3531}" type="datetime'''''''''''''''''''''''''''''''2''''0''''2''''0'''''''''''">
              <a:rPr lang="en-US" altLang="en-US" sz="1200" smtClean="0"/>
              <a:pPr marL="0" lvl="0" indent="0" algn="ctr">
                <a:spcBef>
                  <a:spcPct val="0"/>
                </a:spcBef>
                <a:spcAft>
                  <a:spcPct val="0"/>
                </a:spcAft>
                <a:buNone/>
              </a:pPr>
              <a:t>2020</a:t>
            </a:fld>
            <a:endParaRPr lang="en-US" sz="1200"/>
          </a:p>
        </p:txBody>
      </p:sp>
      <p:sp>
        <p:nvSpPr>
          <p:cNvPr id="1135" name="Text Placeholder 10">
            <a:extLst>
              <a:ext uri="{FF2B5EF4-FFF2-40B4-BE49-F238E27FC236}">
                <a16:creationId xmlns:a16="http://schemas.microsoft.com/office/drawing/2014/main" id="{173CB03D-0739-09D4-D7F9-0DAC9B08B4EB}"/>
              </a:ext>
            </a:extLst>
          </p:cNvPr>
          <p:cNvSpPr>
            <a:spLocks noGrp="1"/>
          </p:cNvSpPr>
          <p:nvPr>
            <p:custDataLst>
              <p:tags r:id="rId11"/>
            </p:custDataLst>
          </p:nvPr>
        </p:nvSpPr>
        <p:spPr bwMode="gray">
          <a:xfrm>
            <a:off x="542925" y="5424488"/>
            <a:ext cx="128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1F1AAAD-D2A6-443E-95EE-EF984D14390A}" type="datetime'''''''''''''''''''''''3'''''''">
              <a:rPr lang="en-US" altLang="en-US" sz="1200" smtClean="0"/>
              <a:pPr marL="0" lvl="0" indent="0" algn="ctr">
                <a:spcBef>
                  <a:spcPct val="0"/>
                </a:spcBef>
                <a:spcAft>
                  <a:spcPct val="0"/>
                </a:spcAft>
                <a:buNone/>
              </a:pPr>
              <a:t>3</a:t>
            </a:fld>
            <a:endParaRPr lang="en-US" sz="1200"/>
          </a:p>
        </p:txBody>
      </p:sp>
      <p:sp>
        <p:nvSpPr>
          <p:cNvPr id="1442" name="Text Placeholder 10">
            <a:extLst>
              <a:ext uri="{FF2B5EF4-FFF2-40B4-BE49-F238E27FC236}">
                <a16:creationId xmlns:a16="http://schemas.microsoft.com/office/drawing/2014/main" id="{2C3FFC92-D804-7A2B-6EF1-BE955BF66DD6}"/>
              </a:ext>
            </a:extLst>
          </p:cNvPr>
          <p:cNvSpPr>
            <a:spLocks noGrp="1"/>
          </p:cNvSpPr>
          <p:nvPr>
            <p:custDataLst>
              <p:tags r:id="rId12"/>
            </p:custDataLst>
          </p:nvPr>
        </p:nvSpPr>
        <p:spPr bwMode="gray">
          <a:xfrm>
            <a:off x="1284288" y="5194300"/>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5FA8A0-27A5-485E-897B-52BFBBCE49FE}" type="datetime'''3''''''''''''''5'''''''">
              <a:rPr lang="en-US" altLang="en-US" sz="1200" smtClean="0"/>
              <a:pPr marL="0" lvl="0" indent="0" algn="ctr">
                <a:spcBef>
                  <a:spcPct val="0"/>
                </a:spcBef>
                <a:spcAft>
                  <a:spcPct val="0"/>
                </a:spcAft>
                <a:buNone/>
              </a:pPr>
              <a:t>35</a:t>
            </a:fld>
            <a:endParaRPr lang="en-US" sz="1200"/>
          </a:p>
        </p:txBody>
      </p:sp>
      <p:sp>
        <p:nvSpPr>
          <p:cNvPr id="1449" name="Text Placeholder 10">
            <a:extLst>
              <a:ext uri="{FF2B5EF4-FFF2-40B4-BE49-F238E27FC236}">
                <a16:creationId xmlns:a16="http://schemas.microsoft.com/office/drawing/2014/main" id="{5824EE86-BD5E-88B6-419E-F2E06B3EFE74}"/>
              </a:ext>
            </a:extLst>
          </p:cNvPr>
          <p:cNvSpPr>
            <a:spLocks noGrp="1"/>
          </p:cNvSpPr>
          <p:nvPr>
            <p:custDataLst>
              <p:tags r:id="rId13"/>
            </p:custDataLst>
          </p:nvPr>
        </p:nvSpPr>
        <p:spPr bwMode="gray">
          <a:xfrm>
            <a:off x="2070100" y="4970463"/>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0CC9119-696E-4EE3-ACD2-509AEC97CE26}" type="datetime'''''6''''''''''7'''''''''''''''''''''''''''''''''''">
              <a:rPr lang="en-US" altLang="en-US" sz="1200" smtClean="0"/>
              <a:pPr marL="0" lvl="0" indent="0" algn="ctr">
                <a:spcBef>
                  <a:spcPct val="0"/>
                </a:spcBef>
                <a:spcAft>
                  <a:spcPct val="0"/>
                </a:spcAft>
                <a:buNone/>
              </a:pPr>
              <a:t>67</a:t>
            </a:fld>
            <a:endParaRPr lang="en-US" sz="1200"/>
          </a:p>
        </p:txBody>
      </p:sp>
      <p:sp>
        <p:nvSpPr>
          <p:cNvPr id="1452" name="Text Placeholder 10">
            <a:extLst>
              <a:ext uri="{FF2B5EF4-FFF2-40B4-BE49-F238E27FC236}">
                <a16:creationId xmlns:a16="http://schemas.microsoft.com/office/drawing/2014/main" id="{CA13D694-C6D0-0E23-1EA6-EC5003B903C3}"/>
              </a:ext>
            </a:extLst>
          </p:cNvPr>
          <p:cNvSpPr>
            <a:spLocks noGrp="1"/>
          </p:cNvSpPr>
          <p:nvPr>
            <p:custDataLst>
              <p:tags r:id="rId14"/>
            </p:custDataLst>
          </p:nvPr>
        </p:nvSpPr>
        <p:spPr bwMode="gray">
          <a:xfrm>
            <a:off x="2746375" y="431482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4319B9A-152C-439C-803F-9C4C04345685}" type="datetime'''''''''''''1''''''''5''''8'''''''''''''''''''''''">
              <a:rPr lang="en-US" altLang="en-US" sz="1200" smtClean="0"/>
              <a:pPr marL="0" lvl="0" indent="0" algn="ctr">
                <a:spcBef>
                  <a:spcPct val="0"/>
                </a:spcBef>
                <a:spcAft>
                  <a:spcPct val="0"/>
                </a:spcAft>
                <a:buNone/>
              </a:pPr>
              <a:t>158</a:t>
            </a:fld>
            <a:endParaRPr lang="en-US" sz="1200"/>
          </a:p>
        </p:txBody>
      </p:sp>
      <p:sp>
        <p:nvSpPr>
          <p:cNvPr id="1455" name="Text Placeholder 10">
            <a:extLst>
              <a:ext uri="{FF2B5EF4-FFF2-40B4-BE49-F238E27FC236}">
                <a16:creationId xmlns:a16="http://schemas.microsoft.com/office/drawing/2014/main" id="{1FDEE408-A345-48E0-CAA9-E673B764FBDF}"/>
              </a:ext>
            </a:extLst>
          </p:cNvPr>
          <p:cNvSpPr>
            <a:spLocks noGrp="1"/>
          </p:cNvSpPr>
          <p:nvPr>
            <p:custDataLst>
              <p:tags r:id="rId15"/>
            </p:custDataLst>
          </p:nvPr>
        </p:nvSpPr>
        <p:spPr bwMode="gray">
          <a:xfrm>
            <a:off x="3597275" y="367665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8F7F6C-B55E-449F-85CD-3F8340C87AA5}" type="datetime'''''''''''2''''''''4''''3'''''''''''''''''''''">
              <a:rPr lang="en-US" altLang="en-US" sz="1200" smtClean="0"/>
              <a:pPr marL="0" lvl="0" indent="0" algn="ctr">
                <a:spcBef>
                  <a:spcPct val="0"/>
                </a:spcBef>
                <a:spcAft>
                  <a:spcPct val="0"/>
                </a:spcAft>
                <a:buNone/>
              </a:pPr>
              <a:t>243</a:t>
            </a:fld>
            <a:endParaRPr lang="en-US" sz="1200"/>
          </a:p>
        </p:txBody>
      </p:sp>
      <p:sp>
        <p:nvSpPr>
          <p:cNvPr id="1458" name="Text Placeholder 10">
            <a:extLst>
              <a:ext uri="{FF2B5EF4-FFF2-40B4-BE49-F238E27FC236}">
                <a16:creationId xmlns:a16="http://schemas.microsoft.com/office/drawing/2014/main" id="{E147EB84-E2FD-89B2-16B4-889A6A1A28F0}"/>
              </a:ext>
            </a:extLst>
          </p:cNvPr>
          <p:cNvSpPr>
            <a:spLocks noGrp="1"/>
          </p:cNvSpPr>
          <p:nvPr>
            <p:custDataLst>
              <p:tags r:id="rId16"/>
            </p:custDataLst>
          </p:nvPr>
        </p:nvSpPr>
        <p:spPr bwMode="gray">
          <a:xfrm>
            <a:off x="4383088" y="350837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DD0301-C06C-454B-8FDB-0CDCC9A8EE01}" type="datetime'''''2''''''''''''6''''''''''''''''''''7'''''''''''''''''''''''">
              <a:rPr lang="en-US" altLang="en-US" sz="1200" smtClean="0"/>
              <a:pPr marL="0" lvl="0" indent="0" algn="ctr">
                <a:spcBef>
                  <a:spcPct val="0"/>
                </a:spcBef>
                <a:spcAft>
                  <a:spcPct val="0"/>
                </a:spcAft>
                <a:buNone/>
              </a:pPr>
              <a:t>267</a:t>
            </a:fld>
            <a:endParaRPr lang="en-US" sz="1200"/>
          </a:p>
        </p:txBody>
      </p:sp>
      <p:sp>
        <p:nvSpPr>
          <p:cNvPr id="1461" name="Text Placeholder 10">
            <a:extLst>
              <a:ext uri="{FF2B5EF4-FFF2-40B4-BE49-F238E27FC236}">
                <a16:creationId xmlns:a16="http://schemas.microsoft.com/office/drawing/2014/main" id="{999547DD-C3A4-A80A-F55D-E2CCBB823580}"/>
              </a:ext>
            </a:extLst>
          </p:cNvPr>
          <p:cNvSpPr>
            <a:spLocks noGrp="1"/>
          </p:cNvSpPr>
          <p:nvPr>
            <p:custDataLst>
              <p:tags r:id="rId17"/>
            </p:custDataLst>
          </p:nvPr>
        </p:nvSpPr>
        <p:spPr bwMode="gray">
          <a:xfrm>
            <a:off x="5167313" y="341630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772BCB4-D3FC-4635-B6A1-02D0ED7F49DE}" type="datetime'''''2''8''''''''''''''''''''''''''''''''1'''''''''">
              <a:rPr lang="en-US" altLang="en-US" sz="1200" smtClean="0"/>
              <a:pPr marL="0" lvl="0" indent="0" algn="ctr">
                <a:spcBef>
                  <a:spcPct val="0"/>
                </a:spcBef>
                <a:spcAft>
                  <a:spcPct val="0"/>
                </a:spcAft>
                <a:buNone/>
              </a:pPr>
              <a:t>281</a:t>
            </a:fld>
            <a:endParaRPr lang="en-US" sz="1200"/>
          </a:p>
        </p:txBody>
      </p:sp>
      <p:sp>
        <p:nvSpPr>
          <p:cNvPr id="1467" name="Text Placeholder 10">
            <a:extLst>
              <a:ext uri="{FF2B5EF4-FFF2-40B4-BE49-F238E27FC236}">
                <a16:creationId xmlns:a16="http://schemas.microsoft.com/office/drawing/2014/main" id="{02BF0801-33F2-56BB-33E0-3A9405DBD4E6}"/>
              </a:ext>
            </a:extLst>
          </p:cNvPr>
          <p:cNvSpPr>
            <a:spLocks noGrp="1"/>
          </p:cNvSpPr>
          <p:nvPr>
            <p:custDataLst>
              <p:tags r:id="rId18"/>
            </p:custDataLst>
          </p:nvPr>
        </p:nvSpPr>
        <p:spPr bwMode="gray">
          <a:xfrm>
            <a:off x="5953125" y="328612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5B8E9CB-4B88-4018-A116-F6C7FC45BBCA}" type="datetime'''''3''0''''0'''">
              <a:rPr lang="en-US" altLang="en-US" sz="1200" smtClean="0"/>
              <a:pPr marL="0" lvl="0" indent="0" algn="ctr">
                <a:spcBef>
                  <a:spcPct val="0"/>
                </a:spcBef>
                <a:spcAft>
                  <a:spcPct val="0"/>
                </a:spcAft>
                <a:buNone/>
              </a:pPr>
              <a:t>300</a:t>
            </a:fld>
            <a:endParaRPr lang="en-US" sz="1200"/>
          </a:p>
        </p:txBody>
      </p:sp>
      <p:sp>
        <p:nvSpPr>
          <p:cNvPr id="1464" name="Text Placeholder 10">
            <a:extLst>
              <a:ext uri="{FF2B5EF4-FFF2-40B4-BE49-F238E27FC236}">
                <a16:creationId xmlns:a16="http://schemas.microsoft.com/office/drawing/2014/main" id="{EB5CA613-156D-9534-BC83-166586B87019}"/>
              </a:ext>
            </a:extLst>
          </p:cNvPr>
          <p:cNvSpPr>
            <a:spLocks noGrp="1"/>
          </p:cNvSpPr>
          <p:nvPr>
            <p:custDataLst>
              <p:tags r:id="rId19"/>
            </p:custDataLst>
          </p:nvPr>
        </p:nvSpPr>
        <p:spPr bwMode="gray">
          <a:xfrm>
            <a:off x="6737350" y="321627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C070A7-75EB-4946-B51C-0C42C5C399B3}" type="datetime'''3''0''''''''''''8'''''''''">
              <a:rPr lang="en-US" altLang="en-US" sz="1200" smtClean="0"/>
              <a:pPr marL="0" lvl="0" indent="0" algn="ctr">
                <a:spcBef>
                  <a:spcPct val="0"/>
                </a:spcBef>
                <a:spcAft>
                  <a:spcPct val="0"/>
                </a:spcAft>
                <a:buNone/>
              </a:pPr>
              <a:t>308</a:t>
            </a:fld>
            <a:endParaRPr lang="en-US" sz="1200"/>
          </a:p>
        </p:txBody>
      </p:sp>
      <p:sp>
        <p:nvSpPr>
          <p:cNvPr id="1470" name="Text Placeholder 10">
            <a:extLst>
              <a:ext uri="{FF2B5EF4-FFF2-40B4-BE49-F238E27FC236}">
                <a16:creationId xmlns:a16="http://schemas.microsoft.com/office/drawing/2014/main" id="{2F90FC4C-99C3-595B-129A-44EEA26AA32F}"/>
              </a:ext>
            </a:extLst>
          </p:cNvPr>
          <p:cNvSpPr>
            <a:spLocks noGrp="1"/>
          </p:cNvSpPr>
          <p:nvPr>
            <p:custDataLst>
              <p:tags r:id="rId20"/>
            </p:custDataLst>
          </p:nvPr>
        </p:nvSpPr>
        <p:spPr bwMode="gray">
          <a:xfrm>
            <a:off x="7454900" y="306705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8FB421-9391-4EE2-8E12-23674DB842B4}" type="datetime'''''33''''''''''''''''2'">
              <a:rPr lang="en-US" altLang="en-US" sz="1200" smtClean="0"/>
              <a:pPr marL="0" lvl="0" indent="0" algn="ctr">
                <a:spcBef>
                  <a:spcPct val="0"/>
                </a:spcBef>
                <a:spcAft>
                  <a:spcPct val="0"/>
                </a:spcAft>
                <a:buNone/>
              </a:pPr>
              <a:t>332</a:t>
            </a:fld>
            <a:endParaRPr lang="en-US" sz="1200"/>
          </a:p>
        </p:txBody>
      </p:sp>
      <p:sp>
        <p:nvSpPr>
          <p:cNvPr id="1473" name="Text Placeholder 10">
            <a:extLst>
              <a:ext uri="{FF2B5EF4-FFF2-40B4-BE49-F238E27FC236}">
                <a16:creationId xmlns:a16="http://schemas.microsoft.com/office/drawing/2014/main" id="{0897D1EB-46AD-EB57-AD39-2660D1BE7902}"/>
              </a:ext>
            </a:extLst>
          </p:cNvPr>
          <p:cNvSpPr>
            <a:spLocks noGrp="1"/>
          </p:cNvSpPr>
          <p:nvPr>
            <p:custDataLst>
              <p:tags r:id="rId21"/>
            </p:custDataLst>
          </p:nvPr>
        </p:nvSpPr>
        <p:spPr bwMode="gray">
          <a:xfrm>
            <a:off x="8240713" y="2811463"/>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4CD507-83F6-43C5-9411-71DB3527E567}" type="datetime'''''''''''3''''''''6''''''''8'''''''''''''''''''''">
              <a:rPr lang="en-US" altLang="en-US" sz="1200" smtClean="0"/>
              <a:pPr marL="0" lvl="0" indent="0" algn="ctr">
                <a:spcBef>
                  <a:spcPct val="0"/>
                </a:spcBef>
                <a:spcAft>
                  <a:spcPct val="0"/>
                </a:spcAft>
                <a:buNone/>
              </a:pPr>
              <a:t>368</a:t>
            </a:fld>
            <a:endParaRPr lang="en-US" sz="1200"/>
          </a:p>
        </p:txBody>
      </p:sp>
      <p:sp>
        <p:nvSpPr>
          <p:cNvPr id="1476" name="Text Placeholder 10">
            <a:extLst>
              <a:ext uri="{FF2B5EF4-FFF2-40B4-BE49-F238E27FC236}">
                <a16:creationId xmlns:a16="http://schemas.microsoft.com/office/drawing/2014/main" id="{9600E39B-FEA1-B332-D737-3AE998AB677C}"/>
              </a:ext>
            </a:extLst>
          </p:cNvPr>
          <p:cNvSpPr>
            <a:spLocks noGrp="1"/>
          </p:cNvSpPr>
          <p:nvPr>
            <p:custDataLst>
              <p:tags r:id="rId22"/>
            </p:custDataLst>
          </p:nvPr>
        </p:nvSpPr>
        <p:spPr bwMode="gray">
          <a:xfrm>
            <a:off x="8934450" y="260667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50815D8-66E1-4C09-B124-EE5F950B4C36}" type="datetime'''''''''''''39''''''6'''''''''''''''''">
              <a:rPr lang="en-US" altLang="en-US" sz="1200" smtClean="0"/>
              <a:pPr marL="0" lvl="0" indent="0" algn="ctr">
                <a:spcBef>
                  <a:spcPct val="0"/>
                </a:spcBef>
                <a:spcAft>
                  <a:spcPct val="0"/>
                </a:spcAft>
                <a:buNone/>
              </a:pPr>
              <a:t>396</a:t>
            </a:fld>
            <a:endParaRPr lang="en-US" sz="1200"/>
          </a:p>
        </p:txBody>
      </p:sp>
      <p:sp>
        <p:nvSpPr>
          <p:cNvPr id="1364" name="Rectangle 1363">
            <a:extLst>
              <a:ext uri="{FF2B5EF4-FFF2-40B4-BE49-F238E27FC236}">
                <a16:creationId xmlns:a16="http://schemas.microsoft.com/office/drawing/2014/main" id="{F7C5B15E-4C2A-7A89-03E0-34D53AEBAF14}"/>
              </a:ext>
            </a:extLst>
          </p:cNvPr>
          <p:cNvSpPr/>
          <p:nvPr>
            <p:custDataLst>
              <p:tags r:id="rId23"/>
            </p:custDataLst>
          </p:nvPr>
        </p:nvSpPr>
        <p:spPr bwMode="auto">
          <a:xfrm>
            <a:off x="528638" y="2760663"/>
            <a:ext cx="214313" cy="160338"/>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63" name="Rectangle 1362">
            <a:extLst>
              <a:ext uri="{FF2B5EF4-FFF2-40B4-BE49-F238E27FC236}">
                <a16:creationId xmlns:a16="http://schemas.microsoft.com/office/drawing/2014/main" id="{40AFB6FA-5CF2-8DF7-4ED4-076DE301ED60}"/>
              </a:ext>
            </a:extLst>
          </p:cNvPr>
          <p:cNvSpPr/>
          <p:nvPr>
            <p:custDataLst>
              <p:tags r:id="rId24"/>
            </p:custDataLst>
          </p:nvPr>
        </p:nvSpPr>
        <p:spPr bwMode="auto">
          <a:xfrm>
            <a:off x="528638" y="2994025"/>
            <a:ext cx="214313" cy="160338"/>
          </a:xfrm>
          <a:prstGeom prst="rect">
            <a:avLst/>
          </a:prstGeom>
          <a:solidFill>
            <a:srgbClr val="364D6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62" name="Rectangle 1361">
            <a:extLst>
              <a:ext uri="{FF2B5EF4-FFF2-40B4-BE49-F238E27FC236}">
                <a16:creationId xmlns:a16="http://schemas.microsoft.com/office/drawing/2014/main" id="{7479CAF7-9B05-52E5-C362-D60AA0985B63}"/>
              </a:ext>
            </a:extLst>
          </p:cNvPr>
          <p:cNvSpPr/>
          <p:nvPr>
            <p:custDataLst>
              <p:tags r:id="rId25"/>
            </p:custDataLst>
          </p:nvPr>
        </p:nvSpPr>
        <p:spPr bwMode="auto">
          <a:xfrm>
            <a:off x="528638" y="3227388"/>
            <a:ext cx="214313" cy="160338"/>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61" name="Rectangle 1360">
            <a:extLst>
              <a:ext uri="{FF2B5EF4-FFF2-40B4-BE49-F238E27FC236}">
                <a16:creationId xmlns:a16="http://schemas.microsoft.com/office/drawing/2014/main" id="{1262AC23-9CAE-FC03-9CE6-BCE740D494D3}"/>
              </a:ext>
            </a:extLst>
          </p:cNvPr>
          <p:cNvSpPr/>
          <p:nvPr>
            <p:custDataLst>
              <p:tags r:id="rId26"/>
            </p:custDataLst>
          </p:nvPr>
        </p:nvSpPr>
        <p:spPr bwMode="auto">
          <a:xfrm>
            <a:off x="528638" y="3460750"/>
            <a:ext cx="214313" cy="160338"/>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60" name="Rectangle 1359">
            <a:extLst>
              <a:ext uri="{FF2B5EF4-FFF2-40B4-BE49-F238E27FC236}">
                <a16:creationId xmlns:a16="http://schemas.microsoft.com/office/drawing/2014/main" id="{695EC631-463F-1AD5-5417-628197AD0FEA}"/>
              </a:ext>
            </a:extLst>
          </p:cNvPr>
          <p:cNvSpPr/>
          <p:nvPr>
            <p:custDataLst>
              <p:tags r:id="rId27"/>
            </p:custDataLst>
          </p:nvPr>
        </p:nvSpPr>
        <p:spPr bwMode="auto">
          <a:xfrm>
            <a:off x="528638" y="3694113"/>
            <a:ext cx="214313" cy="160338"/>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59" name="Rectangle 1358">
            <a:extLst>
              <a:ext uri="{FF2B5EF4-FFF2-40B4-BE49-F238E27FC236}">
                <a16:creationId xmlns:a16="http://schemas.microsoft.com/office/drawing/2014/main" id="{2B305047-1CD8-FECC-2450-1F37350F8B2A}"/>
              </a:ext>
            </a:extLst>
          </p:cNvPr>
          <p:cNvSpPr/>
          <p:nvPr>
            <p:custDataLst>
              <p:tags r:id="rId28"/>
            </p:custDataLst>
          </p:nvPr>
        </p:nvSpPr>
        <p:spPr bwMode="auto">
          <a:xfrm>
            <a:off x="528638" y="3927475"/>
            <a:ext cx="214313" cy="160338"/>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58" name="Rectangle 1357">
            <a:extLst>
              <a:ext uri="{FF2B5EF4-FFF2-40B4-BE49-F238E27FC236}">
                <a16:creationId xmlns:a16="http://schemas.microsoft.com/office/drawing/2014/main" id="{2E30F3B3-B97D-808E-3023-BE6E389F314E}"/>
              </a:ext>
            </a:extLst>
          </p:cNvPr>
          <p:cNvSpPr/>
          <p:nvPr>
            <p:custDataLst>
              <p:tags r:id="rId29"/>
            </p:custDataLst>
          </p:nvPr>
        </p:nvSpPr>
        <p:spPr bwMode="auto">
          <a:xfrm>
            <a:off x="528638" y="4160838"/>
            <a:ext cx="214313" cy="160338"/>
          </a:xfrm>
          <a:prstGeom prst="rect">
            <a:avLst/>
          </a:prstGeom>
          <a:solidFill>
            <a:srgbClr val="DFE5E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49"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793750" y="2755900"/>
            <a:ext cx="2571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5C2DE7F-DCD1-4586-A0B4-74A91442897A}" type="datetime'''''''''''''''''''4''''8''''''''''''''''+'''''">
              <a:rPr lang="en-US" altLang="en-US" sz="1200" smtClean="0"/>
              <a:pPr marL="0" lvl="0" indent="0">
                <a:spcBef>
                  <a:spcPct val="0"/>
                </a:spcBef>
                <a:spcAft>
                  <a:spcPct val="0"/>
                </a:spcAft>
                <a:buNone/>
              </a:pPr>
              <a:t>48+</a:t>
            </a:fld>
            <a:endParaRPr lang="en-US" sz="1200"/>
          </a:p>
        </p:txBody>
      </p:sp>
      <p:sp>
        <p:nvSpPr>
          <p:cNvPr id="1353"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793750" y="2989263"/>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BF25B70-A209-405E-B268-946254491637}" type="datetime'''''''''''''''''''''''''40''''''''-''4''''''''7'''''">
              <a:rPr lang="en-US" altLang="en-US" sz="1200" smtClean="0"/>
              <a:pPr marL="0" lvl="0" indent="0">
                <a:spcBef>
                  <a:spcPct val="0"/>
                </a:spcBef>
                <a:spcAft>
                  <a:spcPct val="0"/>
                </a:spcAft>
                <a:buNone/>
              </a:pPr>
              <a:t>40-47</a:t>
            </a:fld>
            <a:endParaRPr lang="en-US" sz="1200"/>
          </a:p>
        </p:txBody>
      </p:sp>
      <p:sp>
        <p:nvSpPr>
          <p:cNvPr id="1352"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793750" y="3222625"/>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7FCB1D7-768C-4F94-A8B6-339213DA2C4F}" type="datetime'''''''''''''''3''''''''''2''''''''''''''-3''''''''''''''''''9'">
              <a:rPr lang="en-US" altLang="en-US" sz="1200" smtClean="0"/>
              <a:pPr marL="0" lvl="0" indent="0">
                <a:spcBef>
                  <a:spcPct val="0"/>
                </a:spcBef>
                <a:spcAft>
                  <a:spcPct val="0"/>
                </a:spcAft>
                <a:buNone/>
              </a:pPr>
              <a:t>32-39</a:t>
            </a:fld>
            <a:endParaRPr lang="en-US" sz="1200"/>
          </a:p>
        </p:txBody>
      </p:sp>
      <p:sp>
        <p:nvSpPr>
          <p:cNvPr id="1351"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793750" y="3455988"/>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0B6B95E-2316-449F-B1E1-EDC438892671}" type="datetime'''''''''''''2''''4''-''31'''''''''''''''''''''''''''''''''''''">
              <a:rPr lang="en-US" altLang="en-US" sz="1200" smtClean="0"/>
              <a:pPr marL="0" lvl="0" indent="0">
                <a:spcBef>
                  <a:spcPct val="0"/>
                </a:spcBef>
                <a:spcAft>
                  <a:spcPct val="0"/>
                </a:spcAft>
                <a:buNone/>
              </a:pPr>
              <a:t>24-31</a:t>
            </a:fld>
            <a:endParaRPr lang="en-US" sz="1200"/>
          </a:p>
        </p:txBody>
      </p:sp>
      <p:sp>
        <p:nvSpPr>
          <p:cNvPr id="1354"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793750" y="3689350"/>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38D8483-85A8-40B3-990B-98D2585E43F2}" type="datetime'''''''''''''''''''1''''6''''''''-2''''3'''''''''''''''''">
              <a:rPr lang="en-US" altLang="en-US" sz="1200" smtClean="0"/>
              <a:pPr marL="0" lvl="0" indent="0">
                <a:spcBef>
                  <a:spcPct val="0"/>
                </a:spcBef>
                <a:spcAft>
                  <a:spcPct val="0"/>
                </a:spcAft>
                <a:buNone/>
              </a:pPr>
              <a:t>16-23</a:t>
            </a:fld>
            <a:endParaRPr lang="en-US" sz="1200"/>
          </a:p>
        </p:txBody>
      </p:sp>
      <p:sp>
        <p:nvSpPr>
          <p:cNvPr id="1356"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793750" y="39227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7D0AEE5-A678-4D26-BC18-CF590421693C}" type="datetime'''''''''''''''8''''''''''''''''-''''1''''5'">
              <a:rPr lang="en-US" altLang="en-US" sz="1200" smtClean="0"/>
              <a:pPr marL="0" lvl="0" indent="0">
                <a:spcBef>
                  <a:spcPct val="0"/>
                </a:spcBef>
                <a:spcAft>
                  <a:spcPct val="0"/>
                </a:spcAft>
                <a:buNone/>
              </a:pPr>
              <a:t>8-15</a:t>
            </a:fld>
            <a:endParaRPr lang="en-US" sz="1200"/>
          </a:p>
        </p:txBody>
      </p:sp>
      <p:sp>
        <p:nvSpPr>
          <p:cNvPr id="1355"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793750" y="41560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67E9C02-84A5-4435-9FA2-374D7BF23E6A}" type="datetime'''''''''''''''''&lt;''''''''''''''''''8'''''''''''''''''">
              <a:rPr lang="en-US" altLang="en-US" sz="1200" smtClean="0"/>
              <a:pPr marL="0" lvl="0" indent="0">
                <a:spcBef>
                  <a:spcPct val="0"/>
                </a:spcBef>
                <a:spcAft>
                  <a:spcPct val="0"/>
                </a:spcAft>
                <a:buNone/>
              </a:pPr>
              <a:t>&lt;8</a:t>
            </a:fld>
            <a:endParaRPr lang="en-US" sz="1200"/>
          </a:p>
        </p:txBody>
      </p:sp>
      <p:sp>
        <p:nvSpPr>
          <p:cNvPr id="1437" name="btfpColumnHeaderBoxText223027">
            <a:extLst>
              <a:ext uri="{FF2B5EF4-FFF2-40B4-BE49-F238E27FC236}">
                <a16:creationId xmlns:a16="http://schemas.microsoft.com/office/drawing/2014/main" id="{0066CE38-9A13-26E4-C98F-E4E6B0876118}"/>
              </a:ext>
            </a:extLst>
          </p:cNvPr>
          <p:cNvSpPr txBox="1"/>
          <p:nvPr/>
        </p:nvSpPr>
        <p:spPr bwMode="gray">
          <a:xfrm>
            <a:off x="376238" y="1554480"/>
            <a:ext cx="9567863"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Nuclear plant capacity by age of reactor, </a:t>
            </a:r>
            <a:r>
              <a:rPr lang="en-US" sz="1400">
                <a:solidFill>
                  <a:srgbClr val="000000"/>
                </a:solidFill>
              </a:rPr>
              <a:t>GW, 1970-2024</a:t>
            </a:r>
          </a:p>
        </p:txBody>
      </p:sp>
      <p:cxnSp>
        <p:nvCxnSpPr>
          <p:cNvPr id="1438" name="btfpColumnHeaderBoxLine223027">
            <a:extLst>
              <a:ext uri="{FF2B5EF4-FFF2-40B4-BE49-F238E27FC236}">
                <a16:creationId xmlns:a16="http://schemas.microsoft.com/office/drawing/2014/main" id="{CC89B5DC-405C-2366-8A41-BD0F9DF00DE2}"/>
              </a:ext>
            </a:extLst>
          </p:cNvPr>
          <p:cNvCxnSpPr>
            <a:cxnSpLocks/>
          </p:cNvCxnSpPr>
          <p:nvPr/>
        </p:nvCxnSpPr>
        <p:spPr bwMode="gray">
          <a:xfrm>
            <a:off x="376238" y="1842699"/>
            <a:ext cx="890492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482" name="Oval 1481">
            <a:extLst>
              <a:ext uri="{FF2B5EF4-FFF2-40B4-BE49-F238E27FC236}">
                <a16:creationId xmlns:a16="http://schemas.microsoft.com/office/drawing/2014/main" id="{BEA246EE-CF6F-B64D-58C7-6532776150A8}"/>
              </a:ext>
            </a:extLst>
          </p:cNvPr>
          <p:cNvSpPr/>
          <p:nvPr/>
        </p:nvSpPr>
        <p:spPr bwMode="gray">
          <a:xfrm>
            <a:off x="412750" y="2113424"/>
            <a:ext cx="388938" cy="2189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lt;5</a:t>
            </a:r>
          </a:p>
        </p:txBody>
      </p:sp>
      <p:sp>
        <p:nvSpPr>
          <p:cNvPr id="1485" name="TextBox 1484">
            <a:extLst>
              <a:ext uri="{FF2B5EF4-FFF2-40B4-BE49-F238E27FC236}">
                <a16:creationId xmlns:a16="http://schemas.microsoft.com/office/drawing/2014/main" id="{D56A8B6B-604A-B0E8-B4C7-3AD161AC8C83}"/>
              </a:ext>
            </a:extLst>
          </p:cNvPr>
          <p:cNvSpPr txBox="1"/>
          <p:nvPr/>
        </p:nvSpPr>
        <p:spPr bwMode="gray">
          <a:xfrm>
            <a:off x="6355016" y="1620500"/>
            <a:ext cx="2924109" cy="307777"/>
          </a:xfrm>
          <a:prstGeom prst="rect">
            <a:avLst/>
          </a:prstGeom>
          <a:noFill/>
        </p:spPr>
        <p:txBody>
          <a:bodyPr wrap="square" lIns="36576" tIns="0" rIns="0" bIns="0" rtlCol="0">
            <a:spAutoFit/>
          </a:bodyPr>
          <a:lstStyle/>
          <a:p>
            <a:pPr marL="0" indent="0" algn="l">
              <a:spcBef>
                <a:spcPts val="600"/>
              </a:spcBef>
              <a:spcAft>
                <a:spcPts val="600"/>
              </a:spcAft>
              <a:buNone/>
            </a:pPr>
            <a:r>
              <a:rPr lang="en-US" sz="1000" b="1"/>
              <a:t>Average age of nuclear plant, </a:t>
            </a:r>
            <a:r>
              <a:rPr lang="en-US" sz="1000"/>
              <a:t>years in operation</a:t>
            </a:r>
            <a:endParaRPr lang="en-US" sz="1000" b="1"/>
          </a:p>
        </p:txBody>
      </p:sp>
      <p:sp>
        <p:nvSpPr>
          <p:cNvPr id="1486" name="Oval 1485">
            <a:extLst>
              <a:ext uri="{FF2B5EF4-FFF2-40B4-BE49-F238E27FC236}">
                <a16:creationId xmlns:a16="http://schemas.microsoft.com/office/drawing/2014/main" id="{37D8566E-C59B-CF61-1E51-88CF123101CD}"/>
              </a:ext>
            </a:extLst>
          </p:cNvPr>
          <p:cNvSpPr/>
          <p:nvPr/>
        </p:nvSpPr>
        <p:spPr bwMode="gray">
          <a:xfrm>
            <a:off x="5908103" y="1592265"/>
            <a:ext cx="387350" cy="199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000">
                <a:solidFill>
                  <a:schemeClr val="tx1"/>
                </a:solidFill>
              </a:rPr>
              <a:t>xx</a:t>
            </a:r>
          </a:p>
        </p:txBody>
      </p:sp>
      <p:sp>
        <p:nvSpPr>
          <p:cNvPr id="1487" name="Oval 1486">
            <a:extLst>
              <a:ext uri="{FF2B5EF4-FFF2-40B4-BE49-F238E27FC236}">
                <a16:creationId xmlns:a16="http://schemas.microsoft.com/office/drawing/2014/main" id="{D1BE8884-2516-DA74-AC54-DF90EA91E16E}"/>
              </a:ext>
            </a:extLst>
          </p:cNvPr>
          <p:cNvSpPr/>
          <p:nvPr/>
        </p:nvSpPr>
        <p:spPr bwMode="gray">
          <a:xfrm>
            <a:off x="1182688" y="2113424"/>
            <a:ext cx="388938" cy="2189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lt;5</a:t>
            </a:r>
          </a:p>
        </p:txBody>
      </p:sp>
      <p:sp>
        <p:nvSpPr>
          <p:cNvPr id="1488" name="Oval 1487">
            <a:extLst>
              <a:ext uri="{FF2B5EF4-FFF2-40B4-BE49-F238E27FC236}">
                <a16:creationId xmlns:a16="http://schemas.microsoft.com/office/drawing/2014/main" id="{105E698C-8E07-2F12-ADAE-21535B6A7ED9}"/>
              </a:ext>
            </a:extLst>
          </p:cNvPr>
          <p:cNvSpPr/>
          <p:nvPr/>
        </p:nvSpPr>
        <p:spPr bwMode="gray">
          <a:xfrm>
            <a:off x="1951038" y="2113424"/>
            <a:ext cx="388938" cy="2189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5</a:t>
            </a:r>
          </a:p>
        </p:txBody>
      </p:sp>
      <p:sp>
        <p:nvSpPr>
          <p:cNvPr id="1489" name="Oval 1488">
            <a:extLst>
              <a:ext uri="{FF2B5EF4-FFF2-40B4-BE49-F238E27FC236}">
                <a16:creationId xmlns:a16="http://schemas.microsoft.com/office/drawing/2014/main" id="{7FAC9D14-7094-9082-E502-06F24B8780BF}"/>
              </a:ext>
            </a:extLst>
          </p:cNvPr>
          <p:cNvSpPr/>
          <p:nvPr/>
        </p:nvSpPr>
        <p:spPr bwMode="gray">
          <a:xfrm>
            <a:off x="2720975" y="2113424"/>
            <a:ext cx="388938" cy="2189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6</a:t>
            </a:r>
          </a:p>
        </p:txBody>
      </p:sp>
      <p:sp>
        <p:nvSpPr>
          <p:cNvPr id="1490" name="Oval 1489">
            <a:extLst>
              <a:ext uri="{FF2B5EF4-FFF2-40B4-BE49-F238E27FC236}">
                <a16:creationId xmlns:a16="http://schemas.microsoft.com/office/drawing/2014/main" id="{40090654-CE4B-3248-D81A-795CE1F21CA7}"/>
              </a:ext>
            </a:extLst>
          </p:cNvPr>
          <p:cNvSpPr/>
          <p:nvPr/>
        </p:nvSpPr>
        <p:spPr bwMode="gray">
          <a:xfrm>
            <a:off x="3489325" y="2113424"/>
            <a:ext cx="388938" cy="2189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8</a:t>
            </a:r>
          </a:p>
        </p:txBody>
      </p:sp>
      <p:sp>
        <p:nvSpPr>
          <p:cNvPr id="1491" name="Oval 1490">
            <a:extLst>
              <a:ext uri="{FF2B5EF4-FFF2-40B4-BE49-F238E27FC236}">
                <a16:creationId xmlns:a16="http://schemas.microsoft.com/office/drawing/2014/main" id="{E61C6C41-2E66-87B6-9B56-3DD48BB76DCB}"/>
              </a:ext>
            </a:extLst>
          </p:cNvPr>
          <p:cNvSpPr/>
          <p:nvPr/>
        </p:nvSpPr>
        <p:spPr bwMode="gray">
          <a:xfrm>
            <a:off x="4259263" y="2113424"/>
            <a:ext cx="388938" cy="2189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12</a:t>
            </a:r>
          </a:p>
        </p:txBody>
      </p:sp>
      <p:sp>
        <p:nvSpPr>
          <p:cNvPr id="1492" name="Oval 1491">
            <a:extLst>
              <a:ext uri="{FF2B5EF4-FFF2-40B4-BE49-F238E27FC236}">
                <a16:creationId xmlns:a16="http://schemas.microsoft.com/office/drawing/2014/main" id="{50298F4B-2704-1AC3-B28E-2F17D15D83B0}"/>
              </a:ext>
            </a:extLst>
          </p:cNvPr>
          <p:cNvSpPr/>
          <p:nvPr/>
        </p:nvSpPr>
        <p:spPr bwMode="gray">
          <a:xfrm>
            <a:off x="5027613" y="2113424"/>
            <a:ext cx="388938" cy="2189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16</a:t>
            </a:r>
          </a:p>
        </p:txBody>
      </p:sp>
      <p:sp>
        <p:nvSpPr>
          <p:cNvPr id="1493" name="Oval 1492">
            <a:extLst>
              <a:ext uri="{FF2B5EF4-FFF2-40B4-BE49-F238E27FC236}">
                <a16:creationId xmlns:a16="http://schemas.microsoft.com/office/drawing/2014/main" id="{E60D085F-82BE-12ED-ED55-EB28984FAD78}"/>
              </a:ext>
            </a:extLst>
          </p:cNvPr>
          <p:cNvSpPr/>
          <p:nvPr/>
        </p:nvSpPr>
        <p:spPr bwMode="gray">
          <a:xfrm>
            <a:off x="5795963" y="2113424"/>
            <a:ext cx="388938" cy="2189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0</a:t>
            </a:r>
          </a:p>
        </p:txBody>
      </p:sp>
      <p:sp>
        <p:nvSpPr>
          <p:cNvPr id="1494" name="Oval 1493">
            <a:extLst>
              <a:ext uri="{FF2B5EF4-FFF2-40B4-BE49-F238E27FC236}">
                <a16:creationId xmlns:a16="http://schemas.microsoft.com/office/drawing/2014/main" id="{612A85F0-4B7D-6493-B85C-E1DF446E2B77}"/>
              </a:ext>
            </a:extLst>
          </p:cNvPr>
          <p:cNvSpPr/>
          <p:nvPr/>
        </p:nvSpPr>
        <p:spPr bwMode="gray">
          <a:xfrm>
            <a:off x="6565900" y="2113424"/>
            <a:ext cx="388938" cy="2189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5</a:t>
            </a:r>
          </a:p>
        </p:txBody>
      </p:sp>
      <p:sp>
        <p:nvSpPr>
          <p:cNvPr id="1495" name="Oval 1494">
            <a:extLst>
              <a:ext uri="{FF2B5EF4-FFF2-40B4-BE49-F238E27FC236}">
                <a16:creationId xmlns:a16="http://schemas.microsoft.com/office/drawing/2014/main" id="{9456E7CD-200E-084A-A932-08F63E8A13C3}"/>
              </a:ext>
            </a:extLst>
          </p:cNvPr>
          <p:cNvSpPr/>
          <p:nvPr/>
        </p:nvSpPr>
        <p:spPr bwMode="gray">
          <a:xfrm>
            <a:off x="7334250" y="2113424"/>
            <a:ext cx="388938" cy="2189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7</a:t>
            </a:r>
          </a:p>
        </p:txBody>
      </p:sp>
      <p:sp>
        <p:nvSpPr>
          <p:cNvPr id="1496" name="Oval 1495">
            <a:extLst>
              <a:ext uri="{FF2B5EF4-FFF2-40B4-BE49-F238E27FC236}">
                <a16:creationId xmlns:a16="http://schemas.microsoft.com/office/drawing/2014/main" id="{CC21A187-30A1-2061-9EF0-02767DCDE7C1}"/>
              </a:ext>
            </a:extLst>
          </p:cNvPr>
          <p:cNvSpPr/>
          <p:nvPr/>
        </p:nvSpPr>
        <p:spPr bwMode="gray">
          <a:xfrm>
            <a:off x="8104188" y="2113424"/>
            <a:ext cx="388938" cy="2189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30</a:t>
            </a:r>
          </a:p>
        </p:txBody>
      </p:sp>
      <p:sp>
        <p:nvSpPr>
          <p:cNvPr id="1497" name="Oval 1496">
            <a:extLst>
              <a:ext uri="{FF2B5EF4-FFF2-40B4-BE49-F238E27FC236}">
                <a16:creationId xmlns:a16="http://schemas.microsoft.com/office/drawing/2014/main" id="{09366F13-3904-A0D1-D514-AFEA9A1A6A2F}"/>
              </a:ext>
            </a:extLst>
          </p:cNvPr>
          <p:cNvSpPr/>
          <p:nvPr/>
        </p:nvSpPr>
        <p:spPr bwMode="gray">
          <a:xfrm>
            <a:off x="8872538" y="2113424"/>
            <a:ext cx="388938" cy="2189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31</a:t>
            </a:r>
          </a:p>
        </p:txBody>
      </p:sp>
      <p:sp>
        <p:nvSpPr>
          <p:cNvPr id="1515" name="TextBox 8">
            <a:extLst>
              <a:ext uri="{FF2B5EF4-FFF2-40B4-BE49-F238E27FC236}">
                <a16:creationId xmlns:a16="http://schemas.microsoft.com/office/drawing/2014/main" id="{E7378C29-9679-17D9-0DEC-E17CC4144537}"/>
              </a:ext>
            </a:extLst>
          </p:cNvPr>
          <p:cNvSpPr txBox="1"/>
          <p:nvPr/>
        </p:nvSpPr>
        <p:spPr bwMode="gray">
          <a:xfrm>
            <a:off x="9445624" y="1554480"/>
            <a:ext cx="2624137" cy="3439403"/>
          </a:xfrm>
          <a:prstGeom prst="rect">
            <a:avLst/>
          </a:prstGeom>
          <a:solidFill>
            <a:srgbClr val="E3E8EE"/>
          </a:solidFill>
        </p:spPr>
        <p:txBody>
          <a:bodyPr wrap="square" lIns="137160" tIns="137160" rIns="274320" bIns="137160" rtlCol="0" anchor="t">
            <a:spAutoFit/>
          </a:bodyPr>
          <a:lstStyle/>
          <a:p>
            <a:pPr marL="0" indent="0">
              <a:spcAft>
                <a:spcPts val="600"/>
              </a:spcAft>
              <a:buNone/>
            </a:pPr>
            <a:r>
              <a:rPr lang="en-US" sz="1200" b="1"/>
              <a:t>Observations   </a:t>
            </a:r>
            <a:endParaRPr kumimoji="0" lang="en-US" sz="1200" i="0" u="none" strike="noStrike" kern="1200" cap="none" spc="0" normalizeH="0" baseline="0" noProof="0">
              <a:ln>
                <a:noFill/>
              </a:ln>
              <a:solidFill>
                <a:srgbClr val="000000"/>
              </a:solidFill>
              <a:effectLst/>
              <a:uLnTx/>
              <a:uFillTx/>
              <a:latin typeface="Arial"/>
            </a:endParaRPr>
          </a:p>
          <a:p>
            <a:pPr marL="171450" indent="-171450">
              <a:spcBef>
                <a:spcPts val="0"/>
              </a:spcBef>
              <a:spcAft>
                <a:spcPts val="400"/>
              </a:spcAft>
              <a:buFont typeface="Arial" panose="020B0604020202020204" pitchFamily="34" charset="0"/>
              <a:buChar char="•"/>
            </a:pPr>
            <a:r>
              <a:rPr lang="en-US" sz="1050" b="1"/>
              <a:t>Global capacity of operational nuclear plants grew rapidly to 243 MW in 1990,</a:t>
            </a:r>
            <a:r>
              <a:rPr lang="en-US" sz="1050"/>
              <a:t> which then gradually grew to 396 MW today.</a:t>
            </a:r>
          </a:p>
          <a:p>
            <a:pPr marL="171450" indent="-171450">
              <a:spcBef>
                <a:spcPts val="0"/>
              </a:spcBef>
              <a:spcAft>
                <a:spcPts val="400"/>
              </a:spcAft>
              <a:buFont typeface="Arial" panose="020B0604020202020204" pitchFamily="34" charset="0"/>
              <a:buChar char="•"/>
            </a:pPr>
            <a:r>
              <a:rPr lang="en-US" sz="1050" b="1"/>
              <a:t>Between 2000 and 2010, few new plants were constructed</a:t>
            </a:r>
            <a:r>
              <a:rPr lang="en-US" sz="1050"/>
              <a:t>, leading to a rapid increase in average age that corresponded to the number of years passed (+9 years in 10 years’ time).</a:t>
            </a:r>
          </a:p>
          <a:p>
            <a:pPr marL="171450" indent="-171450">
              <a:spcBef>
                <a:spcPts val="0"/>
              </a:spcBef>
              <a:spcAft>
                <a:spcPts val="400"/>
              </a:spcAft>
              <a:buFont typeface="Arial" panose="020B0604020202020204" pitchFamily="34" charset="0"/>
              <a:buChar char="•"/>
            </a:pPr>
            <a:r>
              <a:rPr lang="en-US" sz="1050" b="1"/>
              <a:t>Since 2010</a:t>
            </a:r>
            <a:r>
              <a:rPr lang="en-US" sz="1050"/>
              <a:t>, new plants have become operational, </a:t>
            </a:r>
            <a:r>
              <a:rPr lang="en-US" sz="1050" b="1"/>
              <a:t>stabilizing the increase in average plant age.</a:t>
            </a:r>
          </a:p>
          <a:p>
            <a:pPr marL="171450" indent="-171450">
              <a:spcBef>
                <a:spcPts val="0"/>
              </a:spcBef>
              <a:spcAft>
                <a:spcPts val="400"/>
              </a:spcAft>
              <a:buFont typeface="Arial" panose="020B0604020202020204" pitchFamily="34" charset="0"/>
              <a:buChar char="•"/>
            </a:pPr>
            <a:r>
              <a:rPr lang="en-US" sz="1050" b="1"/>
              <a:t>With &gt;250 MW capacity at &gt;24 years of age, extending plants’ lifetime is extremely promising.</a:t>
            </a:r>
          </a:p>
        </p:txBody>
      </p:sp>
      <p:sp>
        <p:nvSpPr>
          <p:cNvPr id="5" name="Speech Bubble: Rectangle 4">
            <a:extLst>
              <a:ext uri="{FF2B5EF4-FFF2-40B4-BE49-F238E27FC236}">
                <a16:creationId xmlns:a16="http://schemas.microsoft.com/office/drawing/2014/main" id="{5113EBC0-730F-3716-D6B1-2360915F054B}"/>
              </a:ext>
            </a:extLst>
          </p:cNvPr>
          <p:cNvSpPr/>
          <p:nvPr/>
        </p:nvSpPr>
        <p:spPr bwMode="gray">
          <a:xfrm>
            <a:off x="1725696" y="2806860"/>
            <a:ext cx="1781907" cy="896977"/>
          </a:xfrm>
          <a:prstGeom prst="wedgeRectCallout">
            <a:avLst>
              <a:gd name="adj1" fmla="val 14984"/>
              <a:gd name="adj2" fmla="val 7031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chemeClr val="bg1"/>
                </a:solidFill>
              </a:rPr>
              <a:t>     The U.S. didn’t build any   nuclear reactors between 1996 and 2016 and has built only ~3 MW since, compared with 100 MW before 1996.</a:t>
            </a:r>
          </a:p>
        </p:txBody>
      </p:sp>
      <p:pic>
        <p:nvPicPr>
          <p:cNvPr id="9" name="Picture 6" descr="Flag of the United States - Wikipedia">
            <a:extLst>
              <a:ext uri="{FF2B5EF4-FFF2-40B4-BE49-F238E27FC236}">
                <a16:creationId xmlns:a16="http://schemas.microsoft.com/office/drawing/2014/main" id="{7354FEAA-A9F7-474C-5BB1-1978B0740B82}"/>
              </a:ext>
            </a:extLst>
          </p:cNvPr>
          <p:cNvPicPr>
            <a:picLocks noChangeArrowheads="1"/>
          </p:cNvPicPr>
          <p:nvPr/>
        </p:nvPicPr>
        <p:blipFill rotWithShape="1">
          <a:blip r:embed="rId47" cstate="screen">
            <a:extLst>
              <a:ext uri="{28A0092B-C50C-407E-A947-70E740481C1C}">
                <a14:useLocalDpi xmlns:a14="http://schemas.microsoft.com/office/drawing/2010/main"/>
              </a:ext>
            </a:extLst>
          </a:blip>
          <a:srcRect r="11190"/>
          <a:stretch/>
        </p:blipFill>
        <p:spPr bwMode="auto">
          <a:xfrm>
            <a:off x="1734557" y="2811304"/>
            <a:ext cx="182880" cy="182880"/>
          </a:xfrm>
          <a:prstGeom prst="ellipse">
            <a:avLst/>
          </a:prstGeom>
          <a:ln w="3175" cap="rnd">
            <a:solidFill>
              <a:schemeClr val="bg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sp>
        <p:nvSpPr>
          <p:cNvPr id="4" name="Speech Bubble: Rectangle 3">
            <a:extLst>
              <a:ext uri="{FF2B5EF4-FFF2-40B4-BE49-F238E27FC236}">
                <a16:creationId xmlns:a16="http://schemas.microsoft.com/office/drawing/2014/main" id="{3C7348DF-B5EE-6E2B-B004-2FC0C9A9F884}"/>
              </a:ext>
            </a:extLst>
          </p:cNvPr>
          <p:cNvSpPr/>
          <p:nvPr/>
        </p:nvSpPr>
        <p:spPr bwMode="gray">
          <a:xfrm>
            <a:off x="4626230" y="4013994"/>
            <a:ext cx="1781907" cy="896977"/>
          </a:xfrm>
          <a:prstGeom prst="wedgeRectCallout">
            <a:avLst>
              <a:gd name="adj1" fmla="val -72196"/>
              <a:gd name="adj2" fmla="val 27268"/>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rgbClr val="FFFFFF"/>
                </a:solidFill>
              </a:rPr>
              <a:t>     Between 1982 and 1992,         France alone built ~70 GW of nuclear power, which will reach its design lifetime in the next decade.</a:t>
            </a:r>
          </a:p>
        </p:txBody>
      </p:sp>
      <p:pic>
        <p:nvPicPr>
          <p:cNvPr id="12" name="Picture 2" descr="Flag of France - Wikipedia">
            <a:extLst>
              <a:ext uri="{FF2B5EF4-FFF2-40B4-BE49-F238E27FC236}">
                <a16:creationId xmlns:a16="http://schemas.microsoft.com/office/drawing/2014/main" id="{D5B9CB38-0D9B-FE7B-213C-5B60F0938AD3}"/>
              </a:ext>
            </a:extLst>
          </p:cNvPr>
          <p:cNvPicPr>
            <a:picLocks noChangeArrowheads="1"/>
          </p:cNvPicPr>
          <p:nvPr/>
        </p:nvPicPr>
        <p:blipFill rotWithShape="1">
          <a:blip r:embed="rId48" cstate="screen">
            <a:extLst>
              <a:ext uri="{28A0092B-C50C-407E-A947-70E740481C1C}">
                <a14:useLocalDpi xmlns:a14="http://schemas.microsoft.com/office/drawing/2010/main"/>
              </a:ext>
            </a:extLst>
          </a:blip>
          <a:srcRect l="10366" r="8463"/>
          <a:stretch/>
        </p:blipFill>
        <p:spPr bwMode="auto">
          <a:xfrm>
            <a:off x="4626963" y="4019232"/>
            <a:ext cx="182880" cy="182880"/>
          </a:xfrm>
          <a:prstGeom prst="ellipse">
            <a:avLst/>
          </a:prstGeom>
          <a:ln w="3175" cap="rnd">
            <a:solidFill>
              <a:schemeClr val="bg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48A0068C-8000-E5CD-B115-B457623D3CAF}"/>
              </a:ext>
            </a:extLst>
          </p:cNvPr>
          <p:cNvSpPr/>
          <p:nvPr/>
        </p:nvSpPr>
        <p:spPr bwMode="gray">
          <a:xfrm>
            <a:off x="0" y="0"/>
            <a:ext cx="2926080" cy="38220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Deep dive: Extending lifetime </a:t>
            </a:r>
          </a:p>
        </p:txBody>
      </p:sp>
    </p:spTree>
    <p:custDataLst>
      <p:tags r:id="rId1"/>
    </p:custDataLst>
    <p:extLst>
      <p:ext uri="{BB962C8B-B14F-4D97-AF65-F5344CB8AC3E}">
        <p14:creationId xmlns:p14="http://schemas.microsoft.com/office/powerpoint/2010/main" val="558383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EF4DC9F-2734-28E5-F5B0-BEE7D93D7E19}"/>
              </a:ext>
            </a:extLst>
          </p:cNvPr>
          <p:cNvGraphicFramePr>
            <a:graphicFrameLocks noChangeAspect="1"/>
          </p:cNvGraphicFramePr>
          <p:nvPr>
            <p:custDataLst>
              <p:tags r:id="rId1"/>
            </p:custDataLst>
            <p:extLst>
              <p:ext uri="{D42A27DB-BD31-4B8C-83A1-F6EECF244321}">
                <p14:modId xmlns:p14="http://schemas.microsoft.com/office/powerpoint/2010/main" val="152877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05" imgH="405" progId="TCLayout.ActiveDocument.1">
                  <p:embed/>
                </p:oleObj>
              </mc:Choice>
              <mc:Fallback>
                <p:oleObj name="think-cell Slide" r:id="rId35" imgW="405" imgH="405"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graphicFrame>
        <p:nvGraphicFramePr>
          <p:cNvPr id="473" name="Chart 472">
            <a:extLst>
              <a:ext uri="{FF2B5EF4-FFF2-40B4-BE49-F238E27FC236}">
                <a16:creationId xmlns:a16="http://schemas.microsoft.com/office/drawing/2014/main" id="{90C49797-9517-3614-4C1B-B050899CB623}"/>
              </a:ext>
            </a:extLst>
          </p:cNvPr>
          <p:cNvGraphicFramePr/>
          <p:nvPr>
            <p:custDataLst>
              <p:tags r:id="rId2"/>
            </p:custDataLst>
            <p:extLst>
              <p:ext uri="{D42A27DB-BD31-4B8C-83A1-F6EECF244321}">
                <p14:modId xmlns:p14="http://schemas.microsoft.com/office/powerpoint/2010/main" val="3236556887"/>
              </p:ext>
            </p:extLst>
          </p:nvPr>
        </p:nvGraphicFramePr>
        <p:xfrm>
          <a:off x="836613" y="1689100"/>
          <a:ext cx="6026150" cy="4081463"/>
        </p:xfrm>
        <a:graphic>
          <a:graphicData uri="http://schemas.openxmlformats.org/drawingml/2006/chart">
            <c:chart xmlns:c="http://schemas.openxmlformats.org/drawingml/2006/chart" xmlns:r="http://schemas.openxmlformats.org/officeDocument/2006/relationships" r:id="rId37"/>
          </a:graphicData>
        </a:graphic>
      </p:graphicFrame>
      <p:sp>
        <p:nvSpPr>
          <p:cNvPr id="276" name="Text Placeholder 10">
            <a:extLst>
              <a:ext uri="{FF2B5EF4-FFF2-40B4-BE49-F238E27FC236}">
                <a16:creationId xmlns:a16="http://schemas.microsoft.com/office/drawing/2014/main" id="{115DFB91-512B-3844-A114-92FBEDCA92F2}"/>
              </a:ext>
            </a:extLst>
          </p:cNvPr>
          <p:cNvSpPr>
            <a:spLocks noGrp="1"/>
          </p:cNvSpPr>
          <p:nvPr>
            <p:custDataLst>
              <p:tags r:id="rId3"/>
            </p:custDataLst>
          </p:nvPr>
        </p:nvSpPr>
        <p:spPr bwMode="gray">
          <a:xfrm>
            <a:off x="682625" y="5597525"/>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1A09759-E028-4DB0-AB51-DCCBFE27E52C}" type="datetime'''''''0'''">
              <a:rPr lang="en-US" altLang="en-US" sz="1200" smtClean="0">
                <a:effectLst/>
              </a:rPr>
              <a:pPr marL="0" lvl="0" indent="0" algn="r">
                <a:spcBef>
                  <a:spcPct val="0"/>
                </a:spcBef>
                <a:spcAft>
                  <a:spcPct val="0"/>
                </a:spcAft>
                <a:buNone/>
              </a:pPr>
              <a:t>0</a:t>
            </a:fld>
            <a:endParaRPr lang="en-US" sz="1200"/>
          </a:p>
        </p:txBody>
      </p:sp>
      <p:sp>
        <p:nvSpPr>
          <p:cNvPr id="277"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598488" y="5108575"/>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4605743-CDBD-48A9-AE7B-9AADEFDC2102}" type="datetime'''5''''''''''''''''''''''''''''0'''''''''''''''">
              <a:rPr lang="en-US" altLang="en-US" sz="1200" smtClean="0">
                <a:effectLst/>
              </a:rPr>
              <a:pPr marL="0" lvl="0" indent="0" algn="r">
                <a:spcBef>
                  <a:spcPct val="0"/>
                </a:spcBef>
                <a:spcAft>
                  <a:spcPct val="0"/>
                </a:spcAft>
                <a:buNone/>
              </a:pPr>
              <a:t>50</a:t>
            </a:fld>
            <a:endParaRPr lang="en-US" sz="1200"/>
          </a:p>
        </p:txBody>
      </p:sp>
      <p:sp>
        <p:nvSpPr>
          <p:cNvPr id="278"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14350" y="46180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BD7DB42-C7AC-4420-9AE6-AD203767FF6B}" type="datetime'''''''10''''''''0'''''''''''''''''''">
              <a:rPr lang="en-US" altLang="en-US" sz="1200" smtClean="0">
                <a:effectLst/>
              </a:rPr>
              <a:pPr marL="0" lvl="0" indent="0" algn="r">
                <a:spcBef>
                  <a:spcPct val="0"/>
                </a:spcBef>
                <a:spcAft>
                  <a:spcPct val="0"/>
                </a:spcAft>
                <a:buNone/>
              </a:pPr>
              <a:t>100</a:t>
            </a:fld>
            <a:endParaRPr lang="en-US" sz="1200"/>
          </a:p>
        </p:txBody>
      </p:sp>
      <p:sp>
        <p:nvSpPr>
          <p:cNvPr id="279"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14350" y="412908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0790B9A-103E-4D46-914B-8E8B24983F7F}" type="datetime'1''''5''''''''''''0'''''''''''''''''''''">
              <a:rPr lang="en-US" altLang="en-US" sz="1200" smtClean="0">
                <a:effectLst/>
              </a:rPr>
              <a:pPr marL="0" lvl="0" indent="0" algn="r">
                <a:spcBef>
                  <a:spcPct val="0"/>
                </a:spcBef>
                <a:spcAft>
                  <a:spcPct val="0"/>
                </a:spcAft>
                <a:buNone/>
              </a:pPr>
              <a:t>150</a:t>
            </a:fld>
            <a:endParaRPr lang="en-US" sz="1200"/>
          </a:p>
        </p:txBody>
      </p:sp>
      <p:sp>
        <p:nvSpPr>
          <p:cNvPr id="280"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14350" y="36401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24A3164-00E6-42D2-9E69-52B26F42D7C1}" type="datetime'''''''''''''''''''''''''''''''''2''''00'''''">
              <a:rPr lang="en-US" altLang="en-US" sz="1200" smtClean="0">
                <a:effectLst/>
              </a:rPr>
              <a:pPr marL="0" lvl="0" indent="0" algn="r">
                <a:spcBef>
                  <a:spcPct val="0"/>
                </a:spcBef>
                <a:spcAft>
                  <a:spcPct val="0"/>
                </a:spcAft>
                <a:buNone/>
              </a:pPr>
              <a:t>200</a:t>
            </a:fld>
            <a:endParaRPr lang="en-US" sz="1200"/>
          </a:p>
        </p:txBody>
      </p:sp>
      <p:sp>
        <p:nvSpPr>
          <p:cNvPr id="281"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14350" y="3149600"/>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54BBC95-5FED-4BA1-B3FE-51491121AD78}" type="datetime'''''''''''''''''2''''''''''''''''''''''''''''50'''''''''">
              <a:rPr lang="en-US" altLang="en-US" sz="1200" smtClean="0">
                <a:effectLst/>
              </a:rPr>
              <a:pPr marL="0" lvl="0" indent="0" algn="r">
                <a:spcBef>
                  <a:spcPct val="0"/>
                </a:spcBef>
                <a:spcAft>
                  <a:spcPct val="0"/>
                </a:spcAft>
                <a:buNone/>
              </a:pPr>
              <a:t>250</a:t>
            </a:fld>
            <a:endParaRPr lang="en-US" sz="1200"/>
          </a:p>
        </p:txBody>
      </p:sp>
      <p:sp>
        <p:nvSpPr>
          <p:cNvPr id="282"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514350" y="2660650"/>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F0C13F3-5998-43E2-AEDF-805817D2D72F}" type="datetime'''3''0''''''''''''''''''0'''''''''''">
              <a:rPr lang="en-US" altLang="en-US" sz="1200" smtClean="0">
                <a:effectLst/>
              </a:rPr>
              <a:pPr marL="0" lvl="0" indent="0" algn="r">
                <a:spcBef>
                  <a:spcPct val="0"/>
                </a:spcBef>
                <a:spcAft>
                  <a:spcPct val="0"/>
                </a:spcAft>
                <a:buNone/>
              </a:pPr>
              <a:t>300</a:t>
            </a:fld>
            <a:endParaRPr lang="en-US" sz="1200"/>
          </a:p>
        </p:txBody>
      </p:sp>
      <p:sp>
        <p:nvSpPr>
          <p:cNvPr id="283"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514350" y="217011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979B4D8-C95D-4FE7-843B-7C9CA19F7AA9}" type="datetime'3''''5''''''''''''''''''0'''''''''''''">
              <a:rPr lang="en-US" altLang="en-US" sz="1200" smtClean="0">
                <a:effectLst/>
              </a:rPr>
              <a:pPr marL="0" lvl="0" indent="0" algn="r">
                <a:spcBef>
                  <a:spcPct val="0"/>
                </a:spcBef>
                <a:spcAft>
                  <a:spcPct val="0"/>
                </a:spcAft>
                <a:buNone/>
              </a:pPr>
              <a:t>350</a:t>
            </a:fld>
            <a:endParaRPr lang="en-US" sz="1200"/>
          </a:p>
        </p:txBody>
      </p:sp>
      <p:sp>
        <p:nvSpPr>
          <p:cNvPr id="284"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514350" y="168116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50B2F39-1FBF-4761-8F65-BDAB2A926A3A}" type="datetime'''''''''''''''''''''''''4''''''''''0''''''''0'''''''''">
              <a:rPr lang="en-US" altLang="en-US" sz="1200" smtClean="0">
                <a:effectLst/>
              </a:rPr>
              <a:pPr marL="0" lvl="0" indent="0" algn="r">
                <a:spcBef>
                  <a:spcPct val="0"/>
                </a:spcBef>
                <a:spcAft>
                  <a:spcPct val="0"/>
                </a:spcAft>
                <a:buNone/>
              </a:pPr>
              <a:t>400</a:t>
            </a:fld>
            <a:endParaRPr lang="en-US" sz="1200"/>
          </a:p>
        </p:txBody>
      </p:sp>
      <p:sp>
        <p:nvSpPr>
          <p:cNvPr id="5"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744538" y="5738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9807EC-4F58-4793-815F-B8F3605AFC3E}" type="datetime'''''''''''''''''2''''''''''''''''''''''''''''0''2''5'">
              <a:rPr lang="en-US" altLang="en-US" sz="1200" smtClean="0"/>
              <a:pPr marL="0" lvl="0" indent="0" algn="ctr">
                <a:spcBef>
                  <a:spcPct val="0"/>
                </a:spcBef>
                <a:spcAft>
                  <a:spcPct val="0"/>
                </a:spcAft>
                <a:buNone/>
              </a:pPr>
              <a:t>2025</a:t>
            </a:fld>
            <a:endParaRPr lang="en-US" sz="1200"/>
          </a:p>
        </p:txBody>
      </p:sp>
      <p:sp>
        <p:nvSpPr>
          <p:cNvPr id="173" name="Text Placeholder 10">
            <a:extLst>
              <a:ext uri="{FF2B5EF4-FFF2-40B4-BE49-F238E27FC236}">
                <a16:creationId xmlns:a16="http://schemas.microsoft.com/office/drawing/2014/main" id="{FAD119DD-0A17-719C-D5DE-FFC6B9AD0E63}"/>
              </a:ext>
            </a:extLst>
          </p:cNvPr>
          <p:cNvSpPr>
            <a:spLocks noGrp="1"/>
          </p:cNvSpPr>
          <p:nvPr>
            <p:custDataLst>
              <p:tags r:id="rId13"/>
            </p:custDataLst>
          </p:nvPr>
        </p:nvSpPr>
        <p:spPr bwMode="auto">
          <a:xfrm>
            <a:off x="1135063" y="5738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54A2569-2566-4B07-97D5-803ABC5E6390}" type="datetime'''''''2''''0''''''''''''''''''''''30'''''''''">
              <a:rPr lang="en-US" altLang="en-US" sz="1200" smtClean="0"/>
              <a:pPr marL="0" lvl="0" indent="0" algn="ctr">
                <a:spcBef>
                  <a:spcPct val="0"/>
                </a:spcBef>
                <a:spcAft>
                  <a:spcPct val="0"/>
                </a:spcAft>
                <a:buNone/>
              </a:pPr>
              <a:t>2030</a:t>
            </a:fld>
            <a:endParaRPr lang="en-US" sz="1200"/>
          </a:p>
        </p:txBody>
      </p:sp>
      <p:sp>
        <p:nvSpPr>
          <p:cNvPr id="183" name="Text Placeholder 10">
            <a:extLst>
              <a:ext uri="{FF2B5EF4-FFF2-40B4-BE49-F238E27FC236}">
                <a16:creationId xmlns:a16="http://schemas.microsoft.com/office/drawing/2014/main" id="{D1A1929D-C03B-B400-E804-2D394A41AABB}"/>
              </a:ext>
            </a:extLst>
          </p:cNvPr>
          <p:cNvSpPr>
            <a:spLocks noGrp="1"/>
          </p:cNvSpPr>
          <p:nvPr>
            <p:custDataLst>
              <p:tags r:id="rId14"/>
            </p:custDataLst>
          </p:nvPr>
        </p:nvSpPr>
        <p:spPr bwMode="auto">
          <a:xfrm>
            <a:off x="1916113" y="5738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A3CB021-F14D-49CA-B1A5-A283DE53A4B1}" type="datetime'''''2''0''''''''''''''''''''''''''''40'''''''''''''''''''''''">
              <a:rPr lang="en-US" altLang="en-US" sz="1200" smtClean="0"/>
              <a:pPr marL="0" lvl="0" indent="0" algn="ctr">
                <a:spcBef>
                  <a:spcPct val="0"/>
                </a:spcBef>
                <a:spcAft>
                  <a:spcPct val="0"/>
                </a:spcAft>
                <a:buNone/>
              </a:pPr>
              <a:t>2040</a:t>
            </a:fld>
            <a:endParaRPr lang="en-US" sz="1200"/>
          </a:p>
        </p:txBody>
      </p:sp>
      <p:sp>
        <p:nvSpPr>
          <p:cNvPr id="193" name="Text Placeholder 10">
            <a:extLst>
              <a:ext uri="{FF2B5EF4-FFF2-40B4-BE49-F238E27FC236}">
                <a16:creationId xmlns:a16="http://schemas.microsoft.com/office/drawing/2014/main" id="{59A70354-F89F-7931-F8F8-9B45FCB799F5}"/>
              </a:ext>
            </a:extLst>
          </p:cNvPr>
          <p:cNvSpPr>
            <a:spLocks noGrp="1"/>
          </p:cNvSpPr>
          <p:nvPr>
            <p:custDataLst>
              <p:tags r:id="rId15"/>
            </p:custDataLst>
          </p:nvPr>
        </p:nvSpPr>
        <p:spPr bwMode="auto">
          <a:xfrm>
            <a:off x="2698750" y="5738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0DC9214-69B6-489A-A15F-57F14001A284}" type="datetime'''''''''''2''''''0''''''''''''''''''''50'''''''''''''">
              <a:rPr lang="en-US" altLang="en-US" sz="1200" smtClean="0"/>
              <a:pPr marL="0" lvl="0" indent="0" algn="ctr">
                <a:spcBef>
                  <a:spcPct val="0"/>
                </a:spcBef>
                <a:spcAft>
                  <a:spcPct val="0"/>
                </a:spcAft>
                <a:buNone/>
              </a:pPr>
              <a:t>2050</a:t>
            </a:fld>
            <a:endParaRPr lang="en-US" sz="1200"/>
          </a:p>
        </p:txBody>
      </p:sp>
      <p:sp>
        <p:nvSpPr>
          <p:cNvPr id="203" name="Text Placeholder 10">
            <a:extLst>
              <a:ext uri="{FF2B5EF4-FFF2-40B4-BE49-F238E27FC236}">
                <a16:creationId xmlns:a16="http://schemas.microsoft.com/office/drawing/2014/main" id="{D92E70D7-7B1F-CAD0-5CE8-CE3220BFF6FE}"/>
              </a:ext>
            </a:extLst>
          </p:cNvPr>
          <p:cNvSpPr>
            <a:spLocks noGrp="1"/>
          </p:cNvSpPr>
          <p:nvPr>
            <p:custDataLst>
              <p:tags r:id="rId16"/>
            </p:custDataLst>
          </p:nvPr>
        </p:nvSpPr>
        <p:spPr bwMode="auto">
          <a:xfrm>
            <a:off x="3479800" y="5738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972018C-3810-424C-8764-A6A753CA00D1}" type="datetime'2''''''0''''''''''''''''''''''''6''''''''''''''0'''''">
              <a:rPr lang="en-US" altLang="en-US" sz="1200" smtClean="0"/>
              <a:pPr marL="0" lvl="0" indent="0" algn="ctr">
                <a:spcBef>
                  <a:spcPct val="0"/>
                </a:spcBef>
                <a:spcAft>
                  <a:spcPct val="0"/>
                </a:spcAft>
                <a:buNone/>
              </a:pPr>
              <a:t>2060</a:t>
            </a:fld>
            <a:endParaRPr lang="en-US" sz="1200"/>
          </a:p>
        </p:txBody>
      </p:sp>
      <p:sp>
        <p:nvSpPr>
          <p:cNvPr id="213" name="Text Placeholder 10">
            <a:extLst>
              <a:ext uri="{FF2B5EF4-FFF2-40B4-BE49-F238E27FC236}">
                <a16:creationId xmlns:a16="http://schemas.microsoft.com/office/drawing/2014/main" id="{5B0CA702-8550-A343-1C6D-E70E03202DDD}"/>
              </a:ext>
            </a:extLst>
          </p:cNvPr>
          <p:cNvSpPr>
            <a:spLocks noGrp="1"/>
          </p:cNvSpPr>
          <p:nvPr>
            <p:custDataLst>
              <p:tags r:id="rId17"/>
            </p:custDataLst>
          </p:nvPr>
        </p:nvSpPr>
        <p:spPr bwMode="auto">
          <a:xfrm>
            <a:off x="4260850" y="5738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8CD422B-E173-42C2-B19E-7EEBD5F31F1B}" type="datetime'''''2''''''''''''''''''0''''''''''''7''''''''''''''''''0'">
              <a:rPr lang="en-US" altLang="en-US" sz="1200" smtClean="0"/>
              <a:pPr marL="0" lvl="0" indent="0" algn="ctr">
                <a:spcBef>
                  <a:spcPct val="0"/>
                </a:spcBef>
                <a:spcAft>
                  <a:spcPct val="0"/>
                </a:spcAft>
                <a:buNone/>
              </a:pPr>
              <a:t>2070</a:t>
            </a:fld>
            <a:endParaRPr lang="en-US" sz="1200"/>
          </a:p>
        </p:txBody>
      </p:sp>
      <p:sp>
        <p:nvSpPr>
          <p:cNvPr id="223" name="Text Placeholder 10">
            <a:extLst>
              <a:ext uri="{FF2B5EF4-FFF2-40B4-BE49-F238E27FC236}">
                <a16:creationId xmlns:a16="http://schemas.microsoft.com/office/drawing/2014/main" id="{9A1D3A29-F0C5-B5E8-9D1B-38A01BBEE3A8}"/>
              </a:ext>
            </a:extLst>
          </p:cNvPr>
          <p:cNvSpPr>
            <a:spLocks noGrp="1"/>
          </p:cNvSpPr>
          <p:nvPr>
            <p:custDataLst>
              <p:tags r:id="rId18"/>
            </p:custDataLst>
          </p:nvPr>
        </p:nvSpPr>
        <p:spPr bwMode="auto">
          <a:xfrm>
            <a:off x="5041900" y="5738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9A84EBA-2481-4137-99B4-29DEBB5C30B5}" type="datetime'''''''''''''''''''''''''''''''''2''''0''''''''8''''''0'">
              <a:rPr lang="en-US" altLang="en-US" sz="1200" smtClean="0"/>
              <a:pPr marL="0" lvl="0" indent="0" algn="ctr">
                <a:spcBef>
                  <a:spcPct val="0"/>
                </a:spcBef>
                <a:spcAft>
                  <a:spcPct val="0"/>
                </a:spcAft>
                <a:buNone/>
              </a:pPr>
              <a:t>2080</a:t>
            </a:fld>
            <a:endParaRPr lang="en-US" sz="1200"/>
          </a:p>
        </p:txBody>
      </p:sp>
      <p:sp>
        <p:nvSpPr>
          <p:cNvPr id="233" name="Text Placeholder 10">
            <a:extLst>
              <a:ext uri="{FF2B5EF4-FFF2-40B4-BE49-F238E27FC236}">
                <a16:creationId xmlns:a16="http://schemas.microsoft.com/office/drawing/2014/main" id="{CF5AE992-DA45-F868-0DDE-8D677FC2EF8F}"/>
              </a:ext>
            </a:extLst>
          </p:cNvPr>
          <p:cNvSpPr>
            <a:spLocks noGrp="1"/>
          </p:cNvSpPr>
          <p:nvPr>
            <p:custDataLst>
              <p:tags r:id="rId19"/>
            </p:custDataLst>
          </p:nvPr>
        </p:nvSpPr>
        <p:spPr bwMode="auto">
          <a:xfrm>
            <a:off x="5824538" y="5738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00D900C-2637-4E71-8EF7-0A47F2E03712}" type="datetime'''''''''''''2''''''''''''''''''''0''''''''''''''''''''''90'">
              <a:rPr lang="en-US" altLang="en-US" sz="1200" smtClean="0"/>
              <a:pPr marL="0" lvl="0" indent="0" algn="ctr">
                <a:spcBef>
                  <a:spcPct val="0"/>
                </a:spcBef>
                <a:spcAft>
                  <a:spcPct val="0"/>
                </a:spcAft>
                <a:buNone/>
              </a:pPr>
              <a:t>2090</a:t>
            </a:fld>
            <a:endParaRPr lang="en-US" sz="1200"/>
          </a:p>
        </p:txBody>
      </p:sp>
      <p:sp>
        <p:nvSpPr>
          <p:cNvPr id="243" name="Text Placeholder 10">
            <a:extLst>
              <a:ext uri="{FF2B5EF4-FFF2-40B4-BE49-F238E27FC236}">
                <a16:creationId xmlns:a16="http://schemas.microsoft.com/office/drawing/2014/main" id="{10A03AFC-B9EB-9807-849D-C1E89C74919C}"/>
              </a:ext>
            </a:extLst>
          </p:cNvPr>
          <p:cNvSpPr>
            <a:spLocks noGrp="1"/>
          </p:cNvSpPr>
          <p:nvPr>
            <p:custDataLst>
              <p:tags r:id="rId20"/>
            </p:custDataLst>
          </p:nvPr>
        </p:nvSpPr>
        <p:spPr bwMode="auto">
          <a:xfrm>
            <a:off x="6605588" y="5738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072406-E088-42DC-B9EF-B0A8F8CFF54F}" type="datetime'''''''''''''''''2''1''''''''''''''''''''0''0'''''">
              <a:rPr lang="en-US" altLang="en-US" sz="1200" smtClean="0"/>
              <a:pPr marL="0" lvl="0" indent="0" algn="ctr">
                <a:spcBef>
                  <a:spcPct val="0"/>
                </a:spcBef>
                <a:spcAft>
                  <a:spcPct val="0"/>
                </a:spcAft>
                <a:buNone/>
              </a:pPr>
              <a:t>2100</a:t>
            </a:fld>
            <a:endParaRPr lang="en-US" sz="1200"/>
          </a:p>
        </p:txBody>
      </p:sp>
      <p:sp>
        <p:nvSpPr>
          <p:cNvPr id="468"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787401" y="14620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effectLst/>
              </a:rPr>
              <a:t>GW</a:t>
            </a:r>
            <a:endParaRPr lang="en-US" sz="1200"/>
          </a:p>
        </p:txBody>
      </p:sp>
      <p:sp>
        <p:nvSpPr>
          <p:cNvPr id="2" name="Title 1">
            <a:extLst>
              <a:ext uri="{FF2B5EF4-FFF2-40B4-BE49-F238E27FC236}">
                <a16:creationId xmlns:a16="http://schemas.microsoft.com/office/drawing/2014/main" id="{C6E20083-3E96-D13B-BA34-08E6B3D31B17}"/>
              </a:ext>
            </a:extLst>
          </p:cNvPr>
          <p:cNvSpPr>
            <a:spLocks noGrp="1"/>
          </p:cNvSpPr>
          <p:nvPr>
            <p:ph type="title"/>
          </p:nvPr>
        </p:nvSpPr>
        <p:spPr/>
        <p:txBody>
          <a:bodyPr vert="horz">
            <a:noAutofit/>
          </a:bodyPr>
          <a:lstStyle/>
          <a:p>
            <a:r>
              <a:rPr lang="en-US"/>
              <a:t>Extending the lifetime of all nuclear plants by 10 years adds ~30,000 TWh and saves ~950 MtCO</a:t>
            </a:r>
            <a:r>
              <a:rPr lang="en-US" baseline="-25000"/>
              <a:t>2</a:t>
            </a:r>
            <a:r>
              <a:rPr lang="en-US"/>
              <a:t>e but comes with uncertainty</a:t>
            </a:r>
          </a:p>
        </p:txBody>
      </p:sp>
      <p:sp>
        <p:nvSpPr>
          <p:cNvPr id="22" name="btfpNotesBox368131">
            <a:hlinkClick r:id="rId38"/>
            <a:extLst>
              <a:ext uri="{FF2B5EF4-FFF2-40B4-BE49-F238E27FC236}">
                <a16:creationId xmlns:a16="http://schemas.microsoft.com/office/drawing/2014/main" id="{82433009-C251-D81E-F560-D7497B5C9A02}"/>
              </a:ext>
            </a:extLst>
          </p:cNvPr>
          <p:cNvSpPr txBox="1"/>
          <p:nvPr>
            <p:custDataLst>
              <p:tags r:id="rId22"/>
            </p:custDataLst>
          </p:nvPr>
        </p:nvSpPr>
        <p:spPr bwMode="gray">
          <a:xfrm>
            <a:off x="330199" y="6309361"/>
            <a:ext cx="9184504" cy="492443"/>
          </a:xfrm>
          <a:prstGeom prst="rect">
            <a:avLst/>
          </a:prstGeom>
          <a:noFill/>
        </p:spPr>
        <p:txBody>
          <a:bodyPr vert="horz" wrap="square" lIns="0" tIns="0" rIns="0" bIns="0" rtlCol="0" anchor="b">
            <a:spAutoFit/>
          </a:bodyPr>
          <a:lstStyle/>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Assumes 2025 carbon intensity of grids respective to global distribution of nuclear power today. (**) Assumes Canada’s carbon grid intensity in 2022 (100 g CO</a:t>
            </a:r>
            <a:r>
              <a:rPr lang="en-US" sz="800" baseline="-25000" dirty="0">
                <a:solidFill>
                  <a:srgbClr val="000000"/>
                </a:solidFill>
                <a:latin typeface="Arial"/>
              </a:rPr>
              <a:t>2</a:t>
            </a:r>
            <a:r>
              <a:rPr lang="en-US" sz="800" dirty="0">
                <a:solidFill>
                  <a:srgbClr val="000000"/>
                </a:solidFill>
                <a:latin typeface="Arial"/>
              </a:rPr>
              <a:t>e/kWh).</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rPr>
              <a:t>IAEA, </a:t>
            </a:r>
            <a:r>
              <a:rPr lang="en-US" sz="800" dirty="0">
                <a:solidFill>
                  <a:srgbClr val="000000"/>
                </a:solidFill>
                <a:latin typeface="Arial"/>
                <a:hlinkClick r:id="rId39"/>
              </a:rPr>
              <a:t>Climate Change and Nuclear Power</a:t>
            </a:r>
            <a:r>
              <a:rPr lang="en-US" sz="800" dirty="0">
                <a:solidFill>
                  <a:srgbClr val="000000"/>
                </a:solidFill>
                <a:latin typeface="Arial"/>
              </a:rPr>
              <a:t> (2020); </a:t>
            </a:r>
            <a:r>
              <a:rPr kumimoji="0" lang="en-US" sz="800" b="0" i="0" u="none" strike="noStrike" kern="1200" cap="none" spc="0" normalizeH="0" baseline="0" noProof="0" dirty="0">
                <a:ln>
                  <a:noFill/>
                </a:ln>
                <a:solidFill>
                  <a:srgbClr val="000000"/>
                </a:solidFill>
                <a:effectLst/>
                <a:uLnTx/>
                <a:uFillTx/>
                <a:latin typeface="Arial"/>
                <a:ea typeface="+mn-ea"/>
                <a:cs typeface="+mn-cs"/>
              </a:rPr>
              <a:t>Global Energy Monito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0"/>
              </a:rPr>
              <a:t>Global Nuclear Power Tracker</a:t>
            </a:r>
            <a:r>
              <a:rPr kumimoji="0" lang="en-US" sz="800" b="0" i="0" u="none" strike="noStrike" kern="1200" cap="none" spc="0" normalizeH="0" baseline="0" noProof="0" dirty="0">
                <a:ln>
                  <a:noFill/>
                </a:ln>
                <a:solidFill>
                  <a:srgbClr val="000000"/>
                </a:solidFill>
                <a:effectLst/>
                <a:uLnTx/>
                <a:uFillTx/>
                <a:latin typeface="Arial"/>
                <a:ea typeface="+mn-ea"/>
                <a:cs typeface="+mn-cs"/>
              </a:rPr>
              <a:t> (2024); W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1"/>
              </a:rPr>
              <a:t>Global Nuclear Industry Performance</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Bruce Powe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2"/>
              </a:rPr>
              <a:t>Life-Extension Program &amp; MCR Project</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CEC,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3"/>
              </a:rPr>
              <a:t>Provincial and Territorial Energy Profiles – Canada</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4"/>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u="none" strike="noStrike" kern="1200" cap="none" spc="0" normalizeH="0" baseline="0" noProof="0" dirty="0">
                <a:ln>
                  <a:noFill/>
                </a:ln>
                <a:solidFill>
                  <a:srgbClr val="000000"/>
                </a:solidFill>
                <a:effectLst/>
                <a:uLnTx/>
                <a:uFillTx/>
                <a:latin typeface="Arial"/>
                <a:ea typeface="+mn-ea"/>
                <a:cs typeface="+mn-cs"/>
              </a:rPr>
              <a:t> 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423" name="Rectangle 422">
            <a:extLst>
              <a:ext uri="{FF2B5EF4-FFF2-40B4-BE49-F238E27FC236}">
                <a16:creationId xmlns:a16="http://schemas.microsoft.com/office/drawing/2014/main" id="{95B7EEE7-A8F3-E710-DD1A-1CB2FDCBBF6B}"/>
              </a:ext>
            </a:extLst>
          </p:cNvPr>
          <p:cNvSpPr/>
          <p:nvPr/>
        </p:nvSpPr>
        <p:spPr bwMode="gray">
          <a:xfrm>
            <a:off x="5726113" y="1771651"/>
            <a:ext cx="1054100" cy="1571913"/>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12" name="Rectangle 411">
            <a:extLst>
              <a:ext uri="{FF2B5EF4-FFF2-40B4-BE49-F238E27FC236}">
                <a16:creationId xmlns:a16="http://schemas.microsoft.com/office/drawing/2014/main" id="{8E61E794-E6A4-5D02-D1EF-672AFC8F20AF}"/>
              </a:ext>
            </a:extLst>
          </p:cNvPr>
          <p:cNvSpPr/>
          <p:nvPr>
            <p:custDataLst>
              <p:tags r:id="rId23"/>
            </p:custDataLst>
          </p:nvPr>
        </p:nvSpPr>
        <p:spPr bwMode="auto">
          <a:xfrm>
            <a:off x="5815013" y="2159000"/>
            <a:ext cx="214313" cy="160338"/>
          </a:xfrm>
          <a:prstGeom prst="rect">
            <a:avLst/>
          </a:prstGeom>
          <a:solidFill>
            <a:srgbClr val="D6D7D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13" name="Rectangle 412">
            <a:extLst>
              <a:ext uri="{FF2B5EF4-FFF2-40B4-BE49-F238E27FC236}">
                <a16:creationId xmlns:a16="http://schemas.microsoft.com/office/drawing/2014/main" id="{244CDB2B-AB05-63B9-4B2B-AA78B35E004B}"/>
              </a:ext>
            </a:extLst>
          </p:cNvPr>
          <p:cNvSpPr/>
          <p:nvPr>
            <p:custDataLst>
              <p:tags r:id="rId24"/>
            </p:custDataLst>
          </p:nvPr>
        </p:nvSpPr>
        <p:spPr bwMode="auto">
          <a:xfrm>
            <a:off x="5815013" y="2392363"/>
            <a:ext cx="214313" cy="160338"/>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14" name="Rectangle 413">
            <a:extLst>
              <a:ext uri="{FF2B5EF4-FFF2-40B4-BE49-F238E27FC236}">
                <a16:creationId xmlns:a16="http://schemas.microsoft.com/office/drawing/2014/main" id="{3812668E-F5B1-DE90-54A9-57D5DE6D4CB0}"/>
              </a:ext>
            </a:extLst>
          </p:cNvPr>
          <p:cNvSpPr/>
          <p:nvPr>
            <p:custDataLst>
              <p:tags r:id="rId25"/>
            </p:custDataLst>
          </p:nvPr>
        </p:nvSpPr>
        <p:spPr bwMode="auto">
          <a:xfrm>
            <a:off x="5815013" y="2625725"/>
            <a:ext cx="214313" cy="160338"/>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15" name="Rectangle 414">
            <a:extLst>
              <a:ext uri="{FF2B5EF4-FFF2-40B4-BE49-F238E27FC236}">
                <a16:creationId xmlns:a16="http://schemas.microsoft.com/office/drawing/2014/main" id="{C96DD4C8-D317-4C12-B904-717B8CD17CBE}"/>
              </a:ext>
            </a:extLst>
          </p:cNvPr>
          <p:cNvSpPr/>
          <p:nvPr>
            <p:custDataLst>
              <p:tags r:id="rId26"/>
            </p:custDataLst>
          </p:nvPr>
        </p:nvSpPr>
        <p:spPr bwMode="auto">
          <a:xfrm>
            <a:off x="5815013" y="2859088"/>
            <a:ext cx="214313" cy="160338"/>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16" name="Rectangle 415">
            <a:extLst>
              <a:ext uri="{FF2B5EF4-FFF2-40B4-BE49-F238E27FC236}">
                <a16:creationId xmlns:a16="http://schemas.microsoft.com/office/drawing/2014/main" id="{30100AE4-8636-D1AC-A8F0-658A33EC68F9}"/>
              </a:ext>
            </a:extLst>
          </p:cNvPr>
          <p:cNvSpPr/>
          <p:nvPr>
            <p:custDataLst>
              <p:tags r:id="rId27"/>
            </p:custDataLst>
          </p:nvPr>
        </p:nvSpPr>
        <p:spPr bwMode="auto">
          <a:xfrm>
            <a:off x="5815013" y="3092450"/>
            <a:ext cx="214313" cy="160338"/>
          </a:xfrm>
          <a:prstGeom prst="rect">
            <a:avLst/>
          </a:prstGeom>
          <a:solidFill>
            <a:srgbClr val="364D6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53"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6080125" y="2154238"/>
            <a:ext cx="582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DBD77DA-4DA7-43B1-91BE-EDB0A35D3D3B}" type="datetime'''''''''''''4''''''''''''''''''''''''''''''''''''''0'''''''''">
              <a:rPr lang="en-US" altLang="en-US" sz="1200" smtClean="0">
                <a:effectLst/>
              </a:rPr>
              <a:pPr marL="0" lvl="0" indent="0">
                <a:spcBef>
                  <a:spcPct val="0"/>
                </a:spcBef>
                <a:spcAft>
                  <a:spcPct val="0"/>
                </a:spcAft>
                <a:buNone/>
              </a:pPr>
              <a:t>40</a:t>
            </a:fld>
            <a:r>
              <a:rPr lang="en-US" altLang="en-US" sz="1200">
                <a:effectLst/>
              </a:rPr>
              <a:t> years</a:t>
            </a:r>
            <a:endParaRPr lang="en-US" sz="1200"/>
          </a:p>
        </p:txBody>
      </p:sp>
      <p:sp>
        <p:nvSpPr>
          <p:cNvPr id="252"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6080125" y="2387600"/>
            <a:ext cx="582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A8B8384-BF64-4EAE-A8C6-A7FD8C6B78A6}" type="datetime'''''''''''''''''''''''''''5''0'">
              <a:rPr lang="en-US" altLang="en-US" sz="1200" smtClean="0">
                <a:effectLst/>
              </a:rPr>
              <a:pPr marL="0" lvl="0" indent="0">
                <a:spcBef>
                  <a:spcPct val="0"/>
                </a:spcBef>
                <a:spcAft>
                  <a:spcPct val="0"/>
                </a:spcAft>
                <a:buNone/>
              </a:pPr>
              <a:t>50</a:t>
            </a:fld>
            <a:r>
              <a:rPr lang="en-US" altLang="en-US" sz="1200">
                <a:effectLst/>
              </a:rPr>
              <a:t> years</a:t>
            </a:r>
            <a:endParaRPr lang="en-US" sz="1200"/>
          </a:p>
        </p:txBody>
      </p:sp>
      <p:sp>
        <p:nvSpPr>
          <p:cNvPr id="251"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6080125" y="2620963"/>
            <a:ext cx="582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71CE27A-1984-40FA-930E-F74B02B6D2EB}" type="datetime'''''''''''''''''''6''''''''''''''0'''''''''''''''''''''''''''">
              <a:rPr lang="en-US" altLang="en-US" sz="1200" smtClean="0">
                <a:effectLst/>
              </a:rPr>
              <a:pPr marL="0" lvl="0" indent="0">
                <a:spcBef>
                  <a:spcPct val="0"/>
                </a:spcBef>
                <a:spcAft>
                  <a:spcPct val="0"/>
                </a:spcAft>
                <a:buNone/>
              </a:pPr>
              <a:t>60</a:t>
            </a:fld>
            <a:r>
              <a:rPr lang="en-US" altLang="en-US" sz="1200">
                <a:effectLst/>
              </a:rPr>
              <a:t> years</a:t>
            </a:r>
            <a:endParaRPr lang="en-US" sz="1200"/>
          </a:p>
        </p:txBody>
      </p:sp>
      <p:sp>
        <p:nvSpPr>
          <p:cNvPr id="250"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6080125" y="2854325"/>
            <a:ext cx="582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5008989-C550-45B0-92DF-92716E988822}" type="datetime'''''''7''''''''''''0'''''''''">
              <a:rPr lang="en-US" altLang="en-US" sz="1200" smtClean="0">
                <a:effectLst/>
              </a:rPr>
              <a:pPr marL="0" lvl="0" indent="0">
                <a:spcBef>
                  <a:spcPct val="0"/>
                </a:spcBef>
                <a:spcAft>
                  <a:spcPct val="0"/>
                </a:spcAft>
                <a:buNone/>
              </a:pPr>
              <a:t>70</a:t>
            </a:fld>
            <a:r>
              <a:rPr lang="en-US" altLang="en-US" sz="1200">
                <a:effectLst/>
              </a:rPr>
              <a:t> years</a:t>
            </a:r>
            <a:endParaRPr lang="en-US" sz="1200"/>
          </a:p>
        </p:txBody>
      </p:sp>
      <p:sp>
        <p:nvSpPr>
          <p:cNvPr id="249"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6080125" y="3087688"/>
            <a:ext cx="582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8069756-7BF9-4D90-B4CD-A856BB093384}" type="datetime'''''''''''''''8''''''''''''''''0'''''''''''''''">
              <a:rPr lang="en-US" altLang="en-US" sz="1200" smtClean="0">
                <a:effectLst/>
              </a:rPr>
              <a:pPr marL="0" lvl="0" indent="0">
                <a:spcBef>
                  <a:spcPct val="0"/>
                </a:spcBef>
                <a:spcAft>
                  <a:spcPct val="0"/>
                </a:spcAft>
                <a:buNone/>
              </a:pPr>
              <a:t>80</a:t>
            </a:fld>
            <a:r>
              <a:rPr lang="en-US" altLang="en-US" sz="1200">
                <a:effectLst/>
              </a:rPr>
              <a:t> years</a:t>
            </a:r>
            <a:endParaRPr lang="en-US" sz="1200"/>
          </a:p>
        </p:txBody>
      </p:sp>
      <p:sp>
        <p:nvSpPr>
          <p:cNvPr id="424" name="TextBox 423">
            <a:extLst>
              <a:ext uri="{FF2B5EF4-FFF2-40B4-BE49-F238E27FC236}">
                <a16:creationId xmlns:a16="http://schemas.microsoft.com/office/drawing/2014/main" id="{678BA26C-DE19-CE8B-6B3B-4C3C15B1F153}"/>
              </a:ext>
            </a:extLst>
          </p:cNvPr>
          <p:cNvSpPr txBox="1"/>
          <p:nvPr/>
        </p:nvSpPr>
        <p:spPr bwMode="gray">
          <a:xfrm>
            <a:off x="5824538" y="1910515"/>
            <a:ext cx="633413" cy="276999"/>
          </a:xfrm>
          <a:prstGeom prst="rect">
            <a:avLst/>
          </a:prstGeom>
          <a:noFill/>
        </p:spPr>
        <p:txBody>
          <a:bodyPr wrap="none" lIns="0" tIns="0" rIns="0" bIns="91440" rtlCol="0">
            <a:spAutoFit/>
          </a:bodyPr>
          <a:lstStyle/>
          <a:p>
            <a:pPr marL="0" indent="0" algn="l">
              <a:spcBef>
                <a:spcPts val="600"/>
              </a:spcBef>
              <a:spcAft>
                <a:spcPts val="600"/>
              </a:spcAft>
              <a:buNone/>
            </a:pPr>
            <a:r>
              <a:rPr lang="en-US" sz="1200" b="1"/>
              <a:t>Lifespan</a:t>
            </a:r>
          </a:p>
        </p:txBody>
      </p:sp>
      <p:sp>
        <p:nvSpPr>
          <p:cNvPr id="444" name="TextBox 443">
            <a:extLst>
              <a:ext uri="{FF2B5EF4-FFF2-40B4-BE49-F238E27FC236}">
                <a16:creationId xmlns:a16="http://schemas.microsoft.com/office/drawing/2014/main" id="{AC730494-9D74-8822-CFF8-42C6033CA989}"/>
              </a:ext>
            </a:extLst>
          </p:cNvPr>
          <p:cNvSpPr txBox="1"/>
          <p:nvPr/>
        </p:nvSpPr>
        <p:spPr bwMode="gray">
          <a:xfrm>
            <a:off x="1013383" y="3074066"/>
            <a:ext cx="556243" cy="276999"/>
          </a:xfrm>
          <a:prstGeom prst="rect">
            <a:avLst/>
          </a:prstGeom>
          <a:noFill/>
        </p:spPr>
        <p:txBody>
          <a:bodyPr wrap="none" lIns="0" tIns="0" rIns="0" bIns="91440" rtlCol="0">
            <a:spAutoFit/>
          </a:bodyPr>
          <a:lstStyle/>
          <a:p>
            <a:pPr marL="0" indent="0" algn="l">
              <a:spcBef>
                <a:spcPts val="600"/>
              </a:spcBef>
              <a:spcAft>
                <a:spcPts val="600"/>
              </a:spcAft>
              <a:buNone/>
            </a:pPr>
            <a:r>
              <a:rPr lang="en-US" sz="1200" b="1"/>
              <a:t>31 PWh</a:t>
            </a:r>
          </a:p>
        </p:txBody>
      </p:sp>
      <p:sp>
        <p:nvSpPr>
          <p:cNvPr id="445" name="TextBox 444">
            <a:extLst>
              <a:ext uri="{FF2B5EF4-FFF2-40B4-BE49-F238E27FC236}">
                <a16:creationId xmlns:a16="http://schemas.microsoft.com/office/drawing/2014/main" id="{833EDBC6-D3DD-D8DF-FC5D-FA7806111C71}"/>
              </a:ext>
            </a:extLst>
          </p:cNvPr>
          <p:cNvSpPr txBox="1"/>
          <p:nvPr/>
        </p:nvSpPr>
        <p:spPr bwMode="gray">
          <a:xfrm>
            <a:off x="1818339" y="3074066"/>
            <a:ext cx="556243" cy="276999"/>
          </a:xfrm>
          <a:prstGeom prst="rect">
            <a:avLst/>
          </a:prstGeom>
          <a:noFill/>
        </p:spPr>
        <p:txBody>
          <a:bodyPr wrap="none" lIns="0" tIns="0" rIns="0" bIns="91440" rtlCol="0">
            <a:spAutoFit/>
          </a:bodyPr>
          <a:lstStyle/>
          <a:p>
            <a:pPr marL="0" indent="0" algn="l">
              <a:spcBef>
                <a:spcPts val="600"/>
              </a:spcBef>
              <a:spcAft>
                <a:spcPts val="600"/>
              </a:spcAft>
              <a:buNone/>
            </a:pPr>
            <a:r>
              <a:rPr lang="en-US" sz="1200" b="1"/>
              <a:t>24 PWh</a:t>
            </a:r>
          </a:p>
        </p:txBody>
      </p:sp>
      <p:sp>
        <p:nvSpPr>
          <p:cNvPr id="446" name="TextBox 445">
            <a:extLst>
              <a:ext uri="{FF2B5EF4-FFF2-40B4-BE49-F238E27FC236}">
                <a16:creationId xmlns:a16="http://schemas.microsoft.com/office/drawing/2014/main" id="{514C9A41-4611-367A-85D6-C517A25508FC}"/>
              </a:ext>
            </a:extLst>
          </p:cNvPr>
          <p:cNvSpPr txBox="1"/>
          <p:nvPr/>
        </p:nvSpPr>
        <p:spPr bwMode="gray">
          <a:xfrm>
            <a:off x="2623295" y="3074066"/>
            <a:ext cx="556243" cy="276999"/>
          </a:xfrm>
          <a:prstGeom prst="rect">
            <a:avLst/>
          </a:prstGeom>
          <a:noFill/>
        </p:spPr>
        <p:txBody>
          <a:bodyPr wrap="none" lIns="0" tIns="0" rIns="0" bIns="91440" rtlCol="0">
            <a:spAutoFit/>
          </a:bodyPr>
          <a:lstStyle/>
          <a:p>
            <a:pPr marL="0" indent="0" algn="l">
              <a:spcBef>
                <a:spcPts val="600"/>
              </a:spcBef>
              <a:spcAft>
                <a:spcPts val="600"/>
              </a:spcAft>
              <a:buNone/>
            </a:pPr>
            <a:r>
              <a:rPr lang="en-US" sz="1200" b="1"/>
              <a:t>28 PWh</a:t>
            </a:r>
          </a:p>
        </p:txBody>
      </p:sp>
      <p:sp>
        <p:nvSpPr>
          <p:cNvPr id="447" name="TextBox 446">
            <a:extLst>
              <a:ext uri="{FF2B5EF4-FFF2-40B4-BE49-F238E27FC236}">
                <a16:creationId xmlns:a16="http://schemas.microsoft.com/office/drawing/2014/main" id="{56906565-B013-55B8-C7BD-CA271BB98F64}"/>
              </a:ext>
            </a:extLst>
          </p:cNvPr>
          <p:cNvSpPr txBox="1"/>
          <p:nvPr/>
        </p:nvSpPr>
        <p:spPr bwMode="gray">
          <a:xfrm>
            <a:off x="3428252" y="3074066"/>
            <a:ext cx="556243" cy="276999"/>
          </a:xfrm>
          <a:prstGeom prst="rect">
            <a:avLst/>
          </a:prstGeom>
          <a:noFill/>
        </p:spPr>
        <p:txBody>
          <a:bodyPr wrap="none" lIns="0" tIns="0" rIns="0" bIns="91440" rtlCol="0">
            <a:spAutoFit/>
          </a:bodyPr>
          <a:lstStyle/>
          <a:p>
            <a:pPr marL="0" indent="0" algn="l">
              <a:spcBef>
                <a:spcPts val="600"/>
              </a:spcBef>
              <a:spcAft>
                <a:spcPts val="600"/>
              </a:spcAft>
              <a:buNone/>
            </a:pPr>
            <a:r>
              <a:rPr lang="en-US" sz="1200" b="1">
                <a:solidFill>
                  <a:srgbClr val="FFFFFF"/>
                </a:solidFill>
              </a:rPr>
              <a:t>28 PWh</a:t>
            </a:r>
          </a:p>
        </p:txBody>
      </p:sp>
      <p:sp>
        <p:nvSpPr>
          <p:cNvPr id="460" name="Speech Bubble: Rectangle 459">
            <a:extLst>
              <a:ext uri="{FF2B5EF4-FFF2-40B4-BE49-F238E27FC236}">
                <a16:creationId xmlns:a16="http://schemas.microsoft.com/office/drawing/2014/main" id="{FEB24699-0DDF-462F-638F-14696344295F}"/>
              </a:ext>
            </a:extLst>
          </p:cNvPr>
          <p:cNvSpPr/>
          <p:nvPr/>
        </p:nvSpPr>
        <p:spPr bwMode="gray">
          <a:xfrm>
            <a:off x="1285693" y="1647884"/>
            <a:ext cx="2543357" cy="802259"/>
          </a:xfrm>
          <a:prstGeom prst="wedgeRectCallout">
            <a:avLst>
              <a:gd name="adj1" fmla="val -62191"/>
              <a:gd name="adj2" fmla="val 29339"/>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a:solidFill>
                  <a:schemeClr val="bg1"/>
                </a:solidFill>
              </a:rPr>
              <a:t>30% of nuclear capacity today comes from nuclear reactors at ages 40 to 60 years. Most of these are scheduled to retire in the 2030s.</a:t>
            </a:r>
          </a:p>
        </p:txBody>
      </p:sp>
      <p:sp>
        <p:nvSpPr>
          <p:cNvPr id="461" name="TextBox 8">
            <a:extLst>
              <a:ext uri="{FF2B5EF4-FFF2-40B4-BE49-F238E27FC236}">
                <a16:creationId xmlns:a16="http://schemas.microsoft.com/office/drawing/2014/main" id="{9D41ECD3-1A05-86DB-D2A9-ADF88D3A1168}"/>
              </a:ext>
            </a:extLst>
          </p:cNvPr>
          <p:cNvSpPr txBox="1"/>
          <p:nvPr/>
        </p:nvSpPr>
        <p:spPr bwMode="gray">
          <a:xfrm>
            <a:off x="7245350" y="1584586"/>
            <a:ext cx="4476495" cy="1985159"/>
          </a:xfrm>
          <a:prstGeom prst="rect">
            <a:avLst/>
          </a:prstGeom>
          <a:solidFill>
            <a:srgbClr val="E3E8EE"/>
          </a:solidFill>
        </p:spPr>
        <p:txBody>
          <a:bodyPr wrap="square" lIns="137160" tIns="137160" rIns="274320" bIns="137160" rtlCol="0" anchor="t">
            <a:spAutoFit/>
          </a:bodyPr>
          <a:lstStyle/>
          <a:p>
            <a:pPr marL="0" indent="0">
              <a:spcAft>
                <a:spcPts val="600"/>
              </a:spcAft>
              <a:buNone/>
            </a:pPr>
            <a:r>
              <a:rPr lang="en-US" sz="1200" b="1"/>
              <a:t>Observations   </a:t>
            </a:r>
            <a:endParaRPr kumimoji="0" lang="en-US" sz="1200" i="0" u="none" strike="noStrike" kern="1200" cap="none" spc="0" normalizeH="0" baseline="0" noProof="0">
              <a:ln>
                <a:noFill/>
              </a:ln>
              <a:solidFill>
                <a:srgbClr val="000000"/>
              </a:solidFill>
              <a:effectLst/>
              <a:uLnTx/>
              <a:uFillTx/>
              <a:latin typeface="Arial"/>
            </a:endParaRPr>
          </a:p>
          <a:p>
            <a:pPr marL="171450" indent="-171450">
              <a:spcBef>
                <a:spcPts val="0"/>
              </a:spcBef>
              <a:spcAft>
                <a:spcPts val="400"/>
              </a:spcAft>
              <a:buFont typeface="Arial" panose="020B0604020202020204" pitchFamily="34" charset="0"/>
              <a:buChar char="•"/>
            </a:pPr>
            <a:r>
              <a:rPr lang="en-US" sz="1050"/>
              <a:t>The 130 GW nuclear capacity coming from </a:t>
            </a:r>
            <a:r>
              <a:rPr lang="en-US" sz="1050" b="1"/>
              <a:t>nuclear plants at ages over 40 years prove the feasibility of extending lifetimes, although this is uncharted terrain.</a:t>
            </a:r>
          </a:p>
          <a:p>
            <a:pPr marL="171450" indent="-171450">
              <a:spcBef>
                <a:spcPts val="0"/>
              </a:spcBef>
              <a:spcAft>
                <a:spcPts val="400"/>
              </a:spcAft>
              <a:buFont typeface="Arial" panose="020B0604020202020204" pitchFamily="34" charset="0"/>
              <a:buChar char="•"/>
            </a:pPr>
            <a:r>
              <a:rPr lang="en-US" sz="1050" b="1"/>
              <a:t>Extending plants’ lifetime is cheap and believed to be safe.</a:t>
            </a:r>
          </a:p>
          <a:p>
            <a:pPr marL="171450" indent="-171450">
              <a:spcBef>
                <a:spcPts val="0"/>
              </a:spcBef>
              <a:spcAft>
                <a:spcPts val="400"/>
              </a:spcAft>
              <a:buFont typeface="Arial" panose="020B0604020202020204" pitchFamily="34" charset="0"/>
              <a:buChar char="•"/>
            </a:pPr>
            <a:r>
              <a:rPr lang="en-US" sz="1050" b="1"/>
              <a:t>An extension of just 10 years of all existing nuclear power generates ~31,000 TWh, which saves 950 MTCO</a:t>
            </a:r>
            <a:r>
              <a:rPr lang="en-US" sz="1050" b="1" baseline="-25000"/>
              <a:t>2</a:t>
            </a:r>
            <a:r>
              <a:rPr lang="en-US" sz="1050" b="1"/>
              <a:t>e*.</a:t>
            </a:r>
          </a:p>
          <a:p>
            <a:pPr marL="171450" indent="-171450">
              <a:spcBef>
                <a:spcPts val="0"/>
              </a:spcBef>
              <a:spcAft>
                <a:spcPts val="400"/>
              </a:spcAft>
              <a:buFont typeface="Arial" panose="020B0604020202020204" pitchFamily="34" charset="0"/>
              <a:buChar char="•"/>
            </a:pPr>
            <a:r>
              <a:rPr lang="en-US" sz="1050"/>
              <a:t>This is equivalent to ~2% of annual emissions today. </a:t>
            </a:r>
            <a:r>
              <a:rPr lang="en-US" sz="1050" b="1"/>
              <a:t>Extending nuclear reactors can thus abate 0.2% of global emissions.</a:t>
            </a:r>
          </a:p>
        </p:txBody>
      </p:sp>
      <p:sp>
        <p:nvSpPr>
          <p:cNvPr id="462" name="TextBox 8">
            <a:extLst>
              <a:ext uri="{FF2B5EF4-FFF2-40B4-BE49-F238E27FC236}">
                <a16:creationId xmlns:a16="http://schemas.microsoft.com/office/drawing/2014/main" id="{838C91F8-51CE-6640-1114-D4D86F9203A8}"/>
              </a:ext>
            </a:extLst>
          </p:cNvPr>
          <p:cNvSpPr txBox="1"/>
          <p:nvPr/>
        </p:nvSpPr>
        <p:spPr bwMode="gray">
          <a:xfrm>
            <a:off x="7245349" y="4010832"/>
            <a:ext cx="4476495" cy="1500411"/>
          </a:xfrm>
          <a:prstGeom prst="rect">
            <a:avLst/>
          </a:prstGeom>
          <a:solidFill>
            <a:schemeClr val="accent4">
              <a:lumMod val="20000"/>
              <a:lumOff val="80000"/>
            </a:schemeClr>
          </a:solidFill>
        </p:spPr>
        <p:txBody>
          <a:bodyPr wrap="square" lIns="137160" tIns="137160" rIns="274320" bIns="137160" rtlCol="0" anchor="t">
            <a:spAutoFit/>
          </a:bodyPr>
          <a:lstStyle/>
          <a:p>
            <a:pPr marL="0" indent="0">
              <a:spcAft>
                <a:spcPts val="600"/>
              </a:spcAft>
              <a:buNone/>
            </a:pPr>
            <a:r>
              <a:rPr lang="en-US" sz="1200" b="1" dirty="0"/>
              <a:t>Case study: Bruce Power</a:t>
            </a:r>
          </a:p>
          <a:p>
            <a:pPr marL="285750" indent="-285750">
              <a:spcAft>
                <a:spcPts val="600"/>
              </a:spcAft>
              <a:buFont typeface="Arial" panose="020B0604020202020204" pitchFamily="34" charset="0"/>
              <a:buChar char="•"/>
            </a:pPr>
            <a:r>
              <a:rPr lang="en-US" sz="1050" dirty="0"/>
              <a:t>In 2015, Bruce Power agreed to invest in refurbishing and extending the lifetime of its nuclear fleet until 2066.</a:t>
            </a:r>
          </a:p>
          <a:p>
            <a:pPr marL="285750" indent="-285750">
              <a:spcAft>
                <a:spcPts val="600"/>
              </a:spcAft>
              <a:buFont typeface="Arial" panose="020B0604020202020204" pitchFamily="34" charset="0"/>
              <a:buChar char="•"/>
            </a:pPr>
            <a:r>
              <a:rPr lang="en-US" sz="1050" dirty="0"/>
              <a:t>This meant increasing the lifespan for 2 GW power from 40 years to 80 years.</a:t>
            </a:r>
          </a:p>
          <a:p>
            <a:pPr marL="285750" indent="-285750">
              <a:spcAft>
                <a:spcPts val="600"/>
              </a:spcAft>
              <a:buFont typeface="Arial" panose="020B0604020202020204" pitchFamily="34" charset="0"/>
              <a:buChar char="•"/>
            </a:pPr>
            <a:r>
              <a:rPr lang="en-US" sz="1050" dirty="0"/>
              <a:t>Bruce Power thereby reduces a total of 73 MTCO</a:t>
            </a:r>
            <a:r>
              <a:rPr lang="en-US" sz="1050" baseline="-25000" dirty="0"/>
              <a:t>2</a:t>
            </a:r>
            <a:r>
              <a:rPr lang="en-US" sz="1050" dirty="0"/>
              <a:t>e.</a:t>
            </a:r>
          </a:p>
        </p:txBody>
      </p:sp>
      <p:pic>
        <p:nvPicPr>
          <p:cNvPr id="3" name="Picture 2"/>
          <p:cNvPicPr>
            <a:picLocks noChangeAspect="1"/>
          </p:cNvPicPr>
          <p:nvPr/>
        </p:nvPicPr>
        <p:blipFill rotWithShape="1">
          <a:blip r:embed="rId46" cstate="screen">
            <a:extLst>
              <a:ext uri="{28A0092B-C50C-407E-A947-70E740481C1C}">
                <a14:useLocalDpi xmlns:a14="http://schemas.microsoft.com/office/drawing/2010/main"/>
              </a:ext>
            </a:extLst>
          </a:blip>
          <a:srcRect/>
          <a:stretch/>
        </p:blipFill>
        <p:spPr>
          <a:xfrm>
            <a:off x="10358279" y="4015977"/>
            <a:ext cx="1363566" cy="318280"/>
          </a:xfrm>
          <a:prstGeom prst="rect">
            <a:avLst/>
          </a:prstGeom>
        </p:spPr>
      </p:pic>
      <p:sp>
        <p:nvSpPr>
          <p:cNvPr id="7" name="Rectangle 6">
            <a:extLst>
              <a:ext uri="{FF2B5EF4-FFF2-40B4-BE49-F238E27FC236}">
                <a16:creationId xmlns:a16="http://schemas.microsoft.com/office/drawing/2014/main" id="{C7B74CAB-7941-BC54-6AA6-3EA2E314DDD3}"/>
              </a:ext>
            </a:extLst>
          </p:cNvPr>
          <p:cNvSpPr/>
          <p:nvPr/>
        </p:nvSpPr>
        <p:spPr bwMode="gray">
          <a:xfrm>
            <a:off x="0" y="0"/>
            <a:ext cx="2922494" cy="38220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a:solidFill>
                  <a:schemeClr val="tx1"/>
                </a:solidFill>
              </a:rPr>
              <a:t>Deep dive: Extending lifetime </a:t>
            </a:r>
          </a:p>
        </p:txBody>
      </p:sp>
    </p:spTree>
    <p:extLst>
      <p:ext uri="{BB962C8B-B14F-4D97-AF65-F5344CB8AC3E}">
        <p14:creationId xmlns:p14="http://schemas.microsoft.com/office/powerpoint/2010/main" val="8737035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520A7-0155-C06B-9E4B-E30D56EE2BF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1B810C4-5DE3-9483-54AE-93C9021415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592" imgH="591" progId="TCLayout.ActiveDocument.1">
                  <p:embed/>
                </p:oleObj>
              </mc:Choice>
              <mc:Fallback>
                <p:oleObj name="think-cell Slide" r:id="rId47" imgW="592" imgH="591" progId="TCLayout.ActiveDocument.1">
                  <p:embed/>
                  <p:pic>
                    <p:nvPicPr>
                      <p:cNvPr id="7" name="think-cell data - do not delete" hidden="1">
                        <a:extLst>
                          <a:ext uri="{FF2B5EF4-FFF2-40B4-BE49-F238E27FC236}">
                            <a16:creationId xmlns:a16="http://schemas.microsoft.com/office/drawing/2014/main" id="{B1B810C4-5DE3-9483-54AE-93C902141507}"/>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cxnSp>
        <p:nvCxnSpPr>
          <p:cNvPr id="270" name="Straight Connector 269">
            <a:extLst>
              <a:ext uri="{FF2B5EF4-FFF2-40B4-BE49-F238E27FC236}">
                <a16:creationId xmlns:a16="http://schemas.microsoft.com/office/drawing/2014/main" id="{F1C25C6D-CF5A-C7EC-C533-1D77FD93B4FD}"/>
              </a:ext>
            </a:extLst>
          </p:cNvPr>
          <p:cNvCxnSpPr>
            <a:cxnSpLocks/>
          </p:cNvCxnSpPr>
          <p:nvPr>
            <p:custDataLst>
              <p:tags r:id="rId3"/>
            </p:custDataLst>
          </p:nvPr>
        </p:nvCxnSpPr>
        <p:spPr bwMode="gray">
          <a:xfrm flipV="1">
            <a:off x="2189163" y="2759075"/>
            <a:ext cx="0" cy="1363663"/>
          </a:xfrm>
          <a:prstGeom prst="line">
            <a:avLst/>
          </a:prstGeom>
          <a:ln w="9525" cap="flat">
            <a:solidFill>
              <a:schemeClr val="bg1">
                <a:lumMod val="75000"/>
              </a:schemeClr>
            </a:solidFill>
            <a:prstDash val="lg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5" name="TextBox 224">
            <a:extLst>
              <a:ext uri="{FF2B5EF4-FFF2-40B4-BE49-F238E27FC236}">
                <a16:creationId xmlns:a16="http://schemas.microsoft.com/office/drawing/2014/main" id="{6941536A-6C13-A75B-E6FD-6453325CA707}"/>
              </a:ext>
            </a:extLst>
          </p:cNvPr>
          <p:cNvSpPr txBox="1"/>
          <p:nvPr>
            <p:custDataLst>
              <p:tags r:id="rId4"/>
            </p:custDataLst>
          </p:nvPr>
        </p:nvSpPr>
        <p:spPr bwMode="gray">
          <a:xfrm>
            <a:off x="282575" y="3671888"/>
            <a:ext cx="2143125" cy="261938"/>
          </a:xfrm>
          <a:prstGeom prst="rect">
            <a:avLst/>
          </a:prstGeom>
          <a:noFill/>
        </p:spPr>
        <p:txBody>
          <a:bodyPr wrap="square">
            <a:spAutoFit/>
          </a:bodyPr>
          <a:lstStyle/>
          <a:p>
            <a:pPr algn="ctr"/>
            <a:r>
              <a:rPr lang="en-US" sz="1100" b="1">
                <a:solidFill>
                  <a:schemeClr val="tx1"/>
                </a:solidFill>
              </a:rPr>
              <a:t>Operating plant </a:t>
            </a:r>
          </a:p>
        </p:txBody>
      </p:sp>
      <p:sp>
        <p:nvSpPr>
          <p:cNvPr id="6" name="Title 5">
            <a:extLst>
              <a:ext uri="{FF2B5EF4-FFF2-40B4-BE49-F238E27FC236}">
                <a16:creationId xmlns:a16="http://schemas.microsoft.com/office/drawing/2014/main" id="{07C7491F-D867-C171-ED35-0986224A4AA5}"/>
              </a:ext>
            </a:extLst>
          </p:cNvPr>
          <p:cNvSpPr>
            <a:spLocks noGrp="1"/>
          </p:cNvSpPr>
          <p:nvPr>
            <p:ph type="title"/>
          </p:nvPr>
        </p:nvSpPr>
        <p:spPr>
          <a:xfrm>
            <a:off x="205642" y="530485"/>
            <a:ext cx="12179637" cy="1357669"/>
          </a:xfrm>
        </p:spPr>
        <p:txBody>
          <a:bodyPr vert="horz">
            <a:noAutofit/>
          </a:bodyPr>
          <a:lstStyle/>
          <a:p>
            <a:r>
              <a:rPr lang="en-US"/>
              <a:t>Palisades restart driven by state-level support for nuclear and workforce advances, but technical and regulatory barriers remain</a:t>
            </a:r>
          </a:p>
        </p:txBody>
      </p:sp>
      <p:sp>
        <p:nvSpPr>
          <p:cNvPr id="2" name="btfpNotesBox368131">
            <a:hlinkClick r:id="rId49"/>
            <a:extLst>
              <a:ext uri="{FF2B5EF4-FFF2-40B4-BE49-F238E27FC236}">
                <a16:creationId xmlns:a16="http://schemas.microsoft.com/office/drawing/2014/main" id="{F5D7037C-C536-6D74-4D49-E57DC2CE6D60}"/>
              </a:ext>
            </a:extLst>
          </p:cNvPr>
          <p:cNvSpPr txBox="1"/>
          <p:nvPr>
            <p:custDataLst>
              <p:tags r:id="rId5"/>
            </p:custDataLst>
          </p:nvPr>
        </p:nvSpPr>
        <p:spPr bwMode="gray">
          <a:xfrm>
            <a:off x="320675" y="6312694"/>
            <a:ext cx="9076268" cy="49244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ltec</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hlinkClick r:id="rId50"/>
              </a:rPr>
              <a:t>Holtec</a:t>
            </a:r>
            <a:r>
              <a:rPr kumimoji="0" lang="en-US" sz="800" b="0" i="0" u="none" strike="noStrike" kern="1200" cap="none" spc="0" normalizeH="0" baseline="0" noProof="0" dirty="0">
                <a:ln>
                  <a:noFill/>
                </a:ln>
                <a:solidFill>
                  <a:srgbClr val="000000"/>
                </a:solidFill>
                <a:effectLst/>
                <a:uLnTx/>
                <a:uFillTx/>
                <a:latin typeface="Arial"/>
                <a:hlinkClick r:id="rId50"/>
              </a:rPr>
              <a:t> and Wolverine ink </a:t>
            </a:r>
            <a:r>
              <a:rPr lang="en-US" sz="800" dirty="0">
                <a:solidFill>
                  <a:srgbClr val="000000"/>
                </a:solidFill>
                <a:latin typeface="Arial"/>
                <a:hlinkClick r:id="rId50"/>
              </a:rPr>
              <a:t>h</a:t>
            </a:r>
            <a:r>
              <a:rPr kumimoji="0" lang="en-US" sz="800" b="0" i="0" u="none" strike="noStrike" kern="1200" cap="none" spc="0" normalizeH="0" baseline="0" noProof="0" dirty="0" err="1">
                <a:ln>
                  <a:noFill/>
                </a:ln>
                <a:solidFill>
                  <a:srgbClr val="000000"/>
                </a:solidFill>
                <a:effectLst/>
                <a:uLnTx/>
                <a:uFillTx/>
                <a:latin typeface="Arial"/>
                <a:hlinkClick r:id="rId50"/>
              </a:rPr>
              <a:t>istoric</a:t>
            </a:r>
            <a:r>
              <a:rPr kumimoji="0" lang="en-US" sz="800" b="0" i="0" u="none" strike="noStrike" kern="1200" cap="none" spc="0" normalizeH="0" baseline="0" noProof="0" dirty="0">
                <a:ln>
                  <a:noFill/>
                </a:ln>
                <a:solidFill>
                  <a:srgbClr val="000000"/>
                </a:solidFill>
                <a:effectLst/>
                <a:uLnTx/>
                <a:uFillTx/>
                <a:latin typeface="Arial"/>
                <a:hlinkClick r:id="rId50"/>
              </a:rPr>
              <a:t> PPA </a:t>
            </a:r>
            <a:r>
              <a:rPr kumimoji="0" lang="en-US" sz="800" b="0" i="0" u="none" strike="noStrike" kern="1200" cap="none" spc="0" normalizeH="0" baseline="0" noProof="0" dirty="0">
                <a:ln>
                  <a:noFill/>
                </a:ln>
                <a:solidFill>
                  <a:srgbClr val="000000"/>
                </a:solidFill>
                <a:effectLst/>
                <a:uLnTx/>
                <a:uFillTx/>
                <a:latin typeface="Arial"/>
                <a:ea typeface="+mn-ea"/>
                <a:cs typeface="+mn-cs"/>
              </a:rPr>
              <a:t>(2023);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ltec</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1"/>
              </a:rPr>
              <a:t>Palisades restart program – now in the inspections and maintenance phase </a:t>
            </a:r>
            <a:r>
              <a:rPr kumimoji="0" lang="en-US" sz="800" b="0" i="0" u="none" strike="noStrike" kern="1200" cap="none" spc="0" normalizeH="0" baseline="0" noProof="0" dirty="0">
                <a:ln>
                  <a:noFill/>
                </a:ln>
                <a:solidFill>
                  <a:srgbClr val="000000"/>
                </a:solidFill>
                <a:effectLst/>
                <a:uLnTx/>
                <a:uFillTx/>
                <a:latin typeface="Arial"/>
                <a:ea typeface="+mn-ea"/>
                <a:cs typeface="+mn-cs"/>
              </a:rPr>
              <a:t>(2024);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ltec</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2"/>
              </a:rPr>
              <a:t>Palisades cooling system upgraded </a:t>
            </a:r>
            <a:r>
              <a:rPr kumimoji="0" lang="en-US" sz="800" b="0" i="0" u="none" strike="noStrike" kern="1200" cap="none" spc="0" normalizeH="0" baseline="0" noProof="0" dirty="0">
                <a:ln>
                  <a:noFill/>
                </a:ln>
                <a:solidFill>
                  <a:srgbClr val="000000"/>
                </a:solidFill>
                <a:effectLst/>
                <a:uLnTx/>
                <a:uFillTx/>
                <a:latin typeface="Arial"/>
                <a:ea typeface="+mn-ea"/>
                <a:cs typeface="+mn-cs"/>
              </a:rPr>
              <a:t>(2024);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ltec</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3"/>
              </a:rPr>
              <a:t>Historic repowering of Michigan’s Palisades,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53"/>
              </a:rPr>
              <a:t>Holtec</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3"/>
              </a:rPr>
              <a:t> obtains up to 1.52B in conditional loan commitment from the DOE</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ltec</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54"/>
              </a:rPr>
              <a:t>Holtec</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4"/>
              </a:rPr>
              <a:t> closes $1.52B DOE loan to restart Palisades</a:t>
            </a:r>
            <a:r>
              <a:rPr kumimoji="0" lang="en-US" sz="800" b="0" i="0" u="none" strike="noStrike" kern="1200" cap="none" spc="0" normalizeH="0" baseline="0" noProof="0" dirty="0">
                <a:ln>
                  <a:noFill/>
                </a:ln>
                <a:solidFill>
                  <a:srgbClr val="000000"/>
                </a:solidFill>
                <a:effectLst/>
                <a:uLnTx/>
                <a:uFillTx/>
                <a:latin typeface="Arial"/>
                <a:ea typeface="+mn-ea"/>
                <a:cs typeface="+mn-cs"/>
              </a:rPr>
              <a:t> (2024); DSIR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5"/>
              </a:rPr>
              <a:t>NC Clean Energy technology center, Renewable Energy standard </a:t>
            </a:r>
            <a:r>
              <a:rPr kumimoji="0" lang="en-US" sz="800" b="0" i="0" u="none" strike="noStrike" kern="1200" cap="none" spc="0" normalizeH="0" baseline="0" noProof="0" dirty="0">
                <a:ln>
                  <a:noFill/>
                </a:ln>
                <a:solidFill>
                  <a:srgbClr val="000000"/>
                </a:solidFill>
                <a:effectLst/>
                <a:uLnTx/>
                <a:uFillTx/>
                <a:latin typeface="Arial"/>
                <a:ea typeface="+mn-ea"/>
                <a:cs typeface="+mn-cs"/>
              </a:rPr>
              <a:t>(202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Brenda Rain, Isabel </a:t>
            </a:r>
            <a:r>
              <a:rPr lang="en-US" sz="800" dirty="0" err="1">
                <a:solidFill>
                  <a:srgbClr val="000000"/>
                </a:solidFill>
                <a:latin typeface="Arial"/>
              </a:rPr>
              <a:t>Hoyos</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Ryung</a:t>
            </a:r>
            <a:r>
              <a:rPr kumimoji="0" lang="en-US" sz="800" b="0" i="0" u="none" strike="noStrike" kern="1200" cap="none" spc="0" normalizeH="0" baseline="0" noProof="0" dirty="0">
                <a:ln>
                  <a:noFill/>
                </a:ln>
                <a:solidFill>
                  <a:srgbClr val="000000"/>
                </a:solidFill>
                <a:effectLst/>
                <a:uLnTx/>
                <a:uFillTx/>
                <a:latin typeface="Arial"/>
                <a:ea typeface="+mn-ea"/>
                <a:cs typeface="+mn-cs"/>
              </a:rPr>
              <a:t>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6"/>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7"/>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3" name="Rectangle 2">
            <a:extLst>
              <a:ext uri="{FF2B5EF4-FFF2-40B4-BE49-F238E27FC236}">
                <a16:creationId xmlns:a16="http://schemas.microsoft.com/office/drawing/2014/main" id="{A6E8BCB1-04D6-CB9A-3F4D-22985C1EB757}"/>
              </a:ext>
            </a:extLst>
          </p:cNvPr>
          <p:cNvSpPr/>
          <p:nvPr/>
        </p:nvSpPr>
        <p:spPr bwMode="gray">
          <a:xfrm>
            <a:off x="0" y="0"/>
            <a:ext cx="2926080" cy="38220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Case study: Palisades, Michigan (U.S.)</a:t>
            </a:r>
          </a:p>
        </p:txBody>
      </p:sp>
      <p:sp>
        <p:nvSpPr>
          <p:cNvPr id="8" name="Rectangle 7">
            <a:extLst>
              <a:ext uri="{FF2B5EF4-FFF2-40B4-BE49-F238E27FC236}">
                <a16:creationId xmlns:a16="http://schemas.microsoft.com/office/drawing/2014/main" id="{7EB48ECA-AFE3-1EC7-806C-6C970E37DF2A}"/>
              </a:ext>
            </a:extLst>
          </p:cNvPr>
          <p:cNvSpPr/>
          <p:nvPr>
            <p:custDataLst>
              <p:tags r:id="rId6"/>
            </p:custDataLst>
          </p:nvPr>
        </p:nvSpPr>
        <p:spPr bwMode="gray">
          <a:xfrm>
            <a:off x="3089275" y="2879725"/>
            <a:ext cx="2212975" cy="333375"/>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900">
                <a:solidFill>
                  <a:schemeClr val="tx1"/>
                </a:solidFill>
              </a:rPr>
              <a:t>Filed submission to NRC to reauthorize plant operation</a:t>
            </a:r>
          </a:p>
        </p:txBody>
      </p:sp>
      <p:sp>
        <p:nvSpPr>
          <p:cNvPr id="11" name="Rectangle 10">
            <a:extLst>
              <a:ext uri="{FF2B5EF4-FFF2-40B4-BE49-F238E27FC236}">
                <a16:creationId xmlns:a16="http://schemas.microsoft.com/office/drawing/2014/main" id="{B6539B84-51C2-EED0-27F1-C1E768D5A301}"/>
              </a:ext>
            </a:extLst>
          </p:cNvPr>
          <p:cNvSpPr/>
          <p:nvPr>
            <p:custDataLst>
              <p:tags r:id="rId7"/>
            </p:custDataLst>
          </p:nvPr>
        </p:nvSpPr>
        <p:spPr bwMode="gray">
          <a:xfrm>
            <a:off x="3089275" y="3592513"/>
            <a:ext cx="2214563" cy="587375"/>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900">
                <a:solidFill>
                  <a:schemeClr val="tx1"/>
                </a:solidFill>
              </a:rPr>
              <a:t>Submitted application to DOE’s LPO for federal funding</a:t>
            </a:r>
          </a:p>
          <a:p>
            <a:pPr marL="171450" indent="-171450">
              <a:buFont typeface="Arial" panose="020B0604020202020204" pitchFamily="34" charset="0"/>
              <a:buChar char="•"/>
            </a:pPr>
            <a:r>
              <a:rPr lang="en-US" sz="900">
                <a:solidFill>
                  <a:schemeClr val="tx1"/>
                </a:solidFill>
              </a:rPr>
              <a:t>Received approval of federal loan to be delivered in 2024 ($150M)</a:t>
            </a:r>
          </a:p>
          <a:p>
            <a:pPr marL="171450" indent="-171450">
              <a:buFont typeface="Arial" panose="020B0604020202020204" pitchFamily="34" charset="0"/>
              <a:buChar char="•"/>
            </a:pPr>
            <a:endParaRPr lang="en-US" sz="900">
              <a:solidFill>
                <a:schemeClr val="tx1"/>
              </a:solidFill>
            </a:endParaRPr>
          </a:p>
        </p:txBody>
      </p:sp>
      <p:sp>
        <p:nvSpPr>
          <p:cNvPr id="15" name="Rectangle 14">
            <a:extLst>
              <a:ext uri="{FF2B5EF4-FFF2-40B4-BE49-F238E27FC236}">
                <a16:creationId xmlns:a16="http://schemas.microsoft.com/office/drawing/2014/main" id="{363DFDAB-2865-A05C-9B8A-B4B3D61DDA4E}"/>
              </a:ext>
            </a:extLst>
          </p:cNvPr>
          <p:cNvSpPr/>
          <p:nvPr>
            <p:custDataLst>
              <p:tags r:id="rId8"/>
            </p:custDataLst>
          </p:nvPr>
        </p:nvSpPr>
        <p:spPr bwMode="gray">
          <a:xfrm>
            <a:off x="8370888" y="2946400"/>
            <a:ext cx="3267075" cy="363538"/>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900">
                <a:solidFill>
                  <a:schemeClr val="tx1"/>
                </a:solidFill>
              </a:rPr>
              <a:t>Received accreditation for its Maintenance and Technical Training Program </a:t>
            </a:r>
          </a:p>
        </p:txBody>
      </p:sp>
      <p:sp>
        <p:nvSpPr>
          <p:cNvPr id="19" name="Rectangle 18">
            <a:extLst>
              <a:ext uri="{FF2B5EF4-FFF2-40B4-BE49-F238E27FC236}">
                <a16:creationId xmlns:a16="http://schemas.microsoft.com/office/drawing/2014/main" id="{4B6C650E-DF44-D6C0-27FD-7237C39DAEEE}"/>
              </a:ext>
            </a:extLst>
          </p:cNvPr>
          <p:cNvSpPr/>
          <p:nvPr>
            <p:custDataLst>
              <p:tags r:id="rId9"/>
            </p:custDataLst>
          </p:nvPr>
        </p:nvSpPr>
        <p:spPr bwMode="gray">
          <a:xfrm>
            <a:off x="5672138" y="2824163"/>
            <a:ext cx="2281238" cy="877888"/>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900">
                <a:solidFill>
                  <a:schemeClr val="tx1"/>
                </a:solidFill>
              </a:rPr>
              <a:t>Upgraded heat exchanger (cooling system)</a:t>
            </a:r>
          </a:p>
          <a:p>
            <a:pPr marL="171450" indent="-171450">
              <a:buFont typeface="Arial" panose="020B0604020202020204" pitchFamily="34" charset="0"/>
              <a:buChar char="•"/>
            </a:pPr>
            <a:r>
              <a:rPr lang="en-US" sz="900">
                <a:solidFill>
                  <a:schemeClr val="tx1"/>
                </a:solidFill>
              </a:rPr>
              <a:t>26 former Palisades operators completed their requalification, ensuring human capital is available by 2026 </a:t>
            </a:r>
          </a:p>
          <a:p>
            <a:pPr marL="171450" indent="-171450">
              <a:buFont typeface="Arial" panose="020B0604020202020204" pitchFamily="34" charset="0"/>
              <a:buChar char="•"/>
            </a:pPr>
            <a:r>
              <a:rPr lang="en-US" sz="900">
                <a:solidFill>
                  <a:schemeClr val="tx1"/>
                </a:solidFill>
              </a:rPr>
              <a:t>Started initial training accreditation</a:t>
            </a:r>
          </a:p>
          <a:p>
            <a:pPr marL="171450" indent="-171450">
              <a:buFont typeface="Arial" panose="020B0604020202020204" pitchFamily="34" charset="0"/>
              <a:buChar char="•"/>
            </a:pPr>
            <a:endParaRPr lang="en-US" sz="900">
              <a:solidFill>
                <a:schemeClr val="tx1"/>
              </a:solidFill>
            </a:endParaRPr>
          </a:p>
        </p:txBody>
      </p:sp>
      <p:sp>
        <p:nvSpPr>
          <p:cNvPr id="20" name="Rectangle 19">
            <a:extLst>
              <a:ext uri="{FF2B5EF4-FFF2-40B4-BE49-F238E27FC236}">
                <a16:creationId xmlns:a16="http://schemas.microsoft.com/office/drawing/2014/main" id="{78835F98-262E-08FA-FC6F-4D232A9CAA6D}"/>
              </a:ext>
            </a:extLst>
          </p:cNvPr>
          <p:cNvSpPr/>
          <p:nvPr>
            <p:custDataLst>
              <p:tags r:id="rId10"/>
            </p:custDataLst>
          </p:nvPr>
        </p:nvSpPr>
        <p:spPr bwMode="gray">
          <a:xfrm>
            <a:off x="8364538" y="2587625"/>
            <a:ext cx="3265488" cy="333375"/>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900">
                <a:solidFill>
                  <a:schemeClr val="tx1"/>
                </a:solidFill>
              </a:rPr>
              <a:t>Completed startup readiness assessment to ensure highest safety and operation procedures are implemented</a:t>
            </a:r>
          </a:p>
        </p:txBody>
      </p:sp>
      <p:sp>
        <p:nvSpPr>
          <p:cNvPr id="21" name="Rectangle 20">
            <a:extLst>
              <a:ext uri="{FF2B5EF4-FFF2-40B4-BE49-F238E27FC236}">
                <a16:creationId xmlns:a16="http://schemas.microsoft.com/office/drawing/2014/main" id="{B0BF9CB6-EE98-E41B-C25B-DD5CB1FD2F4E}"/>
              </a:ext>
            </a:extLst>
          </p:cNvPr>
          <p:cNvSpPr/>
          <p:nvPr>
            <p:custDataLst>
              <p:tags r:id="rId11"/>
            </p:custDataLst>
          </p:nvPr>
        </p:nvSpPr>
        <p:spPr bwMode="gray">
          <a:xfrm>
            <a:off x="8364538" y="2224088"/>
            <a:ext cx="3265488" cy="333375"/>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900">
                <a:solidFill>
                  <a:schemeClr val="tx1"/>
                </a:solidFill>
              </a:rPr>
              <a:t>Successfully completed emergency preparedness exercises </a:t>
            </a:r>
          </a:p>
        </p:txBody>
      </p:sp>
      <p:sp>
        <p:nvSpPr>
          <p:cNvPr id="24" name="Rectangle 23">
            <a:extLst>
              <a:ext uri="{FF2B5EF4-FFF2-40B4-BE49-F238E27FC236}">
                <a16:creationId xmlns:a16="http://schemas.microsoft.com/office/drawing/2014/main" id="{3C0A4E0B-A11B-A7F3-33FF-D2C2F095DD78}"/>
              </a:ext>
            </a:extLst>
          </p:cNvPr>
          <p:cNvSpPr/>
          <p:nvPr>
            <p:custDataLst>
              <p:tags r:id="rId12"/>
            </p:custDataLst>
          </p:nvPr>
        </p:nvSpPr>
        <p:spPr bwMode="gray">
          <a:xfrm>
            <a:off x="5672138" y="3735388"/>
            <a:ext cx="2281238" cy="454025"/>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900">
                <a:solidFill>
                  <a:schemeClr val="tx1"/>
                </a:solidFill>
              </a:rPr>
              <a:t>Received conditional commitment of $1.52B loan guarantee of LPO to support the plant’s resumption</a:t>
            </a:r>
          </a:p>
        </p:txBody>
      </p:sp>
      <p:sp>
        <p:nvSpPr>
          <p:cNvPr id="27" name="Rectangle 26">
            <a:extLst>
              <a:ext uri="{FF2B5EF4-FFF2-40B4-BE49-F238E27FC236}">
                <a16:creationId xmlns:a16="http://schemas.microsoft.com/office/drawing/2014/main" id="{DE09EA39-D1C6-72F4-8A9E-7FE16FB4F223}"/>
              </a:ext>
            </a:extLst>
          </p:cNvPr>
          <p:cNvSpPr/>
          <p:nvPr>
            <p:custDataLst>
              <p:tags r:id="rId13"/>
            </p:custDataLst>
          </p:nvPr>
        </p:nvSpPr>
        <p:spPr bwMode="gray">
          <a:xfrm>
            <a:off x="8364538" y="1912938"/>
            <a:ext cx="3265488" cy="284163"/>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900">
                <a:solidFill>
                  <a:schemeClr val="tx1"/>
                </a:solidFill>
              </a:rPr>
              <a:t>Waiting for response about regulatory submittals </a:t>
            </a:r>
          </a:p>
        </p:txBody>
      </p:sp>
      <p:sp>
        <p:nvSpPr>
          <p:cNvPr id="28" name="Rectangle 27">
            <a:extLst>
              <a:ext uri="{FF2B5EF4-FFF2-40B4-BE49-F238E27FC236}">
                <a16:creationId xmlns:a16="http://schemas.microsoft.com/office/drawing/2014/main" id="{42815FD2-B88B-F550-5057-29246FD01303}"/>
              </a:ext>
            </a:extLst>
          </p:cNvPr>
          <p:cNvSpPr/>
          <p:nvPr>
            <p:custDataLst>
              <p:tags r:id="rId14"/>
            </p:custDataLst>
          </p:nvPr>
        </p:nvSpPr>
        <p:spPr bwMode="gray">
          <a:xfrm>
            <a:off x="8001000" y="1646238"/>
            <a:ext cx="3636963" cy="22225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00" b="1">
                <a:solidFill>
                  <a:schemeClr val="bg1"/>
                </a:solidFill>
              </a:rPr>
              <a:t>September; expected operation by last quarter of 2025</a:t>
            </a:r>
            <a:endParaRPr lang="en-US" sz="900">
              <a:solidFill>
                <a:schemeClr val="bg1"/>
              </a:solidFill>
            </a:endParaRPr>
          </a:p>
        </p:txBody>
      </p:sp>
      <p:sp>
        <p:nvSpPr>
          <p:cNvPr id="25" name="Rectangle 24">
            <a:extLst>
              <a:ext uri="{FF2B5EF4-FFF2-40B4-BE49-F238E27FC236}">
                <a16:creationId xmlns:a16="http://schemas.microsoft.com/office/drawing/2014/main" id="{3C87F72E-219B-7168-5F6F-C480317EE6BA}"/>
              </a:ext>
            </a:extLst>
          </p:cNvPr>
          <p:cNvSpPr/>
          <p:nvPr>
            <p:custDataLst>
              <p:tags r:id="rId15"/>
            </p:custDataLst>
          </p:nvPr>
        </p:nvSpPr>
        <p:spPr bwMode="gray">
          <a:xfrm>
            <a:off x="8364538" y="3702050"/>
            <a:ext cx="3281363" cy="482600"/>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900">
                <a:solidFill>
                  <a:schemeClr val="tx1"/>
                </a:solidFill>
              </a:rPr>
              <a:t>NRC draft Environmental Assessment completed; didn’t find significant impact from resumed power operations</a:t>
            </a:r>
          </a:p>
        </p:txBody>
      </p:sp>
      <p:sp>
        <p:nvSpPr>
          <p:cNvPr id="18" name="Rectangle 17">
            <a:extLst>
              <a:ext uri="{FF2B5EF4-FFF2-40B4-BE49-F238E27FC236}">
                <a16:creationId xmlns:a16="http://schemas.microsoft.com/office/drawing/2014/main" id="{BEEB830F-C7F2-8447-750A-17C04B86397F}"/>
              </a:ext>
            </a:extLst>
          </p:cNvPr>
          <p:cNvSpPr/>
          <p:nvPr>
            <p:custDataLst>
              <p:tags r:id="rId16"/>
            </p:custDataLst>
          </p:nvPr>
        </p:nvSpPr>
        <p:spPr bwMode="gray">
          <a:xfrm>
            <a:off x="8364538" y="3333750"/>
            <a:ext cx="3265488" cy="339725"/>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900">
                <a:solidFill>
                  <a:schemeClr val="tx1"/>
                </a:solidFill>
              </a:rPr>
              <a:t>Received full accreditation for its Operation Training Program from NNAB  </a:t>
            </a:r>
          </a:p>
        </p:txBody>
      </p:sp>
      <p:sp>
        <p:nvSpPr>
          <p:cNvPr id="10" name="Rectangle 9">
            <a:extLst>
              <a:ext uri="{FF2B5EF4-FFF2-40B4-BE49-F238E27FC236}">
                <a16:creationId xmlns:a16="http://schemas.microsoft.com/office/drawing/2014/main" id="{402FA00F-3C49-675A-4E6B-F20BA65F6E17}"/>
              </a:ext>
            </a:extLst>
          </p:cNvPr>
          <p:cNvSpPr/>
          <p:nvPr>
            <p:custDataLst>
              <p:tags r:id="rId17"/>
            </p:custDataLst>
          </p:nvPr>
        </p:nvSpPr>
        <p:spPr bwMode="gray">
          <a:xfrm>
            <a:off x="3089275" y="3232150"/>
            <a:ext cx="2214563" cy="352425"/>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900">
                <a:solidFill>
                  <a:schemeClr val="tx1"/>
                </a:solidFill>
              </a:rPr>
              <a:t>Signed multi-decade PPA with nonprofit rural cooperative (Wolverine)</a:t>
            </a:r>
          </a:p>
        </p:txBody>
      </p:sp>
      <p:sp>
        <p:nvSpPr>
          <p:cNvPr id="110" name="Rectangle 109">
            <a:extLst>
              <a:ext uri="{FF2B5EF4-FFF2-40B4-BE49-F238E27FC236}">
                <a16:creationId xmlns:a16="http://schemas.microsoft.com/office/drawing/2014/main" id="{DBA3A103-F8E8-F94D-6429-6ACB2BC11ECC}"/>
              </a:ext>
            </a:extLst>
          </p:cNvPr>
          <p:cNvSpPr/>
          <p:nvPr>
            <p:custDataLst>
              <p:tags r:id="rId18"/>
            </p:custDataLst>
          </p:nvPr>
        </p:nvSpPr>
        <p:spPr bwMode="gray">
          <a:xfrm rot="16200000">
            <a:off x="5049838" y="3114675"/>
            <a:ext cx="877888" cy="296863"/>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900">
                <a:solidFill>
                  <a:schemeClr val="tx1"/>
                </a:solidFill>
              </a:rPr>
              <a:t>Aug.</a:t>
            </a:r>
          </a:p>
        </p:txBody>
      </p:sp>
      <p:sp>
        <p:nvSpPr>
          <p:cNvPr id="111" name="Rectangle 110">
            <a:extLst>
              <a:ext uri="{FF2B5EF4-FFF2-40B4-BE49-F238E27FC236}">
                <a16:creationId xmlns:a16="http://schemas.microsoft.com/office/drawing/2014/main" id="{8E8AB8B3-C295-28E0-EF65-D599AA1F0404}"/>
              </a:ext>
            </a:extLst>
          </p:cNvPr>
          <p:cNvSpPr/>
          <p:nvPr>
            <p:custDataLst>
              <p:tags r:id="rId19"/>
            </p:custDataLst>
          </p:nvPr>
        </p:nvSpPr>
        <p:spPr bwMode="gray">
          <a:xfrm rot="16200000">
            <a:off x="5260975" y="3799205"/>
            <a:ext cx="454025" cy="295275"/>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900">
                <a:solidFill>
                  <a:schemeClr val="tx1"/>
                </a:solidFill>
              </a:rPr>
              <a:t>March</a:t>
            </a:r>
          </a:p>
        </p:txBody>
      </p:sp>
      <p:sp>
        <p:nvSpPr>
          <p:cNvPr id="132" name="Rectangle 131">
            <a:extLst>
              <a:ext uri="{FF2B5EF4-FFF2-40B4-BE49-F238E27FC236}">
                <a16:creationId xmlns:a16="http://schemas.microsoft.com/office/drawing/2014/main" id="{2B851B56-2D76-EF0C-A486-5DAD494AFB06}"/>
              </a:ext>
            </a:extLst>
          </p:cNvPr>
          <p:cNvSpPr/>
          <p:nvPr>
            <p:custDataLst>
              <p:tags r:id="rId20"/>
            </p:custDataLst>
          </p:nvPr>
        </p:nvSpPr>
        <p:spPr bwMode="gray">
          <a:xfrm rot="16200000">
            <a:off x="2606675" y="3722688"/>
            <a:ext cx="585788" cy="325438"/>
          </a:xfrm>
          <a:prstGeom prst="rect">
            <a:avLst/>
          </a:prstGeom>
          <a:solidFill>
            <a:schemeClr val="accent2">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900">
                <a:solidFill>
                  <a:schemeClr val="tx1"/>
                </a:solidFill>
              </a:rPr>
              <a:t>June</a:t>
            </a:r>
          </a:p>
        </p:txBody>
      </p:sp>
      <p:sp>
        <p:nvSpPr>
          <p:cNvPr id="133" name="Rectangle 132">
            <a:extLst>
              <a:ext uri="{FF2B5EF4-FFF2-40B4-BE49-F238E27FC236}">
                <a16:creationId xmlns:a16="http://schemas.microsoft.com/office/drawing/2014/main" id="{D057FC8E-0918-3549-6BA2-08385E2C04B2}"/>
              </a:ext>
            </a:extLst>
          </p:cNvPr>
          <p:cNvSpPr/>
          <p:nvPr>
            <p:custDataLst>
              <p:tags r:id="rId21"/>
            </p:custDataLst>
          </p:nvPr>
        </p:nvSpPr>
        <p:spPr bwMode="gray">
          <a:xfrm rot="16200000">
            <a:off x="2735263" y="3244850"/>
            <a:ext cx="339725" cy="327025"/>
          </a:xfrm>
          <a:prstGeom prst="rect">
            <a:avLst/>
          </a:prstGeom>
          <a:solidFill>
            <a:schemeClr val="accent2">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900">
                <a:solidFill>
                  <a:schemeClr val="tx1"/>
                </a:solidFill>
              </a:rPr>
              <a:t>Sept.</a:t>
            </a:r>
          </a:p>
        </p:txBody>
      </p:sp>
      <p:sp>
        <p:nvSpPr>
          <p:cNvPr id="134" name="Rectangle 133">
            <a:extLst>
              <a:ext uri="{FF2B5EF4-FFF2-40B4-BE49-F238E27FC236}">
                <a16:creationId xmlns:a16="http://schemas.microsoft.com/office/drawing/2014/main" id="{E87DAA07-C52F-3874-339A-4650AAA28CCF}"/>
              </a:ext>
            </a:extLst>
          </p:cNvPr>
          <p:cNvSpPr/>
          <p:nvPr>
            <p:custDataLst>
              <p:tags r:id="rId22"/>
            </p:custDataLst>
          </p:nvPr>
        </p:nvSpPr>
        <p:spPr bwMode="gray">
          <a:xfrm rot="16200000">
            <a:off x="2736850" y="2882900"/>
            <a:ext cx="333375" cy="327025"/>
          </a:xfrm>
          <a:prstGeom prst="rect">
            <a:avLst/>
          </a:prstGeom>
          <a:solidFill>
            <a:schemeClr val="accent2">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900">
                <a:solidFill>
                  <a:schemeClr val="tx1"/>
                </a:solidFill>
              </a:rPr>
              <a:t>Oct.</a:t>
            </a:r>
          </a:p>
        </p:txBody>
      </p:sp>
      <p:sp>
        <p:nvSpPr>
          <p:cNvPr id="154" name="Rectangle 153">
            <a:extLst>
              <a:ext uri="{FF2B5EF4-FFF2-40B4-BE49-F238E27FC236}">
                <a16:creationId xmlns:a16="http://schemas.microsoft.com/office/drawing/2014/main" id="{6AC444DE-40B4-3FFB-64BD-489AA61CD2B2}"/>
              </a:ext>
            </a:extLst>
          </p:cNvPr>
          <p:cNvSpPr/>
          <p:nvPr>
            <p:custDataLst>
              <p:tags r:id="rId23"/>
            </p:custDataLst>
          </p:nvPr>
        </p:nvSpPr>
        <p:spPr bwMode="gray">
          <a:xfrm rot="16200000">
            <a:off x="7915275" y="3776663"/>
            <a:ext cx="488950" cy="3397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900">
                <a:solidFill>
                  <a:schemeClr val="tx1"/>
                </a:solidFill>
              </a:rPr>
              <a:t>Feb.</a:t>
            </a:r>
          </a:p>
        </p:txBody>
      </p:sp>
      <p:sp>
        <p:nvSpPr>
          <p:cNvPr id="155" name="Rectangle 154">
            <a:extLst>
              <a:ext uri="{FF2B5EF4-FFF2-40B4-BE49-F238E27FC236}">
                <a16:creationId xmlns:a16="http://schemas.microsoft.com/office/drawing/2014/main" id="{5DA4590D-2BFD-91E6-BEDA-B918C52E196D}"/>
              </a:ext>
            </a:extLst>
          </p:cNvPr>
          <p:cNvSpPr/>
          <p:nvPr>
            <p:custDataLst>
              <p:tags r:id="rId24"/>
            </p:custDataLst>
          </p:nvPr>
        </p:nvSpPr>
        <p:spPr bwMode="gray">
          <a:xfrm rot="16200000">
            <a:off x="7991475" y="3338513"/>
            <a:ext cx="341313" cy="33337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900">
                <a:solidFill>
                  <a:schemeClr val="tx1"/>
                </a:solidFill>
              </a:rPr>
              <a:t>April</a:t>
            </a:r>
          </a:p>
        </p:txBody>
      </p:sp>
      <p:sp>
        <p:nvSpPr>
          <p:cNvPr id="156" name="Rectangle 155">
            <a:extLst>
              <a:ext uri="{FF2B5EF4-FFF2-40B4-BE49-F238E27FC236}">
                <a16:creationId xmlns:a16="http://schemas.microsoft.com/office/drawing/2014/main" id="{68256601-1FE9-0E11-BC3A-CEAD54118B54}"/>
              </a:ext>
            </a:extLst>
          </p:cNvPr>
          <p:cNvSpPr/>
          <p:nvPr>
            <p:custDataLst>
              <p:tags r:id="rId25"/>
            </p:custDataLst>
          </p:nvPr>
        </p:nvSpPr>
        <p:spPr bwMode="gray">
          <a:xfrm rot="16200000">
            <a:off x="7980363" y="2952750"/>
            <a:ext cx="366713" cy="33178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900">
                <a:solidFill>
                  <a:schemeClr val="tx1"/>
                </a:solidFill>
              </a:rPr>
              <a:t>May</a:t>
            </a:r>
          </a:p>
        </p:txBody>
      </p:sp>
      <p:sp>
        <p:nvSpPr>
          <p:cNvPr id="157" name="Rectangle 156">
            <a:extLst>
              <a:ext uri="{FF2B5EF4-FFF2-40B4-BE49-F238E27FC236}">
                <a16:creationId xmlns:a16="http://schemas.microsoft.com/office/drawing/2014/main" id="{FC31A661-6DFA-DF5E-CE5A-88F6773DD18B}"/>
              </a:ext>
            </a:extLst>
          </p:cNvPr>
          <p:cNvSpPr/>
          <p:nvPr>
            <p:custDataLst>
              <p:tags r:id="rId26"/>
            </p:custDataLst>
          </p:nvPr>
        </p:nvSpPr>
        <p:spPr bwMode="gray">
          <a:xfrm rot="16200000">
            <a:off x="7820025" y="2400300"/>
            <a:ext cx="684213" cy="33337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900">
                <a:solidFill>
                  <a:schemeClr val="tx1"/>
                </a:solidFill>
              </a:rPr>
              <a:t>June</a:t>
            </a:r>
          </a:p>
        </p:txBody>
      </p:sp>
      <p:sp>
        <p:nvSpPr>
          <p:cNvPr id="158" name="Rectangle 157">
            <a:extLst>
              <a:ext uri="{FF2B5EF4-FFF2-40B4-BE49-F238E27FC236}">
                <a16:creationId xmlns:a16="http://schemas.microsoft.com/office/drawing/2014/main" id="{F128211D-29E8-FA56-EF41-A4298A9793A9}"/>
              </a:ext>
            </a:extLst>
          </p:cNvPr>
          <p:cNvSpPr/>
          <p:nvPr>
            <p:custDataLst>
              <p:tags r:id="rId27"/>
            </p:custDataLst>
          </p:nvPr>
        </p:nvSpPr>
        <p:spPr bwMode="gray">
          <a:xfrm rot="16200000">
            <a:off x="8007350" y="1890713"/>
            <a:ext cx="309563" cy="33337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900">
                <a:solidFill>
                  <a:schemeClr val="tx1"/>
                </a:solidFill>
              </a:rPr>
              <a:t>Aug.</a:t>
            </a:r>
          </a:p>
        </p:txBody>
      </p:sp>
      <p:sp>
        <p:nvSpPr>
          <p:cNvPr id="159" name="Title 5">
            <a:extLst>
              <a:ext uri="{FF2B5EF4-FFF2-40B4-BE49-F238E27FC236}">
                <a16:creationId xmlns:a16="http://schemas.microsoft.com/office/drawing/2014/main" id="{8470CBE6-6BBA-411F-68F2-0ED7645E9079}"/>
              </a:ext>
            </a:extLst>
          </p:cNvPr>
          <p:cNvSpPr txBox="1">
            <a:spLocks/>
          </p:cNvSpPr>
          <p:nvPr>
            <p:custDataLst>
              <p:tags r:id="rId28"/>
            </p:custDataLst>
          </p:nvPr>
        </p:nvSpPr>
        <p:spPr>
          <a:xfrm>
            <a:off x="414338" y="3946525"/>
            <a:ext cx="1182688" cy="190500"/>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sz="800"/>
              <a:t>Consumers Energy</a:t>
            </a:r>
          </a:p>
        </p:txBody>
      </p:sp>
      <p:sp>
        <p:nvSpPr>
          <p:cNvPr id="160" name="Title 5">
            <a:extLst>
              <a:ext uri="{FF2B5EF4-FFF2-40B4-BE49-F238E27FC236}">
                <a16:creationId xmlns:a16="http://schemas.microsoft.com/office/drawing/2014/main" id="{AA054DFF-40C8-E060-E8A0-ACC0472C1E26}"/>
              </a:ext>
            </a:extLst>
          </p:cNvPr>
          <p:cNvSpPr txBox="1">
            <a:spLocks/>
          </p:cNvSpPr>
          <p:nvPr>
            <p:custDataLst>
              <p:tags r:id="rId29"/>
            </p:custDataLst>
          </p:nvPr>
        </p:nvSpPr>
        <p:spPr>
          <a:xfrm>
            <a:off x="5248275" y="1735138"/>
            <a:ext cx="611188" cy="169863"/>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sz="1200"/>
              <a:t>2024</a:t>
            </a:r>
          </a:p>
        </p:txBody>
      </p:sp>
      <p:sp>
        <p:nvSpPr>
          <p:cNvPr id="161" name="Title 5">
            <a:extLst>
              <a:ext uri="{FF2B5EF4-FFF2-40B4-BE49-F238E27FC236}">
                <a16:creationId xmlns:a16="http://schemas.microsoft.com/office/drawing/2014/main" id="{99650879-8D61-0E31-CD7C-419324DEF994}"/>
              </a:ext>
            </a:extLst>
          </p:cNvPr>
          <p:cNvSpPr txBox="1">
            <a:spLocks/>
          </p:cNvSpPr>
          <p:nvPr>
            <p:custDataLst>
              <p:tags r:id="rId30"/>
            </p:custDataLst>
          </p:nvPr>
        </p:nvSpPr>
        <p:spPr>
          <a:xfrm>
            <a:off x="7918450" y="1458913"/>
            <a:ext cx="611188" cy="169863"/>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sz="1200"/>
              <a:t>2025</a:t>
            </a:r>
          </a:p>
        </p:txBody>
      </p:sp>
      <p:sp>
        <p:nvSpPr>
          <p:cNvPr id="162" name="Rectangle 161">
            <a:extLst>
              <a:ext uri="{FF2B5EF4-FFF2-40B4-BE49-F238E27FC236}">
                <a16:creationId xmlns:a16="http://schemas.microsoft.com/office/drawing/2014/main" id="{9C42ED11-0BC8-BA27-A1FA-366CCC934C50}"/>
              </a:ext>
            </a:extLst>
          </p:cNvPr>
          <p:cNvSpPr/>
          <p:nvPr>
            <p:custDataLst>
              <p:tags r:id="rId31"/>
            </p:custDataLst>
          </p:nvPr>
        </p:nvSpPr>
        <p:spPr bwMode="gray">
          <a:xfrm>
            <a:off x="2241550" y="3843338"/>
            <a:ext cx="463550" cy="35401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900">
              <a:solidFill>
                <a:schemeClr val="tx1"/>
              </a:solidFill>
            </a:endParaRPr>
          </a:p>
        </p:txBody>
      </p:sp>
      <p:graphicFrame>
        <p:nvGraphicFramePr>
          <p:cNvPr id="58" name="Chart 57">
            <a:extLst>
              <a:ext uri="{FF2B5EF4-FFF2-40B4-BE49-F238E27FC236}">
                <a16:creationId xmlns:a16="http://schemas.microsoft.com/office/drawing/2014/main" id="{F75932A7-8BBF-1E35-D2F6-7B9F20AA910E}"/>
              </a:ext>
            </a:extLst>
          </p:cNvPr>
          <p:cNvGraphicFramePr/>
          <p:nvPr>
            <p:custDataLst>
              <p:tags r:id="rId32"/>
            </p:custDataLst>
          </p:nvPr>
        </p:nvGraphicFramePr>
        <p:xfrm>
          <a:off x="407988" y="4083050"/>
          <a:ext cx="1916112" cy="192088"/>
        </p:xfrm>
        <a:graphic>
          <a:graphicData uri="http://schemas.openxmlformats.org/drawingml/2006/chart">
            <c:chart xmlns:c="http://schemas.openxmlformats.org/drawingml/2006/chart" xmlns:r="http://schemas.openxmlformats.org/officeDocument/2006/relationships" r:id="rId58"/>
          </a:graphicData>
        </a:graphic>
      </p:graphicFrame>
      <p:sp>
        <p:nvSpPr>
          <p:cNvPr id="219" name="Rectangle 218">
            <a:extLst>
              <a:ext uri="{FF2B5EF4-FFF2-40B4-BE49-F238E27FC236}">
                <a16:creationId xmlns:a16="http://schemas.microsoft.com/office/drawing/2014/main" id="{6C69D3E1-5928-C2C0-90DA-026B9212B4DE}"/>
              </a:ext>
            </a:extLst>
          </p:cNvPr>
          <p:cNvSpPr/>
          <p:nvPr>
            <p:custDataLst>
              <p:tags r:id="rId33"/>
            </p:custDataLst>
          </p:nvPr>
        </p:nvSpPr>
        <p:spPr bwMode="gray">
          <a:xfrm flipV="1">
            <a:off x="458788" y="4122738"/>
            <a:ext cx="1779588" cy="508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900">
              <a:solidFill>
                <a:schemeClr val="tx1"/>
              </a:solidFill>
            </a:endParaRPr>
          </a:p>
        </p:txBody>
      </p:sp>
      <p:sp>
        <p:nvSpPr>
          <p:cNvPr id="249" name="TextBox 248">
            <a:extLst>
              <a:ext uri="{FF2B5EF4-FFF2-40B4-BE49-F238E27FC236}">
                <a16:creationId xmlns:a16="http://schemas.microsoft.com/office/drawing/2014/main" id="{5EF59F7B-9975-E3D9-18AF-ED30EC8E9371}"/>
              </a:ext>
            </a:extLst>
          </p:cNvPr>
          <p:cNvSpPr txBox="1"/>
          <p:nvPr>
            <p:custDataLst>
              <p:tags r:id="rId34"/>
            </p:custDataLst>
          </p:nvPr>
        </p:nvSpPr>
        <p:spPr bwMode="gray">
          <a:xfrm>
            <a:off x="2146300" y="3240088"/>
            <a:ext cx="611188" cy="430213"/>
          </a:xfrm>
          <a:prstGeom prst="rect">
            <a:avLst/>
          </a:prstGeom>
          <a:noFill/>
        </p:spPr>
        <p:txBody>
          <a:bodyPr wrap="square">
            <a:spAutoFit/>
          </a:bodyPr>
          <a:lstStyle/>
          <a:p>
            <a:pPr algn="ctr"/>
            <a:r>
              <a:rPr lang="en-US" sz="1100" b="1"/>
              <a:t>Silent period</a:t>
            </a:r>
            <a:endParaRPr lang="en-US" sz="1100" b="1">
              <a:solidFill>
                <a:schemeClr val="tx1"/>
              </a:solidFill>
            </a:endParaRPr>
          </a:p>
        </p:txBody>
      </p:sp>
      <p:sp>
        <p:nvSpPr>
          <p:cNvPr id="250" name="Title 5">
            <a:extLst>
              <a:ext uri="{FF2B5EF4-FFF2-40B4-BE49-F238E27FC236}">
                <a16:creationId xmlns:a16="http://schemas.microsoft.com/office/drawing/2014/main" id="{35276507-DA55-734B-E0F4-EB5E0D4AE162}"/>
              </a:ext>
            </a:extLst>
          </p:cNvPr>
          <p:cNvSpPr txBox="1">
            <a:spLocks/>
          </p:cNvSpPr>
          <p:nvPr>
            <p:custDataLst>
              <p:tags r:id="rId35"/>
            </p:custDataLst>
          </p:nvPr>
        </p:nvSpPr>
        <p:spPr>
          <a:xfrm>
            <a:off x="1703388" y="3968750"/>
            <a:ext cx="569913" cy="123825"/>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sz="800"/>
              <a:t>Entergy</a:t>
            </a:r>
          </a:p>
        </p:txBody>
      </p:sp>
      <p:sp>
        <p:nvSpPr>
          <p:cNvPr id="251" name="Arrow: Right 250">
            <a:extLst>
              <a:ext uri="{FF2B5EF4-FFF2-40B4-BE49-F238E27FC236}">
                <a16:creationId xmlns:a16="http://schemas.microsoft.com/office/drawing/2014/main" id="{08D02D9D-A536-67E2-7CDA-A59E075F3F22}"/>
              </a:ext>
            </a:extLst>
          </p:cNvPr>
          <p:cNvSpPr/>
          <p:nvPr>
            <p:custDataLst>
              <p:tags r:id="rId36"/>
            </p:custDataLst>
          </p:nvPr>
        </p:nvSpPr>
        <p:spPr bwMode="gray">
          <a:xfrm>
            <a:off x="1543050" y="3949700"/>
            <a:ext cx="163513" cy="130175"/>
          </a:xfrm>
          <a:prstGeom prst="rightArrow">
            <a:avLst/>
          </a:prstGeom>
          <a:solidFill>
            <a:schemeClr val="tx2">
              <a:lumMod val="90000"/>
            </a:schemeClr>
          </a:solidFill>
          <a:ln w="9525">
            <a:solidFill>
              <a:schemeClr val="tx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52" name="Arrow: Right 251">
            <a:extLst>
              <a:ext uri="{FF2B5EF4-FFF2-40B4-BE49-F238E27FC236}">
                <a16:creationId xmlns:a16="http://schemas.microsoft.com/office/drawing/2014/main" id="{27CC9719-A71B-D333-8443-96E909A5FAC6}"/>
              </a:ext>
            </a:extLst>
          </p:cNvPr>
          <p:cNvSpPr/>
          <p:nvPr>
            <p:custDataLst>
              <p:tags r:id="rId37"/>
            </p:custDataLst>
          </p:nvPr>
        </p:nvSpPr>
        <p:spPr bwMode="gray">
          <a:xfrm>
            <a:off x="2109788" y="3668713"/>
            <a:ext cx="125413" cy="115888"/>
          </a:xfrm>
          <a:prstGeom prst="rightArrow">
            <a:avLst/>
          </a:prstGeom>
          <a:solidFill>
            <a:schemeClr val="tx2">
              <a:lumMod val="90000"/>
            </a:schemeClr>
          </a:solidFill>
          <a:ln w="9525">
            <a:solidFill>
              <a:schemeClr val="tx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53" name="Title 5">
            <a:extLst>
              <a:ext uri="{FF2B5EF4-FFF2-40B4-BE49-F238E27FC236}">
                <a16:creationId xmlns:a16="http://schemas.microsoft.com/office/drawing/2014/main" id="{F9B212A4-910C-23D1-569C-38DBFAB9CAE1}"/>
              </a:ext>
            </a:extLst>
          </p:cNvPr>
          <p:cNvSpPr txBox="1">
            <a:spLocks/>
          </p:cNvSpPr>
          <p:nvPr>
            <p:custDataLst>
              <p:tags r:id="rId38"/>
            </p:custDataLst>
          </p:nvPr>
        </p:nvSpPr>
        <p:spPr>
          <a:xfrm>
            <a:off x="2189163" y="3652838"/>
            <a:ext cx="571500" cy="123825"/>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sz="800"/>
              <a:t>Holtec</a:t>
            </a:r>
          </a:p>
        </p:txBody>
      </p:sp>
      <p:sp>
        <p:nvSpPr>
          <p:cNvPr id="254" name="Title 5">
            <a:extLst>
              <a:ext uri="{FF2B5EF4-FFF2-40B4-BE49-F238E27FC236}">
                <a16:creationId xmlns:a16="http://schemas.microsoft.com/office/drawing/2014/main" id="{7990EAD6-C038-3DA7-FA2D-C8650B4D0E4D}"/>
              </a:ext>
            </a:extLst>
          </p:cNvPr>
          <p:cNvSpPr txBox="1">
            <a:spLocks/>
          </p:cNvSpPr>
          <p:nvPr>
            <p:custDataLst>
              <p:tags r:id="rId39"/>
            </p:custDataLst>
          </p:nvPr>
        </p:nvSpPr>
        <p:spPr>
          <a:xfrm>
            <a:off x="2638425" y="2667000"/>
            <a:ext cx="585788" cy="169863"/>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sz="1200"/>
              <a:t>2023</a:t>
            </a:r>
          </a:p>
        </p:txBody>
      </p:sp>
      <p:sp>
        <p:nvSpPr>
          <p:cNvPr id="263" name="Rectangle 262">
            <a:extLst>
              <a:ext uri="{FF2B5EF4-FFF2-40B4-BE49-F238E27FC236}">
                <a16:creationId xmlns:a16="http://schemas.microsoft.com/office/drawing/2014/main" id="{C024D89B-F858-7949-AC2C-5FDD3B38D648}"/>
              </a:ext>
            </a:extLst>
          </p:cNvPr>
          <p:cNvSpPr/>
          <p:nvPr>
            <p:custDataLst>
              <p:tags r:id="rId40"/>
            </p:custDataLst>
          </p:nvPr>
        </p:nvSpPr>
        <p:spPr bwMode="gray">
          <a:xfrm>
            <a:off x="5672138" y="1960563"/>
            <a:ext cx="2281238" cy="842963"/>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900">
                <a:solidFill>
                  <a:schemeClr val="tx1"/>
                </a:solidFill>
              </a:rPr>
              <a:t>Holtec closed $1.52B DOE loan to restart Palisades; in March 2025, it is reconfirmed</a:t>
            </a:r>
          </a:p>
          <a:p>
            <a:pPr marL="171450" indent="-171450">
              <a:buFont typeface="Arial" panose="020B0604020202020204" pitchFamily="34" charset="0"/>
              <a:buChar char="•"/>
            </a:pPr>
            <a:r>
              <a:rPr lang="en-US" sz="900">
                <a:solidFill>
                  <a:srgbClr val="333333"/>
                </a:solidFill>
                <a:latin typeface="Arial"/>
                <a:cs typeface="Segoe UI"/>
              </a:rPr>
              <a:t>Received </a:t>
            </a:r>
            <a:r>
              <a:rPr lang="en-US" sz="900">
                <a:solidFill>
                  <a:schemeClr val="tx1"/>
                </a:solidFill>
              </a:rPr>
              <a:t>$1.3B of support from USDA to help regional cooperatives with the PPA</a:t>
            </a:r>
            <a:endParaRPr lang="en-US" sz="900">
              <a:solidFill>
                <a:schemeClr val="tx1"/>
              </a:solidFill>
              <a:cs typeface="Arial"/>
            </a:endParaRPr>
          </a:p>
          <a:p>
            <a:pPr marL="171450" indent="-171450">
              <a:buFont typeface="Arial" panose="020B0604020202020204" pitchFamily="34" charset="0"/>
              <a:buChar char="•"/>
            </a:pPr>
            <a:endParaRPr lang="en-US" sz="900">
              <a:solidFill>
                <a:schemeClr val="tx1"/>
              </a:solidFill>
            </a:endParaRPr>
          </a:p>
        </p:txBody>
      </p:sp>
      <p:sp>
        <p:nvSpPr>
          <p:cNvPr id="264" name="Rectangle 263">
            <a:extLst>
              <a:ext uri="{FF2B5EF4-FFF2-40B4-BE49-F238E27FC236}">
                <a16:creationId xmlns:a16="http://schemas.microsoft.com/office/drawing/2014/main" id="{1E904BFB-F9EB-E48E-020F-23880FF69076}"/>
              </a:ext>
            </a:extLst>
          </p:cNvPr>
          <p:cNvSpPr/>
          <p:nvPr>
            <p:custDataLst>
              <p:tags r:id="rId41"/>
            </p:custDataLst>
          </p:nvPr>
        </p:nvSpPr>
        <p:spPr bwMode="gray">
          <a:xfrm rot="16200000">
            <a:off x="5057775" y="2225675"/>
            <a:ext cx="860425" cy="295275"/>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900">
                <a:solidFill>
                  <a:schemeClr val="tx1"/>
                </a:solidFill>
              </a:rPr>
              <a:t>Sept.</a:t>
            </a:r>
          </a:p>
        </p:txBody>
      </p:sp>
      <p:sp>
        <p:nvSpPr>
          <p:cNvPr id="267" name="TextBox 266">
            <a:extLst>
              <a:ext uri="{FF2B5EF4-FFF2-40B4-BE49-F238E27FC236}">
                <a16:creationId xmlns:a16="http://schemas.microsoft.com/office/drawing/2014/main" id="{03D440DC-EA2B-82F6-46CF-9BFBEBF29065}"/>
              </a:ext>
            </a:extLst>
          </p:cNvPr>
          <p:cNvSpPr txBox="1"/>
          <p:nvPr>
            <p:custDataLst>
              <p:tags r:id="rId42"/>
            </p:custDataLst>
          </p:nvPr>
        </p:nvSpPr>
        <p:spPr bwMode="gray">
          <a:xfrm>
            <a:off x="515938" y="2463800"/>
            <a:ext cx="1670050" cy="1016000"/>
          </a:xfrm>
          <a:prstGeom prst="rect">
            <a:avLst/>
          </a:prstGeom>
          <a:solidFill>
            <a:schemeClr val="bg1">
              <a:lumMod val="95000"/>
            </a:schemeClr>
          </a:solidFill>
        </p:spPr>
        <p:txBody>
          <a:bodyPr wrap="square">
            <a:spAutoFit/>
          </a:bodyPr>
          <a:lstStyle/>
          <a:p>
            <a:r>
              <a:rPr lang="en-US" sz="1000" b="1">
                <a:solidFill>
                  <a:srgbClr val="000000"/>
                </a:solidFill>
                <a:latin typeface="Arial"/>
              </a:rPr>
              <a:t>Early closure </a:t>
            </a:r>
            <a:r>
              <a:rPr lang="en-US" sz="1000">
                <a:solidFill>
                  <a:srgbClr val="000000"/>
                </a:solidFill>
                <a:latin typeface="Arial"/>
              </a:rPr>
              <a:t>resulted in the </a:t>
            </a:r>
            <a:r>
              <a:rPr lang="en-US" sz="1000" b="1">
                <a:solidFill>
                  <a:srgbClr val="000000"/>
                </a:solidFill>
                <a:latin typeface="Arial"/>
              </a:rPr>
              <a:t>loss </a:t>
            </a:r>
            <a:r>
              <a:rPr lang="en-US" sz="1000">
                <a:solidFill>
                  <a:srgbClr val="000000"/>
                </a:solidFill>
                <a:latin typeface="Arial"/>
              </a:rPr>
              <a:t>of</a:t>
            </a:r>
            <a:r>
              <a:rPr lang="en-US" sz="1000" b="1">
                <a:solidFill>
                  <a:srgbClr val="000000"/>
                </a:solidFill>
                <a:latin typeface="Arial"/>
              </a:rPr>
              <a:t> 739 jobs </a:t>
            </a:r>
            <a:br>
              <a:rPr lang="en-US" sz="1000" b="1">
                <a:solidFill>
                  <a:srgbClr val="000000"/>
                </a:solidFill>
                <a:latin typeface="Arial"/>
              </a:rPr>
            </a:br>
            <a:r>
              <a:rPr lang="en-US" sz="1000" b="1">
                <a:solidFill>
                  <a:srgbClr val="000000"/>
                </a:solidFill>
                <a:latin typeface="Arial"/>
              </a:rPr>
              <a:t>and an annual loss of </a:t>
            </a:r>
            <a:br>
              <a:rPr lang="en-US" sz="1000" b="1">
                <a:solidFill>
                  <a:srgbClr val="000000"/>
                </a:solidFill>
                <a:latin typeface="Arial"/>
              </a:rPr>
            </a:br>
            <a:r>
              <a:rPr lang="en-US" sz="1000" b="1">
                <a:solidFill>
                  <a:srgbClr val="000000"/>
                </a:solidFill>
                <a:latin typeface="Arial"/>
              </a:rPr>
              <a:t>$259 million </a:t>
            </a:r>
            <a:r>
              <a:rPr lang="en-US" sz="1000">
                <a:solidFill>
                  <a:srgbClr val="000000"/>
                </a:solidFill>
                <a:latin typeface="Arial"/>
              </a:rPr>
              <a:t>across </a:t>
            </a:r>
            <a:r>
              <a:rPr lang="en-US" sz="1000" b="1">
                <a:solidFill>
                  <a:srgbClr val="000000"/>
                </a:solidFill>
                <a:latin typeface="Arial"/>
              </a:rPr>
              <a:t>Berrien, Cass, and Van Buren counties.</a:t>
            </a:r>
            <a:endParaRPr lang="en-US" sz="1000"/>
          </a:p>
        </p:txBody>
      </p:sp>
      <p:sp>
        <p:nvSpPr>
          <p:cNvPr id="32" name="TextBox 8">
            <a:extLst>
              <a:ext uri="{FF2B5EF4-FFF2-40B4-BE49-F238E27FC236}">
                <a16:creationId xmlns:a16="http://schemas.microsoft.com/office/drawing/2014/main" id="{28127D29-F592-8EED-4335-F10DE41C1E4B}"/>
              </a:ext>
            </a:extLst>
          </p:cNvPr>
          <p:cNvSpPr txBox="1"/>
          <p:nvPr/>
        </p:nvSpPr>
        <p:spPr bwMode="gray">
          <a:xfrm>
            <a:off x="205642" y="1311628"/>
            <a:ext cx="4556126" cy="492443"/>
          </a:xfrm>
          <a:prstGeom prst="rect">
            <a:avLst/>
          </a:prstGeom>
          <a:noFill/>
        </p:spPr>
        <p:txBody>
          <a:bodyPr wrap="square" lIns="137160" tIns="137160" rIns="274320" bIns="137160" rtlCol="0" anchor="t">
            <a:spAutoFit/>
          </a:bodyPr>
          <a:lstStyle/>
          <a:p>
            <a:pPr>
              <a:spcAft>
                <a:spcPts val="600"/>
              </a:spcAft>
            </a:pPr>
            <a:r>
              <a:rPr lang="en-US" sz="1400" b="1">
                <a:solidFill>
                  <a:srgbClr val="000000"/>
                </a:solidFill>
                <a:latin typeface="Arial"/>
              </a:rPr>
              <a:t>Palisades project’s milestones (2023-2025) </a:t>
            </a:r>
            <a:endParaRPr kumimoji="0" lang="en-US" sz="1400" b="1" i="0" u="none" strike="noStrike" kern="1200" cap="none" spc="0" normalizeH="0" baseline="0" noProof="0">
              <a:ln>
                <a:noFill/>
              </a:ln>
              <a:solidFill>
                <a:srgbClr val="000000"/>
              </a:solidFill>
              <a:effectLst/>
              <a:uLnTx/>
              <a:uFillTx/>
              <a:latin typeface="Arial"/>
            </a:endParaRPr>
          </a:p>
        </p:txBody>
      </p:sp>
      <p:cxnSp>
        <p:nvCxnSpPr>
          <p:cNvPr id="33" name="btfpColumnHeaderBoxLine223027">
            <a:extLst>
              <a:ext uri="{FF2B5EF4-FFF2-40B4-BE49-F238E27FC236}">
                <a16:creationId xmlns:a16="http://schemas.microsoft.com/office/drawing/2014/main" id="{CDDC1A89-9F7E-EBF6-3956-F3C407D27B92}"/>
              </a:ext>
            </a:extLst>
          </p:cNvPr>
          <p:cNvCxnSpPr>
            <a:cxnSpLocks/>
          </p:cNvCxnSpPr>
          <p:nvPr/>
        </p:nvCxnSpPr>
        <p:spPr bwMode="gray">
          <a:xfrm>
            <a:off x="353279" y="1663567"/>
            <a:ext cx="429768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4" name="TextBox 8">
            <a:extLst>
              <a:ext uri="{FF2B5EF4-FFF2-40B4-BE49-F238E27FC236}">
                <a16:creationId xmlns:a16="http://schemas.microsoft.com/office/drawing/2014/main" id="{B8E09027-EF30-1557-6F9C-8D55B1CE47C4}"/>
              </a:ext>
            </a:extLst>
          </p:cNvPr>
          <p:cNvSpPr txBox="1"/>
          <p:nvPr>
            <p:custDataLst>
              <p:tags r:id="rId43"/>
            </p:custDataLst>
          </p:nvPr>
        </p:nvSpPr>
        <p:spPr bwMode="gray">
          <a:xfrm>
            <a:off x="1708150" y="4052887"/>
            <a:ext cx="1122363" cy="431800"/>
          </a:xfrm>
          <a:prstGeom prst="rect">
            <a:avLst/>
          </a:prstGeom>
          <a:noFill/>
        </p:spPr>
        <p:txBody>
          <a:bodyPr wrap="square" lIns="137160" tIns="137160" rIns="274320" bIns="137160" rtlCol="0" anchor="t">
            <a:spAutoFit/>
          </a:bodyPr>
          <a:lstStyle/>
          <a:p>
            <a:pPr>
              <a:spcAft>
                <a:spcPts val="600"/>
              </a:spcAft>
            </a:pPr>
            <a:r>
              <a:rPr lang="en-US" sz="1000" b="1">
                <a:solidFill>
                  <a:srgbClr val="000000"/>
                </a:solidFill>
                <a:latin typeface="Arial"/>
              </a:rPr>
              <a:t>May 2022</a:t>
            </a:r>
            <a:endParaRPr kumimoji="0" lang="en-US" sz="1000" b="1" i="0" u="none" strike="noStrike" kern="1200" cap="none" spc="0" normalizeH="0" baseline="0" noProof="0">
              <a:ln>
                <a:noFill/>
              </a:ln>
              <a:solidFill>
                <a:srgbClr val="000000"/>
              </a:solidFill>
              <a:effectLst/>
              <a:uLnTx/>
              <a:uFillTx/>
              <a:latin typeface="Arial"/>
            </a:endParaRPr>
          </a:p>
        </p:txBody>
      </p:sp>
      <p:sp>
        <p:nvSpPr>
          <p:cNvPr id="50" name="TextBox 8">
            <a:extLst>
              <a:ext uri="{FF2B5EF4-FFF2-40B4-BE49-F238E27FC236}">
                <a16:creationId xmlns:a16="http://schemas.microsoft.com/office/drawing/2014/main" id="{638266EF-8557-6D08-A7E4-1BF73AAA81BF}"/>
              </a:ext>
            </a:extLst>
          </p:cNvPr>
          <p:cNvSpPr txBox="1"/>
          <p:nvPr>
            <p:custDataLst>
              <p:tags r:id="rId44"/>
            </p:custDataLst>
          </p:nvPr>
        </p:nvSpPr>
        <p:spPr bwMode="gray">
          <a:xfrm>
            <a:off x="234950" y="4052887"/>
            <a:ext cx="1122363" cy="430887"/>
          </a:xfrm>
          <a:prstGeom prst="rect">
            <a:avLst/>
          </a:prstGeom>
          <a:noFill/>
        </p:spPr>
        <p:txBody>
          <a:bodyPr wrap="square" lIns="137160" tIns="137160" rIns="274320" bIns="137160" rtlCol="0" anchor="t">
            <a:spAutoFit/>
          </a:bodyPr>
          <a:lstStyle/>
          <a:p>
            <a:pPr>
              <a:spcAft>
                <a:spcPts val="600"/>
              </a:spcAft>
            </a:pPr>
            <a:r>
              <a:rPr lang="en-US" sz="1000" b="1">
                <a:solidFill>
                  <a:srgbClr val="000000"/>
                </a:solidFill>
                <a:latin typeface="Arial"/>
              </a:rPr>
              <a:t>Dec. 1971</a:t>
            </a:r>
            <a:endParaRPr kumimoji="0" lang="en-US" sz="1000" b="1" i="0" u="none" strike="noStrike" kern="1200" cap="none" spc="0" normalizeH="0" baseline="0" noProof="0">
              <a:ln>
                <a:noFill/>
              </a:ln>
              <a:solidFill>
                <a:srgbClr val="000000"/>
              </a:solidFill>
              <a:effectLst/>
              <a:uLnTx/>
              <a:uFillTx/>
              <a:latin typeface="Arial"/>
            </a:endParaRPr>
          </a:p>
        </p:txBody>
      </p:sp>
      <p:sp>
        <p:nvSpPr>
          <p:cNvPr id="73" name="TextBox 72">
            <a:extLst>
              <a:ext uri="{FF2B5EF4-FFF2-40B4-BE49-F238E27FC236}">
                <a16:creationId xmlns:a16="http://schemas.microsoft.com/office/drawing/2014/main" id="{B3ED8372-0BD8-9154-D2B9-BB253EE3FDA9}"/>
              </a:ext>
            </a:extLst>
          </p:cNvPr>
          <p:cNvSpPr txBox="1"/>
          <p:nvPr/>
        </p:nvSpPr>
        <p:spPr bwMode="gray">
          <a:xfrm>
            <a:off x="4728789" y="5669865"/>
            <a:ext cx="6917112" cy="507831"/>
          </a:xfrm>
          <a:prstGeom prst="rect">
            <a:avLst/>
          </a:prstGeom>
          <a:noFill/>
          <a:ln>
            <a:noFill/>
            <a:prstDash val="dash"/>
          </a:ln>
        </p:spPr>
        <p:txBody>
          <a:bodyPr wrap="square">
            <a:spAutoFit/>
          </a:bodyPr>
          <a:lstStyle/>
          <a:p>
            <a:pPr marL="171450" indent="-171450">
              <a:buFont typeface="Arial" panose="020B0604020202020204" pitchFamily="34" charset="0"/>
              <a:buChar char="•"/>
            </a:pPr>
            <a:r>
              <a:rPr lang="en-US" sz="900" b="1">
                <a:solidFill>
                  <a:srgbClr val="000000"/>
                </a:solidFill>
              </a:rPr>
              <a:t>Aging infrastructure and repairs raise safety concerns: </a:t>
            </a:r>
            <a:r>
              <a:rPr lang="en-US" sz="900">
                <a:solidFill>
                  <a:srgbClr val="000000"/>
                </a:solidFill>
              </a:rPr>
              <a:t>Adequate performance of steam generation tubes and control-road seal issues requires a more thorough analysis to ensure the required performance.</a:t>
            </a:r>
          </a:p>
          <a:p>
            <a:pPr marL="171450" indent="-171450">
              <a:buFont typeface="Arial" panose="020B0604020202020204" pitchFamily="34" charset="0"/>
              <a:buChar char="•"/>
            </a:pPr>
            <a:r>
              <a:rPr lang="en-US" sz="900" b="1">
                <a:solidFill>
                  <a:srgbClr val="000000"/>
                </a:solidFill>
              </a:rPr>
              <a:t>Regulatory hurdles:</a:t>
            </a:r>
            <a:r>
              <a:rPr lang="en-US" sz="900">
                <a:solidFill>
                  <a:srgbClr val="000000"/>
                </a:solidFill>
              </a:rPr>
              <a:t> NRC moved the estimated completion from July 31 to September 30, </a:t>
            </a:r>
            <a:r>
              <a:rPr lang="en-US" sz="900" b="1">
                <a:solidFill>
                  <a:srgbClr val="000000"/>
                </a:solidFill>
              </a:rPr>
              <a:t>increasing completion risk.</a:t>
            </a:r>
          </a:p>
        </p:txBody>
      </p:sp>
      <p:sp>
        <p:nvSpPr>
          <p:cNvPr id="74" name="TextBox 73">
            <a:extLst>
              <a:ext uri="{FF2B5EF4-FFF2-40B4-BE49-F238E27FC236}">
                <a16:creationId xmlns:a16="http://schemas.microsoft.com/office/drawing/2014/main" id="{1AF475F7-A19F-5BD4-4435-61BE15CB5329}"/>
              </a:ext>
            </a:extLst>
          </p:cNvPr>
          <p:cNvSpPr txBox="1"/>
          <p:nvPr/>
        </p:nvSpPr>
        <p:spPr bwMode="gray">
          <a:xfrm>
            <a:off x="4721196" y="4730049"/>
            <a:ext cx="7012017" cy="507831"/>
          </a:xfrm>
          <a:prstGeom prst="rect">
            <a:avLst/>
          </a:prstGeom>
          <a:noFill/>
          <a:ln>
            <a:noFill/>
            <a:prstDash val="dash"/>
          </a:ln>
        </p:spPr>
        <p:txBody>
          <a:bodyPr wrap="square">
            <a:spAutoFit/>
          </a:bodyPr>
          <a:lstStyle/>
          <a:p>
            <a:pPr marL="171450" indent="-171450">
              <a:buFont typeface="Arial" panose="020B0604020202020204" pitchFamily="34" charset="0"/>
              <a:buChar char="•"/>
            </a:pPr>
            <a:r>
              <a:rPr lang="en-US" sz="900" b="1">
                <a:solidFill>
                  <a:srgbClr val="000000"/>
                </a:solidFill>
              </a:rPr>
              <a:t>State’s climate commitment in Public Act 235: </a:t>
            </a:r>
            <a:r>
              <a:rPr lang="en-US" sz="900">
                <a:solidFill>
                  <a:srgbClr val="000000"/>
                </a:solidFill>
              </a:rPr>
              <a:t>80% of energy must come from carbon-free sources by 2035.</a:t>
            </a:r>
          </a:p>
          <a:p>
            <a:pPr marL="171450" indent="-171450">
              <a:buFont typeface="Arial" panose="020B0604020202020204" pitchFamily="34" charset="0"/>
              <a:buChar char="•"/>
            </a:pPr>
            <a:r>
              <a:rPr lang="en-US" sz="900" b="1">
                <a:solidFill>
                  <a:srgbClr val="000000"/>
                </a:solidFill>
              </a:rPr>
              <a:t>Market and political momentum:</a:t>
            </a:r>
            <a:r>
              <a:rPr lang="en-US" sz="900">
                <a:solidFill>
                  <a:srgbClr val="000000"/>
                </a:solidFill>
              </a:rPr>
              <a:t> Two executive orders approved in January 2025 (</a:t>
            </a:r>
            <a:r>
              <a:rPr lang="en-US" sz="900"/>
              <a:t>14154, 14156) favor nuclear financial outlook.</a:t>
            </a:r>
            <a:endParaRPr lang="en-US" sz="900">
              <a:solidFill>
                <a:srgbClr val="000000"/>
              </a:solidFill>
            </a:endParaRPr>
          </a:p>
          <a:p>
            <a:pPr marL="171450" indent="-171450">
              <a:buFont typeface="Arial" panose="020B0604020202020204" pitchFamily="34" charset="0"/>
              <a:buChar char="•"/>
            </a:pPr>
            <a:r>
              <a:rPr lang="en-US" sz="900" b="1">
                <a:solidFill>
                  <a:srgbClr val="000000"/>
                </a:solidFill>
              </a:rPr>
              <a:t>Regulatory support structures:</a:t>
            </a:r>
            <a:r>
              <a:rPr lang="en-US" sz="900">
                <a:solidFill>
                  <a:srgbClr val="000000"/>
                </a:solidFill>
              </a:rPr>
              <a:t> NRC has established a dedicated panel to guide the restarting. </a:t>
            </a:r>
            <a:endParaRPr lang="en-US" sz="900"/>
          </a:p>
        </p:txBody>
      </p:sp>
      <p:sp>
        <p:nvSpPr>
          <p:cNvPr id="75" name="TextBox 8">
            <a:extLst>
              <a:ext uri="{FF2B5EF4-FFF2-40B4-BE49-F238E27FC236}">
                <a16:creationId xmlns:a16="http://schemas.microsoft.com/office/drawing/2014/main" id="{EDA74253-8006-51F3-9775-3D6C6032967B}"/>
              </a:ext>
            </a:extLst>
          </p:cNvPr>
          <p:cNvSpPr txBox="1"/>
          <p:nvPr/>
        </p:nvSpPr>
        <p:spPr bwMode="gray">
          <a:xfrm>
            <a:off x="286873" y="4407473"/>
            <a:ext cx="4267889" cy="1825306"/>
          </a:xfrm>
          <a:prstGeom prst="rect">
            <a:avLst/>
          </a:prstGeom>
          <a:solidFill>
            <a:srgbClr val="E3E8EE"/>
          </a:solidFill>
          <a:ln>
            <a:noFill/>
          </a:ln>
        </p:spPr>
        <p:txBody>
          <a:bodyPr wrap="square" lIns="137160" tIns="137160" rIns="274320" bIns="137160" rtlCol="0" anchor="t">
            <a:noAutofit/>
          </a:bodyPr>
          <a:lstStyle/>
          <a:p>
            <a:pPr>
              <a:spcAft>
                <a:spcPts val="600"/>
              </a:spcAft>
            </a:pPr>
            <a:r>
              <a:rPr lang="en-US" sz="1200" b="1">
                <a:solidFill>
                  <a:srgbClr val="000000"/>
                </a:solidFill>
                <a:latin typeface="Arial"/>
              </a:rPr>
              <a:t>Project details</a:t>
            </a:r>
          </a:p>
          <a:p>
            <a:pPr marL="171450" indent="-171450">
              <a:spcAft>
                <a:spcPts val="400"/>
              </a:spcAft>
              <a:buFont typeface="Arial" panose="020B0604020202020204" pitchFamily="34" charset="0"/>
              <a:buChar char="•"/>
            </a:pPr>
            <a:r>
              <a:rPr lang="en-US" sz="1050" b="1">
                <a:solidFill>
                  <a:srgbClr val="000000"/>
                </a:solidFill>
                <a:latin typeface="Arial"/>
              </a:rPr>
              <a:t>Capacity: </a:t>
            </a:r>
            <a:r>
              <a:rPr lang="en-US" sz="1050">
                <a:solidFill>
                  <a:srgbClr val="000000"/>
                </a:solidFill>
                <a:latin typeface="Arial"/>
              </a:rPr>
              <a:t>805 MW</a:t>
            </a:r>
          </a:p>
          <a:p>
            <a:pPr marL="171450" indent="-171450">
              <a:spcAft>
                <a:spcPts val="400"/>
              </a:spcAft>
              <a:buFont typeface="Arial" panose="020B0604020202020204" pitchFamily="34" charset="0"/>
              <a:buChar char="•"/>
            </a:pPr>
            <a:r>
              <a:rPr lang="en-US" sz="1050" b="1">
                <a:solidFill>
                  <a:srgbClr val="000000"/>
                </a:solidFill>
                <a:latin typeface="Arial"/>
              </a:rPr>
              <a:t>Location:</a:t>
            </a:r>
            <a:r>
              <a:rPr lang="en-US" sz="1050">
                <a:solidFill>
                  <a:srgbClr val="000000"/>
                </a:solidFill>
                <a:latin typeface="Arial"/>
              </a:rPr>
              <a:t> Michigan </a:t>
            </a:r>
          </a:p>
          <a:p>
            <a:pPr marL="171450" indent="-171450">
              <a:spcAft>
                <a:spcPts val="400"/>
              </a:spcAft>
              <a:buFont typeface="Arial" panose="020B0604020202020204" pitchFamily="34" charset="0"/>
              <a:buChar char="•"/>
            </a:pPr>
            <a:r>
              <a:rPr lang="en-US" sz="1050" b="1">
                <a:solidFill>
                  <a:srgbClr val="000000"/>
                </a:solidFill>
                <a:latin typeface="Arial"/>
              </a:rPr>
              <a:t>Technology: </a:t>
            </a:r>
            <a:r>
              <a:rPr lang="en-US" sz="1050">
                <a:solidFill>
                  <a:srgbClr val="000000"/>
                </a:solidFill>
                <a:latin typeface="Arial"/>
              </a:rPr>
              <a:t>PWR</a:t>
            </a:r>
          </a:p>
          <a:p>
            <a:pPr marL="171450" indent="-171450">
              <a:spcAft>
                <a:spcPts val="400"/>
              </a:spcAft>
              <a:buFont typeface="Arial" panose="020B0604020202020204" pitchFamily="34" charset="0"/>
              <a:buChar char="•"/>
            </a:pPr>
            <a:r>
              <a:rPr lang="en-US" sz="1050" b="1">
                <a:solidFill>
                  <a:srgbClr val="000000"/>
                </a:solidFill>
                <a:latin typeface="Arial"/>
              </a:rPr>
              <a:t>Extension period: </a:t>
            </a:r>
            <a:r>
              <a:rPr lang="en-US" sz="1050">
                <a:solidFill>
                  <a:srgbClr val="000000"/>
                </a:solidFill>
                <a:latin typeface="Arial"/>
              </a:rPr>
              <a:t>~26 years (2051)</a:t>
            </a:r>
          </a:p>
          <a:p>
            <a:pPr marL="171450" indent="-171450">
              <a:spcAft>
                <a:spcPts val="400"/>
              </a:spcAft>
              <a:buFont typeface="Arial" panose="020B0604020202020204" pitchFamily="34" charset="0"/>
              <a:buChar char="•"/>
            </a:pPr>
            <a:r>
              <a:rPr lang="en-US" sz="1050" b="1">
                <a:solidFill>
                  <a:srgbClr val="000000"/>
                </a:solidFill>
                <a:latin typeface="Arial"/>
              </a:rPr>
              <a:t>Owner:</a:t>
            </a:r>
            <a:r>
              <a:rPr lang="en-US" sz="1050">
                <a:solidFill>
                  <a:srgbClr val="000000"/>
                </a:solidFill>
                <a:latin typeface="Arial"/>
              </a:rPr>
              <a:t> Holtec, previously Entergy</a:t>
            </a:r>
          </a:p>
          <a:p>
            <a:pPr marL="171450" indent="-171450">
              <a:spcAft>
                <a:spcPts val="400"/>
              </a:spcAft>
              <a:buFont typeface="Arial" panose="020B0604020202020204" pitchFamily="34" charset="0"/>
              <a:buChar char="•"/>
            </a:pPr>
            <a:r>
              <a:rPr lang="en-US" sz="1050" b="1">
                <a:solidFill>
                  <a:srgbClr val="000000"/>
                </a:solidFill>
                <a:latin typeface="Arial"/>
              </a:rPr>
              <a:t>Other considerations: </a:t>
            </a:r>
            <a:r>
              <a:rPr lang="en-US" sz="1050">
                <a:solidFill>
                  <a:srgbClr val="000000"/>
                </a:solidFill>
                <a:latin typeface="Arial"/>
              </a:rPr>
              <a:t>Plans to include two additional SMRs; 300MW to benefit from site permits and skilled workforce</a:t>
            </a:r>
            <a:endParaRPr kumimoji="0" lang="en-US" sz="1050" i="0" u="none" strike="noStrike" kern="1200" cap="none" spc="0" normalizeH="0" baseline="0" noProof="0">
              <a:ln>
                <a:noFill/>
              </a:ln>
              <a:solidFill>
                <a:srgbClr val="000000"/>
              </a:solidFill>
              <a:effectLst/>
              <a:uLnTx/>
              <a:uFillTx/>
              <a:latin typeface="Arial"/>
            </a:endParaRPr>
          </a:p>
        </p:txBody>
      </p:sp>
      <p:sp>
        <p:nvSpPr>
          <p:cNvPr id="77" name="Rectangle 76">
            <a:extLst>
              <a:ext uri="{FF2B5EF4-FFF2-40B4-BE49-F238E27FC236}">
                <a16:creationId xmlns:a16="http://schemas.microsoft.com/office/drawing/2014/main" id="{9332322E-E7DF-11B6-0825-6046E72DC4EF}"/>
              </a:ext>
            </a:extLst>
          </p:cNvPr>
          <p:cNvSpPr/>
          <p:nvPr/>
        </p:nvSpPr>
        <p:spPr bwMode="gray">
          <a:xfrm>
            <a:off x="4650959" y="4598348"/>
            <a:ext cx="7082254" cy="68580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8" name="Rectangle 77">
            <a:extLst>
              <a:ext uri="{FF2B5EF4-FFF2-40B4-BE49-F238E27FC236}">
                <a16:creationId xmlns:a16="http://schemas.microsoft.com/office/drawing/2014/main" id="{D02A7102-9B70-4767-9CBE-BF04D020F586}"/>
              </a:ext>
            </a:extLst>
          </p:cNvPr>
          <p:cNvSpPr/>
          <p:nvPr/>
        </p:nvSpPr>
        <p:spPr bwMode="gray">
          <a:xfrm>
            <a:off x="4650959" y="5542826"/>
            <a:ext cx="7082254" cy="68580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59" name="Group 58">
            <a:extLst>
              <a:ext uri="{FF2B5EF4-FFF2-40B4-BE49-F238E27FC236}">
                <a16:creationId xmlns:a16="http://schemas.microsoft.com/office/drawing/2014/main" id="{21454CC4-A40C-38AC-2B79-6320DE090E82}"/>
              </a:ext>
            </a:extLst>
          </p:cNvPr>
          <p:cNvGrpSpPr/>
          <p:nvPr/>
        </p:nvGrpSpPr>
        <p:grpSpPr>
          <a:xfrm>
            <a:off x="4585636" y="4432035"/>
            <a:ext cx="1616723" cy="305800"/>
            <a:chOff x="2539824" y="2255233"/>
            <a:chExt cx="1521636" cy="288801"/>
          </a:xfrm>
          <a:solidFill>
            <a:schemeClr val="tx2">
              <a:lumMod val="50000"/>
            </a:schemeClr>
          </a:solidFill>
        </p:grpSpPr>
        <p:grpSp>
          <p:nvGrpSpPr>
            <p:cNvPr id="60" name="Group 59">
              <a:extLst>
                <a:ext uri="{FF2B5EF4-FFF2-40B4-BE49-F238E27FC236}">
                  <a16:creationId xmlns:a16="http://schemas.microsoft.com/office/drawing/2014/main" id="{2F3E3C2D-3E85-3311-82B7-6C310D85557D}"/>
                </a:ext>
              </a:extLst>
            </p:cNvPr>
            <p:cNvGrpSpPr/>
            <p:nvPr/>
          </p:nvGrpSpPr>
          <p:grpSpPr>
            <a:xfrm>
              <a:off x="2539824" y="2255233"/>
              <a:ext cx="1521636" cy="288801"/>
              <a:chOff x="3291840" y="2560320"/>
              <a:chExt cx="1330452" cy="486571"/>
            </a:xfrm>
            <a:grpFill/>
          </p:grpSpPr>
          <p:sp>
            <p:nvSpPr>
              <p:cNvPr id="62" name="Arrow: Chevron 61">
                <a:extLst>
                  <a:ext uri="{FF2B5EF4-FFF2-40B4-BE49-F238E27FC236}">
                    <a16:creationId xmlns:a16="http://schemas.microsoft.com/office/drawing/2014/main" id="{42C753C0-D26C-B328-ED8F-AE407C8B1653}"/>
                  </a:ext>
                </a:extLst>
              </p:cNvPr>
              <p:cNvSpPr/>
              <p:nvPr/>
            </p:nvSpPr>
            <p:spPr bwMode="gray">
              <a:xfrm>
                <a:off x="4137660" y="2560320"/>
                <a:ext cx="484632" cy="484632"/>
              </a:xfrm>
              <a:prstGeom prst="chevron">
                <a:avLst/>
              </a:prstGeom>
              <a:grp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3" name="Arrow: Chevron 62">
                <a:extLst>
                  <a:ext uri="{FF2B5EF4-FFF2-40B4-BE49-F238E27FC236}">
                    <a16:creationId xmlns:a16="http://schemas.microsoft.com/office/drawing/2014/main" id="{6CE18648-516E-4459-1F7E-24CF0FB5A40A}"/>
                  </a:ext>
                </a:extLst>
              </p:cNvPr>
              <p:cNvSpPr/>
              <p:nvPr/>
            </p:nvSpPr>
            <p:spPr bwMode="gray">
              <a:xfrm>
                <a:off x="3855720" y="2560320"/>
                <a:ext cx="484632" cy="484632"/>
              </a:xfrm>
              <a:prstGeom prst="chevron">
                <a:avLst/>
              </a:prstGeom>
              <a:grp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4" name="Arrow: Chevron 63">
                <a:extLst>
                  <a:ext uri="{FF2B5EF4-FFF2-40B4-BE49-F238E27FC236}">
                    <a16:creationId xmlns:a16="http://schemas.microsoft.com/office/drawing/2014/main" id="{F33B604C-DE11-B07B-CBCF-E5F6BC217355}"/>
                  </a:ext>
                </a:extLst>
              </p:cNvPr>
              <p:cNvSpPr/>
              <p:nvPr/>
            </p:nvSpPr>
            <p:spPr bwMode="gray">
              <a:xfrm>
                <a:off x="3573780" y="2562259"/>
                <a:ext cx="484632" cy="484632"/>
              </a:xfrm>
              <a:prstGeom prst="chevron">
                <a:avLst/>
              </a:prstGeom>
              <a:grp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5" name="Arrow: Chevron 64">
                <a:extLst>
                  <a:ext uri="{FF2B5EF4-FFF2-40B4-BE49-F238E27FC236}">
                    <a16:creationId xmlns:a16="http://schemas.microsoft.com/office/drawing/2014/main" id="{5C86B5D6-87BB-61B4-2595-DA2A7C15E248}"/>
                  </a:ext>
                </a:extLst>
              </p:cNvPr>
              <p:cNvSpPr/>
              <p:nvPr/>
            </p:nvSpPr>
            <p:spPr bwMode="gray">
              <a:xfrm>
                <a:off x="3291840" y="2562259"/>
                <a:ext cx="484632" cy="484632"/>
              </a:xfrm>
              <a:prstGeom prst="chevron">
                <a:avLst/>
              </a:prstGeom>
              <a:grp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61" name="Title 5">
              <a:extLst>
                <a:ext uri="{FF2B5EF4-FFF2-40B4-BE49-F238E27FC236}">
                  <a16:creationId xmlns:a16="http://schemas.microsoft.com/office/drawing/2014/main" id="{ABCADBF9-8EE0-E057-530A-D8EDBE956DB7}"/>
                </a:ext>
              </a:extLst>
            </p:cNvPr>
            <p:cNvSpPr txBox="1">
              <a:spLocks/>
            </p:cNvSpPr>
            <p:nvPr/>
          </p:nvSpPr>
          <p:spPr>
            <a:xfrm>
              <a:off x="2852122" y="2291960"/>
              <a:ext cx="939658" cy="116279"/>
            </a:xfrm>
            <a:prstGeom prst="rect">
              <a:avLst/>
            </a:prstGeom>
            <a:grpFill/>
            <a:ln>
              <a:solidFill>
                <a:schemeClr val="tx2">
                  <a:lumMod val="50000"/>
                </a:schemeClr>
              </a:solidFill>
            </a:ln>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algn="ctr"/>
              <a:r>
                <a:rPr lang="en-US" sz="1200">
                  <a:solidFill>
                    <a:schemeClr val="bg1"/>
                  </a:solidFill>
                </a:rPr>
                <a:t>Tailwinds</a:t>
              </a:r>
            </a:p>
          </p:txBody>
        </p:sp>
      </p:grpSp>
      <p:grpSp>
        <p:nvGrpSpPr>
          <p:cNvPr id="66" name="Group 65">
            <a:extLst>
              <a:ext uri="{FF2B5EF4-FFF2-40B4-BE49-F238E27FC236}">
                <a16:creationId xmlns:a16="http://schemas.microsoft.com/office/drawing/2014/main" id="{3BC66C43-DB02-4D30-FA3C-EEC00228E51B}"/>
              </a:ext>
            </a:extLst>
          </p:cNvPr>
          <p:cNvGrpSpPr/>
          <p:nvPr/>
        </p:nvGrpSpPr>
        <p:grpSpPr>
          <a:xfrm>
            <a:off x="10169627" y="5393265"/>
            <a:ext cx="1641416" cy="304581"/>
            <a:chOff x="4615671" y="3155805"/>
            <a:chExt cx="1521636" cy="288801"/>
          </a:xfrm>
          <a:solidFill>
            <a:schemeClr val="tx2">
              <a:lumMod val="50000"/>
            </a:schemeClr>
          </a:solidFill>
        </p:grpSpPr>
        <p:grpSp>
          <p:nvGrpSpPr>
            <p:cNvPr id="67" name="Group 66">
              <a:extLst>
                <a:ext uri="{FF2B5EF4-FFF2-40B4-BE49-F238E27FC236}">
                  <a16:creationId xmlns:a16="http://schemas.microsoft.com/office/drawing/2014/main" id="{56CBDC9E-16AD-3B72-163E-350EB347C378}"/>
                </a:ext>
              </a:extLst>
            </p:cNvPr>
            <p:cNvGrpSpPr/>
            <p:nvPr/>
          </p:nvGrpSpPr>
          <p:grpSpPr>
            <a:xfrm rot="10800000">
              <a:off x="4615671" y="3155805"/>
              <a:ext cx="1521636" cy="288801"/>
              <a:chOff x="3291841" y="2560320"/>
              <a:chExt cx="1330452" cy="486571"/>
            </a:xfrm>
            <a:grpFill/>
          </p:grpSpPr>
          <p:sp>
            <p:nvSpPr>
              <p:cNvPr id="69" name="Arrow: Chevron 68">
                <a:extLst>
                  <a:ext uri="{FF2B5EF4-FFF2-40B4-BE49-F238E27FC236}">
                    <a16:creationId xmlns:a16="http://schemas.microsoft.com/office/drawing/2014/main" id="{74C205A3-805E-0161-06E8-8A4C8E6E0E3D}"/>
                  </a:ext>
                </a:extLst>
              </p:cNvPr>
              <p:cNvSpPr/>
              <p:nvPr/>
            </p:nvSpPr>
            <p:spPr bwMode="gray">
              <a:xfrm>
                <a:off x="4137661" y="2560330"/>
                <a:ext cx="484632" cy="484632"/>
              </a:xfrm>
              <a:prstGeom prst="chevron">
                <a:avLst/>
              </a:prstGeom>
              <a:grp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0" name="Arrow: Chevron 69">
                <a:extLst>
                  <a:ext uri="{FF2B5EF4-FFF2-40B4-BE49-F238E27FC236}">
                    <a16:creationId xmlns:a16="http://schemas.microsoft.com/office/drawing/2014/main" id="{CA53E301-5B08-0998-0C50-DB67A52C185D}"/>
                  </a:ext>
                </a:extLst>
              </p:cNvPr>
              <p:cNvSpPr/>
              <p:nvPr/>
            </p:nvSpPr>
            <p:spPr bwMode="gray">
              <a:xfrm>
                <a:off x="3855720" y="2560320"/>
                <a:ext cx="484632" cy="484632"/>
              </a:xfrm>
              <a:prstGeom prst="chevron">
                <a:avLst/>
              </a:prstGeom>
              <a:grp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1" name="Arrow: Chevron 70">
                <a:extLst>
                  <a:ext uri="{FF2B5EF4-FFF2-40B4-BE49-F238E27FC236}">
                    <a16:creationId xmlns:a16="http://schemas.microsoft.com/office/drawing/2014/main" id="{AF1BEDCD-264F-8062-0E2A-AF6C1BBB271E}"/>
                  </a:ext>
                </a:extLst>
              </p:cNvPr>
              <p:cNvSpPr/>
              <p:nvPr/>
            </p:nvSpPr>
            <p:spPr bwMode="gray">
              <a:xfrm>
                <a:off x="3573780" y="2562259"/>
                <a:ext cx="484632" cy="484632"/>
              </a:xfrm>
              <a:prstGeom prst="chevron">
                <a:avLst/>
              </a:prstGeom>
              <a:grp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2" name="Arrow: Chevron 71">
                <a:extLst>
                  <a:ext uri="{FF2B5EF4-FFF2-40B4-BE49-F238E27FC236}">
                    <a16:creationId xmlns:a16="http://schemas.microsoft.com/office/drawing/2014/main" id="{EE6974B9-9835-E362-28CA-7B83CFC6A1AE}"/>
                  </a:ext>
                </a:extLst>
              </p:cNvPr>
              <p:cNvSpPr/>
              <p:nvPr/>
            </p:nvSpPr>
            <p:spPr bwMode="gray">
              <a:xfrm>
                <a:off x="3291841" y="2562254"/>
                <a:ext cx="484632" cy="484633"/>
              </a:xfrm>
              <a:prstGeom prst="chevron">
                <a:avLst/>
              </a:prstGeom>
              <a:grp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68" name="Title 5">
              <a:extLst>
                <a:ext uri="{FF2B5EF4-FFF2-40B4-BE49-F238E27FC236}">
                  <a16:creationId xmlns:a16="http://schemas.microsoft.com/office/drawing/2014/main" id="{4424211B-C384-F04B-21EA-468582605F2C}"/>
                </a:ext>
              </a:extLst>
            </p:cNvPr>
            <p:cNvSpPr txBox="1">
              <a:spLocks/>
            </p:cNvSpPr>
            <p:nvPr/>
          </p:nvSpPr>
          <p:spPr>
            <a:xfrm>
              <a:off x="4938126" y="3224981"/>
              <a:ext cx="1067822" cy="102994"/>
            </a:xfrm>
            <a:prstGeom prst="rect">
              <a:avLst/>
            </a:prstGeom>
            <a:grpFill/>
            <a:ln>
              <a:solidFill>
                <a:schemeClr val="tx2">
                  <a:lumMod val="50000"/>
                </a:schemeClr>
              </a:solidFill>
            </a:ln>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sz="1200">
                  <a:solidFill>
                    <a:schemeClr val="bg1"/>
                  </a:solidFill>
                </a:rPr>
                <a:t>Headwinds</a:t>
              </a:r>
            </a:p>
          </p:txBody>
        </p:sp>
      </p:grpSp>
    </p:spTree>
    <p:custDataLst>
      <p:tags r:id="rId1"/>
    </p:custDataLst>
    <p:extLst>
      <p:ext uri="{BB962C8B-B14F-4D97-AF65-F5344CB8AC3E}">
        <p14:creationId xmlns:p14="http://schemas.microsoft.com/office/powerpoint/2010/main" val="40064288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6EEBB74-B832-BA2B-A91C-BDC53541F912}"/>
              </a:ext>
            </a:extLst>
          </p:cNvPr>
          <p:cNvGraphicFramePr>
            <a:graphicFrameLocks noChangeAspect="1"/>
          </p:cNvGraphicFramePr>
          <p:nvPr>
            <p:custDataLst>
              <p:tags r:id="rId1"/>
            </p:custDataLst>
            <p:extLst>
              <p:ext uri="{D42A27DB-BD31-4B8C-83A1-F6EECF244321}">
                <p14:modId xmlns:p14="http://schemas.microsoft.com/office/powerpoint/2010/main" val="327717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7" imgW="405" imgH="405" progId="TCLayout.ActiveDocument.1">
                  <p:embed/>
                </p:oleObj>
              </mc:Choice>
              <mc:Fallback>
                <p:oleObj name="think-cell Slide" r:id="rId167" imgW="405" imgH="405" progId="TCLayout.ActiveDocument.1">
                  <p:embed/>
                  <p:pic>
                    <p:nvPicPr>
                      <p:cNvPr id="0" name=""/>
                      <p:cNvPicPr/>
                      <p:nvPr/>
                    </p:nvPicPr>
                    <p:blipFill>
                      <a:blip r:embed="rId168"/>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CC167D6F-6E54-60F6-D1CB-6C2ADE199AAD}"/>
              </a:ext>
            </a:extLst>
          </p:cNvPr>
          <p:cNvPicPr>
            <a:picLocks noChangeAspect="1" noChangeArrowheads="1"/>
          </p:cNvPicPr>
          <p:nvPr/>
        </p:nvPicPr>
        <p:blipFill>
          <a:blip r:embed="rId169" cstate="screen">
            <a:extLst>
              <a:ext uri="{28A0092B-C50C-407E-A947-70E740481C1C}">
                <a14:useLocalDpi xmlns:a14="http://schemas.microsoft.com/office/drawing/2010/main"/>
              </a:ext>
            </a:extLst>
          </a:blip>
          <a:srcRect/>
          <a:stretch>
            <a:fillRect/>
          </a:stretch>
        </p:blipFill>
        <p:spPr bwMode="auto">
          <a:xfrm>
            <a:off x="348684" y="1679575"/>
            <a:ext cx="9189565" cy="4562475"/>
          </a:xfrm>
          <a:prstGeom prst="rect">
            <a:avLst/>
          </a:prstGeom>
          <a:noFill/>
          <a:extLst>
            <a:ext uri="{909E8E84-426E-40DD-AFC4-6F175D3DCCD1}">
              <a14:hiddenFill xmlns:a14="http://schemas.microsoft.com/office/drawing/2010/main">
                <a:solidFill>
                  <a:srgbClr val="FFFFFF"/>
                </a:solidFill>
              </a14:hiddenFill>
            </a:ext>
          </a:extLst>
        </p:spPr>
      </p:pic>
      <p:sp>
        <p:nvSpPr>
          <p:cNvPr id="1415" name="Rectangle 1414">
            <a:extLst>
              <a:ext uri="{FF2B5EF4-FFF2-40B4-BE49-F238E27FC236}">
                <a16:creationId xmlns:a16="http://schemas.microsoft.com/office/drawing/2014/main" id="{5A28C822-8354-D303-BDBD-D37195DD4C57}"/>
              </a:ext>
            </a:extLst>
          </p:cNvPr>
          <p:cNvSpPr/>
          <p:nvPr/>
        </p:nvSpPr>
        <p:spPr bwMode="gray">
          <a:xfrm>
            <a:off x="5919788" y="4695825"/>
            <a:ext cx="2677457" cy="10937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 name="Title 1">
            <a:extLst>
              <a:ext uri="{FF2B5EF4-FFF2-40B4-BE49-F238E27FC236}">
                <a16:creationId xmlns:a16="http://schemas.microsoft.com/office/drawing/2014/main" id="{77F9C086-E325-20AE-CB79-283AFE53429C}"/>
              </a:ext>
            </a:extLst>
          </p:cNvPr>
          <p:cNvSpPr>
            <a:spLocks noGrp="1"/>
          </p:cNvSpPr>
          <p:nvPr>
            <p:ph type="title"/>
          </p:nvPr>
        </p:nvSpPr>
        <p:spPr/>
        <p:txBody>
          <a:bodyPr vert="horz">
            <a:normAutofit fontScale="90000"/>
          </a:bodyPr>
          <a:lstStyle/>
          <a:p>
            <a:r>
              <a:rPr lang="en-US"/>
              <a:t>Global nuclear capacity set to double if all announced and initiated plants materialize; China responsible for ~30% of new plants</a:t>
            </a:r>
          </a:p>
        </p:txBody>
      </p:sp>
      <p:sp>
        <p:nvSpPr>
          <p:cNvPr id="20" name="btfpNotesBox368131">
            <a:hlinkClick r:id="rId170"/>
            <a:extLst>
              <a:ext uri="{FF2B5EF4-FFF2-40B4-BE49-F238E27FC236}">
                <a16:creationId xmlns:a16="http://schemas.microsoft.com/office/drawing/2014/main" id="{50BE2E5C-110C-E3BF-770D-A8E77E44D766}"/>
              </a:ext>
            </a:extLst>
          </p:cNvPr>
          <p:cNvSpPr txBox="1"/>
          <p:nvPr>
            <p:custDataLst>
              <p:tags r:id="rId2"/>
            </p:custDataLst>
          </p:nvPr>
        </p:nvSpPr>
        <p:spPr bwMode="gray">
          <a:xfrm>
            <a:off x="330199" y="6309360"/>
            <a:ext cx="11531600" cy="492443"/>
          </a:xfrm>
          <a:prstGeom prst="rect">
            <a:avLst/>
          </a:prstGeom>
          <a:noFill/>
        </p:spPr>
        <p:txBody>
          <a:bodyPr vert="horz" wrap="square" lIns="0" tIns="0" rIns="0" bIns="0" rtlCol="0" anchor="b">
            <a:spAutoFit/>
          </a:bodyPr>
          <a:lstStyle/>
          <a:p>
            <a:pPr defTabSz="71120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endParaRPr lang="en-US" sz="800" dirty="0">
              <a:solidFill>
                <a:srgbClr val="000000"/>
              </a:solidFill>
              <a:latin typeface="Arial"/>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rPr>
              <a:t>Global Energy Monitor, </a:t>
            </a:r>
            <a:r>
              <a:rPr lang="en-US" sz="800" dirty="0">
                <a:solidFill>
                  <a:srgbClr val="000000"/>
                </a:solidFill>
                <a:latin typeface="Arial"/>
                <a:hlinkClick r:id="rId171"/>
              </a:rPr>
              <a:t>Global Nuclear Power Tracker</a:t>
            </a:r>
            <a:r>
              <a:rPr lang="en-US" sz="800" dirty="0">
                <a:solidFill>
                  <a:srgbClr val="000000"/>
                </a:solidFill>
                <a:latin typeface="Arial"/>
              </a:rPr>
              <a:t> (2024); </a:t>
            </a:r>
            <a:r>
              <a:rPr kumimoji="0" lang="en-US" sz="800" b="0" i="0" u="none" strike="noStrike" kern="1200" cap="none" spc="0" normalizeH="0" baseline="0" noProof="0" dirty="0">
                <a:ln>
                  <a:noFill/>
                </a:ln>
                <a:solidFill>
                  <a:srgbClr val="000000"/>
                </a:solidFill>
                <a:effectLst/>
                <a:uLnTx/>
                <a:uFillTx/>
                <a:latin typeface="Arial"/>
                <a:ea typeface="+mn-ea"/>
                <a:cs typeface="+mn-cs"/>
              </a:rPr>
              <a:t>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2"/>
              </a:rPr>
              <a:t>The Path to a New Era for Nuclear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5);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3"/>
              </a:rPr>
              <a:t>Nuclear Power and Secure Energy Transitions</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4"/>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5"/>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3" name="Rectangle 2">
            <a:extLst>
              <a:ext uri="{FF2B5EF4-FFF2-40B4-BE49-F238E27FC236}">
                <a16:creationId xmlns:a16="http://schemas.microsoft.com/office/drawing/2014/main" id="{3049BFC0-FEF8-8E8D-8C6D-CE78A4C76886}"/>
              </a:ext>
            </a:extLst>
          </p:cNvPr>
          <p:cNvSpPr/>
          <p:nvPr/>
        </p:nvSpPr>
        <p:spPr bwMode="gray">
          <a:xfrm>
            <a:off x="568324" y="3608388"/>
            <a:ext cx="3425033" cy="1168400"/>
          </a:xfrm>
          <a:prstGeom prst="rect">
            <a:avLst/>
          </a:prstGeom>
          <a:solidFill>
            <a:schemeClr val="bg1">
              <a:alpha val="7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9" name="Rectangle 18">
            <a:extLst>
              <a:ext uri="{FF2B5EF4-FFF2-40B4-BE49-F238E27FC236}">
                <a16:creationId xmlns:a16="http://schemas.microsoft.com/office/drawing/2014/main" id="{9B429E97-6157-6119-AB43-2813E719DE51}"/>
              </a:ext>
            </a:extLst>
          </p:cNvPr>
          <p:cNvSpPr/>
          <p:nvPr>
            <p:custDataLst>
              <p:tags r:id="rId3"/>
            </p:custDataLst>
          </p:nvPr>
        </p:nvSpPr>
        <p:spPr bwMode="gray">
          <a:xfrm>
            <a:off x="1166812" y="2725738"/>
            <a:ext cx="1037205" cy="525463"/>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 name="TextBox 22">
            <a:extLst>
              <a:ext uri="{FF2B5EF4-FFF2-40B4-BE49-F238E27FC236}">
                <a16:creationId xmlns:a16="http://schemas.microsoft.com/office/drawing/2014/main" id="{6BD4D14A-999C-A2BE-D08E-C3EBF5473EE9}"/>
              </a:ext>
            </a:extLst>
          </p:cNvPr>
          <p:cNvSpPr txBox="1"/>
          <p:nvPr>
            <p:custDataLst>
              <p:tags r:id="rId4"/>
            </p:custDataLst>
          </p:nvPr>
        </p:nvSpPr>
        <p:spPr bwMode="gray">
          <a:xfrm>
            <a:off x="1250949" y="2751138"/>
            <a:ext cx="503238" cy="185738"/>
          </a:xfrm>
          <a:prstGeom prst="rect">
            <a:avLst/>
          </a:prstGeom>
          <a:noFill/>
        </p:spPr>
        <p:txBody>
          <a:bodyPr wrap="square" lIns="0" tIns="0" rIns="0" bIns="0" rtlCol="0">
            <a:spAutoFit/>
          </a:bodyPr>
          <a:lstStyle/>
          <a:p>
            <a:pPr marL="0" indent="0">
              <a:buNone/>
            </a:pPr>
            <a:r>
              <a:rPr lang="en-US" sz="1200"/>
              <a:t>USA</a:t>
            </a:r>
          </a:p>
        </p:txBody>
      </p:sp>
      <p:graphicFrame>
        <p:nvGraphicFramePr>
          <p:cNvPr id="1436" name="Chart 1435">
            <a:extLst>
              <a:ext uri="{FF2B5EF4-FFF2-40B4-BE49-F238E27FC236}">
                <a16:creationId xmlns:a16="http://schemas.microsoft.com/office/drawing/2014/main" id="{EF33AA2C-EA26-0C01-BADB-9C5708827132}"/>
              </a:ext>
            </a:extLst>
          </p:cNvPr>
          <p:cNvGraphicFramePr/>
          <p:nvPr>
            <p:custDataLst>
              <p:tags r:id="rId5"/>
            </p:custDataLst>
            <p:extLst>
              <p:ext uri="{D42A27DB-BD31-4B8C-83A1-F6EECF244321}">
                <p14:modId xmlns:p14="http://schemas.microsoft.com/office/powerpoint/2010/main" val="170828063"/>
              </p:ext>
            </p:extLst>
          </p:nvPr>
        </p:nvGraphicFramePr>
        <p:xfrm>
          <a:off x="1136650" y="2827338"/>
          <a:ext cx="1101725" cy="481012"/>
        </p:xfrm>
        <a:graphic>
          <a:graphicData uri="http://schemas.openxmlformats.org/drawingml/2006/chart">
            <c:chart xmlns:c="http://schemas.openxmlformats.org/drawingml/2006/chart" xmlns:r="http://schemas.openxmlformats.org/officeDocument/2006/relationships" r:id="rId176"/>
          </a:graphicData>
        </a:graphic>
      </p:graphicFrame>
      <p:cxnSp>
        <p:nvCxnSpPr>
          <p:cNvPr id="1047" name="Straight Connector 1046">
            <a:extLst>
              <a:ext uri="{FF2B5EF4-FFF2-40B4-BE49-F238E27FC236}">
                <a16:creationId xmlns:a16="http://schemas.microsoft.com/office/drawing/2014/main" id="{7DF3E334-A118-E7AF-828A-487011D663F6}"/>
              </a:ext>
            </a:extLst>
          </p:cNvPr>
          <p:cNvCxnSpPr/>
          <p:nvPr>
            <p:custDataLst>
              <p:tags r:id="rId6"/>
            </p:custDataLst>
          </p:nvPr>
        </p:nvCxnSpPr>
        <p:spPr bwMode="auto">
          <a:xfrm>
            <a:off x="1933575" y="2979738"/>
            <a:ext cx="0" cy="176213"/>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48" name="Straight Connector 1047">
            <a:extLst>
              <a:ext uri="{FF2B5EF4-FFF2-40B4-BE49-F238E27FC236}">
                <a16:creationId xmlns:a16="http://schemas.microsoft.com/office/drawing/2014/main" id="{869E1533-FECF-E847-E21B-796DAD40ED8E}"/>
              </a:ext>
            </a:extLst>
          </p:cNvPr>
          <p:cNvCxnSpPr/>
          <p:nvPr>
            <p:custDataLst>
              <p:tags r:id="rId7"/>
            </p:custDataLst>
          </p:nvPr>
        </p:nvCxnSpPr>
        <p:spPr bwMode="auto">
          <a:xfrm>
            <a:off x="1771651" y="2979738"/>
            <a:ext cx="161925"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49" name="Straight Connector 1048">
            <a:extLst>
              <a:ext uri="{FF2B5EF4-FFF2-40B4-BE49-F238E27FC236}">
                <a16:creationId xmlns:a16="http://schemas.microsoft.com/office/drawing/2014/main" id="{ADCF3E1F-C052-85E3-6F90-4C506BDDB005}"/>
              </a:ext>
            </a:extLst>
          </p:cNvPr>
          <p:cNvCxnSpPr/>
          <p:nvPr>
            <p:custDataLst>
              <p:tags r:id="rId8"/>
            </p:custDataLst>
          </p:nvPr>
        </p:nvCxnSpPr>
        <p:spPr bwMode="auto">
          <a:xfrm>
            <a:off x="1771651" y="3155950"/>
            <a:ext cx="161925"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033" name="Text Placeholder 10">
            <a:extLst>
              <a:ext uri="{FF2B5EF4-FFF2-40B4-BE49-F238E27FC236}">
                <a16:creationId xmlns:a16="http://schemas.microsoft.com/office/drawing/2014/main" id="{28A628EA-5E27-4E6F-AFBC-F7BC9B117050}"/>
              </a:ext>
            </a:extLst>
          </p:cNvPr>
          <p:cNvSpPr>
            <a:spLocks noGrp="1"/>
          </p:cNvSpPr>
          <p:nvPr>
            <p:custDataLst>
              <p:tags r:id="rId9"/>
            </p:custDataLst>
          </p:nvPr>
        </p:nvSpPr>
        <p:spPr bwMode="gray">
          <a:xfrm>
            <a:off x="1781175" y="30067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9A36ECC-586D-495D-81C3-3AD439E16B2D}" type="datetime'''''''''''3''0'''''''''''''''">
              <a:rPr lang="en-US" altLang="en-US" sz="800" smtClean="0">
                <a:effectLst/>
              </a:rPr>
              <a:pPr marL="0" lvl="0" indent="0" algn="ctr">
                <a:spcBef>
                  <a:spcPct val="0"/>
                </a:spcBef>
                <a:spcAft>
                  <a:spcPct val="0"/>
                </a:spcAft>
                <a:buNone/>
              </a:pPr>
              <a:t>30</a:t>
            </a:fld>
            <a:endParaRPr lang="en-US" sz="800"/>
          </a:p>
        </p:txBody>
      </p:sp>
      <p:sp>
        <p:nvSpPr>
          <p:cNvPr id="1039"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1395413" y="300672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C71B14-0887-46E9-813B-80D9F2C361D3}" type="datetime'''''''''''''1''0''''''''''''''''''''2'''''''''''''''''">
              <a:rPr lang="en-US" altLang="en-US" sz="800" smtClean="0">
                <a:solidFill>
                  <a:schemeClr val="bg1"/>
                </a:solidFill>
              </a:rPr>
              <a:pPr marL="0" lvl="0" indent="0" algn="ctr">
                <a:spcBef>
                  <a:spcPct val="0"/>
                </a:spcBef>
                <a:spcAft>
                  <a:spcPct val="0"/>
                </a:spcAft>
                <a:buNone/>
              </a:pPr>
              <a:t>102</a:t>
            </a:fld>
            <a:endParaRPr lang="en-US" sz="800">
              <a:solidFill>
                <a:schemeClr val="bg1"/>
              </a:solidFill>
            </a:endParaRPr>
          </a:p>
        </p:txBody>
      </p:sp>
      <p:sp>
        <p:nvSpPr>
          <p:cNvPr id="40" name="TextBox 8">
            <a:extLst>
              <a:ext uri="{FF2B5EF4-FFF2-40B4-BE49-F238E27FC236}">
                <a16:creationId xmlns:a16="http://schemas.microsoft.com/office/drawing/2014/main" id="{01418974-0F46-9DE3-2D0C-E8909B0FBAEC}"/>
              </a:ext>
            </a:extLst>
          </p:cNvPr>
          <p:cNvSpPr txBox="1"/>
          <p:nvPr/>
        </p:nvSpPr>
        <p:spPr bwMode="gray">
          <a:xfrm>
            <a:off x="9509761" y="1389512"/>
            <a:ext cx="2492942" cy="4229363"/>
          </a:xfrm>
          <a:prstGeom prst="rect">
            <a:avLst/>
          </a:prstGeom>
          <a:solidFill>
            <a:srgbClr val="E3E8EE"/>
          </a:solidFill>
        </p:spPr>
        <p:txBody>
          <a:bodyPr wrap="square" lIns="137160" tIns="137160" rIns="274320" bIns="137160" rtlCol="0">
            <a:noAutofit/>
          </a:bodyPr>
          <a:lstStyle/>
          <a:p>
            <a:pPr marL="0" indent="0">
              <a:spcAft>
                <a:spcPts val="600"/>
              </a:spcAft>
              <a:buNone/>
            </a:pPr>
            <a:r>
              <a:rPr lang="en-US" sz="1250" b="1"/>
              <a:t>Observations</a:t>
            </a:r>
            <a:r>
              <a:rPr lang="en-US" b="1"/>
              <a:t> </a:t>
            </a:r>
            <a:endParaRPr kumimoji="0" lang="en-US" sz="1200" i="0" u="none" strike="noStrike" kern="1200" cap="none" spc="0" normalizeH="0" baseline="0" noProof="0">
              <a:ln>
                <a:noFill/>
              </a:ln>
              <a:solidFill>
                <a:srgbClr val="000000"/>
              </a:solidFill>
              <a:effectLst/>
              <a:uLnTx/>
              <a:uFillTx/>
              <a:latin typeface="Arial"/>
              <a:ea typeface="+mn-ea"/>
              <a:cs typeface="+mn-cs"/>
            </a:endParaRPr>
          </a:p>
          <a:p>
            <a:pPr marL="171450" indent="-171450">
              <a:spcBef>
                <a:spcPts val="0"/>
              </a:spcBef>
              <a:spcAft>
                <a:spcPts val="400"/>
              </a:spcAft>
              <a:buFont typeface="Arial" panose="020B0604020202020204" pitchFamily="34" charset="0"/>
              <a:buChar char="•"/>
            </a:pPr>
            <a:r>
              <a:rPr lang="en-US" sz="1050"/>
              <a:t>Global nuclear capacity today is </a:t>
            </a:r>
            <a:r>
              <a:rPr lang="en-US" sz="1050" b="1"/>
              <a:t>396 GW</a:t>
            </a:r>
            <a:r>
              <a:rPr lang="en-US" sz="1050"/>
              <a:t>, with an additional </a:t>
            </a:r>
            <a:br>
              <a:rPr lang="en-US" sz="1050"/>
            </a:br>
            <a:r>
              <a:rPr lang="en-US" sz="1050" b="1"/>
              <a:t>75</a:t>
            </a:r>
            <a:r>
              <a:rPr lang="en-US" sz="1050"/>
              <a:t> </a:t>
            </a:r>
            <a:r>
              <a:rPr lang="en-US" sz="1050" b="1"/>
              <a:t>GW</a:t>
            </a:r>
            <a:r>
              <a:rPr lang="en-US" sz="1050"/>
              <a:t> under construction and </a:t>
            </a:r>
            <a:r>
              <a:rPr lang="en-US" sz="1050" b="1"/>
              <a:t>270</a:t>
            </a:r>
            <a:r>
              <a:rPr lang="en-US" sz="1050"/>
              <a:t> </a:t>
            </a:r>
            <a:r>
              <a:rPr lang="en-US" sz="1050" b="1"/>
              <a:t>GW</a:t>
            </a:r>
            <a:r>
              <a:rPr lang="en-US" sz="1050"/>
              <a:t> in pre-construction or announced.</a:t>
            </a:r>
          </a:p>
          <a:p>
            <a:pPr marL="171450" indent="-171450">
              <a:spcBef>
                <a:spcPts val="0"/>
              </a:spcBef>
              <a:spcAft>
                <a:spcPts val="400"/>
              </a:spcAft>
              <a:buFont typeface="Arial" panose="020B0604020202020204" pitchFamily="34" charset="0"/>
              <a:buChar char="•"/>
            </a:pPr>
            <a:r>
              <a:rPr lang="en-US" sz="1050"/>
              <a:t>Today, most of the capacity is in the </a:t>
            </a:r>
            <a:r>
              <a:rPr lang="en-US" sz="1050" b="1"/>
              <a:t>United States and Europe, representing ~50% of all reactors.</a:t>
            </a:r>
          </a:p>
          <a:p>
            <a:pPr marL="171450" indent="-171450">
              <a:spcBef>
                <a:spcPts val="0"/>
              </a:spcBef>
              <a:spcAft>
                <a:spcPts val="400"/>
              </a:spcAft>
              <a:buFont typeface="Arial" panose="020B0604020202020204" pitchFamily="34" charset="0"/>
              <a:buChar char="•"/>
            </a:pPr>
            <a:r>
              <a:rPr lang="en-US" sz="1050"/>
              <a:t>However, </a:t>
            </a:r>
            <a:r>
              <a:rPr lang="en-US" sz="1050" b="1"/>
              <a:t>China is leading </a:t>
            </a:r>
            <a:br>
              <a:rPr lang="en-US" sz="1050" b="1"/>
            </a:br>
            <a:r>
              <a:rPr lang="en-US" sz="1050" b="1"/>
              <a:t>by far in the number of nuclear plants being built,</a:t>
            </a:r>
            <a:r>
              <a:rPr lang="en-US" sz="1050"/>
              <a:t> representing nearly half of all plants under construction.</a:t>
            </a:r>
          </a:p>
          <a:p>
            <a:pPr marL="171450" indent="-171450">
              <a:spcBef>
                <a:spcPts val="0"/>
              </a:spcBef>
              <a:spcAft>
                <a:spcPts val="400"/>
              </a:spcAft>
              <a:buFont typeface="Arial" panose="020B0604020202020204" pitchFamily="34" charset="0"/>
              <a:buChar char="•"/>
            </a:pPr>
            <a:r>
              <a:rPr lang="en-US" sz="1050" b="1"/>
              <a:t>Europe has announced 71 new plants,</a:t>
            </a:r>
            <a:r>
              <a:rPr lang="en-US" sz="1050"/>
              <a:t> nearly equaling China’s 74 planned plants.</a:t>
            </a:r>
          </a:p>
          <a:p>
            <a:pPr marL="171450" indent="-171450">
              <a:spcBef>
                <a:spcPts val="0"/>
              </a:spcBef>
              <a:spcAft>
                <a:spcPts val="400"/>
              </a:spcAft>
              <a:buFont typeface="Arial" panose="020B0604020202020204" pitchFamily="34" charset="0"/>
              <a:buChar char="•"/>
            </a:pPr>
            <a:r>
              <a:rPr lang="en-US" sz="1050"/>
              <a:t>Typical development time for a plant in China is five to eight years vs. eight to 12 years in Europe, India, and the U.S.</a:t>
            </a:r>
          </a:p>
        </p:txBody>
      </p:sp>
      <p:sp>
        <p:nvSpPr>
          <p:cNvPr id="1057" name="Oval 1056">
            <a:extLst>
              <a:ext uri="{FF2B5EF4-FFF2-40B4-BE49-F238E27FC236}">
                <a16:creationId xmlns:a16="http://schemas.microsoft.com/office/drawing/2014/main" id="{8258DA3E-7C4B-7EC0-0541-2D7580D39225}"/>
              </a:ext>
            </a:extLst>
          </p:cNvPr>
          <p:cNvSpPr/>
          <p:nvPr>
            <p:custDataLst>
              <p:tags r:id="rId11"/>
            </p:custDataLst>
          </p:nvPr>
        </p:nvSpPr>
        <p:spPr bwMode="gray">
          <a:xfrm>
            <a:off x="1615586" y="2749550"/>
            <a:ext cx="165194" cy="165100"/>
          </a:xfrm>
          <a:prstGeom prst="ellipse">
            <a:avLst/>
          </a:prstGeom>
          <a:solidFill>
            <a:srgbClr val="364D6E"/>
          </a:solidFill>
          <a:ln w="6350">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rgbClr val="FFFFFF"/>
                </a:solidFill>
              </a:rPr>
              <a:t>50</a:t>
            </a:r>
          </a:p>
        </p:txBody>
      </p:sp>
      <p:sp>
        <p:nvSpPr>
          <p:cNvPr id="1059" name="Oval 1058">
            <a:extLst>
              <a:ext uri="{FF2B5EF4-FFF2-40B4-BE49-F238E27FC236}">
                <a16:creationId xmlns:a16="http://schemas.microsoft.com/office/drawing/2014/main" id="{D981D0A7-E002-C5CC-F2E2-DACF03B22A63}"/>
              </a:ext>
            </a:extLst>
          </p:cNvPr>
          <p:cNvSpPr/>
          <p:nvPr>
            <p:custDataLst>
              <p:tags r:id="rId12"/>
            </p:custDataLst>
          </p:nvPr>
        </p:nvSpPr>
        <p:spPr bwMode="gray">
          <a:xfrm>
            <a:off x="1812831" y="2749550"/>
            <a:ext cx="165194" cy="165100"/>
          </a:xfrm>
          <a:prstGeom prst="ellipse">
            <a:avLst/>
          </a:prstGeom>
          <a:solidFill>
            <a:srgbClr val="9DB1CF"/>
          </a:solidFill>
          <a:ln w="63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1</a:t>
            </a:r>
          </a:p>
        </p:txBody>
      </p:sp>
      <p:sp>
        <p:nvSpPr>
          <p:cNvPr id="1060" name="Oval 1059">
            <a:extLst>
              <a:ext uri="{FF2B5EF4-FFF2-40B4-BE49-F238E27FC236}">
                <a16:creationId xmlns:a16="http://schemas.microsoft.com/office/drawing/2014/main" id="{62CC4750-6017-C709-F348-7B7F3D395DB7}"/>
              </a:ext>
            </a:extLst>
          </p:cNvPr>
          <p:cNvSpPr/>
          <p:nvPr>
            <p:custDataLst>
              <p:tags r:id="rId13"/>
            </p:custDataLst>
          </p:nvPr>
        </p:nvSpPr>
        <p:spPr bwMode="gray">
          <a:xfrm>
            <a:off x="2008187" y="2749550"/>
            <a:ext cx="165194" cy="165100"/>
          </a:xfrm>
          <a:prstGeom prst="ellipse">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5</a:t>
            </a:r>
          </a:p>
        </p:txBody>
      </p:sp>
      <p:sp>
        <p:nvSpPr>
          <p:cNvPr id="1062" name="Rectangle 1061">
            <a:extLst>
              <a:ext uri="{FF2B5EF4-FFF2-40B4-BE49-F238E27FC236}">
                <a16:creationId xmlns:a16="http://schemas.microsoft.com/office/drawing/2014/main" id="{C0A6C963-E8A5-5135-531D-BF1AC29B74CD}"/>
              </a:ext>
            </a:extLst>
          </p:cNvPr>
          <p:cNvSpPr/>
          <p:nvPr>
            <p:custDataLst>
              <p:tags r:id="rId14"/>
            </p:custDataLst>
          </p:nvPr>
        </p:nvSpPr>
        <p:spPr bwMode="gray">
          <a:xfrm>
            <a:off x="1544268" y="2020888"/>
            <a:ext cx="1089147" cy="552450"/>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63" name="TextBox 1062">
            <a:extLst>
              <a:ext uri="{FF2B5EF4-FFF2-40B4-BE49-F238E27FC236}">
                <a16:creationId xmlns:a16="http://schemas.microsoft.com/office/drawing/2014/main" id="{B7DA0654-6F34-B7C5-F046-720F20CEA962}"/>
              </a:ext>
            </a:extLst>
          </p:cNvPr>
          <p:cNvSpPr txBox="1"/>
          <p:nvPr>
            <p:custDataLst>
              <p:tags r:id="rId15"/>
            </p:custDataLst>
          </p:nvPr>
        </p:nvSpPr>
        <p:spPr bwMode="gray">
          <a:xfrm>
            <a:off x="1616313" y="2073275"/>
            <a:ext cx="553562" cy="184150"/>
          </a:xfrm>
          <a:prstGeom prst="rect">
            <a:avLst/>
          </a:prstGeom>
          <a:noFill/>
        </p:spPr>
        <p:txBody>
          <a:bodyPr wrap="square" lIns="0" tIns="0" rIns="0" bIns="0" rtlCol="0">
            <a:spAutoFit/>
          </a:bodyPr>
          <a:lstStyle/>
          <a:p>
            <a:pPr marL="0" indent="0">
              <a:buNone/>
            </a:pPr>
            <a:r>
              <a:rPr lang="en-US" sz="1200"/>
              <a:t>CAN</a:t>
            </a:r>
          </a:p>
        </p:txBody>
      </p:sp>
      <p:graphicFrame>
        <p:nvGraphicFramePr>
          <p:cNvPr id="1437" name="Chart 1436">
            <a:extLst>
              <a:ext uri="{FF2B5EF4-FFF2-40B4-BE49-F238E27FC236}">
                <a16:creationId xmlns:a16="http://schemas.microsoft.com/office/drawing/2014/main" id="{182B4265-437E-156A-21A0-123EDC45648D}"/>
              </a:ext>
            </a:extLst>
          </p:cNvPr>
          <p:cNvGraphicFramePr/>
          <p:nvPr>
            <p:custDataLst>
              <p:tags r:id="rId16"/>
            </p:custDataLst>
            <p:extLst>
              <p:ext uri="{D42A27DB-BD31-4B8C-83A1-F6EECF244321}">
                <p14:modId xmlns:p14="http://schemas.microsoft.com/office/powerpoint/2010/main" val="2023440408"/>
              </p:ext>
            </p:extLst>
          </p:nvPr>
        </p:nvGraphicFramePr>
        <p:xfrm>
          <a:off x="1527175" y="2147888"/>
          <a:ext cx="1101725" cy="481012"/>
        </p:xfrm>
        <a:graphic>
          <a:graphicData uri="http://schemas.openxmlformats.org/drawingml/2006/chart">
            <c:chart xmlns:c="http://schemas.openxmlformats.org/drawingml/2006/chart" xmlns:r="http://schemas.openxmlformats.org/officeDocument/2006/relationships" r:id="rId177"/>
          </a:graphicData>
        </a:graphic>
      </p:graphicFrame>
      <p:cxnSp>
        <p:nvCxnSpPr>
          <p:cNvPr id="1065" name="Straight Connector 1064">
            <a:extLst>
              <a:ext uri="{FF2B5EF4-FFF2-40B4-BE49-F238E27FC236}">
                <a16:creationId xmlns:a16="http://schemas.microsoft.com/office/drawing/2014/main" id="{77F802A1-FBED-0C51-08A8-06C624EE675F}"/>
              </a:ext>
            </a:extLst>
          </p:cNvPr>
          <p:cNvCxnSpPr/>
          <p:nvPr>
            <p:custDataLst>
              <p:tags r:id="rId17"/>
            </p:custDataLst>
          </p:nvPr>
        </p:nvCxnSpPr>
        <p:spPr bwMode="auto">
          <a:xfrm>
            <a:off x="1731963" y="2300288"/>
            <a:ext cx="0" cy="176213"/>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66" name="Straight Connector 1065">
            <a:extLst>
              <a:ext uri="{FF2B5EF4-FFF2-40B4-BE49-F238E27FC236}">
                <a16:creationId xmlns:a16="http://schemas.microsoft.com/office/drawing/2014/main" id="{8F801BCA-A3FD-1FD0-710C-C11D5E6008B5}"/>
              </a:ext>
            </a:extLst>
          </p:cNvPr>
          <p:cNvCxnSpPr/>
          <p:nvPr>
            <p:custDataLst>
              <p:tags r:id="rId18"/>
            </p:custDataLst>
          </p:nvPr>
        </p:nvCxnSpPr>
        <p:spPr bwMode="auto">
          <a:xfrm>
            <a:off x="1689101" y="2300288"/>
            <a:ext cx="42863"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67" name="Straight Connector 1066">
            <a:extLst>
              <a:ext uri="{FF2B5EF4-FFF2-40B4-BE49-F238E27FC236}">
                <a16:creationId xmlns:a16="http://schemas.microsoft.com/office/drawing/2014/main" id="{5D00FF5D-39D1-674D-46F0-4773E37C5E0B}"/>
              </a:ext>
            </a:extLst>
          </p:cNvPr>
          <p:cNvCxnSpPr/>
          <p:nvPr>
            <p:custDataLst>
              <p:tags r:id="rId19"/>
            </p:custDataLst>
          </p:nvPr>
        </p:nvCxnSpPr>
        <p:spPr bwMode="auto">
          <a:xfrm>
            <a:off x="1689101" y="2476500"/>
            <a:ext cx="42863"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91" name="Straight Connector 1090">
            <a:extLst>
              <a:ext uri="{FF2B5EF4-FFF2-40B4-BE49-F238E27FC236}">
                <a16:creationId xmlns:a16="http://schemas.microsoft.com/office/drawing/2014/main" id="{3721657C-EE3F-0481-2828-684955F76494}"/>
              </a:ext>
            </a:extLst>
          </p:cNvPr>
          <p:cNvCxnSpPr/>
          <p:nvPr>
            <p:custDataLst>
              <p:tags r:id="rId20"/>
            </p:custDataLst>
          </p:nvPr>
        </p:nvCxnSpPr>
        <p:spPr bwMode="auto">
          <a:xfrm flipH="1">
            <a:off x="1711325" y="2303463"/>
            <a:ext cx="4603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069" name="Text Placeholder 10">
            <a:extLst>
              <a:ext uri="{FF2B5EF4-FFF2-40B4-BE49-F238E27FC236}">
                <a16:creationId xmlns:a16="http://schemas.microsoft.com/office/drawing/2014/main" id="{02D47D51-04B0-4AA9-209E-48503C5DDD96}"/>
              </a:ext>
            </a:extLst>
          </p:cNvPr>
          <p:cNvSpPr>
            <a:spLocks noGrp="1"/>
          </p:cNvSpPr>
          <p:nvPr>
            <p:custDataLst>
              <p:tags r:id="rId21"/>
            </p:custDataLst>
          </p:nvPr>
        </p:nvSpPr>
        <p:spPr bwMode="gray">
          <a:xfrm>
            <a:off x="1757363" y="2243138"/>
            <a:ext cx="85725"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BA5316-7FA5-498E-B1BD-7360ED32C578}" type="datetime'''''''''''''''''''''8'''''">
              <a:rPr lang="en-US" altLang="en-US" sz="800" smtClean="0"/>
              <a:pPr marL="0" lvl="0" indent="0">
                <a:spcBef>
                  <a:spcPct val="0"/>
                </a:spcBef>
                <a:spcAft>
                  <a:spcPct val="0"/>
                </a:spcAft>
                <a:buNone/>
              </a:pPr>
              <a:t>8</a:t>
            </a:fld>
            <a:endParaRPr lang="en-US" sz="800"/>
          </a:p>
        </p:txBody>
      </p:sp>
      <p:sp>
        <p:nvSpPr>
          <p:cNvPr id="1070" name="Text Placeholder 10">
            <a:extLst>
              <a:ext uri="{FF2B5EF4-FFF2-40B4-BE49-F238E27FC236}">
                <a16:creationId xmlns:a16="http://schemas.microsoft.com/office/drawing/2014/main" id="{D6C3E918-1A13-FF25-4524-6198C5FC6C18}"/>
              </a:ext>
            </a:extLst>
          </p:cNvPr>
          <p:cNvSpPr>
            <a:spLocks noGrp="1"/>
          </p:cNvSpPr>
          <p:nvPr>
            <p:custDataLst>
              <p:tags r:id="rId22"/>
            </p:custDataLst>
          </p:nvPr>
        </p:nvSpPr>
        <p:spPr bwMode="gray">
          <a:xfrm>
            <a:off x="1577975" y="2327275"/>
            <a:ext cx="142875" cy="122238"/>
          </a:xfrm>
          <a:prstGeom prst="rect">
            <a:avLst/>
          </a:prstGeom>
          <a:solidFill>
            <a:srgbClr val="364D6E"/>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2186E04-0772-44A5-A51A-922EC04B4C0B}" type="datetime'''''''''1''5'''''''''''''">
              <a:rPr lang="en-US" altLang="en-US" sz="800" smtClean="0">
                <a:solidFill>
                  <a:schemeClr val="bg1"/>
                </a:solidFill>
                <a:effectLst/>
              </a:rPr>
              <a:pPr marL="0" lvl="0" indent="0" algn="ctr">
                <a:spcBef>
                  <a:spcPct val="0"/>
                </a:spcBef>
                <a:spcAft>
                  <a:spcPct val="0"/>
                </a:spcAft>
                <a:buNone/>
              </a:pPr>
              <a:t>15</a:t>
            </a:fld>
            <a:endParaRPr lang="en-US" sz="800">
              <a:solidFill>
                <a:schemeClr val="bg1"/>
              </a:solidFill>
            </a:endParaRPr>
          </a:p>
        </p:txBody>
      </p:sp>
      <p:sp>
        <p:nvSpPr>
          <p:cNvPr id="1095" name="Rectangle 1094">
            <a:extLst>
              <a:ext uri="{FF2B5EF4-FFF2-40B4-BE49-F238E27FC236}">
                <a16:creationId xmlns:a16="http://schemas.microsoft.com/office/drawing/2014/main" id="{B4B62D5E-854A-1738-DAE8-03EF6AA81624}"/>
              </a:ext>
            </a:extLst>
          </p:cNvPr>
          <p:cNvSpPr/>
          <p:nvPr>
            <p:custDataLst>
              <p:tags r:id="rId23"/>
            </p:custDataLst>
          </p:nvPr>
        </p:nvSpPr>
        <p:spPr bwMode="gray">
          <a:xfrm>
            <a:off x="3465513" y="2200275"/>
            <a:ext cx="885031" cy="525463"/>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96" name="TextBox 1095">
            <a:extLst>
              <a:ext uri="{FF2B5EF4-FFF2-40B4-BE49-F238E27FC236}">
                <a16:creationId xmlns:a16="http://schemas.microsoft.com/office/drawing/2014/main" id="{FD819E33-91C2-7751-3E25-0B06743E2C0A}"/>
              </a:ext>
            </a:extLst>
          </p:cNvPr>
          <p:cNvSpPr txBox="1"/>
          <p:nvPr>
            <p:custDataLst>
              <p:tags r:id="rId24"/>
            </p:custDataLst>
          </p:nvPr>
        </p:nvSpPr>
        <p:spPr bwMode="gray">
          <a:xfrm>
            <a:off x="3490120" y="2216150"/>
            <a:ext cx="503238" cy="184150"/>
          </a:xfrm>
          <a:prstGeom prst="rect">
            <a:avLst/>
          </a:prstGeom>
          <a:noFill/>
        </p:spPr>
        <p:txBody>
          <a:bodyPr wrap="square" lIns="0" tIns="0" rIns="0" bIns="0" rtlCol="0">
            <a:spAutoFit/>
          </a:bodyPr>
          <a:lstStyle/>
          <a:p>
            <a:pPr marL="0" indent="0">
              <a:buNone/>
            </a:pPr>
            <a:r>
              <a:rPr lang="en-US" sz="1200"/>
              <a:t>UK</a:t>
            </a:r>
          </a:p>
        </p:txBody>
      </p:sp>
      <p:graphicFrame>
        <p:nvGraphicFramePr>
          <p:cNvPr id="1438" name="Chart 1437">
            <a:extLst>
              <a:ext uri="{FF2B5EF4-FFF2-40B4-BE49-F238E27FC236}">
                <a16:creationId xmlns:a16="http://schemas.microsoft.com/office/drawing/2014/main" id="{780F8581-EC73-11B5-9F1E-4218C96C612F}"/>
              </a:ext>
            </a:extLst>
          </p:cNvPr>
          <p:cNvGraphicFramePr/>
          <p:nvPr>
            <p:custDataLst>
              <p:tags r:id="rId25"/>
            </p:custDataLst>
            <p:extLst>
              <p:ext uri="{D42A27DB-BD31-4B8C-83A1-F6EECF244321}">
                <p14:modId xmlns:p14="http://schemas.microsoft.com/office/powerpoint/2010/main" val="3144363847"/>
              </p:ext>
            </p:extLst>
          </p:nvPr>
        </p:nvGraphicFramePr>
        <p:xfrm>
          <a:off x="3435350" y="2300288"/>
          <a:ext cx="1101725" cy="481012"/>
        </p:xfrm>
        <a:graphic>
          <a:graphicData uri="http://schemas.openxmlformats.org/drawingml/2006/chart">
            <c:chart xmlns:c="http://schemas.openxmlformats.org/drawingml/2006/chart" xmlns:r="http://schemas.openxmlformats.org/officeDocument/2006/relationships" r:id="rId178"/>
          </a:graphicData>
        </a:graphic>
      </p:graphicFrame>
      <p:cxnSp>
        <p:nvCxnSpPr>
          <p:cNvPr id="1098" name="Straight Connector 1097">
            <a:extLst>
              <a:ext uri="{FF2B5EF4-FFF2-40B4-BE49-F238E27FC236}">
                <a16:creationId xmlns:a16="http://schemas.microsoft.com/office/drawing/2014/main" id="{3F640B1C-F79B-D0E0-5887-3CFDC504A96C}"/>
              </a:ext>
            </a:extLst>
          </p:cNvPr>
          <p:cNvCxnSpPr/>
          <p:nvPr>
            <p:custDataLst>
              <p:tags r:id="rId26"/>
            </p:custDataLst>
          </p:nvPr>
        </p:nvCxnSpPr>
        <p:spPr bwMode="auto">
          <a:xfrm>
            <a:off x="3613150" y="2452688"/>
            <a:ext cx="0" cy="176213"/>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99" name="Straight Connector 1098">
            <a:extLst>
              <a:ext uri="{FF2B5EF4-FFF2-40B4-BE49-F238E27FC236}">
                <a16:creationId xmlns:a16="http://schemas.microsoft.com/office/drawing/2014/main" id="{FECE620C-29BC-F57B-D91D-F64BDD2CABBD}"/>
              </a:ext>
            </a:extLst>
          </p:cNvPr>
          <p:cNvCxnSpPr/>
          <p:nvPr>
            <p:custDataLst>
              <p:tags r:id="rId27"/>
            </p:custDataLst>
          </p:nvPr>
        </p:nvCxnSpPr>
        <p:spPr bwMode="auto">
          <a:xfrm>
            <a:off x="3570289" y="2452688"/>
            <a:ext cx="42863"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00" name="Straight Connector 1099">
            <a:extLst>
              <a:ext uri="{FF2B5EF4-FFF2-40B4-BE49-F238E27FC236}">
                <a16:creationId xmlns:a16="http://schemas.microsoft.com/office/drawing/2014/main" id="{331170DA-4DAF-D6A2-07EB-2C396F24B8FC}"/>
              </a:ext>
            </a:extLst>
          </p:cNvPr>
          <p:cNvCxnSpPr/>
          <p:nvPr>
            <p:custDataLst>
              <p:tags r:id="rId28"/>
            </p:custDataLst>
          </p:nvPr>
        </p:nvCxnSpPr>
        <p:spPr bwMode="auto">
          <a:xfrm>
            <a:off x="3570289" y="2628900"/>
            <a:ext cx="42863"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25" name="Straight Connector 1124">
            <a:extLst>
              <a:ext uri="{FF2B5EF4-FFF2-40B4-BE49-F238E27FC236}">
                <a16:creationId xmlns:a16="http://schemas.microsoft.com/office/drawing/2014/main" id="{6C48A6E7-F54D-4F6B-2666-2449D27AA1A1}"/>
              </a:ext>
            </a:extLst>
          </p:cNvPr>
          <p:cNvCxnSpPr/>
          <p:nvPr>
            <p:custDataLst>
              <p:tags r:id="rId29"/>
            </p:custDataLst>
          </p:nvPr>
        </p:nvCxnSpPr>
        <p:spPr bwMode="auto">
          <a:xfrm flipH="1">
            <a:off x="3592513" y="2540000"/>
            <a:ext cx="4603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02" name="Text Placeholder 10">
            <a:extLst>
              <a:ext uri="{FF2B5EF4-FFF2-40B4-BE49-F238E27FC236}">
                <a16:creationId xmlns:a16="http://schemas.microsoft.com/office/drawing/2014/main" id="{24E09E10-5663-F55E-50CE-BC2CBC74917D}"/>
              </a:ext>
            </a:extLst>
          </p:cNvPr>
          <p:cNvSpPr>
            <a:spLocks noGrp="1"/>
          </p:cNvSpPr>
          <p:nvPr>
            <p:custDataLst>
              <p:tags r:id="rId30"/>
            </p:custDataLst>
          </p:nvPr>
        </p:nvSpPr>
        <p:spPr bwMode="gray">
          <a:xfrm>
            <a:off x="3638550" y="2479675"/>
            <a:ext cx="85725"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4AB2264-CC0A-4773-82D7-27C81435A938}" type="datetime'''''''''''8'''''''''''''''">
              <a:rPr lang="en-US" altLang="en-US" sz="800" smtClean="0"/>
              <a:pPr marL="0" lvl="0" indent="0">
                <a:spcBef>
                  <a:spcPct val="0"/>
                </a:spcBef>
                <a:spcAft>
                  <a:spcPct val="0"/>
                </a:spcAft>
                <a:buNone/>
              </a:pPr>
              <a:t>8</a:t>
            </a:fld>
            <a:endParaRPr lang="en-US" sz="800"/>
          </a:p>
        </p:txBody>
      </p:sp>
      <p:sp>
        <p:nvSpPr>
          <p:cNvPr id="1121" name="Text Placeholder 10">
            <a:extLst>
              <a:ext uri="{FF2B5EF4-FFF2-40B4-BE49-F238E27FC236}">
                <a16:creationId xmlns:a16="http://schemas.microsoft.com/office/drawing/2014/main" id="{27EC1AF6-5471-34CC-5486-9E534C3B5A53}"/>
              </a:ext>
            </a:extLst>
          </p:cNvPr>
          <p:cNvSpPr>
            <a:spLocks noGrp="1"/>
          </p:cNvSpPr>
          <p:nvPr>
            <p:custDataLst>
              <p:tags r:id="rId31"/>
            </p:custDataLst>
          </p:nvPr>
        </p:nvSpPr>
        <p:spPr bwMode="gray">
          <a:xfrm>
            <a:off x="3517900" y="2436813"/>
            <a:ext cx="85725" cy="122238"/>
          </a:xfrm>
          <a:prstGeom prst="rect">
            <a:avLst/>
          </a:prstGeom>
          <a:solidFill>
            <a:srgbClr val="9DB1CF"/>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8BCC4CE-467F-4AFA-898F-79A1F15A4539}" type="datetime'''''''''''''''''''''''''''''''''''''''''''''3'''''''">
              <a:rPr lang="en-US" altLang="en-US" sz="800" smtClean="0"/>
              <a:pPr marL="0" lvl="0" indent="0" algn="ctr">
                <a:spcBef>
                  <a:spcPct val="0"/>
                </a:spcBef>
                <a:spcAft>
                  <a:spcPct val="0"/>
                </a:spcAft>
                <a:buNone/>
              </a:pPr>
              <a:t>3</a:t>
            </a:fld>
            <a:endParaRPr lang="en-US" sz="800"/>
          </a:p>
        </p:txBody>
      </p:sp>
      <p:sp>
        <p:nvSpPr>
          <p:cNvPr id="1103" name="Text Placeholder 10">
            <a:extLst>
              <a:ext uri="{FF2B5EF4-FFF2-40B4-BE49-F238E27FC236}">
                <a16:creationId xmlns:a16="http://schemas.microsoft.com/office/drawing/2014/main" id="{10F219B0-F08E-55D5-E59C-0B6B1209855C}"/>
              </a:ext>
            </a:extLst>
          </p:cNvPr>
          <p:cNvSpPr>
            <a:spLocks noGrp="1"/>
          </p:cNvSpPr>
          <p:nvPr>
            <p:custDataLst>
              <p:tags r:id="rId32"/>
            </p:custDataLst>
          </p:nvPr>
        </p:nvSpPr>
        <p:spPr bwMode="gray">
          <a:xfrm>
            <a:off x="3492500" y="2524125"/>
            <a:ext cx="85725" cy="122238"/>
          </a:xfrm>
          <a:prstGeom prst="rect">
            <a:avLst/>
          </a:prstGeom>
          <a:solidFill>
            <a:srgbClr val="364D6E"/>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8907B2D-D608-4F15-94A8-F7B15A4CAAEA}" type="datetime'''''''''''''''''''''''''''7'''''''''''''''">
              <a:rPr lang="en-US" altLang="en-US" sz="800" smtClean="0">
                <a:solidFill>
                  <a:schemeClr val="bg1"/>
                </a:solidFill>
                <a:effectLst/>
              </a:rPr>
              <a:pPr marL="0" lvl="0" indent="0" algn="ctr">
                <a:spcBef>
                  <a:spcPct val="0"/>
                </a:spcBef>
                <a:spcAft>
                  <a:spcPct val="0"/>
                </a:spcAft>
                <a:buNone/>
              </a:pPr>
              <a:t>7</a:t>
            </a:fld>
            <a:endParaRPr lang="en-US" sz="800">
              <a:solidFill>
                <a:schemeClr val="bg1"/>
              </a:solidFill>
            </a:endParaRPr>
          </a:p>
        </p:txBody>
      </p:sp>
      <p:sp>
        <p:nvSpPr>
          <p:cNvPr id="1104" name="Oval 1103">
            <a:extLst>
              <a:ext uri="{FF2B5EF4-FFF2-40B4-BE49-F238E27FC236}">
                <a16:creationId xmlns:a16="http://schemas.microsoft.com/office/drawing/2014/main" id="{1AEF97C5-8156-76A0-5564-B720A7A9EE3B}"/>
              </a:ext>
            </a:extLst>
          </p:cNvPr>
          <p:cNvSpPr/>
          <p:nvPr>
            <p:custDataLst>
              <p:tags r:id="rId33"/>
            </p:custDataLst>
          </p:nvPr>
        </p:nvSpPr>
        <p:spPr bwMode="gray">
          <a:xfrm>
            <a:off x="3744345" y="2224088"/>
            <a:ext cx="165100" cy="165100"/>
          </a:xfrm>
          <a:prstGeom prst="ellipse">
            <a:avLst/>
          </a:prstGeom>
          <a:solidFill>
            <a:srgbClr val="364D6E"/>
          </a:solidFill>
          <a:ln w="6350">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rgbClr val="FFFFFF"/>
                </a:solidFill>
              </a:rPr>
              <a:t>3</a:t>
            </a:r>
          </a:p>
        </p:txBody>
      </p:sp>
      <p:sp>
        <p:nvSpPr>
          <p:cNvPr id="1105" name="Oval 1104">
            <a:extLst>
              <a:ext uri="{FF2B5EF4-FFF2-40B4-BE49-F238E27FC236}">
                <a16:creationId xmlns:a16="http://schemas.microsoft.com/office/drawing/2014/main" id="{BEC2D835-333E-7F71-50E7-668599702138}"/>
              </a:ext>
            </a:extLst>
          </p:cNvPr>
          <p:cNvSpPr/>
          <p:nvPr>
            <p:custDataLst>
              <p:tags r:id="rId34"/>
            </p:custDataLst>
          </p:nvPr>
        </p:nvSpPr>
        <p:spPr bwMode="gray">
          <a:xfrm>
            <a:off x="3941195" y="2224088"/>
            <a:ext cx="165100" cy="165100"/>
          </a:xfrm>
          <a:prstGeom prst="ellipse">
            <a:avLst/>
          </a:prstGeom>
          <a:solidFill>
            <a:srgbClr val="9DB1CF"/>
          </a:solidFill>
          <a:ln w="63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0</a:t>
            </a:r>
          </a:p>
        </p:txBody>
      </p:sp>
      <p:sp>
        <p:nvSpPr>
          <p:cNvPr id="1106" name="Oval 1105">
            <a:extLst>
              <a:ext uri="{FF2B5EF4-FFF2-40B4-BE49-F238E27FC236}">
                <a16:creationId xmlns:a16="http://schemas.microsoft.com/office/drawing/2014/main" id="{8C638AB6-E193-12EA-5465-622B0DAA086E}"/>
              </a:ext>
            </a:extLst>
          </p:cNvPr>
          <p:cNvSpPr/>
          <p:nvPr>
            <p:custDataLst>
              <p:tags r:id="rId35"/>
            </p:custDataLst>
          </p:nvPr>
        </p:nvSpPr>
        <p:spPr bwMode="gray">
          <a:xfrm>
            <a:off x="4136458" y="2224088"/>
            <a:ext cx="165100" cy="165100"/>
          </a:xfrm>
          <a:prstGeom prst="ellipse">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3</a:t>
            </a:r>
          </a:p>
        </p:txBody>
      </p:sp>
      <p:sp>
        <p:nvSpPr>
          <p:cNvPr id="1118" name="Oval 1117">
            <a:extLst>
              <a:ext uri="{FF2B5EF4-FFF2-40B4-BE49-F238E27FC236}">
                <a16:creationId xmlns:a16="http://schemas.microsoft.com/office/drawing/2014/main" id="{0CF4FFC5-8141-087F-30CE-974556A4EC0D}"/>
              </a:ext>
            </a:extLst>
          </p:cNvPr>
          <p:cNvSpPr/>
          <p:nvPr>
            <p:custDataLst>
              <p:tags r:id="rId36"/>
            </p:custDataLst>
          </p:nvPr>
        </p:nvSpPr>
        <p:spPr bwMode="gray">
          <a:xfrm>
            <a:off x="2000809" y="2073275"/>
            <a:ext cx="165100" cy="165100"/>
          </a:xfrm>
          <a:prstGeom prst="ellipse">
            <a:avLst/>
          </a:prstGeom>
          <a:solidFill>
            <a:srgbClr val="364D6E"/>
          </a:solidFill>
          <a:ln w="6350">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rgbClr val="FFFFFF"/>
                </a:solidFill>
              </a:rPr>
              <a:t>4</a:t>
            </a:r>
          </a:p>
        </p:txBody>
      </p:sp>
      <p:sp>
        <p:nvSpPr>
          <p:cNvPr id="1119" name="Oval 1118">
            <a:extLst>
              <a:ext uri="{FF2B5EF4-FFF2-40B4-BE49-F238E27FC236}">
                <a16:creationId xmlns:a16="http://schemas.microsoft.com/office/drawing/2014/main" id="{2742DA4E-4585-499C-C9D9-515EA9CB9D99}"/>
              </a:ext>
            </a:extLst>
          </p:cNvPr>
          <p:cNvSpPr/>
          <p:nvPr>
            <p:custDataLst>
              <p:tags r:id="rId37"/>
            </p:custDataLst>
          </p:nvPr>
        </p:nvSpPr>
        <p:spPr bwMode="gray">
          <a:xfrm>
            <a:off x="2197659" y="2073275"/>
            <a:ext cx="165100" cy="165100"/>
          </a:xfrm>
          <a:prstGeom prst="ellipse">
            <a:avLst/>
          </a:prstGeom>
          <a:solidFill>
            <a:srgbClr val="9DB1CF"/>
          </a:solidFill>
          <a:ln w="63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0</a:t>
            </a:r>
          </a:p>
        </p:txBody>
      </p:sp>
      <p:sp>
        <p:nvSpPr>
          <p:cNvPr id="1120" name="Oval 1119">
            <a:extLst>
              <a:ext uri="{FF2B5EF4-FFF2-40B4-BE49-F238E27FC236}">
                <a16:creationId xmlns:a16="http://schemas.microsoft.com/office/drawing/2014/main" id="{22B76540-9C54-3B6C-FE0C-28CABB26AB0E}"/>
              </a:ext>
            </a:extLst>
          </p:cNvPr>
          <p:cNvSpPr/>
          <p:nvPr>
            <p:custDataLst>
              <p:tags r:id="rId38"/>
            </p:custDataLst>
          </p:nvPr>
        </p:nvSpPr>
        <p:spPr bwMode="gray">
          <a:xfrm>
            <a:off x="2392921" y="2073275"/>
            <a:ext cx="165100" cy="165100"/>
          </a:xfrm>
          <a:prstGeom prst="ellipse">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4</a:t>
            </a:r>
          </a:p>
        </p:txBody>
      </p:sp>
      <p:sp>
        <p:nvSpPr>
          <p:cNvPr id="1129" name="Rectangle 1128">
            <a:extLst>
              <a:ext uri="{FF2B5EF4-FFF2-40B4-BE49-F238E27FC236}">
                <a16:creationId xmlns:a16="http://schemas.microsoft.com/office/drawing/2014/main" id="{DC78752E-A69C-3A95-BAFF-F4E1D8EA9A25}"/>
              </a:ext>
            </a:extLst>
          </p:cNvPr>
          <p:cNvSpPr/>
          <p:nvPr>
            <p:custDataLst>
              <p:tags r:id="rId39"/>
            </p:custDataLst>
          </p:nvPr>
        </p:nvSpPr>
        <p:spPr bwMode="gray">
          <a:xfrm>
            <a:off x="5610225" y="3452813"/>
            <a:ext cx="1036638" cy="525463"/>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30" name="TextBox 1129">
            <a:extLst>
              <a:ext uri="{FF2B5EF4-FFF2-40B4-BE49-F238E27FC236}">
                <a16:creationId xmlns:a16="http://schemas.microsoft.com/office/drawing/2014/main" id="{8BA780FF-14CD-F426-2322-BD02DFAC92AB}"/>
              </a:ext>
            </a:extLst>
          </p:cNvPr>
          <p:cNvSpPr txBox="1"/>
          <p:nvPr>
            <p:custDataLst>
              <p:tags r:id="rId40"/>
            </p:custDataLst>
          </p:nvPr>
        </p:nvSpPr>
        <p:spPr bwMode="gray">
          <a:xfrm>
            <a:off x="5646735" y="3473450"/>
            <a:ext cx="503238" cy="184150"/>
          </a:xfrm>
          <a:prstGeom prst="rect">
            <a:avLst/>
          </a:prstGeom>
          <a:noFill/>
        </p:spPr>
        <p:txBody>
          <a:bodyPr wrap="square" lIns="0" tIns="0" rIns="0" bIns="0" rtlCol="0">
            <a:spAutoFit/>
          </a:bodyPr>
          <a:lstStyle/>
          <a:p>
            <a:pPr marL="0" indent="0">
              <a:buNone/>
            </a:pPr>
            <a:r>
              <a:rPr lang="en-US" sz="1200"/>
              <a:t>India</a:t>
            </a:r>
          </a:p>
        </p:txBody>
      </p:sp>
      <p:graphicFrame>
        <p:nvGraphicFramePr>
          <p:cNvPr id="1439" name="Chart 1438">
            <a:extLst>
              <a:ext uri="{FF2B5EF4-FFF2-40B4-BE49-F238E27FC236}">
                <a16:creationId xmlns:a16="http://schemas.microsoft.com/office/drawing/2014/main" id="{CECDD691-A9DB-0733-8474-45047D39C380}"/>
              </a:ext>
            </a:extLst>
          </p:cNvPr>
          <p:cNvGraphicFramePr/>
          <p:nvPr>
            <p:custDataLst>
              <p:tags r:id="rId41"/>
            </p:custDataLst>
            <p:extLst>
              <p:ext uri="{D42A27DB-BD31-4B8C-83A1-F6EECF244321}">
                <p14:modId xmlns:p14="http://schemas.microsoft.com/office/powerpoint/2010/main" val="3220281264"/>
              </p:ext>
            </p:extLst>
          </p:nvPr>
        </p:nvGraphicFramePr>
        <p:xfrm>
          <a:off x="5578475" y="3552825"/>
          <a:ext cx="1101725" cy="481013"/>
        </p:xfrm>
        <a:graphic>
          <a:graphicData uri="http://schemas.openxmlformats.org/drawingml/2006/chart">
            <c:chart xmlns:c="http://schemas.openxmlformats.org/drawingml/2006/chart" xmlns:r="http://schemas.openxmlformats.org/officeDocument/2006/relationships" r:id="rId179"/>
          </a:graphicData>
        </a:graphic>
      </p:graphicFrame>
      <p:cxnSp>
        <p:nvCxnSpPr>
          <p:cNvPr id="1132" name="Straight Connector 1131">
            <a:extLst>
              <a:ext uri="{FF2B5EF4-FFF2-40B4-BE49-F238E27FC236}">
                <a16:creationId xmlns:a16="http://schemas.microsoft.com/office/drawing/2014/main" id="{B4EC7325-B4AB-183B-01A5-F7B87CD57230}"/>
              </a:ext>
            </a:extLst>
          </p:cNvPr>
          <p:cNvCxnSpPr/>
          <p:nvPr>
            <p:custDataLst>
              <p:tags r:id="rId42"/>
            </p:custDataLst>
          </p:nvPr>
        </p:nvCxnSpPr>
        <p:spPr bwMode="auto">
          <a:xfrm>
            <a:off x="5862638" y="3705225"/>
            <a:ext cx="0" cy="176213"/>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33" name="Straight Connector 1132">
            <a:extLst>
              <a:ext uri="{FF2B5EF4-FFF2-40B4-BE49-F238E27FC236}">
                <a16:creationId xmlns:a16="http://schemas.microsoft.com/office/drawing/2014/main" id="{2B4982F4-FDAF-5FDD-53EF-3EFAC08BB643}"/>
              </a:ext>
            </a:extLst>
          </p:cNvPr>
          <p:cNvCxnSpPr/>
          <p:nvPr>
            <p:custDataLst>
              <p:tags r:id="rId43"/>
            </p:custDataLst>
          </p:nvPr>
        </p:nvCxnSpPr>
        <p:spPr bwMode="auto">
          <a:xfrm>
            <a:off x="5734050" y="3705225"/>
            <a:ext cx="128588"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34" name="Straight Connector 1133">
            <a:extLst>
              <a:ext uri="{FF2B5EF4-FFF2-40B4-BE49-F238E27FC236}">
                <a16:creationId xmlns:a16="http://schemas.microsoft.com/office/drawing/2014/main" id="{D8E909B9-6044-1328-F93E-17BAC4B2A0C6}"/>
              </a:ext>
            </a:extLst>
          </p:cNvPr>
          <p:cNvCxnSpPr/>
          <p:nvPr>
            <p:custDataLst>
              <p:tags r:id="rId44"/>
            </p:custDataLst>
          </p:nvPr>
        </p:nvCxnSpPr>
        <p:spPr bwMode="auto">
          <a:xfrm>
            <a:off x="5734050" y="3881438"/>
            <a:ext cx="128588"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36" name="Text Placeholder 10">
            <a:extLst>
              <a:ext uri="{FF2B5EF4-FFF2-40B4-BE49-F238E27FC236}">
                <a16:creationId xmlns:a16="http://schemas.microsoft.com/office/drawing/2014/main" id="{CD0886B1-7669-EA2C-9CDC-8BBAB6365F97}"/>
              </a:ext>
            </a:extLst>
          </p:cNvPr>
          <p:cNvSpPr>
            <a:spLocks noGrp="1"/>
          </p:cNvSpPr>
          <p:nvPr>
            <p:custDataLst>
              <p:tags r:id="rId45"/>
            </p:custDataLst>
          </p:nvPr>
        </p:nvSpPr>
        <p:spPr bwMode="gray">
          <a:xfrm>
            <a:off x="5726113" y="3689350"/>
            <a:ext cx="142875" cy="122238"/>
          </a:xfrm>
          <a:prstGeom prst="rect">
            <a:avLst/>
          </a:prstGeom>
          <a:solidFill>
            <a:srgbClr val="FFFFFF"/>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578AEFD-568A-47E3-8312-EAC085EA24B8}" type="datetime'''''''''''2''''''''4'''''''''''''''''''''''''''''''''''''''">
              <a:rPr lang="en-US" altLang="en-US" sz="800" smtClean="0"/>
              <a:pPr marL="0" lvl="0" indent="0" algn="ctr">
                <a:spcBef>
                  <a:spcPct val="0"/>
                </a:spcBef>
                <a:spcAft>
                  <a:spcPct val="0"/>
                </a:spcAft>
                <a:buNone/>
              </a:pPr>
              <a:t>24</a:t>
            </a:fld>
            <a:endParaRPr lang="en-US" sz="800"/>
          </a:p>
        </p:txBody>
      </p:sp>
      <p:sp>
        <p:nvSpPr>
          <p:cNvPr id="1138" name="Text Placeholder 10">
            <a:extLst>
              <a:ext uri="{FF2B5EF4-FFF2-40B4-BE49-F238E27FC236}">
                <a16:creationId xmlns:a16="http://schemas.microsoft.com/office/drawing/2014/main" id="{2F94955A-3B70-0A25-DC9F-7596C1C09663}"/>
              </a:ext>
            </a:extLst>
          </p:cNvPr>
          <p:cNvSpPr>
            <a:spLocks noGrp="1"/>
          </p:cNvSpPr>
          <p:nvPr>
            <p:custDataLst>
              <p:tags r:id="rId46"/>
            </p:custDataLst>
          </p:nvPr>
        </p:nvSpPr>
        <p:spPr bwMode="gray">
          <a:xfrm>
            <a:off x="5675313" y="3776663"/>
            <a:ext cx="85725" cy="122238"/>
          </a:xfrm>
          <a:prstGeom prst="rect">
            <a:avLst/>
          </a:prstGeom>
          <a:solidFill>
            <a:srgbClr val="9DB1CF"/>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6F36C0-D557-4942-A319-9DF1F1A0EDF3}" type="datetime'''''''''''''''''''''''''6'''''''''''''''''''''''''''">
              <a:rPr lang="en-US" altLang="en-US" sz="800" smtClean="0">
                <a:effectLst/>
              </a:rPr>
              <a:pPr marL="0" lvl="0" indent="0" algn="ctr">
                <a:spcBef>
                  <a:spcPct val="0"/>
                </a:spcBef>
                <a:spcAft>
                  <a:spcPct val="0"/>
                </a:spcAft>
                <a:buNone/>
              </a:pPr>
              <a:t>6</a:t>
            </a:fld>
            <a:endParaRPr lang="en-US" sz="800"/>
          </a:p>
        </p:txBody>
      </p:sp>
      <p:sp>
        <p:nvSpPr>
          <p:cNvPr id="1137" name="Text Placeholder 10">
            <a:extLst>
              <a:ext uri="{FF2B5EF4-FFF2-40B4-BE49-F238E27FC236}">
                <a16:creationId xmlns:a16="http://schemas.microsoft.com/office/drawing/2014/main" id="{F8CD0B6A-4D27-2DFC-DFD0-7C343BF671E2}"/>
              </a:ext>
            </a:extLst>
          </p:cNvPr>
          <p:cNvSpPr>
            <a:spLocks noGrp="1"/>
          </p:cNvSpPr>
          <p:nvPr>
            <p:custDataLst>
              <p:tags r:id="rId47"/>
            </p:custDataLst>
          </p:nvPr>
        </p:nvSpPr>
        <p:spPr bwMode="gray">
          <a:xfrm>
            <a:off x="5638800" y="3689350"/>
            <a:ext cx="85725" cy="122238"/>
          </a:xfrm>
          <a:prstGeom prst="rect">
            <a:avLst/>
          </a:prstGeom>
          <a:solidFill>
            <a:srgbClr val="364D6E"/>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7D2DE74-8544-47B1-9AB9-06CCAFE7269B}" type="datetime'''''''''''''''''''''''''''''''''''''''8'''''''''''''''''''''">
              <a:rPr lang="en-US" altLang="en-US" sz="800" smtClean="0">
                <a:solidFill>
                  <a:schemeClr val="bg1"/>
                </a:solidFill>
                <a:effectLst/>
              </a:rPr>
              <a:pPr marL="0" lvl="0" indent="0" algn="ctr">
                <a:spcBef>
                  <a:spcPct val="0"/>
                </a:spcBef>
                <a:spcAft>
                  <a:spcPct val="0"/>
                </a:spcAft>
                <a:buNone/>
              </a:pPr>
              <a:t>8</a:t>
            </a:fld>
            <a:endParaRPr lang="en-US" sz="800">
              <a:solidFill>
                <a:schemeClr val="bg1"/>
              </a:solidFill>
            </a:endParaRPr>
          </a:p>
        </p:txBody>
      </p:sp>
      <p:sp>
        <p:nvSpPr>
          <p:cNvPr id="1139" name="Oval 1138">
            <a:extLst>
              <a:ext uri="{FF2B5EF4-FFF2-40B4-BE49-F238E27FC236}">
                <a16:creationId xmlns:a16="http://schemas.microsoft.com/office/drawing/2014/main" id="{22234F92-EDA6-540B-89DC-FFEFFDDF664A}"/>
              </a:ext>
            </a:extLst>
          </p:cNvPr>
          <p:cNvSpPr/>
          <p:nvPr>
            <p:custDataLst>
              <p:tags r:id="rId48"/>
            </p:custDataLst>
          </p:nvPr>
        </p:nvSpPr>
        <p:spPr bwMode="gray">
          <a:xfrm>
            <a:off x="6059488" y="3476625"/>
            <a:ext cx="165100" cy="165100"/>
          </a:xfrm>
          <a:prstGeom prst="ellipse">
            <a:avLst/>
          </a:prstGeom>
          <a:solidFill>
            <a:srgbClr val="364D6E"/>
          </a:solidFill>
          <a:ln w="6350">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rgbClr val="FFFFFF"/>
                </a:solidFill>
              </a:rPr>
              <a:t>4</a:t>
            </a:r>
          </a:p>
        </p:txBody>
      </p:sp>
      <p:sp>
        <p:nvSpPr>
          <p:cNvPr id="1140" name="Oval 1139">
            <a:extLst>
              <a:ext uri="{FF2B5EF4-FFF2-40B4-BE49-F238E27FC236}">
                <a16:creationId xmlns:a16="http://schemas.microsoft.com/office/drawing/2014/main" id="{83BDC4A2-AB67-A08C-D7C6-10C22B700484}"/>
              </a:ext>
            </a:extLst>
          </p:cNvPr>
          <p:cNvSpPr/>
          <p:nvPr>
            <p:custDataLst>
              <p:tags r:id="rId49"/>
            </p:custDataLst>
          </p:nvPr>
        </p:nvSpPr>
        <p:spPr bwMode="gray">
          <a:xfrm>
            <a:off x="6256338" y="3476625"/>
            <a:ext cx="165100" cy="165100"/>
          </a:xfrm>
          <a:prstGeom prst="ellipse">
            <a:avLst/>
          </a:prstGeom>
          <a:solidFill>
            <a:srgbClr val="9DB1CF"/>
          </a:solidFill>
          <a:ln w="63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1</a:t>
            </a:r>
          </a:p>
        </p:txBody>
      </p:sp>
      <p:sp>
        <p:nvSpPr>
          <p:cNvPr id="1141" name="Oval 1140">
            <a:extLst>
              <a:ext uri="{FF2B5EF4-FFF2-40B4-BE49-F238E27FC236}">
                <a16:creationId xmlns:a16="http://schemas.microsoft.com/office/drawing/2014/main" id="{A4819BC5-0DDF-3395-E281-1C9214EF5480}"/>
              </a:ext>
            </a:extLst>
          </p:cNvPr>
          <p:cNvSpPr/>
          <p:nvPr>
            <p:custDataLst>
              <p:tags r:id="rId50"/>
            </p:custDataLst>
          </p:nvPr>
        </p:nvSpPr>
        <p:spPr bwMode="gray">
          <a:xfrm>
            <a:off x="6451600" y="3476625"/>
            <a:ext cx="165100" cy="165100"/>
          </a:xfrm>
          <a:prstGeom prst="ellipse">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5</a:t>
            </a:r>
          </a:p>
        </p:txBody>
      </p:sp>
      <p:sp>
        <p:nvSpPr>
          <p:cNvPr id="1147" name="Rectangle 1146">
            <a:extLst>
              <a:ext uri="{FF2B5EF4-FFF2-40B4-BE49-F238E27FC236}">
                <a16:creationId xmlns:a16="http://schemas.microsoft.com/office/drawing/2014/main" id="{43A175DC-9FF1-FA8E-A218-05DEBD761C22}"/>
              </a:ext>
            </a:extLst>
          </p:cNvPr>
          <p:cNvSpPr/>
          <p:nvPr>
            <p:custDataLst>
              <p:tags r:id="rId51"/>
            </p:custDataLst>
          </p:nvPr>
        </p:nvSpPr>
        <p:spPr bwMode="gray">
          <a:xfrm>
            <a:off x="6200775" y="2800350"/>
            <a:ext cx="1036638" cy="525463"/>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48" name="TextBox 1147">
            <a:extLst>
              <a:ext uri="{FF2B5EF4-FFF2-40B4-BE49-F238E27FC236}">
                <a16:creationId xmlns:a16="http://schemas.microsoft.com/office/drawing/2014/main" id="{0B356E6C-E6B9-6B73-0434-3558FD4E2FBD}"/>
              </a:ext>
            </a:extLst>
          </p:cNvPr>
          <p:cNvSpPr txBox="1"/>
          <p:nvPr>
            <p:custDataLst>
              <p:tags r:id="rId52"/>
            </p:custDataLst>
          </p:nvPr>
        </p:nvSpPr>
        <p:spPr bwMode="gray">
          <a:xfrm>
            <a:off x="6237288" y="2820988"/>
            <a:ext cx="503238" cy="184150"/>
          </a:xfrm>
          <a:prstGeom prst="rect">
            <a:avLst/>
          </a:prstGeom>
          <a:noFill/>
        </p:spPr>
        <p:txBody>
          <a:bodyPr wrap="square" lIns="0" tIns="0" rIns="0" bIns="0" rtlCol="0">
            <a:spAutoFit/>
          </a:bodyPr>
          <a:lstStyle/>
          <a:p>
            <a:pPr marL="0" indent="0">
              <a:buNone/>
            </a:pPr>
            <a:r>
              <a:rPr lang="en-US" sz="1200"/>
              <a:t>China</a:t>
            </a:r>
          </a:p>
        </p:txBody>
      </p:sp>
      <p:graphicFrame>
        <p:nvGraphicFramePr>
          <p:cNvPr id="1440" name="Chart 1439">
            <a:extLst>
              <a:ext uri="{FF2B5EF4-FFF2-40B4-BE49-F238E27FC236}">
                <a16:creationId xmlns:a16="http://schemas.microsoft.com/office/drawing/2014/main" id="{42BC10A9-3C6D-16C6-A9AC-9FED7E8E6B38}"/>
              </a:ext>
            </a:extLst>
          </p:cNvPr>
          <p:cNvGraphicFramePr/>
          <p:nvPr>
            <p:custDataLst>
              <p:tags r:id="rId53"/>
            </p:custDataLst>
            <p:extLst>
              <p:ext uri="{D42A27DB-BD31-4B8C-83A1-F6EECF244321}">
                <p14:modId xmlns:p14="http://schemas.microsoft.com/office/powerpoint/2010/main" val="1886527027"/>
              </p:ext>
            </p:extLst>
          </p:nvPr>
        </p:nvGraphicFramePr>
        <p:xfrm>
          <a:off x="6170613" y="2900363"/>
          <a:ext cx="1101725" cy="481012"/>
        </p:xfrm>
        <a:graphic>
          <a:graphicData uri="http://schemas.openxmlformats.org/drawingml/2006/chart">
            <c:chart xmlns:c="http://schemas.openxmlformats.org/drawingml/2006/chart" xmlns:r="http://schemas.openxmlformats.org/officeDocument/2006/relationships" r:id="rId180"/>
          </a:graphicData>
        </a:graphic>
      </p:graphicFrame>
      <p:cxnSp>
        <p:nvCxnSpPr>
          <p:cNvPr id="1150" name="Straight Connector 1149">
            <a:extLst>
              <a:ext uri="{FF2B5EF4-FFF2-40B4-BE49-F238E27FC236}">
                <a16:creationId xmlns:a16="http://schemas.microsoft.com/office/drawing/2014/main" id="{C3222FBC-ABF7-AC94-287E-25295B7D254A}"/>
              </a:ext>
            </a:extLst>
          </p:cNvPr>
          <p:cNvCxnSpPr/>
          <p:nvPr>
            <p:custDataLst>
              <p:tags r:id="rId54"/>
            </p:custDataLst>
          </p:nvPr>
        </p:nvCxnSpPr>
        <p:spPr bwMode="auto">
          <a:xfrm>
            <a:off x="7146925" y="3052763"/>
            <a:ext cx="0" cy="176213"/>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51" name="Straight Connector 1150">
            <a:extLst>
              <a:ext uri="{FF2B5EF4-FFF2-40B4-BE49-F238E27FC236}">
                <a16:creationId xmlns:a16="http://schemas.microsoft.com/office/drawing/2014/main" id="{5CE88D6B-569C-385D-FF64-AA12E47AA47B}"/>
              </a:ext>
            </a:extLst>
          </p:cNvPr>
          <p:cNvCxnSpPr/>
          <p:nvPr>
            <p:custDataLst>
              <p:tags r:id="rId55"/>
            </p:custDataLst>
          </p:nvPr>
        </p:nvCxnSpPr>
        <p:spPr bwMode="auto">
          <a:xfrm>
            <a:off x="6748463" y="3052763"/>
            <a:ext cx="398463"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52" name="Straight Connector 1151">
            <a:extLst>
              <a:ext uri="{FF2B5EF4-FFF2-40B4-BE49-F238E27FC236}">
                <a16:creationId xmlns:a16="http://schemas.microsoft.com/office/drawing/2014/main" id="{73BCF560-A010-5C74-7C40-1273412D63D5}"/>
              </a:ext>
            </a:extLst>
          </p:cNvPr>
          <p:cNvCxnSpPr/>
          <p:nvPr>
            <p:custDataLst>
              <p:tags r:id="rId56"/>
            </p:custDataLst>
          </p:nvPr>
        </p:nvCxnSpPr>
        <p:spPr bwMode="auto">
          <a:xfrm>
            <a:off x="6748463" y="3228975"/>
            <a:ext cx="398463"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53" name="Text Placeholder 10">
            <a:extLst>
              <a:ext uri="{FF2B5EF4-FFF2-40B4-BE49-F238E27FC236}">
                <a16:creationId xmlns:a16="http://schemas.microsoft.com/office/drawing/2014/main" id="{DD7CE857-84C3-89B8-0291-14E9EA47C0D5}"/>
              </a:ext>
            </a:extLst>
          </p:cNvPr>
          <p:cNvSpPr>
            <a:spLocks noGrp="1"/>
          </p:cNvSpPr>
          <p:nvPr>
            <p:custDataLst>
              <p:tags r:id="rId57"/>
            </p:custDataLst>
          </p:nvPr>
        </p:nvSpPr>
        <p:spPr bwMode="gray">
          <a:xfrm>
            <a:off x="6875463" y="3079750"/>
            <a:ext cx="142875"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666638-89DB-42F8-81B8-104A0E9BA449}" type="datetime'''''''''''''''7''''''''''''4'''''''''''''''''''''''''''''''">
              <a:rPr lang="en-US" altLang="en-US" sz="800" smtClean="0"/>
              <a:pPr marL="0" lvl="0" indent="0" algn="ctr">
                <a:spcBef>
                  <a:spcPct val="0"/>
                </a:spcBef>
                <a:spcAft>
                  <a:spcPct val="0"/>
                </a:spcAft>
                <a:buNone/>
              </a:pPr>
              <a:t>74</a:t>
            </a:fld>
            <a:endParaRPr lang="en-US" sz="800"/>
          </a:p>
        </p:txBody>
      </p:sp>
      <p:sp>
        <p:nvSpPr>
          <p:cNvPr id="1154" name="Text Placeholder 10">
            <a:extLst>
              <a:ext uri="{FF2B5EF4-FFF2-40B4-BE49-F238E27FC236}">
                <a16:creationId xmlns:a16="http://schemas.microsoft.com/office/drawing/2014/main" id="{D636E25E-6964-3B22-48D7-B429B4B24BEC}"/>
              </a:ext>
            </a:extLst>
          </p:cNvPr>
          <p:cNvSpPr>
            <a:spLocks noGrp="1"/>
          </p:cNvSpPr>
          <p:nvPr>
            <p:custDataLst>
              <p:tags r:id="rId58"/>
            </p:custDataLst>
          </p:nvPr>
        </p:nvSpPr>
        <p:spPr bwMode="gray">
          <a:xfrm>
            <a:off x="6584950" y="3079750"/>
            <a:ext cx="142875" cy="1222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72B34F7-6C77-49D0-806F-DDEAA4009F27}" type="datetime'''''''''''''3''''4'''''''''''''''''''''''''''''''''''''">
              <a:rPr lang="en-US" altLang="en-US" sz="800" smtClean="0">
                <a:effectLst/>
              </a:rPr>
              <a:pPr marL="0" lvl="0" indent="0" algn="ctr">
                <a:spcBef>
                  <a:spcPct val="0"/>
                </a:spcBef>
                <a:spcAft>
                  <a:spcPct val="0"/>
                </a:spcAft>
                <a:buNone/>
              </a:pPr>
              <a:t>34</a:t>
            </a:fld>
            <a:endParaRPr lang="en-US" sz="800"/>
          </a:p>
        </p:txBody>
      </p:sp>
      <p:sp>
        <p:nvSpPr>
          <p:cNvPr id="1155" name="Text Placeholder 10">
            <a:extLst>
              <a:ext uri="{FF2B5EF4-FFF2-40B4-BE49-F238E27FC236}">
                <a16:creationId xmlns:a16="http://schemas.microsoft.com/office/drawing/2014/main" id="{056F15AD-F989-87D0-79CF-A978DEA68BA2}"/>
              </a:ext>
            </a:extLst>
          </p:cNvPr>
          <p:cNvSpPr>
            <a:spLocks noGrp="1"/>
          </p:cNvSpPr>
          <p:nvPr>
            <p:custDataLst>
              <p:tags r:id="rId59"/>
            </p:custDataLst>
          </p:nvPr>
        </p:nvSpPr>
        <p:spPr bwMode="gray">
          <a:xfrm>
            <a:off x="6337300" y="3079750"/>
            <a:ext cx="142875" cy="122238"/>
          </a:xfrm>
          <a:prstGeom prst="rect">
            <a:avLst/>
          </a:prstGeom>
          <a:noFill/>
          <a:ln>
            <a:noFill/>
          </a:ln>
          <a:effectLst/>
          <a:extLst>
            <a:ext uri="{909E8E84-426E-40DD-AFC4-6F175D3DCCD1}">
              <a14:hiddenFill xmlns:a14="http://schemas.microsoft.com/office/drawing/2010/main">
                <a:solidFill>
                  <a:srgbClr val="364D6E"/>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23396A-5C38-4AB8-8FC8-6B87D3D70ABE}" type="datetime'''''5''''''''''''''''''''''''8'''''''''''''''''''''">
              <a:rPr lang="en-US" altLang="en-US" sz="800" smtClean="0">
                <a:solidFill>
                  <a:schemeClr val="bg1"/>
                </a:solidFill>
              </a:rPr>
              <a:pPr marL="0" lvl="0" indent="0" algn="ctr">
                <a:spcBef>
                  <a:spcPct val="0"/>
                </a:spcBef>
                <a:spcAft>
                  <a:spcPct val="0"/>
                </a:spcAft>
                <a:buNone/>
              </a:pPr>
              <a:t>58</a:t>
            </a:fld>
            <a:endParaRPr lang="en-US" sz="800">
              <a:solidFill>
                <a:schemeClr val="bg1"/>
              </a:solidFill>
            </a:endParaRPr>
          </a:p>
        </p:txBody>
      </p:sp>
      <p:sp>
        <p:nvSpPr>
          <p:cNvPr id="1156" name="Oval 1155">
            <a:extLst>
              <a:ext uri="{FF2B5EF4-FFF2-40B4-BE49-F238E27FC236}">
                <a16:creationId xmlns:a16="http://schemas.microsoft.com/office/drawing/2014/main" id="{1743FAF9-6BCC-444D-3DAE-11CA2AEE1D1A}"/>
              </a:ext>
            </a:extLst>
          </p:cNvPr>
          <p:cNvSpPr/>
          <p:nvPr>
            <p:custDataLst>
              <p:tags r:id="rId60"/>
            </p:custDataLst>
          </p:nvPr>
        </p:nvSpPr>
        <p:spPr bwMode="gray">
          <a:xfrm>
            <a:off x="6650038" y="2824163"/>
            <a:ext cx="165100" cy="165100"/>
          </a:xfrm>
          <a:prstGeom prst="ellipse">
            <a:avLst/>
          </a:prstGeom>
          <a:solidFill>
            <a:srgbClr val="364D6E"/>
          </a:solidFill>
          <a:ln w="6350">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rgbClr val="FFFFFF"/>
                </a:solidFill>
              </a:rPr>
              <a:t>17</a:t>
            </a:r>
          </a:p>
        </p:txBody>
      </p:sp>
      <p:sp>
        <p:nvSpPr>
          <p:cNvPr id="1157" name="Oval 1156">
            <a:extLst>
              <a:ext uri="{FF2B5EF4-FFF2-40B4-BE49-F238E27FC236}">
                <a16:creationId xmlns:a16="http://schemas.microsoft.com/office/drawing/2014/main" id="{2CCAAFA9-D2F2-7DC2-24BD-8E089A0E3CFC}"/>
              </a:ext>
            </a:extLst>
          </p:cNvPr>
          <p:cNvSpPr/>
          <p:nvPr>
            <p:custDataLst>
              <p:tags r:id="rId61"/>
            </p:custDataLst>
          </p:nvPr>
        </p:nvSpPr>
        <p:spPr bwMode="gray">
          <a:xfrm>
            <a:off x="6846888" y="2824163"/>
            <a:ext cx="165100" cy="165100"/>
          </a:xfrm>
          <a:prstGeom prst="ellipse">
            <a:avLst/>
          </a:prstGeom>
          <a:solidFill>
            <a:srgbClr val="9DB1CF"/>
          </a:solidFill>
          <a:ln w="63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9</a:t>
            </a:r>
          </a:p>
        </p:txBody>
      </p:sp>
      <p:sp>
        <p:nvSpPr>
          <p:cNvPr id="1158" name="Oval 1157">
            <a:extLst>
              <a:ext uri="{FF2B5EF4-FFF2-40B4-BE49-F238E27FC236}">
                <a16:creationId xmlns:a16="http://schemas.microsoft.com/office/drawing/2014/main" id="{DBB70F3A-7714-AF90-1161-65A647C28CA6}"/>
              </a:ext>
            </a:extLst>
          </p:cNvPr>
          <p:cNvSpPr/>
          <p:nvPr>
            <p:custDataLst>
              <p:tags r:id="rId62"/>
            </p:custDataLst>
          </p:nvPr>
        </p:nvSpPr>
        <p:spPr bwMode="gray">
          <a:xfrm>
            <a:off x="7042150" y="2824163"/>
            <a:ext cx="165100" cy="165100"/>
          </a:xfrm>
          <a:prstGeom prst="ellipse">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7</a:t>
            </a:r>
          </a:p>
        </p:txBody>
      </p:sp>
      <p:sp>
        <p:nvSpPr>
          <p:cNvPr id="1167" name="Rectangle 1166">
            <a:extLst>
              <a:ext uri="{FF2B5EF4-FFF2-40B4-BE49-F238E27FC236}">
                <a16:creationId xmlns:a16="http://schemas.microsoft.com/office/drawing/2014/main" id="{063724B9-EAEC-4FA0-FCD1-EBAEECDC0AE1}"/>
              </a:ext>
            </a:extLst>
          </p:cNvPr>
          <p:cNvSpPr/>
          <p:nvPr>
            <p:custDataLst>
              <p:tags r:id="rId63"/>
            </p:custDataLst>
          </p:nvPr>
        </p:nvSpPr>
        <p:spPr bwMode="gray">
          <a:xfrm>
            <a:off x="5661025" y="2020888"/>
            <a:ext cx="1036638" cy="525463"/>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68" name="TextBox 1167">
            <a:extLst>
              <a:ext uri="{FF2B5EF4-FFF2-40B4-BE49-F238E27FC236}">
                <a16:creationId xmlns:a16="http://schemas.microsoft.com/office/drawing/2014/main" id="{C7110DC3-C6D8-1798-749A-19DB908C0E65}"/>
              </a:ext>
            </a:extLst>
          </p:cNvPr>
          <p:cNvSpPr txBox="1"/>
          <p:nvPr>
            <p:custDataLst>
              <p:tags r:id="rId64"/>
            </p:custDataLst>
          </p:nvPr>
        </p:nvSpPr>
        <p:spPr bwMode="gray">
          <a:xfrm>
            <a:off x="5697538" y="2043113"/>
            <a:ext cx="503238" cy="184150"/>
          </a:xfrm>
          <a:prstGeom prst="rect">
            <a:avLst/>
          </a:prstGeom>
          <a:noFill/>
        </p:spPr>
        <p:txBody>
          <a:bodyPr wrap="square" lIns="0" tIns="0" rIns="0" bIns="0" rtlCol="0">
            <a:spAutoFit/>
          </a:bodyPr>
          <a:lstStyle/>
          <a:p>
            <a:pPr marL="0" indent="0">
              <a:buNone/>
            </a:pPr>
            <a:r>
              <a:rPr lang="en-US" sz="1200"/>
              <a:t>RUS</a:t>
            </a:r>
          </a:p>
        </p:txBody>
      </p:sp>
      <p:graphicFrame>
        <p:nvGraphicFramePr>
          <p:cNvPr id="1441" name="Chart 1440">
            <a:extLst>
              <a:ext uri="{FF2B5EF4-FFF2-40B4-BE49-F238E27FC236}">
                <a16:creationId xmlns:a16="http://schemas.microsoft.com/office/drawing/2014/main" id="{76A5B3D2-4355-A056-0112-45D4868658DB}"/>
              </a:ext>
            </a:extLst>
          </p:cNvPr>
          <p:cNvGraphicFramePr/>
          <p:nvPr>
            <p:custDataLst>
              <p:tags r:id="rId65"/>
            </p:custDataLst>
            <p:extLst>
              <p:ext uri="{D42A27DB-BD31-4B8C-83A1-F6EECF244321}">
                <p14:modId xmlns:p14="http://schemas.microsoft.com/office/powerpoint/2010/main" val="3933907714"/>
              </p:ext>
            </p:extLst>
          </p:nvPr>
        </p:nvGraphicFramePr>
        <p:xfrm>
          <a:off x="5630863" y="2120900"/>
          <a:ext cx="1101725" cy="481013"/>
        </p:xfrm>
        <a:graphic>
          <a:graphicData uri="http://schemas.openxmlformats.org/drawingml/2006/chart">
            <c:chart xmlns:c="http://schemas.openxmlformats.org/drawingml/2006/chart" xmlns:r="http://schemas.openxmlformats.org/officeDocument/2006/relationships" r:id="rId181"/>
          </a:graphicData>
        </a:graphic>
      </p:graphicFrame>
      <p:cxnSp>
        <p:nvCxnSpPr>
          <p:cNvPr id="1170" name="Straight Connector 1169">
            <a:extLst>
              <a:ext uri="{FF2B5EF4-FFF2-40B4-BE49-F238E27FC236}">
                <a16:creationId xmlns:a16="http://schemas.microsoft.com/office/drawing/2014/main" id="{C2D8B61D-5337-94D3-6302-77C491C732F7}"/>
              </a:ext>
            </a:extLst>
          </p:cNvPr>
          <p:cNvCxnSpPr/>
          <p:nvPr>
            <p:custDataLst>
              <p:tags r:id="rId66"/>
            </p:custDataLst>
          </p:nvPr>
        </p:nvCxnSpPr>
        <p:spPr bwMode="auto">
          <a:xfrm>
            <a:off x="6002338" y="2273300"/>
            <a:ext cx="0" cy="176213"/>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71" name="Straight Connector 1170">
            <a:extLst>
              <a:ext uri="{FF2B5EF4-FFF2-40B4-BE49-F238E27FC236}">
                <a16:creationId xmlns:a16="http://schemas.microsoft.com/office/drawing/2014/main" id="{D313254B-2CFF-38EE-EAF0-821817C67D5A}"/>
              </a:ext>
            </a:extLst>
          </p:cNvPr>
          <p:cNvCxnSpPr/>
          <p:nvPr>
            <p:custDataLst>
              <p:tags r:id="rId67"/>
            </p:custDataLst>
          </p:nvPr>
        </p:nvCxnSpPr>
        <p:spPr bwMode="auto">
          <a:xfrm>
            <a:off x="5889625" y="2273300"/>
            <a:ext cx="112713"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72" name="Straight Connector 1171">
            <a:extLst>
              <a:ext uri="{FF2B5EF4-FFF2-40B4-BE49-F238E27FC236}">
                <a16:creationId xmlns:a16="http://schemas.microsoft.com/office/drawing/2014/main" id="{25FC9A5A-7B29-6F86-C286-DE37C28CBA26}"/>
              </a:ext>
            </a:extLst>
          </p:cNvPr>
          <p:cNvCxnSpPr/>
          <p:nvPr>
            <p:custDataLst>
              <p:tags r:id="rId68"/>
            </p:custDataLst>
          </p:nvPr>
        </p:nvCxnSpPr>
        <p:spPr bwMode="auto">
          <a:xfrm>
            <a:off x="5889625" y="2449513"/>
            <a:ext cx="112713"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73" name="Text Placeholder 10">
            <a:extLst>
              <a:ext uri="{FF2B5EF4-FFF2-40B4-BE49-F238E27FC236}">
                <a16:creationId xmlns:a16="http://schemas.microsoft.com/office/drawing/2014/main" id="{1069AF05-9395-9B2C-A23C-8D80EF32CFB2}"/>
              </a:ext>
            </a:extLst>
          </p:cNvPr>
          <p:cNvSpPr>
            <a:spLocks noGrp="1"/>
          </p:cNvSpPr>
          <p:nvPr>
            <p:custDataLst>
              <p:tags r:id="rId69"/>
            </p:custDataLst>
          </p:nvPr>
        </p:nvSpPr>
        <p:spPr bwMode="gray">
          <a:xfrm>
            <a:off x="5873750" y="2257425"/>
            <a:ext cx="142875" cy="122238"/>
          </a:xfrm>
          <a:prstGeom prst="rect">
            <a:avLst/>
          </a:prstGeom>
          <a:solidFill>
            <a:srgbClr val="FFFFFF"/>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630CEDC-6396-4D44-B7DF-DB9278F4CF2D}" type="datetime'''''''''''''''''''''2''''''''''''''''''''1'''''''''">
              <a:rPr lang="en-US" altLang="en-US" sz="800" smtClean="0"/>
              <a:pPr marL="0" lvl="0" indent="0" algn="ctr">
                <a:spcBef>
                  <a:spcPct val="0"/>
                </a:spcBef>
                <a:spcAft>
                  <a:spcPct val="0"/>
                </a:spcAft>
                <a:buNone/>
              </a:pPr>
              <a:t>21</a:t>
            </a:fld>
            <a:endParaRPr lang="en-US" sz="800"/>
          </a:p>
        </p:txBody>
      </p:sp>
      <p:sp>
        <p:nvSpPr>
          <p:cNvPr id="1174" name="Text Placeholder 10">
            <a:extLst>
              <a:ext uri="{FF2B5EF4-FFF2-40B4-BE49-F238E27FC236}">
                <a16:creationId xmlns:a16="http://schemas.microsoft.com/office/drawing/2014/main" id="{988382D0-B791-8739-0F48-7FF93023882F}"/>
              </a:ext>
            </a:extLst>
          </p:cNvPr>
          <p:cNvSpPr>
            <a:spLocks noGrp="1"/>
          </p:cNvSpPr>
          <p:nvPr>
            <p:custDataLst>
              <p:tags r:id="rId70"/>
            </p:custDataLst>
          </p:nvPr>
        </p:nvSpPr>
        <p:spPr bwMode="gray">
          <a:xfrm>
            <a:off x="5834063" y="2344738"/>
            <a:ext cx="85725" cy="122238"/>
          </a:xfrm>
          <a:prstGeom prst="rect">
            <a:avLst/>
          </a:prstGeom>
          <a:solidFill>
            <a:srgbClr val="9DB1CF"/>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9820211-BACA-4F55-9A2A-7DFB8F82B964}" type="datetime'''''''''''''''''''''''''''''4'''''''''''''''''''''">
              <a:rPr lang="en-US" altLang="en-US" sz="800" smtClean="0">
                <a:effectLst/>
              </a:rPr>
              <a:pPr marL="0" lvl="0" indent="0" algn="ctr">
                <a:spcBef>
                  <a:spcPct val="0"/>
                </a:spcBef>
                <a:spcAft>
                  <a:spcPct val="0"/>
                </a:spcAft>
                <a:buNone/>
              </a:pPr>
              <a:t>4</a:t>
            </a:fld>
            <a:endParaRPr lang="en-US" sz="800"/>
          </a:p>
        </p:txBody>
      </p:sp>
      <p:sp>
        <p:nvSpPr>
          <p:cNvPr id="1175" name="Text Placeholder 10">
            <a:extLst>
              <a:ext uri="{FF2B5EF4-FFF2-40B4-BE49-F238E27FC236}">
                <a16:creationId xmlns:a16="http://schemas.microsoft.com/office/drawing/2014/main" id="{B3CE807C-0241-8746-D244-50C28DA3351A}"/>
              </a:ext>
            </a:extLst>
          </p:cNvPr>
          <p:cNvSpPr>
            <a:spLocks noGrp="1"/>
          </p:cNvSpPr>
          <p:nvPr>
            <p:custDataLst>
              <p:tags r:id="rId71"/>
            </p:custDataLst>
          </p:nvPr>
        </p:nvSpPr>
        <p:spPr bwMode="gray">
          <a:xfrm>
            <a:off x="5718175" y="2257425"/>
            <a:ext cx="142875" cy="122238"/>
          </a:xfrm>
          <a:prstGeom prst="rect">
            <a:avLst/>
          </a:prstGeom>
          <a:solidFill>
            <a:srgbClr val="364D6E"/>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7C3FE3-FAE0-4E7C-A1EC-22B4ADA8A3C5}" type="datetime'''''''''''''''2''''''''''''''''9'''''">
              <a:rPr lang="en-US" altLang="en-US" sz="800" smtClean="0">
                <a:solidFill>
                  <a:schemeClr val="bg1"/>
                </a:solidFill>
                <a:effectLst/>
              </a:rPr>
              <a:pPr marL="0" lvl="0" indent="0" algn="ctr">
                <a:spcBef>
                  <a:spcPct val="0"/>
                </a:spcBef>
                <a:spcAft>
                  <a:spcPct val="0"/>
                </a:spcAft>
                <a:buNone/>
              </a:pPr>
              <a:t>29</a:t>
            </a:fld>
            <a:endParaRPr lang="en-US" sz="800">
              <a:solidFill>
                <a:schemeClr val="bg1"/>
              </a:solidFill>
            </a:endParaRPr>
          </a:p>
        </p:txBody>
      </p:sp>
      <p:sp>
        <p:nvSpPr>
          <p:cNvPr id="1176" name="Oval 1175">
            <a:extLst>
              <a:ext uri="{FF2B5EF4-FFF2-40B4-BE49-F238E27FC236}">
                <a16:creationId xmlns:a16="http://schemas.microsoft.com/office/drawing/2014/main" id="{D9783C77-B48F-BD46-B5DE-C6643E45B4FB}"/>
              </a:ext>
            </a:extLst>
          </p:cNvPr>
          <p:cNvSpPr/>
          <p:nvPr>
            <p:custDataLst>
              <p:tags r:id="rId72"/>
            </p:custDataLst>
          </p:nvPr>
        </p:nvSpPr>
        <p:spPr bwMode="gray">
          <a:xfrm>
            <a:off x="6110288" y="2044700"/>
            <a:ext cx="165100" cy="165100"/>
          </a:xfrm>
          <a:prstGeom prst="ellipse">
            <a:avLst/>
          </a:prstGeom>
          <a:solidFill>
            <a:srgbClr val="364D6E"/>
          </a:solidFill>
          <a:ln w="6350">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rgbClr val="FFFFFF"/>
                </a:solidFill>
              </a:rPr>
              <a:t>6</a:t>
            </a:r>
          </a:p>
        </p:txBody>
      </p:sp>
      <p:sp>
        <p:nvSpPr>
          <p:cNvPr id="1177" name="Oval 1176">
            <a:extLst>
              <a:ext uri="{FF2B5EF4-FFF2-40B4-BE49-F238E27FC236}">
                <a16:creationId xmlns:a16="http://schemas.microsoft.com/office/drawing/2014/main" id="{C4F0C66F-43B0-6D74-D95E-AE6EC98056EF}"/>
              </a:ext>
            </a:extLst>
          </p:cNvPr>
          <p:cNvSpPr/>
          <p:nvPr>
            <p:custDataLst>
              <p:tags r:id="rId73"/>
            </p:custDataLst>
          </p:nvPr>
        </p:nvSpPr>
        <p:spPr bwMode="gray">
          <a:xfrm>
            <a:off x="6307138" y="2044700"/>
            <a:ext cx="165100" cy="165100"/>
          </a:xfrm>
          <a:prstGeom prst="ellipse">
            <a:avLst/>
          </a:prstGeom>
          <a:solidFill>
            <a:srgbClr val="9DB1CF"/>
          </a:solidFill>
          <a:ln w="63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2</a:t>
            </a:r>
          </a:p>
        </p:txBody>
      </p:sp>
      <p:sp>
        <p:nvSpPr>
          <p:cNvPr id="1178" name="Oval 1177">
            <a:extLst>
              <a:ext uri="{FF2B5EF4-FFF2-40B4-BE49-F238E27FC236}">
                <a16:creationId xmlns:a16="http://schemas.microsoft.com/office/drawing/2014/main" id="{9AC96A90-6C8C-C467-543F-0B3FFEBD08A4}"/>
              </a:ext>
            </a:extLst>
          </p:cNvPr>
          <p:cNvSpPr/>
          <p:nvPr>
            <p:custDataLst>
              <p:tags r:id="rId74"/>
            </p:custDataLst>
          </p:nvPr>
        </p:nvSpPr>
        <p:spPr bwMode="gray">
          <a:xfrm>
            <a:off x="6502400" y="2044700"/>
            <a:ext cx="165100" cy="165100"/>
          </a:xfrm>
          <a:prstGeom prst="ellipse">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4</a:t>
            </a:r>
          </a:p>
        </p:txBody>
      </p:sp>
      <p:sp>
        <p:nvSpPr>
          <p:cNvPr id="1183" name="Rectangle 1182">
            <a:extLst>
              <a:ext uri="{FF2B5EF4-FFF2-40B4-BE49-F238E27FC236}">
                <a16:creationId xmlns:a16="http://schemas.microsoft.com/office/drawing/2014/main" id="{FB19C891-D1B9-709F-61B5-42E41FC4404F}"/>
              </a:ext>
            </a:extLst>
          </p:cNvPr>
          <p:cNvSpPr/>
          <p:nvPr>
            <p:custDataLst>
              <p:tags r:id="rId75"/>
            </p:custDataLst>
          </p:nvPr>
        </p:nvSpPr>
        <p:spPr bwMode="gray">
          <a:xfrm>
            <a:off x="4594225" y="2624138"/>
            <a:ext cx="1036638" cy="525463"/>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84" name="TextBox 1183">
            <a:extLst>
              <a:ext uri="{FF2B5EF4-FFF2-40B4-BE49-F238E27FC236}">
                <a16:creationId xmlns:a16="http://schemas.microsoft.com/office/drawing/2014/main" id="{353AF69D-C2AA-032E-F979-55B85FFA21FA}"/>
              </a:ext>
            </a:extLst>
          </p:cNvPr>
          <p:cNvSpPr txBox="1"/>
          <p:nvPr>
            <p:custDataLst>
              <p:tags r:id="rId76"/>
            </p:custDataLst>
          </p:nvPr>
        </p:nvSpPr>
        <p:spPr bwMode="gray">
          <a:xfrm>
            <a:off x="4630738" y="2644775"/>
            <a:ext cx="503238" cy="184150"/>
          </a:xfrm>
          <a:prstGeom prst="rect">
            <a:avLst/>
          </a:prstGeom>
          <a:noFill/>
        </p:spPr>
        <p:txBody>
          <a:bodyPr wrap="square" lIns="0" tIns="0" rIns="0" bIns="0" rtlCol="0">
            <a:spAutoFit/>
          </a:bodyPr>
          <a:lstStyle/>
          <a:p>
            <a:pPr marL="0" indent="0">
              <a:buNone/>
            </a:pPr>
            <a:r>
              <a:rPr lang="en-US" sz="1200"/>
              <a:t>UKR</a:t>
            </a:r>
          </a:p>
        </p:txBody>
      </p:sp>
      <p:graphicFrame>
        <p:nvGraphicFramePr>
          <p:cNvPr id="1442" name="Chart 1441">
            <a:extLst>
              <a:ext uri="{FF2B5EF4-FFF2-40B4-BE49-F238E27FC236}">
                <a16:creationId xmlns:a16="http://schemas.microsoft.com/office/drawing/2014/main" id="{77622F5C-096A-BFDF-6BBC-03E819851F44}"/>
              </a:ext>
            </a:extLst>
          </p:cNvPr>
          <p:cNvGraphicFramePr/>
          <p:nvPr>
            <p:custDataLst>
              <p:tags r:id="rId77"/>
            </p:custDataLst>
            <p:extLst>
              <p:ext uri="{D42A27DB-BD31-4B8C-83A1-F6EECF244321}">
                <p14:modId xmlns:p14="http://schemas.microsoft.com/office/powerpoint/2010/main" val="709160241"/>
              </p:ext>
            </p:extLst>
          </p:nvPr>
        </p:nvGraphicFramePr>
        <p:xfrm>
          <a:off x="4562475" y="2724150"/>
          <a:ext cx="1101725" cy="481013"/>
        </p:xfrm>
        <a:graphic>
          <a:graphicData uri="http://schemas.openxmlformats.org/drawingml/2006/chart">
            <c:chart xmlns:c="http://schemas.openxmlformats.org/drawingml/2006/chart" xmlns:r="http://schemas.openxmlformats.org/officeDocument/2006/relationships" r:id="rId182"/>
          </a:graphicData>
        </a:graphic>
      </p:graphicFrame>
      <p:cxnSp>
        <p:nvCxnSpPr>
          <p:cNvPr id="1186" name="Straight Connector 1185">
            <a:extLst>
              <a:ext uri="{FF2B5EF4-FFF2-40B4-BE49-F238E27FC236}">
                <a16:creationId xmlns:a16="http://schemas.microsoft.com/office/drawing/2014/main" id="{B53E71E8-0DCD-FBBD-3221-7AE2D1AB76CB}"/>
              </a:ext>
            </a:extLst>
          </p:cNvPr>
          <p:cNvCxnSpPr/>
          <p:nvPr>
            <p:custDataLst>
              <p:tags r:id="rId78"/>
            </p:custDataLst>
          </p:nvPr>
        </p:nvCxnSpPr>
        <p:spPr bwMode="auto">
          <a:xfrm>
            <a:off x="4741863" y="2876550"/>
            <a:ext cx="0" cy="176213"/>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87" name="Straight Connector 1186">
            <a:extLst>
              <a:ext uri="{FF2B5EF4-FFF2-40B4-BE49-F238E27FC236}">
                <a16:creationId xmlns:a16="http://schemas.microsoft.com/office/drawing/2014/main" id="{2BDF454D-9E6A-3E2C-407B-DCE2B9009100}"/>
              </a:ext>
            </a:extLst>
          </p:cNvPr>
          <p:cNvCxnSpPr/>
          <p:nvPr>
            <p:custDataLst>
              <p:tags r:id="rId79"/>
            </p:custDataLst>
          </p:nvPr>
        </p:nvCxnSpPr>
        <p:spPr bwMode="auto">
          <a:xfrm>
            <a:off x="4719638" y="2876550"/>
            <a:ext cx="22225"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88" name="Straight Connector 1187">
            <a:extLst>
              <a:ext uri="{FF2B5EF4-FFF2-40B4-BE49-F238E27FC236}">
                <a16:creationId xmlns:a16="http://schemas.microsoft.com/office/drawing/2014/main" id="{DC42C70D-0BCE-66F4-3FDF-F529D523BDB6}"/>
              </a:ext>
            </a:extLst>
          </p:cNvPr>
          <p:cNvCxnSpPr/>
          <p:nvPr>
            <p:custDataLst>
              <p:tags r:id="rId80"/>
            </p:custDataLst>
          </p:nvPr>
        </p:nvCxnSpPr>
        <p:spPr bwMode="auto">
          <a:xfrm>
            <a:off x="4719638" y="3052763"/>
            <a:ext cx="22225"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89" name="Text Placeholder 10">
            <a:extLst>
              <a:ext uri="{FF2B5EF4-FFF2-40B4-BE49-F238E27FC236}">
                <a16:creationId xmlns:a16="http://schemas.microsoft.com/office/drawing/2014/main" id="{318028D1-8081-A04B-9292-5C75340D2954}"/>
              </a:ext>
            </a:extLst>
          </p:cNvPr>
          <p:cNvSpPr>
            <a:spLocks noGrp="1"/>
          </p:cNvSpPr>
          <p:nvPr>
            <p:custDataLst>
              <p:tags r:id="rId81"/>
            </p:custDataLst>
          </p:nvPr>
        </p:nvSpPr>
        <p:spPr bwMode="gray">
          <a:xfrm>
            <a:off x="4687888" y="2860675"/>
            <a:ext cx="85725" cy="122238"/>
          </a:xfrm>
          <a:prstGeom prst="rect">
            <a:avLst/>
          </a:prstGeom>
          <a:solidFill>
            <a:srgbClr val="FFFFFF"/>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5C74F00-48DE-4991-8BA2-EB38BF7CBCE2}" type="datetime'''''''''''''''''''''''''4'''''''''''''''''''''''''">
              <a:rPr lang="en-US" altLang="en-US" sz="800" smtClean="0">
                <a:effectLst/>
              </a:rPr>
              <a:pPr marL="0" lvl="0" indent="0" algn="ctr">
                <a:spcBef>
                  <a:spcPct val="0"/>
                </a:spcBef>
                <a:spcAft>
                  <a:spcPct val="0"/>
                </a:spcAft>
                <a:buNone/>
              </a:pPr>
              <a:t>4</a:t>
            </a:fld>
            <a:endParaRPr lang="en-US" sz="800"/>
          </a:p>
        </p:txBody>
      </p:sp>
      <p:sp>
        <p:nvSpPr>
          <p:cNvPr id="1190" name="Text Placeholder 10">
            <a:extLst>
              <a:ext uri="{FF2B5EF4-FFF2-40B4-BE49-F238E27FC236}">
                <a16:creationId xmlns:a16="http://schemas.microsoft.com/office/drawing/2014/main" id="{D7243391-FADD-734D-8E5A-31F4D5F7CD71}"/>
              </a:ext>
            </a:extLst>
          </p:cNvPr>
          <p:cNvSpPr>
            <a:spLocks noGrp="1"/>
          </p:cNvSpPr>
          <p:nvPr>
            <p:custDataLst>
              <p:tags r:id="rId82"/>
            </p:custDataLst>
          </p:nvPr>
        </p:nvSpPr>
        <p:spPr bwMode="gray">
          <a:xfrm>
            <a:off x="4676775" y="2947988"/>
            <a:ext cx="85725" cy="122238"/>
          </a:xfrm>
          <a:prstGeom prst="rect">
            <a:avLst/>
          </a:prstGeom>
          <a:solidFill>
            <a:srgbClr val="9DB1CF"/>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AEFA414-F9FC-420C-95E7-9786D049A4FB}" type="datetime'''''''0'''''''''''''''''''''''''''''''''''''''''''''''''">
              <a:rPr lang="en-US" altLang="en-US" sz="800" smtClean="0">
                <a:effectLst/>
              </a:rPr>
              <a:pPr marL="0" lvl="0" indent="0" algn="ctr">
                <a:spcBef>
                  <a:spcPct val="0"/>
                </a:spcBef>
                <a:spcAft>
                  <a:spcPct val="0"/>
                </a:spcAft>
                <a:buNone/>
              </a:pPr>
              <a:t>0</a:t>
            </a:fld>
            <a:endParaRPr lang="en-US" sz="800"/>
          </a:p>
        </p:txBody>
      </p:sp>
      <p:sp>
        <p:nvSpPr>
          <p:cNvPr id="1191" name="Text Placeholder 10">
            <a:extLst>
              <a:ext uri="{FF2B5EF4-FFF2-40B4-BE49-F238E27FC236}">
                <a16:creationId xmlns:a16="http://schemas.microsoft.com/office/drawing/2014/main" id="{9073F1F0-3B81-AD80-D7FA-11383EBB1074}"/>
              </a:ext>
            </a:extLst>
          </p:cNvPr>
          <p:cNvSpPr>
            <a:spLocks noGrp="1"/>
          </p:cNvSpPr>
          <p:nvPr>
            <p:custDataLst>
              <p:tags r:id="rId83"/>
            </p:custDataLst>
          </p:nvPr>
        </p:nvSpPr>
        <p:spPr bwMode="gray">
          <a:xfrm>
            <a:off x="4610100" y="2860675"/>
            <a:ext cx="142875" cy="122238"/>
          </a:xfrm>
          <a:prstGeom prst="rect">
            <a:avLst/>
          </a:prstGeom>
          <a:solidFill>
            <a:srgbClr val="364D6E"/>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6157C3-E29D-4C32-AAC2-9667D4FAD60D}" type="datetime'''''''''''''''''''''1''''''''''''''''''''4'">
              <a:rPr lang="en-US" altLang="en-US" sz="800" smtClean="0">
                <a:solidFill>
                  <a:schemeClr val="bg1"/>
                </a:solidFill>
                <a:effectLst/>
              </a:rPr>
              <a:pPr marL="0" lvl="0" indent="0" algn="ctr">
                <a:spcBef>
                  <a:spcPct val="0"/>
                </a:spcBef>
                <a:spcAft>
                  <a:spcPct val="0"/>
                </a:spcAft>
                <a:buNone/>
              </a:pPr>
              <a:t>14</a:t>
            </a:fld>
            <a:endParaRPr lang="en-US" sz="800">
              <a:solidFill>
                <a:schemeClr val="bg1"/>
              </a:solidFill>
            </a:endParaRPr>
          </a:p>
        </p:txBody>
      </p:sp>
      <p:sp>
        <p:nvSpPr>
          <p:cNvPr id="1192" name="Oval 1191">
            <a:extLst>
              <a:ext uri="{FF2B5EF4-FFF2-40B4-BE49-F238E27FC236}">
                <a16:creationId xmlns:a16="http://schemas.microsoft.com/office/drawing/2014/main" id="{0E73F20B-E6D9-B187-0FCF-4FC8D7CE37F1}"/>
              </a:ext>
            </a:extLst>
          </p:cNvPr>
          <p:cNvSpPr/>
          <p:nvPr>
            <p:custDataLst>
              <p:tags r:id="rId84"/>
            </p:custDataLst>
          </p:nvPr>
        </p:nvSpPr>
        <p:spPr bwMode="gray">
          <a:xfrm>
            <a:off x="5043488" y="2647950"/>
            <a:ext cx="165100" cy="165100"/>
          </a:xfrm>
          <a:prstGeom prst="ellipse">
            <a:avLst/>
          </a:prstGeom>
          <a:solidFill>
            <a:srgbClr val="364D6E"/>
          </a:solidFill>
          <a:ln w="6350">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rgbClr val="FFFFFF"/>
                </a:solidFill>
              </a:rPr>
              <a:t>4</a:t>
            </a:r>
          </a:p>
        </p:txBody>
      </p:sp>
      <p:sp>
        <p:nvSpPr>
          <p:cNvPr id="1193" name="Oval 1192">
            <a:extLst>
              <a:ext uri="{FF2B5EF4-FFF2-40B4-BE49-F238E27FC236}">
                <a16:creationId xmlns:a16="http://schemas.microsoft.com/office/drawing/2014/main" id="{1D373DAF-CD6D-BBFF-5F80-7903F887957A}"/>
              </a:ext>
            </a:extLst>
          </p:cNvPr>
          <p:cNvSpPr/>
          <p:nvPr>
            <p:custDataLst>
              <p:tags r:id="rId85"/>
            </p:custDataLst>
          </p:nvPr>
        </p:nvSpPr>
        <p:spPr bwMode="gray">
          <a:xfrm>
            <a:off x="5240338" y="2647950"/>
            <a:ext cx="165100" cy="165100"/>
          </a:xfrm>
          <a:prstGeom prst="ellipse">
            <a:avLst/>
          </a:prstGeom>
          <a:solidFill>
            <a:srgbClr val="9DB1CF"/>
          </a:solidFill>
          <a:ln w="63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0</a:t>
            </a:r>
          </a:p>
        </p:txBody>
      </p:sp>
      <p:sp>
        <p:nvSpPr>
          <p:cNvPr id="1194" name="Oval 1193">
            <a:extLst>
              <a:ext uri="{FF2B5EF4-FFF2-40B4-BE49-F238E27FC236}">
                <a16:creationId xmlns:a16="http://schemas.microsoft.com/office/drawing/2014/main" id="{5E491562-C2CB-07F1-E4DB-3257E4A933A4}"/>
              </a:ext>
            </a:extLst>
          </p:cNvPr>
          <p:cNvSpPr/>
          <p:nvPr>
            <p:custDataLst>
              <p:tags r:id="rId86"/>
            </p:custDataLst>
          </p:nvPr>
        </p:nvSpPr>
        <p:spPr bwMode="gray">
          <a:xfrm>
            <a:off x="5435600" y="2647950"/>
            <a:ext cx="165100" cy="165100"/>
          </a:xfrm>
          <a:prstGeom prst="ellipse">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0</a:t>
            </a:r>
          </a:p>
        </p:txBody>
      </p:sp>
      <p:sp>
        <p:nvSpPr>
          <p:cNvPr id="1199" name="Rectangle 1198">
            <a:extLst>
              <a:ext uri="{FF2B5EF4-FFF2-40B4-BE49-F238E27FC236}">
                <a16:creationId xmlns:a16="http://schemas.microsoft.com/office/drawing/2014/main" id="{9E9C98A7-F979-2427-4AF9-80E27822FE51}"/>
              </a:ext>
            </a:extLst>
          </p:cNvPr>
          <p:cNvSpPr/>
          <p:nvPr>
            <p:custDataLst>
              <p:tags r:id="rId87"/>
            </p:custDataLst>
          </p:nvPr>
        </p:nvSpPr>
        <p:spPr bwMode="gray">
          <a:xfrm>
            <a:off x="4389438" y="1966913"/>
            <a:ext cx="1119755" cy="552450"/>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00" name="TextBox 1199">
            <a:extLst>
              <a:ext uri="{FF2B5EF4-FFF2-40B4-BE49-F238E27FC236}">
                <a16:creationId xmlns:a16="http://schemas.microsoft.com/office/drawing/2014/main" id="{9168295E-ABFD-677B-40B5-3514709F862E}"/>
              </a:ext>
            </a:extLst>
          </p:cNvPr>
          <p:cNvSpPr txBox="1"/>
          <p:nvPr>
            <p:custDataLst>
              <p:tags r:id="rId88"/>
            </p:custDataLst>
          </p:nvPr>
        </p:nvSpPr>
        <p:spPr bwMode="gray">
          <a:xfrm>
            <a:off x="4434446" y="2016125"/>
            <a:ext cx="503238" cy="184150"/>
          </a:xfrm>
          <a:prstGeom prst="rect">
            <a:avLst/>
          </a:prstGeom>
          <a:noFill/>
        </p:spPr>
        <p:txBody>
          <a:bodyPr wrap="square" lIns="0" tIns="0" rIns="0" bIns="0" rtlCol="0">
            <a:spAutoFit/>
          </a:bodyPr>
          <a:lstStyle/>
          <a:p>
            <a:pPr marL="0" indent="0">
              <a:buNone/>
            </a:pPr>
            <a:r>
              <a:rPr lang="en-US" sz="1200"/>
              <a:t>EU</a:t>
            </a:r>
          </a:p>
        </p:txBody>
      </p:sp>
      <p:graphicFrame>
        <p:nvGraphicFramePr>
          <p:cNvPr id="1443" name="Chart 1442">
            <a:extLst>
              <a:ext uri="{FF2B5EF4-FFF2-40B4-BE49-F238E27FC236}">
                <a16:creationId xmlns:a16="http://schemas.microsoft.com/office/drawing/2014/main" id="{D80BCD44-7F40-9A82-93DC-E2B87C97EDBF}"/>
              </a:ext>
            </a:extLst>
          </p:cNvPr>
          <p:cNvGraphicFramePr/>
          <p:nvPr>
            <p:custDataLst>
              <p:tags r:id="rId89"/>
            </p:custDataLst>
            <p:extLst>
              <p:ext uri="{D42A27DB-BD31-4B8C-83A1-F6EECF244321}">
                <p14:modId xmlns:p14="http://schemas.microsoft.com/office/powerpoint/2010/main" val="1779796073"/>
              </p:ext>
            </p:extLst>
          </p:nvPr>
        </p:nvGraphicFramePr>
        <p:xfrm>
          <a:off x="4357688" y="2093913"/>
          <a:ext cx="1101725" cy="481012"/>
        </p:xfrm>
        <a:graphic>
          <a:graphicData uri="http://schemas.openxmlformats.org/drawingml/2006/chart">
            <c:chart xmlns:c="http://schemas.openxmlformats.org/drawingml/2006/chart" xmlns:r="http://schemas.openxmlformats.org/officeDocument/2006/relationships" r:id="rId183"/>
          </a:graphicData>
        </a:graphic>
      </p:graphicFrame>
      <p:cxnSp>
        <p:nvCxnSpPr>
          <p:cNvPr id="1202" name="Straight Connector 1201">
            <a:extLst>
              <a:ext uri="{FF2B5EF4-FFF2-40B4-BE49-F238E27FC236}">
                <a16:creationId xmlns:a16="http://schemas.microsoft.com/office/drawing/2014/main" id="{D91315A5-089A-D17C-0986-4727A35AA640}"/>
              </a:ext>
            </a:extLst>
          </p:cNvPr>
          <p:cNvCxnSpPr/>
          <p:nvPr>
            <p:custDataLst>
              <p:tags r:id="rId90"/>
            </p:custDataLst>
          </p:nvPr>
        </p:nvCxnSpPr>
        <p:spPr bwMode="auto">
          <a:xfrm>
            <a:off x="5376863" y="2246313"/>
            <a:ext cx="0" cy="176213"/>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03" name="Straight Connector 1202">
            <a:extLst>
              <a:ext uri="{FF2B5EF4-FFF2-40B4-BE49-F238E27FC236}">
                <a16:creationId xmlns:a16="http://schemas.microsoft.com/office/drawing/2014/main" id="{87248A45-DDE9-1EE5-2064-CDF2A89247DE}"/>
              </a:ext>
            </a:extLst>
          </p:cNvPr>
          <p:cNvCxnSpPr/>
          <p:nvPr>
            <p:custDataLst>
              <p:tags r:id="rId91"/>
            </p:custDataLst>
          </p:nvPr>
        </p:nvCxnSpPr>
        <p:spPr bwMode="auto">
          <a:xfrm>
            <a:off x="4994275" y="2246313"/>
            <a:ext cx="382588"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04" name="Straight Connector 1203">
            <a:extLst>
              <a:ext uri="{FF2B5EF4-FFF2-40B4-BE49-F238E27FC236}">
                <a16:creationId xmlns:a16="http://schemas.microsoft.com/office/drawing/2014/main" id="{0C7D0412-8187-A772-98DE-A612EB3D70F1}"/>
              </a:ext>
            </a:extLst>
          </p:cNvPr>
          <p:cNvCxnSpPr/>
          <p:nvPr>
            <p:custDataLst>
              <p:tags r:id="rId92"/>
            </p:custDataLst>
          </p:nvPr>
        </p:nvCxnSpPr>
        <p:spPr bwMode="auto">
          <a:xfrm>
            <a:off x="4994275" y="2422525"/>
            <a:ext cx="382588"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06" name="Text Placeholder 10">
            <a:extLst>
              <a:ext uri="{FF2B5EF4-FFF2-40B4-BE49-F238E27FC236}">
                <a16:creationId xmlns:a16="http://schemas.microsoft.com/office/drawing/2014/main" id="{D2F0EB0D-ED1D-FF9E-150D-353CF5BD4319}"/>
              </a:ext>
            </a:extLst>
          </p:cNvPr>
          <p:cNvSpPr>
            <a:spLocks noGrp="1"/>
          </p:cNvSpPr>
          <p:nvPr>
            <p:custDataLst>
              <p:tags r:id="rId93"/>
            </p:custDataLst>
          </p:nvPr>
        </p:nvSpPr>
        <p:spPr bwMode="gray">
          <a:xfrm>
            <a:off x="5113338" y="2273300"/>
            <a:ext cx="142875"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8B3584C-9F26-4340-B974-77FE659DAA59}" type="datetime'''''''''71'''''''''''''''''''''''''''''''''''''''''''''''''''">
              <a:rPr lang="en-US" altLang="en-US" sz="800" smtClean="0"/>
              <a:pPr marL="0" lvl="0" indent="0" algn="ctr">
                <a:spcBef>
                  <a:spcPct val="0"/>
                </a:spcBef>
                <a:spcAft>
                  <a:spcPct val="0"/>
                </a:spcAft>
                <a:buNone/>
              </a:pPr>
              <a:t>71</a:t>
            </a:fld>
            <a:endParaRPr lang="en-US" sz="800"/>
          </a:p>
        </p:txBody>
      </p:sp>
      <p:sp>
        <p:nvSpPr>
          <p:cNvPr id="1208" name="Text Placeholder 10">
            <a:extLst>
              <a:ext uri="{FF2B5EF4-FFF2-40B4-BE49-F238E27FC236}">
                <a16:creationId xmlns:a16="http://schemas.microsoft.com/office/drawing/2014/main" id="{B1BD22C7-718C-A3EA-CAB7-21E0583039CB}"/>
              </a:ext>
            </a:extLst>
          </p:cNvPr>
          <p:cNvSpPr>
            <a:spLocks noGrp="1"/>
          </p:cNvSpPr>
          <p:nvPr>
            <p:custDataLst>
              <p:tags r:id="rId94"/>
            </p:custDataLst>
          </p:nvPr>
        </p:nvSpPr>
        <p:spPr bwMode="gray">
          <a:xfrm>
            <a:off x="4945063" y="2273300"/>
            <a:ext cx="85725" cy="122238"/>
          </a:xfrm>
          <a:prstGeom prst="rect">
            <a:avLst/>
          </a:prstGeom>
          <a:solidFill>
            <a:srgbClr val="9DB1CF"/>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376345-E8A0-430B-86A7-873D1FC3ACBA}" type="datetime'''''''2'''''''''''''''''''''''''''''''''''''">
              <a:rPr lang="en-US" altLang="en-US" sz="800" smtClean="0">
                <a:effectLst/>
              </a:rPr>
              <a:pPr marL="0" lvl="0" indent="0" algn="ctr">
                <a:spcBef>
                  <a:spcPct val="0"/>
                </a:spcBef>
                <a:spcAft>
                  <a:spcPct val="0"/>
                </a:spcAft>
                <a:buNone/>
              </a:pPr>
              <a:t>2</a:t>
            </a:fld>
            <a:endParaRPr lang="en-US" sz="800"/>
          </a:p>
        </p:txBody>
      </p:sp>
      <p:sp>
        <p:nvSpPr>
          <p:cNvPr id="1207" name="Text Placeholder 10">
            <a:extLst>
              <a:ext uri="{FF2B5EF4-FFF2-40B4-BE49-F238E27FC236}">
                <a16:creationId xmlns:a16="http://schemas.microsoft.com/office/drawing/2014/main" id="{056E910F-BE09-AD0A-2F48-41963D850898}"/>
              </a:ext>
            </a:extLst>
          </p:cNvPr>
          <p:cNvSpPr>
            <a:spLocks noGrp="1"/>
          </p:cNvSpPr>
          <p:nvPr>
            <p:custDataLst>
              <p:tags r:id="rId95"/>
            </p:custDataLst>
          </p:nvPr>
        </p:nvSpPr>
        <p:spPr bwMode="gray">
          <a:xfrm>
            <a:off x="4611688" y="2273300"/>
            <a:ext cx="200025" cy="122238"/>
          </a:xfrm>
          <a:prstGeom prst="rect">
            <a:avLst/>
          </a:prstGeom>
          <a:noFill/>
          <a:ln>
            <a:noFill/>
          </a:ln>
          <a:effectLst/>
          <a:extLst>
            <a:ext uri="{909E8E84-426E-40DD-AFC4-6F175D3DCCD1}">
              <a14:hiddenFill xmlns:a14="http://schemas.microsoft.com/office/drawing/2010/main">
                <a:solidFill>
                  <a:srgbClr val="364D6E"/>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92E5952-D32C-433E-9C41-A470F4BCAA1A}" type="datetime'''''''''''''''''''1''''''''''''''0''''1'''">
              <a:rPr lang="en-US" altLang="en-US" sz="800" smtClean="0">
                <a:solidFill>
                  <a:schemeClr val="bg1"/>
                </a:solidFill>
              </a:rPr>
              <a:pPr marL="0" lvl="0" indent="0" algn="ctr">
                <a:spcBef>
                  <a:spcPct val="0"/>
                </a:spcBef>
                <a:spcAft>
                  <a:spcPct val="0"/>
                </a:spcAft>
                <a:buNone/>
              </a:pPr>
              <a:t>101</a:t>
            </a:fld>
            <a:endParaRPr lang="en-US" sz="800">
              <a:solidFill>
                <a:schemeClr val="bg1"/>
              </a:solidFill>
            </a:endParaRPr>
          </a:p>
        </p:txBody>
      </p:sp>
      <p:sp>
        <p:nvSpPr>
          <p:cNvPr id="1209" name="Oval 1208">
            <a:extLst>
              <a:ext uri="{FF2B5EF4-FFF2-40B4-BE49-F238E27FC236}">
                <a16:creationId xmlns:a16="http://schemas.microsoft.com/office/drawing/2014/main" id="{E14C49DB-1F6E-03C3-9C14-0FD55CD630E0}"/>
              </a:ext>
            </a:extLst>
          </p:cNvPr>
          <p:cNvSpPr/>
          <p:nvPr>
            <p:custDataLst>
              <p:tags r:id="rId96"/>
            </p:custDataLst>
          </p:nvPr>
        </p:nvSpPr>
        <p:spPr bwMode="gray">
          <a:xfrm>
            <a:off x="4834498" y="2017713"/>
            <a:ext cx="165100" cy="165100"/>
          </a:xfrm>
          <a:prstGeom prst="ellipse">
            <a:avLst/>
          </a:prstGeom>
          <a:solidFill>
            <a:srgbClr val="364D6E"/>
          </a:solidFill>
          <a:ln w="6350">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rgbClr val="FFFFFF"/>
                </a:solidFill>
              </a:rPr>
              <a:t>30</a:t>
            </a:r>
          </a:p>
        </p:txBody>
      </p:sp>
      <p:sp>
        <p:nvSpPr>
          <p:cNvPr id="1210" name="Oval 1209">
            <a:extLst>
              <a:ext uri="{FF2B5EF4-FFF2-40B4-BE49-F238E27FC236}">
                <a16:creationId xmlns:a16="http://schemas.microsoft.com/office/drawing/2014/main" id="{429A7C60-1D4C-7246-BABA-6B57E33033C2}"/>
              </a:ext>
            </a:extLst>
          </p:cNvPr>
          <p:cNvSpPr/>
          <p:nvPr>
            <p:custDataLst>
              <p:tags r:id="rId97"/>
            </p:custDataLst>
          </p:nvPr>
        </p:nvSpPr>
        <p:spPr bwMode="gray">
          <a:xfrm>
            <a:off x="5031348" y="2017713"/>
            <a:ext cx="165100" cy="165100"/>
          </a:xfrm>
          <a:prstGeom prst="ellipse">
            <a:avLst/>
          </a:prstGeom>
          <a:solidFill>
            <a:srgbClr val="9DB1CF"/>
          </a:solidFill>
          <a:ln w="63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0</a:t>
            </a:r>
          </a:p>
        </p:txBody>
      </p:sp>
      <p:sp>
        <p:nvSpPr>
          <p:cNvPr id="1211" name="Oval 1210">
            <a:extLst>
              <a:ext uri="{FF2B5EF4-FFF2-40B4-BE49-F238E27FC236}">
                <a16:creationId xmlns:a16="http://schemas.microsoft.com/office/drawing/2014/main" id="{3E75ACD7-39E1-D38E-D0AA-1B3E4E2C8874}"/>
              </a:ext>
            </a:extLst>
          </p:cNvPr>
          <p:cNvSpPr/>
          <p:nvPr>
            <p:custDataLst>
              <p:tags r:id="rId98"/>
            </p:custDataLst>
          </p:nvPr>
        </p:nvSpPr>
        <p:spPr bwMode="gray">
          <a:xfrm>
            <a:off x="5226610" y="2017713"/>
            <a:ext cx="165100" cy="165100"/>
          </a:xfrm>
          <a:prstGeom prst="ellipse">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11</a:t>
            </a:r>
          </a:p>
        </p:txBody>
      </p:sp>
      <p:sp>
        <p:nvSpPr>
          <p:cNvPr id="1225" name="Rectangle 1224">
            <a:extLst>
              <a:ext uri="{FF2B5EF4-FFF2-40B4-BE49-F238E27FC236}">
                <a16:creationId xmlns:a16="http://schemas.microsoft.com/office/drawing/2014/main" id="{10764065-F975-849D-9FDC-5036D326F129}"/>
              </a:ext>
            </a:extLst>
          </p:cNvPr>
          <p:cNvSpPr/>
          <p:nvPr>
            <p:custDataLst>
              <p:tags r:id="rId99"/>
            </p:custDataLst>
          </p:nvPr>
        </p:nvSpPr>
        <p:spPr bwMode="gray">
          <a:xfrm>
            <a:off x="7346950" y="2300288"/>
            <a:ext cx="1036638" cy="525463"/>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26" name="TextBox 1225">
            <a:extLst>
              <a:ext uri="{FF2B5EF4-FFF2-40B4-BE49-F238E27FC236}">
                <a16:creationId xmlns:a16="http://schemas.microsoft.com/office/drawing/2014/main" id="{3B2125AD-3AFE-F443-CCC1-E8F913D72522}"/>
              </a:ext>
            </a:extLst>
          </p:cNvPr>
          <p:cNvSpPr txBox="1"/>
          <p:nvPr>
            <p:custDataLst>
              <p:tags r:id="rId100"/>
            </p:custDataLst>
          </p:nvPr>
        </p:nvSpPr>
        <p:spPr bwMode="gray">
          <a:xfrm>
            <a:off x="7383463" y="2320925"/>
            <a:ext cx="503238" cy="184150"/>
          </a:xfrm>
          <a:prstGeom prst="rect">
            <a:avLst/>
          </a:prstGeom>
          <a:noFill/>
        </p:spPr>
        <p:txBody>
          <a:bodyPr wrap="square" lIns="0" tIns="0" rIns="0" bIns="0" rtlCol="0">
            <a:spAutoFit/>
          </a:bodyPr>
          <a:lstStyle/>
          <a:p>
            <a:pPr marL="0" indent="0">
              <a:buNone/>
            </a:pPr>
            <a:r>
              <a:rPr lang="en-US" sz="1200"/>
              <a:t>ROK</a:t>
            </a:r>
          </a:p>
        </p:txBody>
      </p:sp>
      <p:graphicFrame>
        <p:nvGraphicFramePr>
          <p:cNvPr id="1444" name="Chart 1443">
            <a:extLst>
              <a:ext uri="{FF2B5EF4-FFF2-40B4-BE49-F238E27FC236}">
                <a16:creationId xmlns:a16="http://schemas.microsoft.com/office/drawing/2014/main" id="{D7505DE3-CD14-E7D2-F6FB-F7056DED4D9C}"/>
              </a:ext>
            </a:extLst>
          </p:cNvPr>
          <p:cNvGraphicFramePr/>
          <p:nvPr>
            <p:custDataLst>
              <p:tags r:id="rId101"/>
            </p:custDataLst>
            <p:extLst>
              <p:ext uri="{D42A27DB-BD31-4B8C-83A1-F6EECF244321}">
                <p14:modId xmlns:p14="http://schemas.microsoft.com/office/powerpoint/2010/main" val="1022728709"/>
              </p:ext>
            </p:extLst>
          </p:nvPr>
        </p:nvGraphicFramePr>
        <p:xfrm>
          <a:off x="7315200" y="2400300"/>
          <a:ext cx="1101725" cy="481013"/>
        </p:xfrm>
        <a:graphic>
          <a:graphicData uri="http://schemas.openxmlformats.org/drawingml/2006/chart">
            <c:chart xmlns:c="http://schemas.openxmlformats.org/drawingml/2006/chart" xmlns:r="http://schemas.openxmlformats.org/officeDocument/2006/relationships" r:id="rId184"/>
          </a:graphicData>
        </a:graphic>
      </p:graphicFrame>
      <p:cxnSp>
        <p:nvCxnSpPr>
          <p:cNvPr id="1228" name="Straight Connector 1227">
            <a:extLst>
              <a:ext uri="{FF2B5EF4-FFF2-40B4-BE49-F238E27FC236}">
                <a16:creationId xmlns:a16="http://schemas.microsoft.com/office/drawing/2014/main" id="{AE3CF526-9AF2-10DE-72E7-9EDB8BD5CB8E}"/>
              </a:ext>
            </a:extLst>
          </p:cNvPr>
          <p:cNvCxnSpPr/>
          <p:nvPr>
            <p:custDataLst>
              <p:tags r:id="rId102"/>
            </p:custDataLst>
          </p:nvPr>
        </p:nvCxnSpPr>
        <p:spPr bwMode="auto">
          <a:xfrm>
            <a:off x="7569200" y="2552700"/>
            <a:ext cx="0" cy="176213"/>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29" name="Straight Connector 1228">
            <a:extLst>
              <a:ext uri="{FF2B5EF4-FFF2-40B4-BE49-F238E27FC236}">
                <a16:creationId xmlns:a16="http://schemas.microsoft.com/office/drawing/2014/main" id="{E9BC57B0-A843-7C5A-A3BF-96F2C3FE37FB}"/>
              </a:ext>
            </a:extLst>
          </p:cNvPr>
          <p:cNvCxnSpPr/>
          <p:nvPr>
            <p:custDataLst>
              <p:tags r:id="rId103"/>
            </p:custDataLst>
          </p:nvPr>
        </p:nvCxnSpPr>
        <p:spPr bwMode="auto">
          <a:xfrm>
            <a:off x="7558088" y="2552700"/>
            <a:ext cx="11113"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30" name="Straight Connector 1229">
            <a:extLst>
              <a:ext uri="{FF2B5EF4-FFF2-40B4-BE49-F238E27FC236}">
                <a16:creationId xmlns:a16="http://schemas.microsoft.com/office/drawing/2014/main" id="{E8F3ED41-E1E9-B57B-2B05-E100E6AE2DB2}"/>
              </a:ext>
            </a:extLst>
          </p:cNvPr>
          <p:cNvCxnSpPr/>
          <p:nvPr>
            <p:custDataLst>
              <p:tags r:id="rId104"/>
            </p:custDataLst>
          </p:nvPr>
        </p:nvCxnSpPr>
        <p:spPr bwMode="auto">
          <a:xfrm>
            <a:off x="7558088" y="2728913"/>
            <a:ext cx="11113"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5" name="Straight Connector 1254">
            <a:extLst>
              <a:ext uri="{FF2B5EF4-FFF2-40B4-BE49-F238E27FC236}">
                <a16:creationId xmlns:a16="http://schemas.microsoft.com/office/drawing/2014/main" id="{0BEF3AA2-EB62-7E56-B2A1-1EED7FFD2F7E}"/>
              </a:ext>
            </a:extLst>
          </p:cNvPr>
          <p:cNvCxnSpPr/>
          <p:nvPr>
            <p:custDataLst>
              <p:tags r:id="rId105"/>
            </p:custDataLst>
          </p:nvPr>
        </p:nvCxnSpPr>
        <p:spPr bwMode="auto">
          <a:xfrm flipH="1">
            <a:off x="7564438" y="2640013"/>
            <a:ext cx="476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31" name="Text Placeholder 10">
            <a:extLst>
              <a:ext uri="{FF2B5EF4-FFF2-40B4-BE49-F238E27FC236}">
                <a16:creationId xmlns:a16="http://schemas.microsoft.com/office/drawing/2014/main" id="{0BCC7352-2069-BDE0-A9A4-2BB8F293B8C2}"/>
              </a:ext>
            </a:extLst>
          </p:cNvPr>
          <p:cNvSpPr>
            <a:spLocks noGrp="1"/>
          </p:cNvSpPr>
          <p:nvPr>
            <p:custDataLst>
              <p:tags r:id="rId106"/>
            </p:custDataLst>
          </p:nvPr>
        </p:nvSpPr>
        <p:spPr bwMode="gray">
          <a:xfrm>
            <a:off x="7612063" y="2579688"/>
            <a:ext cx="85725"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C7526EC-20B2-4B71-BBDE-0104906918B7}" type="datetime'''''''''''''''''''''''''2'''''''''''''''''''''''">
              <a:rPr lang="en-US" altLang="en-US" sz="800" smtClean="0"/>
              <a:pPr marL="0" lvl="0" indent="0">
                <a:spcBef>
                  <a:spcPct val="0"/>
                </a:spcBef>
                <a:spcAft>
                  <a:spcPct val="0"/>
                </a:spcAft>
                <a:buNone/>
              </a:pPr>
              <a:t>2</a:t>
            </a:fld>
            <a:endParaRPr lang="en-US" sz="800"/>
          </a:p>
        </p:txBody>
      </p:sp>
      <p:sp>
        <p:nvSpPr>
          <p:cNvPr id="1232" name="Text Placeholder 10">
            <a:extLst>
              <a:ext uri="{FF2B5EF4-FFF2-40B4-BE49-F238E27FC236}">
                <a16:creationId xmlns:a16="http://schemas.microsoft.com/office/drawing/2014/main" id="{F758B3B3-6784-863B-EF70-2BBED3D78652}"/>
              </a:ext>
            </a:extLst>
          </p:cNvPr>
          <p:cNvSpPr>
            <a:spLocks noGrp="1"/>
          </p:cNvSpPr>
          <p:nvPr>
            <p:custDataLst>
              <p:tags r:id="rId107"/>
            </p:custDataLst>
          </p:nvPr>
        </p:nvSpPr>
        <p:spPr bwMode="gray">
          <a:xfrm>
            <a:off x="7507288" y="2536825"/>
            <a:ext cx="85725" cy="122238"/>
          </a:xfrm>
          <a:prstGeom prst="rect">
            <a:avLst/>
          </a:prstGeom>
          <a:solidFill>
            <a:srgbClr val="9DB1CF"/>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FC6525-CAA8-4534-9D3E-096535D77C55}" type="datetime'''''''''''''''''''''''''''''''''''''''3'''''''">
              <a:rPr lang="en-US" altLang="en-US" sz="800" smtClean="0">
                <a:effectLst/>
              </a:rPr>
              <a:pPr marL="0" lvl="0" indent="0" algn="ctr">
                <a:spcBef>
                  <a:spcPct val="0"/>
                </a:spcBef>
                <a:spcAft>
                  <a:spcPct val="0"/>
                </a:spcAft>
                <a:buNone/>
              </a:pPr>
              <a:t>3</a:t>
            </a:fld>
            <a:endParaRPr lang="en-US" sz="800"/>
          </a:p>
        </p:txBody>
      </p:sp>
      <p:sp>
        <p:nvSpPr>
          <p:cNvPr id="1233" name="Text Placeholder 10">
            <a:extLst>
              <a:ext uri="{FF2B5EF4-FFF2-40B4-BE49-F238E27FC236}">
                <a16:creationId xmlns:a16="http://schemas.microsoft.com/office/drawing/2014/main" id="{0AAB14E9-7485-0FF2-9E1E-84613EE5D8BB}"/>
              </a:ext>
            </a:extLst>
          </p:cNvPr>
          <p:cNvSpPr>
            <a:spLocks noGrp="1"/>
          </p:cNvSpPr>
          <p:nvPr>
            <p:custDataLst>
              <p:tags r:id="rId108"/>
            </p:custDataLst>
          </p:nvPr>
        </p:nvSpPr>
        <p:spPr bwMode="gray">
          <a:xfrm>
            <a:off x="7399338" y="2624138"/>
            <a:ext cx="142875" cy="122238"/>
          </a:xfrm>
          <a:prstGeom prst="rect">
            <a:avLst/>
          </a:prstGeom>
          <a:solidFill>
            <a:srgbClr val="364D6E"/>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2795547-3ECC-46FD-8632-1B93DB181FA3}" type="datetime'''''''''''''''''''''''''''''''''''2''''''7'''''">
              <a:rPr lang="en-US" altLang="en-US" sz="800" smtClean="0">
                <a:solidFill>
                  <a:schemeClr val="bg1"/>
                </a:solidFill>
                <a:effectLst/>
              </a:rPr>
              <a:pPr marL="0" lvl="0" indent="0" algn="ctr">
                <a:spcBef>
                  <a:spcPct val="0"/>
                </a:spcBef>
                <a:spcAft>
                  <a:spcPct val="0"/>
                </a:spcAft>
                <a:buNone/>
              </a:pPr>
              <a:t>27</a:t>
            </a:fld>
            <a:endParaRPr lang="en-US" sz="800">
              <a:solidFill>
                <a:schemeClr val="bg1"/>
              </a:solidFill>
            </a:endParaRPr>
          </a:p>
        </p:txBody>
      </p:sp>
      <p:sp>
        <p:nvSpPr>
          <p:cNvPr id="1234" name="Oval 1233">
            <a:extLst>
              <a:ext uri="{FF2B5EF4-FFF2-40B4-BE49-F238E27FC236}">
                <a16:creationId xmlns:a16="http://schemas.microsoft.com/office/drawing/2014/main" id="{DE9F2536-C9F1-9915-798C-502795B8DA94}"/>
              </a:ext>
            </a:extLst>
          </p:cNvPr>
          <p:cNvSpPr/>
          <p:nvPr>
            <p:custDataLst>
              <p:tags r:id="rId109"/>
            </p:custDataLst>
          </p:nvPr>
        </p:nvSpPr>
        <p:spPr bwMode="gray">
          <a:xfrm>
            <a:off x="7796213" y="2324100"/>
            <a:ext cx="165100" cy="165100"/>
          </a:xfrm>
          <a:prstGeom prst="ellipse">
            <a:avLst/>
          </a:prstGeom>
          <a:solidFill>
            <a:srgbClr val="364D6E"/>
          </a:solidFill>
          <a:ln w="6350">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rgbClr val="FFFFFF"/>
                </a:solidFill>
              </a:rPr>
              <a:t>6</a:t>
            </a:r>
          </a:p>
        </p:txBody>
      </p:sp>
      <p:sp>
        <p:nvSpPr>
          <p:cNvPr id="1235" name="Oval 1234">
            <a:extLst>
              <a:ext uri="{FF2B5EF4-FFF2-40B4-BE49-F238E27FC236}">
                <a16:creationId xmlns:a16="http://schemas.microsoft.com/office/drawing/2014/main" id="{8F065D1F-9905-14F0-0734-D539CC060BD0}"/>
              </a:ext>
            </a:extLst>
          </p:cNvPr>
          <p:cNvSpPr/>
          <p:nvPr>
            <p:custDataLst>
              <p:tags r:id="rId110"/>
            </p:custDataLst>
          </p:nvPr>
        </p:nvSpPr>
        <p:spPr bwMode="gray">
          <a:xfrm>
            <a:off x="7993063" y="2324100"/>
            <a:ext cx="165100" cy="165100"/>
          </a:xfrm>
          <a:prstGeom prst="ellipse">
            <a:avLst/>
          </a:prstGeom>
          <a:solidFill>
            <a:srgbClr val="9DB1CF"/>
          </a:solidFill>
          <a:ln w="63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0</a:t>
            </a:r>
          </a:p>
        </p:txBody>
      </p:sp>
      <p:sp>
        <p:nvSpPr>
          <p:cNvPr id="1236" name="Oval 1235">
            <a:extLst>
              <a:ext uri="{FF2B5EF4-FFF2-40B4-BE49-F238E27FC236}">
                <a16:creationId xmlns:a16="http://schemas.microsoft.com/office/drawing/2014/main" id="{37C97BEA-60B0-8BE4-24CC-DFEB0333301E}"/>
              </a:ext>
            </a:extLst>
          </p:cNvPr>
          <p:cNvSpPr/>
          <p:nvPr>
            <p:custDataLst>
              <p:tags r:id="rId111"/>
            </p:custDataLst>
          </p:nvPr>
        </p:nvSpPr>
        <p:spPr bwMode="gray">
          <a:xfrm>
            <a:off x="8188325" y="2324100"/>
            <a:ext cx="165100" cy="165100"/>
          </a:xfrm>
          <a:prstGeom prst="ellipse">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0</a:t>
            </a:r>
          </a:p>
        </p:txBody>
      </p:sp>
      <p:sp>
        <p:nvSpPr>
          <p:cNvPr id="1239" name="Rectangle 1238">
            <a:extLst>
              <a:ext uri="{FF2B5EF4-FFF2-40B4-BE49-F238E27FC236}">
                <a16:creationId xmlns:a16="http://schemas.microsoft.com/office/drawing/2014/main" id="{E28F6731-B30C-33A6-0042-095899077DD1}"/>
              </a:ext>
            </a:extLst>
          </p:cNvPr>
          <p:cNvSpPr/>
          <p:nvPr>
            <p:custDataLst>
              <p:tags r:id="rId112"/>
            </p:custDataLst>
          </p:nvPr>
        </p:nvSpPr>
        <p:spPr bwMode="gray">
          <a:xfrm>
            <a:off x="7581900" y="3109913"/>
            <a:ext cx="1036638" cy="525463"/>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40" name="TextBox 1239">
            <a:extLst>
              <a:ext uri="{FF2B5EF4-FFF2-40B4-BE49-F238E27FC236}">
                <a16:creationId xmlns:a16="http://schemas.microsoft.com/office/drawing/2014/main" id="{2120A58B-EECA-57D7-8E53-AB4D5B02355C}"/>
              </a:ext>
            </a:extLst>
          </p:cNvPr>
          <p:cNvSpPr txBox="1"/>
          <p:nvPr>
            <p:custDataLst>
              <p:tags r:id="rId113"/>
            </p:custDataLst>
          </p:nvPr>
        </p:nvSpPr>
        <p:spPr bwMode="gray">
          <a:xfrm>
            <a:off x="7618413" y="3130550"/>
            <a:ext cx="503238" cy="184150"/>
          </a:xfrm>
          <a:prstGeom prst="rect">
            <a:avLst/>
          </a:prstGeom>
          <a:noFill/>
        </p:spPr>
        <p:txBody>
          <a:bodyPr wrap="square" lIns="0" tIns="0" rIns="0" bIns="0" rtlCol="0">
            <a:spAutoFit/>
          </a:bodyPr>
          <a:lstStyle/>
          <a:p>
            <a:pPr marL="0" indent="0">
              <a:buNone/>
            </a:pPr>
            <a:r>
              <a:rPr lang="en-US" sz="1200"/>
              <a:t>JAP</a:t>
            </a:r>
          </a:p>
        </p:txBody>
      </p:sp>
      <p:graphicFrame>
        <p:nvGraphicFramePr>
          <p:cNvPr id="1445" name="Chart 1444">
            <a:extLst>
              <a:ext uri="{FF2B5EF4-FFF2-40B4-BE49-F238E27FC236}">
                <a16:creationId xmlns:a16="http://schemas.microsoft.com/office/drawing/2014/main" id="{7AAE4AF8-A84E-E055-BF6A-5B34E8299536}"/>
              </a:ext>
            </a:extLst>
          </p:cNvPr>
          <p:cNvGraphicFramePr/>
          <p:nvPr>
            <p:custDataLst>
              <p:tags r:id="rId114"/>
            </p:custDataLst>
            <p:extLst>
              <p:ext uri="{D42A27DB-BD31-4B8C-83A1-F6EECF244321}">
                <p14:modId xmlns:p14="http://schemas.microsoft.com/office/powerpoint/2010/main" val="3765867719"/>
              </p:ext>
            </p:extLst>
          </p:nvPr>
        </p:nvGraphicFramePr>
        <p:xfrm>
          <a:off x="7550150" y="3209925"/>
          <a:ext cx="1101725" cy="481013"/>
        </p:xfrm>
        <a:graphic>
          <a:graphicData uri="http://schemas.openxmlformats.org/drawingml/2006/chart">
            <c:chart xmlns:c="http://schemas.openxmlformats.org/drawingml/2006/chart" xmlns:r="http://schemas.openxmlformats.org/officeDocument/2006/relationships" r:id="rId185"/>
          </a:graphicData>
        </a:graphic>
      </p:graphicFrame>
      <p:sp>
        <p:nvSpPr>
          <p:cNvPr id="1245" name="Text Placeholder 10">
            <a:extLst>
              <a:ext uri="{FF2B5EF4-FFF2-40B4-BE49-F238E27FC236}">
                <a16:creationId xmlns:a16="http://schemas.microsoft.com/office/drawing/2014/main" id="{E3EB69DE-3864-20A0-8FA0-18DAB5E98D2A}"/>
              </a:ext>
            </a:extLst>
          </p:cNvPr>
          <p:cNvSpPr>
            <a:spLocks noGrp="1"/>
          </p:cNvSpPr>
          <p:nvPr>
            <p:custDataLst>
              <p:tags r:id="rId115"/>
            </p:custDataLst>
          </p:nvPr>
        </p:nvSpPr>
        <p:spPr bwMode="gray">
          <a:xfrm>
            <a:off x="7667625" y="3346450"/>
            <a:ext cx="85725" cy="122238"/>
          </a:xfrm>
          <a:prstGeom prst="rect">
            <a:avLst/>
          </a:prstGeom>
          <a:solidFill>
            <a:srgbClr val="FFFFFF"/>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C9CBAE-41D6-4415-9EC9-6F6DD648C197}" type="datetime'''''''''''''''''0'''''''''''''''''''''">
              <a:rPr lang="en-US" altLang="en-US" sz="800" smtClean="0"/>
              <a:pPr marL="0" lvl="0" indent="0" algn="ctr">
                <a:spcBef>
                  <a:spcPct val="0"/>
                </a:spcBef>
                <a:spcAft>
                  <a:spcPct val="0"/>
                </a:spcAft>
                <a:buNone/>
              </a:pPr>
              <a:t>0</a:t>
            </a:fld>
            <a:endParaRPr lang="en-US" sz="800"/>
          </a:p>
        </p:txBody>
      </p:sp>
      <p:sp>
        <p:nvSpPr>
          <p:cNvPr id="1246" name="Text Placeholder 10">
            <a:extLst>
              <a:ext uri="{FF2B5EF4-FFF2-40B4-BE49-F238E27FC236}">
                <a16:creationId xmlns:a16="http://schemas.microsoft.com/office/drawing/2014/main" id="{7158DD8C-4EB8-3811-4457-949B550F8B90}"/>
              </a:ext>
            </a:extLst>
          </p:cNvPr>
          <p:cNvSpPr>
            <a:spLocks noGrp="1"/>
          </p:cNvSpPr>
          <p:nvPr>
            <p:custDataLst>
              <p:tags r:id="rId116"/>
            </p:custDataLst>
          </p:nvPr>
        </p:nvSpPr>
        <p:spPr bwMode="gray">
          <a:xfrm>
            <a:off x="7659688" y="3433763"/>
            <a:ext cx="85725" cy="122238"/>
          </a:xfrm>
          <a:prstGeom prst="rect">
            <a:avLst/>
          </a:prstGeom>
          <a:solidFill>
            <a:srgbClr val="9DB1CF"/>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2C72817-9A4D-4D97-B34E-02F00D3F9205}" type="datetime'''3'''''''''''''''''''''''">
              <a:rPr lang="en-US" altLang="en-US" sz="800" smtClean="0">
                <a:effectLst/>
              </a:rPr>
              <a:pPr marL="0" lvl="0" indent="0" algn="ctr">
                <a:spcBef>
                  <a:spcPct val="0"/>
                </a:spcBef>
                <a:spcAft>
                  <a:spcPct val="0"/>
                </a:spcAft>
                <a:buNone/>
              </a:pPr>
              <a:t>3</a:t>
            </a:fld>
            <a:endParaRPr lang="en-US" sz="800"/>
          </a:p>
        </p:txBody>
      </p:sp>
      <p:sp>
        <p:nvSpPr>
          <p:cNvPr id="1247" name="Text Placeholder 10">
            <a:extLst>
              <a:ext uri="{FF2B5EF4-FFF2-40B4-BE49-F238E27FC236}">
                <a16:creationId xmlns:a16="http://schemas.microsoft.com/office/drawing/2014/main" id="{69D554E4-9171-8E7F-B9C2-80D5430DA1FA}"/>
              </a:ext>
            </a:extLst>
          </p:cNvPr>
          <p:cNvSpPr>
            <a:spLocks noGrp="1"/>
          </p:cNvSpPr>
          <p:nvPr>
            <p:custDataLst>
              <p:tags r:id="rId117"/>
            </p:custDataLst>
          </p:nvPr>
        </p:nvSpPr>
        <p:spPr bwMode="gray">
          <a:xfrm>
            <a:off x="7591425" y="3346450"/>
            <a:ext cx="142875" cy="122238"/>
          </a:xfrm>
          <a:prstGeom prst="rect">
            <a:avLst/>
          </a:prstGeom>
          <a:solidFill>
            <a:srgbClr val="364D6E"/>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F4E294D-0547-4A69-A36E-EF0C23B628DF}" type="datetime'''''''''''''''''''''''''''1''''''2'''''''''''''''''''''''''">
              <a:rPr lang="en-US" altLang="en-US" sz="800" smtClean="0">
                <a:solidFill>
                  <a:schemeClr val="bg1"/>
                </a:solidFill>
                <a:effectLst/>
              </a:rPr>
              <a:pPr marL="0" lvl="0" indent="0" algn="ctr">
                <a:spcBef>
                  <a:spcPct val="0"/>
                </a:spcBef>
                <a:spcAft>
                  <a:spcPct val="0"/>
                </a:spcAft>
                <a:buNone/>
              </a:pPr>
              <a:t>12</a:t>
            </a:fld>
            <a:endParaRPr lang="en-US" sz="800">
              <a:solidFill>
                <a:schemeClr val="bg1"/>
              </a:solidFill>
            </a:endParaRPr>
          </a:p>
        </p:txBody>
      </p:sp>
      <p:sp>
        <p:nvSpPr>
          <p:cNvPr id="1248" name="Oval 1247">
            <a:extLst>
              <a:ext uri="{FF2B5EF4-FFF2-40B4-BE49-F238E27FC236}">
                <a16:creationId xmlns:a16="http://schemas.microsoft.com/office/drawing/2014/main" id="{E59B0EF6-07AB-6A67-011B-4264C4369A52}"/>
              </a:ext>
            </a:extLst>
          </p:cNvPr>
          <p:cNvSpPr/>
          <p:nvPr>
            <p:custDataLst>
              <p:tags r:id="rId118"/>
            </p:custDataLst>
          </p:nvPr>
        </p:nvSpPr>
        <p:spPr bwMode="gray">
          <a:xfrm>
            <a:off x="8031163" y="3133725"/>
            <a:ext cx="165100" cy="165100"/>
          </a:xfrm>
          <a:prstGeom prst="ellipse">
            <a:avLst/>
          </a:prstGeom>
          <a:solidFill>
            <a:srgbClr val="364D6E"/>
          </a:solidFill>
          <a:ln w="6350">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rgbClr val="FFFFFF"/>
                </a:solidFill>
              </a:rPr>
              <a:t>2</a:t>
            </a:r>
          </a:p>
        </p:txBody>
      </p:sp>
      <p:sp>
        <p:nvSpPr>
          <p:cNvPr id="1249" name="Oval 1248">
            <a:extLst>
              <a:ext uri="{FF2B5EF4-FFF2-40B4-BE49-F238E27FC236}">
                <a16:creationId xmlns:a16="http://schemas.microsoft.com/office/drawing/2014/main" id="{97D7488F-1D46-69EF-7848-43E4E4B8879D}"/>
              </a:ext>
            </a:extLst>
          </p:cNvPr>
          <p:cNvSpPr/>
          <p:nvPr>
            <p:custDataLst>
              <p:tags r:id="rId119"/>
            </p:custDataLst>
          </p:nvPr>
        </p:nvSpPr>
        <p:spPr bwMode="gray">
          <a:xfrm>
            <a:off x="8228013" y="3133725"/>
            <a:ext cx="165100" cy="165100"/>
          </a:xfrm>
          <a:prstGeom prst="ellipse">
            <a:avLst/>
          </a:prstGeom>
          <a:solidFill>
            <a:srgbClr val="9DB1CF"/>
          </a:solidFill>
          <a:ln w="63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1</a:t>
            </a:r>
          </a:p>
        </p:txBody>
      </p:sp>
      <p:sp>
        <p:nvSpPr>
          <p:cNvPr id="1250" name="Oval 1249">
            <a:extLst>
              <a:ext uri="{FF2B5EF4-FFF2-40B4-BE49-F238E27FC236}">
                <a16:creationId xmlns:a16="http://schemas.microsoft.com/office/drawing/2014/main" id="{017F8A20-6FB1-8F85-939D-58B99FF0DF87}"/>
              </a:ext>
            </a:extLst>
          </p:cNvPr>
          <p:cNvSpPr/>
          <p:nvPr>
            <p:custDataLst>
              <p:tags r:id="rId120"/>
            </p:custDataLst>
          </p:nvPr>
        </p:nvSpPr>
        <p:spPr bwMode="gray">
          <a:xfrm>
            <a:off x="8423275" y="3133725"/>
            <a:ext cx="165100" cy="165100"/>
          </a:xfrm>
          <a:prstGeom prst="ellipse">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0</a:t>
            </a:r>
          </a:p>
        </p:txBody>
      </p:sp>
      <p:sp>
        <p:nvSpPr>
          <p:cNvPr id="1260" name="TextBox 1259">
            <a:extLst>
              <a:ext uri="{FF2B5EF4-FFF2-40B4-BE49-F238E27FC236}">
                <a16:creationId xmlns:a16="http://schemas.microsoft.com/office/drawing/2014/main" id="{A1B24B1D-7264-F416-7F5B-908E4813100A}"/>
              </a:ext>
            </a:extLst>
          </p:cNvPr>
          <p:cNvSpPr txBox="1"/>
          <p:nvPr>
            <p:custDataLst>
              <p:tags r:id="rId121"/>
            </p:custDataLst>
          </p:nvPr>
        </p:nvSpPr>
        <p:spPr bwMode="gray">
          <a:xfrm>
            <a:off x="807132" y="3711575"/>
            <a:ext cx="608918" cy="246063"/>
          </a:xfrm>
          <a:prstGeom prst="rect">
            <a:avLst/>
          </a:prstGeom>
          <a:noFill/>
        </p:spPr>
        <p:txBody>
          <a:bodyPr wrap="square" lIns="0" tIns="0" rIns="0" bIns="0" rtlCol="0">
            <a:spAutoFit/>
          </a:bodyPr>
          <a:lstStyle/>
          <a:p>
            <a:pPr marL="0" indent="0">
              <a:buNone/>
            </a:pPr>
            <a:r>
              <a:rPr lang="en-US" sz="1600"/>
              <a:t>World</a:t>
            </a:r>
          </a:p>
        </p:txBody>
      </p:sp>
      <p:graphicFrame>
        <p:nvGraphicFramePr>
          <p:cNvPr id="52" name="Chart 51">
            <a:extLst>
              <a:ext uri="{FF2B5EF4-FFF2-40B4-BE49-F238E27FC236}">
                <a16:creationId xmlns:a16="http://schemas.microsoft.com/office/drawing/2014/main" id="{0C26C307-F9CC-7F85-3C1F-05EBDB25B8FD}"/>
              </a:ext>
            </a:extLst>
          </p:cNvPr>
          <p:cNvGraphicFramePr/>
          <p:nvPr>
            <p:custDataLst>
              <p:tags r:id="rId122"/>
            </p:custDataLst>
            <p:extLst>
              <p:ext uri="{D42A27DB-BD31-4B8C-83A1-F6EECF244321}">
                <p14:modId xmlns:p14="http://schemas.microsoft.com/office/powerpoint/2010/main" val="660990184"/>
              </p:ext>
            </p:extLst>
          </p:nvPr>
        </p:nvGraphicFramePr>
        <p:xfrm>
          <a:off x="735013" y="3989388"/>
          <a:ext cx="2825750" cy="842962"/>
        </p:xfrm>
        <a:graphic>
          <a:graphicData uri="http://schemas.openxmlformats.org/drawingml/2006/chart">
            <c:chart xmlns:c="http://schemas.openxmlformats.org/drawingml/2006/chart" xmlns:r="http://schemas.openxmlformats.org/officeDocument/2006/relationships" r:id="rId186"/>
          </a:graphicData>
        </a:graphic>
      </p:graphicFrame>
      <p:cxnSp>
        <p:nvCxnSpPr>
          <p:cNvPr id="1262" name="Straight Connector 1261">
            <a:extLst>
              <a:ext uri="{FF2B5EF4-FFF2-40B4-BE49-F238E27FC236}">
                <a16:creationId xmlns:a16="http://schemas.microsoft.com/office/drawing/2014/main" id="{BB1CBA29-CCAB-ABE9-91DB-0BE06F4D1AC8}"/>
              </a:ext>
            </a:extLst>
          </p:cNvPr>
          <p:cNvCxnSpPr/>
          <p:nvPr>
            <p:custDataLst>
              <p:tags r:id="rId123"/>
            </p:custDataLst>
          </p:nvPr>
        </p:nvCxnSpPr>
        <p:spPr bwMode="auto">
          <a:xfrm>
            <a:off x="3478213" y="4221163"/>
            <a:ext cx="0" cy="377825"/>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63" name="Straight Connector 1262">
            <a:extLst>
              <a:ext uri="{FF2B5EF4-FFF2-40B4-BE49-F238E27FC236}">
                <a16:creationId xmlns:a16="http://schemas.microsoft.com/office/drawing/2014/main" id="{4F9EEB02-CA95-BA07-630A-8E1257454F0A}"/>
              </a:ext>
            </a:extLst>
          </p:cNvPr>
          <p:cNvCxnSpPr/>
          <p:nvPr>
            <p:custDataLst>
              <p:tags r:id="rId124"/>
            </p:custDataLst>
          </p:nvPr>
        </p:nvCxnSpPr>
        <p:spPr bwMode="auto">
          <a:xfrm>
            <a:off x="2508250" y="4221163"/>
            <a:ext cx="969963"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64" name="Straight Connector 1263">
            <a:extLst>
              <a:ext uri="{FF2B5EF4-FFF2-40B4-BE49-F238E27FC236}">
                <a16:creationId xmlns:a16="http://schemas.microsoft.com/office/drawing/2014/main" id="{AA4DF0A2-A9E4-D802-9483-0DAAC97FD567}"/>
              </a:ext>
            </a:extLst>
          </p:cNvPr>
          <p:cNvCxnSpPr/>
          <p:nvPr>
            <p:custDataLst>
              <p:tags r:id="rId125"/>
            </p:custDataLst>
          </p:nvPr>
        </p:nvCxnSpPr>
        <p:spPr bwMode="auto">
          <a:xfrm>
            <a:off x="2508250" y="4598988"/>
            <a:ext cx="969963"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65" name="Text Placeholder 10">
            <a:extLst>
              <a:ext uri="{FF2B5EF4-FFF2-40B4-BE49-F238E27FC236}">
                <a16:creationId xmlns:a16="http://schemas.microsoft.com/office/drawing/2014/main" id="{E583F8F3-6DBD-E8E5-AAAA-6B82DDA1A390}"/>
              </a:ext>
            </a:extLst>
          </p:cNvPr>
          <p:cNvSpPr>
            <a:spLocks noGrp="1"/>
          </p:cNvSpPr>
          <p:nvPr>
            <p:custDataLst>
              <p:tags r:id="rId126"/>
            </p:custDataLst>
          </p:nvPr>
        </p:nvSpPr>
        <p:spPr bwMode="gray">
          <a:xfrm>
            <a:off x="2819400" y="43037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9316BAA-7043-442C-8130-D766492EAF0E}" type="datetime'''''''''''''''2''''''''7''''''''0'''''''''''''''">
              <a:rPr lang="en-US" altLang="en-US" sz="1400" smtClean="0"/>
              <a:pPr marL="0" lvl="0" indent="0" algn="ctr">
                <a:spcBef>
                  <a:spcPct val="0"/>
                </a:spcBef>
                <a:spcAft>
                  <a:spcPct val="0"/>
                </a:spcAft>
                <a:buNone/>
              </a:pPr>
              <a:t>270</a:t>
            </a:fld>
            <a:endParaRPr lang="en-US" sz="1400"/>
          </a:p>
        </p:txBody>
      </p:sp>
      <p:sp>
        <p:nvSpPr>
          <p:cNvPr id="1340" name="Text Placeholder 10">
            <a:extLst>
              <a:ext uri="{FF2B5EF4-FFF2-40B4-BE49-F238E27FC236}">
                <a16:creationId xmlns:a16="http://schemas.microsoft.com/office/drawing/2014/main" id="{311349DB-C381-FEA9-C218-0D9010501F99}"/>
              </a:ext>
            </a:extLst>
          </p:cNvPr>
          <p:cNvSpPr>
            <a:spLocks noGrp="1"/>
          </p:cNvSpPr>
          <p:nvPr>
            <p:custDataLst>
              <p:tags r:id="rId127"/>
            </p:custDataLst>
          </p:nvPr>
        </p:nvSpPr>
        <p:spPr bwMode="gray">
          <a:xfrm>
            <a:off x="2249488" y="4303713"/>
            <a:ext cx="247650" cy="212725"/>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BA4F9A5-AAEF-4D55-8A31-588235C94C5D}" type="datetime'''''''''''7''5'''''''''''''''''''''''''''">
              <a:rPr lang="en-US" altLang="en-US" sz="1400" smtClean="0">
                <a:effectLst/>
              </a:rPr>
              <a:pPr marL="0" lvl="0" indent="0" algn="ctr">
                <a:spcBef>
                  <a:spcPct val="0"/>
                </a:spcBef>
                <a:spcAft>
                  <a:spcPct val="0"/>
                </a:spcAft>
                <a:buNone/>
              </a:pPr>
              <a:t>75</a:t>
            </a:fld>
            <a:endParaRPr lang="en-US" sz="1400"/>
          </a:p>
        </p:txBody>
      </p:sp>
      <p:sp>
        <p:nvSpPr>
          <p:cNvPr id="1266" name="Text Placeholder 10">
            <a:extLst>
              <a:ext uri="{FF2B5EF4-FFF2-40B4-BE49-F238E27FC236}">
                <a16:creationId xmlns:a16="http://schemas.microsoft.com/office/drawing/2014/main" id="{E11A0A12-1F66-EAE6-1781-4C04B264A8C5}"/>
              </a:ext>
            </a:extLst>
          </p:cNvPr>
          <p:cNvSpPr>
            <a:spLocks noGrp="1"/>
          </p:cNvSpPr>
          <p:nvPr>
            <p:custDataLst>
              <p:tags r:id="rId128"/>
            </p:custDataLst>
          </p:nvPr>
        </p:nvSpPr>
        <p:spPr bwMode="gray">
          <a:xfrm>
            <a:off x="1355725" y="43037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4F6D50E-48CA-47C0-8088-FB2B1C6D98FE}" type="datetime'''''''''''''''''''''''''''''''3''''''''96'''''''''''''''">
              <a:rPr lang="en-US" altLang="en-US" sz="1400" smtClean="0">
                <a:solidFill>
                  <a:schemeClr val="bg1"/>
                </a:solidFill>
              </a:rPr>
              <a:pPr marL="0" lvl="0" indent="0" algn="ctr">
                <a:spcBef>
                  <a:spcPct val="0"/>
                </a:spcBef>
                <a:spcAft>
                  <a:spcPct val="0"/>
                </a:spcAft>
                <a:buNone/>
              </a:pPr>
              <a:t>396</a:t>
            </a:fld>
            <a:endParaRPr lang="en-US" sz="1400">
              <a:solidFill>
                <a:schemeClr val="bg1"/>
              </a:solidFill>
            </a:endParaRPr>
          </a:p>
        </p:txBody>
      </p:sp>
      <p:sp>
        <p:nvSpPr>
          <p:cNvPr id="1338" name="Text Placeholder 10">
            <a:extLst>
              <a:ext uri="{FF2B5EF4-FFF2-40B4-BE49-F238E27FC236}">
                <a16:creationId xmlns:a16="http://schemas.microsoft.com/office/drawing/2014/main" id="{115DFB91-512B-3844-A114-92FBEDCA92F2}"/>
              </a:ext>
            </a:extLst>
          </p:cNvPr>
          <p:cNvSpPr>
            <a:spLocks noGrp="1"/>
          </p:cNvSpPr>
          <p:nvPr>
            <p:custDataLst>
              <p:tags r:id="rId129"/>
            </p:custDataLst>
          </p:nvPr>
        </p:nvSpPr>
        <p:spPr bwMode="gray">
          <a:xfrm>
            <a:off x="3503613" y="43037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64F96EB-5CF1-4005-8D6C-2F431744DE64}" type="datetime'7''4''''''''''''''''''''1'''''''''''''''''''">
              <a:rPr lang="en-US" altLang="en-US" sz="1400" smtClean="0"/>
              <a:pPr marL="0" lvl="0" indent="0">
                <a:spcBef>
                  <a:spcPct val="0"/>
                </a:spcBef>
                <a:spcAft>
                  <a:spcPct val="0"/>
                </a:spcAft>
                <a:buNone/>
              </a:pPr>
              <a:t>741</a:t>
            </a:fld>
            <a:endParaRPr lang="en-US" sz="1400"/>
          </a:p>
        </p:txBody>
      </p:sp>
      <p:sp>
        <p:nvSpPr>
          <p:cNvPr id="1267" name="Oval 1266">
            <a:extLst>
              <a:ext uri="{FF2B5EF4-FFF2-40B4-BE49-F238E27FC236}">
                <a16:creationId xmlns:a16="http://schemas.microsoft.com/office/drawing/2014/main" id="{2621A06D-D9DB-3A00-5707-F08062FF5E85}"/>
              </a:ext>
            </a:extLst>
          </p:cNvPr>
          <p:cNvSpPr/>
          <p:nvPr>
            <p:custDataLst>
              <p:tags r:id="rId130"/>
            </p:custDataLst>
          </p:nvPr>
        </p:nvSpPr>
        <p:spPr bwMode="gray">
          <a:xfrm>
            <a:off x="2183944" y="3684588"/>
            <a:ext cx="353907" cy="354013"/>
          </a:xfrm>
          <a:prstGeom prst="ellipse">
            <a:avLst/>
          </a:prstGeom>
          <a:solidFill>
            <a:srgbClr val="364D6E"/>
          </a:solidFill>
          <a:ln w="6350">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rgbClr val="FFFFFF"/>
                </a:solidFill>
              </a:rPr>
              <a:t>140</a:t>
            </a:r>
          </a:p>
        </p:txBody>
      </p:sp>
      <p:sp>
        <p:nvSpPr>
          <p:cNvPr id="1268" name="Oval 1267">
            <a:extLst>
              <a:ext uri="{FF2B5EF4-FFF2-40B4-BE49-F238E27FC236}">
                <a16:creationId xmlns:a16="http://schemas.microsoft.com/office/drawing/2014/main" id="{E62918FC-F1ED-D023-5193-D73F27321A98}"/>
              </a:ext>
            </a:extLst>
          </p:cNvPr>
          <p:cNvSpPr/>
          <p:nvPr>
            <p:custDataLst>
              <p:tags r:id="rId131"/>
            </p:custDataLst>
          </p:nvPr>
        </p:nvSpPr>
        <p:spPr bwMode="gray">
          <a:xfrm>
            <a:off x="2703956" y="3684588"/>
            <a:ext cx="353907" cy="354013"/>
          </a:xfrm>
          <a:prstGeom prst="ellipse">
            <a:avLst/>
          </a:prstGeom>
          <a:solidFill>
            <a:srgbClr val="9DB1CF"/>
          </a:solidFill>
          <a:ln w="63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tx1"/>
                </a:solidFill>
              </a:rPr>
              <a:t>18</a:t>
            </a:r>
          </a:p>
        </p:txBody>
      </p:sp>
      <p:sp>
        <p:nvSpPr>
          <p:cNvPr id="1271" name="Oval 1270">
            <a:extLst>
              <a:ext uri="{FF2B5EF4-FFF2-40B4-BE49-F238E27FC236}">
                <a16:creationId xmlns:a16="http://schemas.microsoft.com/office/drawing/2014/main" id="{4C90C28E-5749-4E57-C6B2-0B7A4745796D}"/>
              </a:ext>
            </a:extLst>
          </p:cNvPr>
          <p:cNvSpPr/>
          <p:nvPr>
            <p:custDataLst>
              <p:tags r:id="rId132"/>
            </p:custDataLst>
          </p:nvPr>
        </p:nvSpPr>
        <p:spPr bwMode="gray">
          <a:xfrm>
            <a:off x="3168137" y="3686175"/>
            <a:ext cx="354107" cy="354013"/>
          </a:xfrm>
          <a:prstGeom prst="ellipse">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tx1"/>
                </a:solidFill>
              </a:rPr>
              <a:t>47</a:t>
            </a:r>
          </a:p>
        </p:txBody>
      </p:sp>
      <p:sp>
        <p:nvSpPr>
          <p:cNvPr id="1412" name="Rectangle 1411">
            <a:extLst>
              <a:ext uri="{FF2B5EF4-FFF2-40B4-BE49-F238E27FC236}">
                <a16:creationId xmlns:a16="http://schemas.microsoft.com/office/drawing/2014/main" id="{8D65D552-FA9B-8453-5902-65D1C350CDA1}"/>
              </a:ext>
            </a:extLst>
          </p:cNvPr>
          <p:cNvSpPr/>
          <p:nvPr>
            <p:custDataLst>
              <p:tags r:id="rId133"/>
            </p:custDataLst>
          </p:nvPr>
        </p:nvSpPr>
        <p:spPr bwMode="auto">
          <a:xfrm>
            <a:off x="5959475" y="4722813"/>
            <a:ext cx="214313" cy="160338"/>
          </a:xfrm>
          <a:prstGeom prst="rect">
            <a:avLst/>
          </a:prstGeom>
          <a:solidFill>
            <a:srgbClr val="364D6E"/>
          </a:solidFill>
          <a:ln w="6350" cap="flat" cmpd="sng" algn="ctr">
            <a:solidFill>
              <a:srgbClr val="364D6E"/>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13" name="Rectangle 1412">
            <a:extLst>
              <a:ext uri="{FF2B5EF4-FFF2-40B4-BE49-F238E27FC236}">
                <a16:creationId xmlns:a16="http://schemas.microsoft.com/office/drawing/2014/main" id="{A7EC0680-883C-6D43-3FDB-0AD8D308608D}"/>
              </a:ext>
            </a:extLst>
          </p:cNvPr>
          <p:cNvSpPr/>
          <p:nvPr>
            <p:custDataLst>
              <p:tags r:id="rId134"/>
            </p:custDataLst>
          </p:nvPr>
        </p:nvSpPr>
        <p:spPr bwMode="auto">
          <a:xfrm>
            <a:off x="5959475" y="4956175"/>
            <a:ext cx="214313" cy="160338"/>
          </a:xfrm>
          <a:prstGeom prst="rect">
            <a:avLst/>
          </a:prstGeom>
          <a:solidFill>
            <a:srgbClr val="9DB1CF"/>
          </a:solidFill>
          <a:ln w="6350" cap="flat" cmpd="sng" algn="ctr">
            <a:solidFill>
              <a:srgbClr val="9DB1C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14" name="Rectangle 1413">
            <a:extLst>
              <a:ext uri="{FF2B5EF4-FFF2-40B4-BE49-F238E27FC236}">
                <a16:creationId xmlns:a16="http://schemas.microsoft.com/office/drawing/2014/main" id="{78518A95-039B-9CDD-BEBA-6FBBCB15D28B}"/>
              </a:ext>
            </a:extLst>
          </p:cNvPr>
          <p:cNvSpPr/>
          <p:nvPr>
            <p:custDataLst>
              <p:tags r:id="rId135"/>
            </p:custDataLst>
          </p:nvPr>
        </p:nvSpPr>
        <p:spPr bwMode="auto">
          <a:xfrm>
            <a:off x="5959475" y="5189538"/>
            <a:ext cx="214313" cy="160338"/>
          </a:xfrm>
          <a:prstGeom prst="rect">
            <a:avLst/>
          </a:prstGeom>
          <a:solidFill>
            <a:srgbClr val="FFFFFF"/>
          </a:solidFill>
          <a:ln w="6350"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10" name="Text Placeholder 10">
            <a:extLst>
              <a:ext uri="{FF2B5EF4-FFF2-40B4-BE49-F238E27FC236}">
                <a16:creationId xmlns:a16="http://schemas.microsoft.com/office/drawing/2014/main" id="{115DFB91-512B-3844-A114-92FBEDCA92F2}"/>
              </a:ext>
            </a:extLst>
          </p:cNvPr>
          <p:cNvSpPr>
            <a:spLocks noGrp="1"/>
          </p:cNvSpPr>
          <p:nvPr>
            <p:custDataLst>
              <p:tags r:id="rId136"/>
            </p:custDataLst>
          </p:nvPr>
        </p:nvSpPr>
        <p:spPr bwMode="auto">
          <a:xfrm>
            <a:off x="6224588" y="4718050"/>
            <a:ext cx="1023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8B34928-13B0-40D1-B67F-6BAC6C341F2E}" type="datetime'''Op''''''''e''''''''''r''''''''''''a''t''''''''''''i''''n''g'">
              <a:rPr lang="en-US" altLang="en-US" sz="1200" smtClean="0">
                <a:effectLst/>
              </a:rPr>
              <a:pPr marL="0" lvl="0" indent="0">
                <a:spcBef>
                  <a:spcPct val="0"/>
                </a:spcBef>
                <a:spcAft>
                  <a:spcPct val="0"/>
                </a:spcAft>
                <a:buNone/>
              </a:pPr>
              <a:t>Operating</a:t>
            </a:fld>
            <a:r>
              <a:rPr lang="en-US" altLang="en-US" sz="1200"/>
              <a:t>, MW</a:t>
            </a:r>
            <a:endParaRPr lang="en-US" sz="1200"/>
          </a:p>
        </p:txBody>
      </p:sp>
      <p:sp>
        <p:nvSpPr>
          <p:cNvPr id="1409" name="Text Placeholder 10">
            <a:extLst>
              <a:ext uri="{FF2B5EF4-FFF2-40B4-BE49-F238E27FC236}">
                <a16:creationId xmlns:a16="http://schemas.microsoft.com/office/drawing/2014/main" id="{115DFB91-512B-3844-A114-92FBEDCA92F2}"/>
              </a:ext>
            </a:extLst>
          </p:cNvPr>
          <p:cNvSpPr>
            <a:spLocks noGrp="1"/>
          </p:cNvSpPr>
          <p:nvPr>
            <p:custDataLst>
              <p:tags r:id="rId137"/>
            </p:custDataLst>
          </p:nvPr>
        </p:nvSpPr>
        <p:spPr bwMode="auto">
          <a:xfrm>
            <a:off x="6224588" y="4951413"/>
            <a:ext cx="1209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07977DC-467D-4434-8535-7FCAAE49F650}" type="datetime'Co''''''''nst''''''r''u''c''''''ti''o''''''''''''''''''n'''">
              <a:rPr lang="en-US" altLang="en-US" sz="1200" smtClean="0">
                <a:effectLst/>
              </a:rPr>
              <a:pPr marL="0" lvl="0" indent="0">
                <a:spcBef>
                  <a:spcPct val="0"/>
                </a:spcBef>
                <a:spcAft>
                  <a:spcPct val="0"/>
                </a:spcAft>
                <a:buNone/>
              </a:pPr>
              <a:t>Construction</a:t>
            </a:fld>
            <a:r>
              <a:rPr lang="en-US" altLang="en-US" sz="1200">
                <a:effectLst/>
              </a:rPr>
              <a:t>, MW</a:t>
            </a:r>
            <a:endParaRPr lang="en-US" sz="1200"/>
          </a:p>
        </p:txBody>
      </p:sp>
      <p:sp>
        <p:nvSpPr>
          <p:cNvPr id="1407" name="Text Placeholder 10">
            <a:extLst>
              <a:ext uri="{FF2B5EF4-FFF2-40B4-BE49-F238E27FC236}">
                <a16:creationId xmlns:a16="http://schemas.microsoft.com/office/drawing/2014/main" id="{115DFB91-512B-3844-A114-92FBEDCA92F2}"/>
              </a:ext>
            </a:extLst>
          </p:cNvPr>
          <p:cNvSpPr>
            <a:spLocks noGrp="1"/>
          </p:cNvSpPr>
          <p:nvPr>
            <p:custDataLst>
              <p:tags r:id="rId138"/>
            </p:custDataLst>
          </p:nvPr>
        </p:nvSpPr>
        <p:spPr bwMode="auto">
          <a:xfrm>
            <a:off x="6224587" y="5184775"/>
            <a:ext cx="2273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FC3E7A9-6604-4275-B339-2C3BCCA7F29D}" type="datetime'A''nn''oun''''''ced''/Pre-c''''on''''stru''''''ct''io''''''n'">
              <a:rPr lang="en-US" altLang="en-US" sz="1200" smtClean="0">
                <a:effectLst/>
              </a:rPr>
              <a:pPr marL="0" lvl="0" indent="0">
                <a:spcBef>
                  <a:spcPct val="0"/>
                </a:spcBef>
                <a:spcAft>
                  <a:spcPct val="0"/>
                </a:spcAft>
                <a:buNone/>
              </a:pPr>
              <a:t>Announced/Pre-construction</a:t>
            </a:fld>
            <a:r>
              <a:rPr lang="en-US" altLang="en-US" sz="1200">
                <a:effectLst/>
              </a:rPr>
              <a:t>, MW</a:t>
            </a:r>
            <a:endParaRPr lang="en-US" sz="1200"/>
          </a:p>
        </p:txBody>
      </p:sp>
      <p:sp>
        <p:nvSpPr>
          <p:cNvPr id="1417" name="TextBox 1416">
            <a:extLst>
              <a:ext uri="{FF2B5EF4-FFF2-40B4-BE49-F238E27FC236}">
                <a16:creationId xmlns:a16="http://schemas.microsoft.com/office/drawing/2014/main" id="{45ABD0E6-803F-80B9-091E-41FA7754AB6D}"/>
              </a:ext>
            </a:extLst>
          </p:cNvPr>
          <p:cNvSpPr txBox="1"/>
          <p:nvPr>
            <p:custDataLst>
              <p:tags r:id="rId139"/>
            </p:custDataLst>
          </p:nvPr>
        </p:nvSpPr>
        <p:spPr bwMode="gray">
          <a:xfrm>
            <a:off x="6227503" y="5405438"/>
            <a:ext cx="1973816" cy="369888"/>
          </a:xfrm>
          <a:prstGeom prst="rect">
            <a:avLst/>
          </a:prstGeom>
          <a:noFill/>
        </p:spPr>
        <p:txBody>
          <a:bodyPr wrap="square" lIns="0" tIns="0" rIns="0" bIns="0" rtlCol="0">
            <a:spAutoFit/>
          </a:bodyPr>
          <a:lstStyle/>
          <a:p>
            <a:pPr marL="0" indent="0">
              <a:buNone/>
            </a:pPr>
            <a:r>
              <a:rPr lang="en-US" sz="1200"/>
              <a:t>Number of plant locations within category</a:t>
            </a:r>
          </a:p>
        </p:txBody>
      </p:sp>
      <p:sp>
        <p:nvSpPr>
          <p:cNvPr id="1421" name="Oval 1420">
            <a:extLst>
              <a:ext uri="{FF2B5EF4-FFF2-40B4-BE49-F238E27FC236}">
                <a16:creationId xmlns:a16="http://schemas.microsoft.com/office/drawing/2014/main" id="{56CE10A9-9CB3-0FB4-7AC2-81EAAE6DBB34}"/>
              </a:ext>
            </a:extLst>
          </p:cNvPr>
          <p:cNvSpPr/>
          <p:nvPr>
            <p:custDataLst>
              <p:tags r:id="rId140"/>
            </p:custDataLst>
          </p:nvPr>
        </p:nvSpPr>
        <p:spPr bwMode="gray">
          <a:xfrm>
            <a:off x="5960083" y="5484813"/>
            <a:ext cx="219748" cy="219075"/>
          </a:xfrm>
          <a:prstGeom prst="ellipse">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endParaRPr lang="en-US" sz="1100">
              <a:solidFill>
                <a:schemeClr val="tx1"/>
              </a:solidFill>
            </a:endParaRPr>
          </a:p>
        </p:txBody>
      </p:sp>
      <p:sp>
        <p:nvSpPr>
          <p:cNvPr id="1434" name="btfpColumnHeaderBoxText223027">
            <a:extLst>
              <a:ext uri="{FF2B5EF4-FFF2-40B4-BE49-F238E27FC236}">
                <a16:creationId xmlns:a16="http://schemas.microsoft.com/office/drawing/2014/main" id="{B1F03536-B834-7F9B-7F6F-E059D9BC1811}"/>
              </a:ext>
            </a:extLst>
          </p:cNvPr>
          <p:cNvSpPr txBox="1"/>
          <p:nvPr/>
        </p:nvSpPr>
        <p:spPr bwMode="gray">
          <a:xfrm>
            <a:off x="376238" y="1384300"/>
            <a:ext cx="9567863" cy="287338"/>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Global distribution of nuclear capacity, </a:t>
            </a:r>
            <a:r>
              <a:rPr lang="en-US" sz="1400">
                <a:solidFill>
                  <a:srgbClr val="000000"/>
                </a:solidFill>
              </a:rPr>
              <a:t>GW and plant count, 2024</a:t>
            </a:r>
          </a:p>
        </p:txBody>
      </p:sp>
      <p:cxnSp>
        <p:nvCxnSpPr>
          <p:cNvPr id="1435" name="btfpColumnHeaderBoxLine223027">
            <a:extLst>
              <a:ext uri="{FF2B5EF4-FFF2-40B4-BE49-F238E27FC236}">
                <a16:creationId xmlns:a16="http://schemas.microsoft.com/office/drawing/2014/main" id="{00DD1742-AD66-9AB8-D87A-9659FDF20585}"/>
              </a:ext>
            </a:extLst>
          </p:cNvPr>
          <p:cNvCxnSpPr>
            <a:cxnSpLocks/>
          </p:cNvCxnSpPr>
          <p:nvPr/>
        </p:nvCxnSpPr>
        <p:spPr bwMode="gray">
          <a:xfrm>
            <a:off x="376238" y="1671638"/>
            <a:ext cx="890492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6895166-0D02-2A2D-4B68-1D0C7C30AF1C}"/>
              </a:ext>
            </a:extLst>
          </p:cNvPr>
          <p:cNvSpPr/>
          <p:nvPr>
            <p:custDataLst>
              <p:tags r:id="rId141"/>
            </p:custDataLst>
          </p:nvPr>
        </p:nvSpPr>
        <p:spPr bwMode="gray">
          <a:xfrm>
            <a:off x="4367213" y="3911600"/>
            <a:ext cx="1119188" cy="552450"/>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aphicFrame>
        <p:nvGraphicFramePr>
          <p:cNvPr id="61" name="Chart 60">
            <a:extLst>
              <a:ext uri="{FF2B5EF4-FFF2-40B4-BE49-F238E27FC236}">
                <a16:creationId xmlns:a16="http://schemas.microsoft.com/office/drawing/2014/main" id="{359D0F81-9580-736F-0AAB-2887A89CD089}"/>
              </a:ext>
            </a:extLst>
          </p:cNvPr>
          <p:cNvGraphicFramePr/>
          <p:nvPr>
            <p:custDataLst>
              <p:tags r:id="rId142"/>
            </p:custDataLst>
            <p:extLst>
              <p:ext uri="{D42A27DB-BD31-4B8C-83A1-F6EECF244321}">
                <p14:modId xmlns:p14="http://schemas.microsoft.com/office/powerpoint/2010/main" val="2224885298"/>
              </p:ext>
            </p:extLst>
          </p:nvPr>
        </p:nvGraphicFramePr>
        <p:xfrm>
          <a:off x="4335463" y="4038600"/>
          <a:ext cx="1101725" cy="481013"/>
        </p:xfrm>
        <a:graphic>
          <a:graphicData uri="http://schemas.openxmlformats.org/drawingml/2006/chart">
            <c:chart xmlns:c="http://schemas.openxmlformats.org/drawingml/2006/chart" xmlns:r="http://schemas.openxmlformats.org/officeDocument/2006/relationships" r:id="rId187"/>
          </a:graphicData>
        </a:graphic>
      </p:graphicFrame>
      <p:cxnSp>
        <p:nvCxnSpPr>
          <p:cNvPr id="9" name="Straight Connector 8">
            <a:extLst>
              <a:ext uri="{FF2B5EF4-FFF2-40B4-BE49-F238E27FC236}">
                <a16:creationId xmlns:a16="http://schemas.microsoft.com/office/drawing/2014/main" id="{97784A2E-C257-C9E5-E997-0D5439FE0018}"/>
              </a:ext>
            </a:extLst>
          </p:cNvPr>
          <p:cNvCxnSpPr/>
          <p:nvPr>
            <p:custDataLst>
              <p:tags r:id="rId143"/>
            </p:custDataLst>
          </p:nvPr>
        </p:nvCxnSpPr>
        <p:spPr bwMode="auto">
          <a:xfrm>
            <a:off x="4464050" y="4191000"/>
            <a:ext cx="0" cy="176213"/>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716788B6-E023-04E1-9E1E-244427285476}"/>
              </a:ext>
            </a:extLst>
          </p:cNvPr>
          <p:cNvCxnSpPr/>
          <p:nvPr>
            <p:custDataLst>
              <p:tags r:id="rId144"/>
            </p:custDataLst>
          </p:nvPr>
        </p:nvCxnSpPr>
        <p:spPr bwMode="auto">
          <a:xfrm>
            <a:off x="4454526" y="4191000"/>
            <a:ext cx="9525"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0592A1CF-FFD2-A986-364A-5A672557B4AA}"/>
              </a:ext>
            </a:extLst>
          </p:cNvPr>
          <p:cNvCxnSpPr/>
          <p:nvPr>
            <p:custDataLst>
              <p:tags r:id="rId145"/>
            </p:custDataLst>
          </p:nvPr>
        </p:nvCxnSpPr>
        <p:spPr bwMode="auto">
          <a:xfrm>
            <a:off x="4454526" y="4367213"/>
            <a:ext cx="9525"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F1D4562D-8888-45F6-9B25-C92DB6198A1E}"/>
              </a:ext>
            </a:extLst>
          </p:cNvPr>
          <p:cNvCxnSpPr/>
          <p:nvPr>
            <p:custDataLst>
              <p:tags r:id="rId146"/>
            </p:custDataLst>
          </p:nvPr>
        </p:nvCxnSpPr>
        <p:spPr bwMode="auto">
          <a:xfrm flipH="1">
            <a:off x="4459288" y="4278313"/>
            <a:ext cx="42862"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 name="Text Placeholder 10">
            <a:extLst>
              <a:ext uri="{FF2B5EF4-FFF2-40B4-BE49-F238E27FC236}">
                <a16:creationId xmlns:a16="http://schemas.microsoft.com/office/drawing/2014/main" id="{9A95180D-E0BC-81D3-2C30-709BB3A486C7}"/>
              </a:ext>
            </a:extLst>
          </p:cNvPr>
          <p:cNvSpPr>
            <a:spLocks noGrp="1"/>
          </p:cNvSpPr>
          <p:nvPr>
            <p:custDataLst>
              <p:tags r:id="rId147"/>
            </p:custDataLst>
          </p:nvPr>
        </p:nvSpPr>
        <p:spPr bwMode="gray">
          <a:xfrm>
            <a:off x="4502150" y="4217988"/>
            <a:ext cx="85725"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3C63046-14DB-44B3-B9E5-2085D8699503}" type="datetime'''''''''''''''''''''''''''''''''''''''''''''''2'''''''">
              <a:rPr lang="en-US" altLang="en-US" sz="800" smtClean="0"/>
              <a:pPr marL="0" lvl="0" indent="0">
                <a:spcBef>
                  <a:spcPct val="0"/>
                </a:spcBef>
                <a:spcAft>
                  <a:spcPct val="0"/>
                </a:spcAft>
                <a:buNone/>
              </a:pPr>
              <a:t>2</a:t>
            </a:fld>
            <a:endParaRPr lang="en-US" sz="800"/>
          </a:p>
        </p:txBody>
      </p:sp>
      <p:sp>
        <p:nvSpPr>
          <p:cNvPr id="13" name="Text Placeholder 10">
            <a:extLst>
              <a:ext uri="{FF2B5EF4-FFF2-40B4-BE49-F238E27FC236}">
                <a16:creationId xmlns:a16="http://schemas.microsoft.com/office/drawing/2014/main" id="{AC2420DC-835C-5123-B724-D99C17E33E5B}"/>
              </a:ext>
            </a:extLst>
          </p:cNvPr>
          <p:cNvSpPr>
            <a:spLocks noGrp="1"/>
          </p:cNvSpPr>
          <p:nvPr>
            <p:custDataLst>
              <p:tags r:id="rId148"/>
            </p:custDataLst>
          </p:nvPr>
        </p:nvSpPr>
        <p:spPr bwMode="gray">
          <a:xfrm>
            <a:off x="4397375" y="4175125"/>
            <a:ext cx="85725" cy="122238"/>
          </a:xfrm>
          <a:prstGeom prst="rect">
            <a:avLst/>
          </a:prstGeom>
          <a:solidFill>
            <a:srgbClr val="9DB1CF"/>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B8A6ED-DE9F-4623-A906-6FFB56FDC8EF}" type="datetime'''''''5'''''''''''''''''''''''''''''''''''''''''">
              <a:rPr lang="en-US" altLang="en-US" sz="800" smtClean="0">
                <a:effectLst/>
              </a:rPr>
              <a:pPr marL="0" lvl="0" indent="0" algn="ctr">
                <a:spcBef>
                  <a:spcPct val="0"/>
                </a:spcBef>
                <a:spcAft>
                  <a:spcPct val="0"/>
                </a:spcAft>
                <a:buNone/>
              </a:pPr>
              <a:t>5</a:t>
            </a:fld>
            <a:endParaRPr lang="en-US" sz="800"/>
          </a:p>
        </p:txBody>
      </p:sp>
      <p:sp>
        <p:nvSpPr>
          <p:cNvPr id="14" name="Text Placeholder 10">
            <a:extLst>
              <a:ext uri="{FF2B5EF4-FFF2-40B4-BE49-F238E27FC236}">
                <a16:creationId xmlns:a16="http://schemas.microsoft.com/office/drawing/2014/main" id="{EB83ED53-4004-A55F-3C69-EF6839A4570E}"/>
              </a:ext>
            </a:extLst>
          </p:cNvPr>
          <p:cNvSpPr>
            <a:spLocks noGrp="1"/>
          </p:cNvSpPr>
          <p:nvPr>
            <p:custDataLst>
              <p:tags r:id="rId149"/>
            </p:custDataLst>
          </p:nvPr>
        </p:nvSpPr>
        <p:spPr bwMode="gray">
          <a:xfrm>
            <a:off x="4379913" y="4262438"/>
            <a:ext cx="85725" cy="122238"/>
          </a:xfrm>
          <a:prstGeom prst="rect">
            <a:avLst/>
          </a:prstGeom>
          <a:solidFill>
            <a:srgbClr val="364D6E"/>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9AA839-6899-43A4-85A8-B339EF5D987F}" type="datetime'''''''''''''''''''''''''''''2'''''''''''''''''''''''">
              <a:rPr lang="en-US" altLang="en-US" sz="800" smtClean="0">
                <a:solidFill>
                  <a:schemeClr val="bg1"/>
                </a:solidFill>
              </a:rPr>
              <a:pPr marL="0" lvl="0" indent="0" algn="ctr">
                <a:spcBef>
                  <a:spcPct val="0"/>
                </a:spcBef>
                <a:spcAft>
                  <a:spcPct val="0"/>
                </a:spcAft>
                <a:buNone/>
              </a:pPr>
              <a:t>2</a:t>
            </a:fld>
            <a:endParaRPr lang="en-US" sz="800">
              <a:solidFill>
                <a:schemeClr val="bg1"/>
              </a:solidFill>
            </a:endParaRPr>
          </a:p>
        </p:txBody>
      </p:sp>
      <p:sp>
        <p:nvSpPr>
          <p:cNvPr id="15" name="Oval 14">
            <a:extLst>
              <a:ext uri="{FF2B5EF4-FFF2-40B4-BE49-F238E27FC236}">
                <a16:creationId xmlns:a16="http://schemas.microsoft.com/office/drawing/2014/main" id="{5F72DE2E-0560-E801-1362-E9DED2055EDF}"/>
              </a:ext>
            </a:extLst>
          </p:cNvPr>
          <p:cNvSpPr/>
          <p:nvPr>
            <p:custDataLst>
              <p:tags r:id="rId150"/>
            </p:custDataLst>
          </p:nvPr>
        </p:nvSpPr>
        <p:spPr bwMode="gray">
          <a:xfrm>
            <a:off x="4869157" y="3962400"/>
            <a:ext cx="165100" cy="165100"/>
          </a:xfrm>
          <a:prstGeom prst="ellipse">
            <a:avLst/>
          </a:prstGeom>
          <a:solidFill>
            <a:srgbClr val="364D6E"/>
          </a:solidFill>
          <a:ln w="6350">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rgbClr val="FFFFFF"/>
                </a:solidFill>
              </a:rPr>
              <a:t>1</a:t>
            </a:r>
          </a:p>
        </p:txBody>
      </p:sp>
      <p:sp>
        <p:nvSpPr>
          <p:cNvPr id="16" name="Oval 15">
            <a:extLst>
              <a:ext uri="{FF2B5EF4-FFF2-40B4-BE49-F238E27FC236}">
                <a16:creationId xmlns:a16="http://schemas.microsoft.com/office/drawing/2014/main" id="{597D1F08-98A1-3634-ADA3-8855D97B3904}"/>
              </a:ext>
            </a:extLst>
          </p:cNvPr>
          <p:cNvSpPr/>
          <p:nvPr>
            <p:custDataLst>
              <p:tags r:id="rId151"/>
            </p:custDataLst>
          </p:nvPr>
        </p:nvSpPr>
        <p:spPr bwMode="gray">
          <a:xfrm>
            <a:off x="5261269" y="3962400"/>
            <a:ext cx="165100" cy="165100"/>
          </a:xfrm>
          <a:prstGeom prst="ellipse">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1</a:t>
            </a:r>
          </a:p>
        </p:txBody>
      </p:sp>
      <p:sp>
        <p:nvSpPr>
          <p:cNvPr id="22" name="Rectangle 21">
            <a:extLst>
              <a:ext uri="{FF2B5EF4-FFF2-40B4-BE49-F238E27FC236}">
                <a16:creationId xmlns:a16="http://schemas.microsoft.com/office/drawing/2014/main" id="{18BE5566-F082-1A2E-0A6E-D74720845104}"/>
              </a:ext>
            </a:extLst>
          </p:cNvPr>
          <p:cNvSpPr/>
          <p:nvPr>
            <p:custDataLst>
              <p:tags r:id="rId152"/>
            </p:custDataLst>
          </p:nvPr>
        </p:nvSpPr>
        <p:spPr bwMode="gray">
          <a:xfrm>
            <a:off x="1854200" y="5151438"/>
            <a:ext cx="1091367" cy="552450"/>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aphicFrame>
        <p:nvGraphicFramePr>
          <p:cNvPr id="57" name="Chart 56">
            <a:extLst>
              <a:ext uri="{FF2B5EF4-FFF2-40B4-BE49-F238E27FC236}">
                <a16:creationId xmlns:a16="http://schemas.microsoft.com/office/drawing/2014/main" id="{6212D2FB-4C01-9073-E163-D55E4A736DD5}"/>
              </a:ext>
            </a:extLst>
          </p:cNvPr>
          <p:cNvGraphicFramePr/>
          <p:nvPr>
            <p:custDataLst>
              <p:tags r:id="rId153"/>
            </p:custDataLst>
            <p:extLst>
              <p:ext uri="{D42A27DB-BD31-4B8C-83A1-F6EECF244321}">
                <p14:modId xmlns:p14="http://schemas.microsoft.com/office/powerpoint/2010/main" val="1147544694"/>
              </p:ext>
            </p:extLst>
          </p:nvPr>
        </p:nvGraphicFramePr>
        <p:xfrm>
          <a:off x="1822450" y="5278438"/>
          <a:ext cx="1101725" cy="481012"/>
        </p:xfrm>
        <a:graphic>
          <a:graphicData uri="http://schemas.openxmlformats.org/drawingml/2006/chart">
            <c:chart xmlns:c="http://schemas.openxmlformats.org/drawingml/2006/chart" xmlns:r="http://schemas.openxmlformats.org/officeDocument/2006/relationships" r:id="rId188"/>
          </a:graphicData>
        </a:graphic>
      </p:graphicFrame>
      <p:cxnSp>
        <p:nvCxnSpPr>
          <p:cNvPr id="26" name="Straight Connector 25">
            <a:extLst>
              <a:ext uri="{FF2B5EF4-FFF2-40B4-BE49-F238E27FC236}">
                <a16:creationId xmlns:a16="http://schemas.microsoft.com/office/drawing/2014/main" id="{E7653614-8C65-7A3F-87A5-C6079EA4D79E}"/>
              </a:ext>
            </a:extLst>
          </p:cNvPr>
          <p:cNvCxnSpPr/>
          <p:nvPr>
            <p:custDataLst>
              <p:tags r:id="rId154"/>
            </p:custDataLst>
          </p:nvPr>
        </p:nvCxnSpPr>
        <p:spPr bwMode="auto">
          <a:xfrm>
            <a:off x="1920875" y="5430838"/>
            <a:ext cx="0" cy="176213"/>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E29E6336-9864-80FF-9FB1-8F3CC25F1D77}"/>
              </a:ext>
            </a:extLst>
          </p:cNvPr>
          <p:cNvCxnSpPr/>
          <p:nvPr>
            <p:custDataLst>
              <p:tags r:id="rId155"/>
            </p:custDataLst>
          </p:nvPr>
        </p:nvCxnSpPr>
        <p:spPr bwMode="auto">
          <a:xfrm>
            <a:off x="1914525" y="5430838"/>
            <a:ext cx="6350"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217916A2-FE33-EE27-1D84-4525D57A6182}"/>
              </a:ext>
            </a:extLst>
          </p:cNvPr>
          <p:cNvCxnSpPr/>
          <p:nvPr>
            <p:custDataLst>
              <p:tags r:id="rId156"/>
            </p:custDataLst>
          </p:nvPr>
        </p:nvCxnSpPr>
        <p:spPr bwMode="auto">
          <a:xfrm>
            <a:off x="1914525" y="5607050"/>
            <a:ext cx="6350" cy="0"/>
          </a:xfrm>
          <a:prstGeom prst="line">
            <a:avLst/>
          </a:prstGeom>
          <a:ln w="6350"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8FC48604-8C0C-E4FD-1CB2-63F2C823A3D8}"/>
              </a:ext>
            </a:extLst>
          </p:cNvPr>
          <p:cNvCxnSpPr/>
          <p:nvPr>
            <p:custDataLst>
              <p:tags r:id="rId157"/>
            </p:custDataLst>
          </p:nvPr>
        </p:nvCxnSpPr>
        <p:spPr bwMode="auto">
          <a:xfrm flipH="1">
            <a:off x="1917700" y="5434013"/>
            <a:ext cx="5397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9" name="Text Placeholder 10">
            <a:extLst>
              <a:ext uri="{FF2B5EF4-FFF2-40B4-BE49-F238E27FC236}">
                <a16:creationId xmlns:a16="http://schemas.microsoft.com/office/drawing/2014/main" id="{3FAC092D-7DFD-C5E6-D08A-4DE6AE18CAD9}"/>
              </a:ext>
            </a:extLst>
          </p:cNvPr>
          <p:cNvSpPr>
            <a:spLocks noGrp="1"/>
          </p:cNvSpPr>
          <p:nvPr>
            <p:custDataLst>
              <p:tags r:id="rId158"/>
            </p:custDataLst>
          </p:nvPr>
        </p:nvSpPr>
        <p:spPr bwMode="gray">
          <a:xfrm>
            <a:off x="1971675" y="5373688"/>
            <a:ext cx="85725"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6BB8089-AD54-4694-A3C3-765A43CCA5A0}" type="datetime'''''1'''''''''''''">
              <a:rPr lang="en-US" altLang="en-US" sz="800" smtClean="0"/>
              <a:pPr marL="0" lvl="0" indent="0">
                <a:spcBef>
                  <a:spcPct val="0"/>
                </a:spcBef>
                <a:spcAft>
                  <a:spcPct val="0"/>
                </a:spcAft>
                <a:buNone/>
              </a:pPr>
              <a:t>1</a:t>
            </a:fld>
            <a:endParaRPr lang="en-US" sz="800"/>
          </a:p>
        </p:txBody>
      </p:sp>
      <p:sp>
        <p:nvSpPr>
          <p:cNvPr id="31" name="Text Placeholder 10">
            <a:extLst>
              <a:ext uri="{FF2B5EF4-FFF2-40B4-BE49-F238E27FC236}">
                <a16:creationId xmlns:a16="http://schemas.microsoft.com/office/drawing/2014/main" id="{825A6CAF-93CF-5C75-22ED-39578BA4BCF3}"/>
              </a:ext>
            </a:extLst>
          </p:cNvPr>
          <p:cNvSpPr>
            <a:spLocks noGrp="1"/>
          </p:cNvSpPr>
          <p:nvPr>
            <p:custDataLst>
              <p:tags r:id="rId159"/>
            </p:custDataLst>
          </p:nvPr>
        </p:nvSpPr>
        <p:spPr bwMode="gray">
          <a:xfrm>
            <a:off x="1866900" y="5457825"/>
            <a:ext cx="85725" cy="122238"/>
          </a:xfrm>
          <a:prstGeom prst="rect">
            <a:avLst/>
          </a:prstGeom>
          <a:solidFill>
            <a:srgbClr val="364D6E"/>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F2DEBB5-6E6B-4D92-A994-33529910980D}" type="datetime'''''''''''''''''''''''''''''''''''''''''''2'''''''''">
              <a:rPr lang="en-US" altLang="en-US" sz="800" smtClean="0">
                <a:solidFill>
                  <a:schemeClr val="bg1"/>
                </a:solidFill>
              </a:rPr>
              <a:pPr marL="0" lvl="0" indent="0" algn="ctr">
                <a:spcBef>
                  <a:spcPct val="0"/>
                </a:spcBef>
                <a:spcAft>
                  <a:spcPct val="0"/>
                </a:spcAft>
                <a:buNone/>
              </a:pPr>
              <a:t>2</a:t>
            </a:fld>
            <a:endParaRPr lang="en-US" sz="800">
              <a:solidFill>
                <a:schemeClr val="bg1"/>
              </a:solidFill>
            </a:endParaRPr>
          </a:p>
        </p:txBody>
      </p:sp>
      <p:sp>
        <p:nvSpPr>
          <p:cNvPr id="32" name="Oval 31">
            <a:extLst>
              <a:ext uri="{FF2B5EF4-FFF2-40B4-BE49-F238E27FC236}">
                <a16:creationId xmlns:a16="http://schemas.microsoft.com/office/drawing/2014/main" id="{6BEF8C20-ED64-3B53-AC46-3E5440376350}"/>
              </a:ext>
            </a:extLst>
          </p:cNvPr>
          <p:cNvSpPr/>
          <p:nvPr>
            <p:custDataLst>
              <p:tags r:id="rId160"/>
            </p:custDataLst>
          </p:nvPr>
        </p:nvSpPr>
        <p:spPr bwMode="gray">
          <a:xfrm>
            <a:off x="2325676" y="5202238"/>
            <a:ext cx="165100" cy="165100"/>
          </a:xfrm>
          <a:prstGeom prst="ellipse">
            <a:avLst/>
          </a:prstGeom>
          <a:solidFill>
            <a:srgbClr val="364D6E"/>
          </a:solidFill>
          <a:ln w="6350">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rgbClr val="FFFFFF"/>
                </a:solidFill>
              </a:rPr>
              <a:t>2</a:t>
            </a:r>
          </a:p>
        </p:txBody>
      </p:sp>
      <p:sp>
        <p:nvSpPr>
          <p:cNvPr id="33" name="Oval 32">
            <a:extLst>
              <a:ext uri="{FF2B5EF4-FFF2-40B4-BE49-F238E27FC236}">
                <a16:creationId xmlns:a16="http://schemas.microsoft.com/office/drawing/2014/main" id="{3E8E9F76-2732-8289-86FB-EE2E0CEF34DE}"/>
              </a:ext>
            </a:extLst>
          </p:cNvPr>
          <p:cNvSpPr/>
          <p:nvPr>
            <p:custDataLst>
              <p:tags r:id="rId161"/>
            </p:custDataLst>
          </p:nvPr>
        </p:nvSpPr>
        <p:spPr bwMode="gray">
          <a:xfrm>
            <a:off x="2717789" y="5202238"/>
            <a:ext cx="165100" cy="165100"/>
          </a:xfrm>
          <a:prstGeom prst="ellipse">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0</a:t>
            </a:r>
          </a:p>
        </p:txBody>
      </p:sp>
      <p:sp>
        <p:nvSpPr>
          <p:cNvPr id="46" name="TextBox 45">
            <a:extLst>
              <a:ext uri="{FF2B5EF4-FFF2-40B4-BE49-F238E27FC236}">
                <a16:creationId xmlns:a16="http://schemas.microsoft.com/office/drawing/2014/main" id="{A6E66311-9959-E0E6-36A8-020F53F2D117}"/>
              </a:ext>
            </a:extLst>
          </p:cNvPr>
          <p:cNvSpPr txBox="1"/>
          <p:nvPr>
            <p:custDataLst>
              <p:tags r:id="rId162"/>
            </p:custDataLst>
          </p:nvPr>
        </p:nvSpPr>
        <p:spPr bwMode="gray">
          <a:xfrm>
            <a:off x="1933575" y="5178425"/>
            <a:ext cx="503238" cy="184150"/>
          </a:xfrm>
          <a:prstGeom prst="rect">
            <a:avLst/>
          </a:prstGeom>
          <a:noFill/>
        </p:spPr>
        <p:txBody>
          <a:bodyPr wrap="square" lIns="0" tIns="0" rIns="0" bIns="0" rtlCol="0">
            <a:spAutoFit/>
          </a:bodyPr>
          <a:lstStyle/>
          <a:p>
            <a:pPr marL="0" indent="0">
              <a:buNone/>
            </a:pPr>
            <a:r>
              <a:rPr lang="en-US" sz="1200"/>
              <a:t>ARG</a:t>
            </a:r>
          </a:p>
        </p:txBody>
      </p:sp>
      <p:sp>
        <p:nvSpPr>
          <p:cNvPr id="47" name="Oval 46">
            <a:extLst>
              <a:ext uri="{FF2B5EF4-FFF2-40B4-BE49-F238E27FC236}">
                <a16:creationId xmlns:a16="http://schemas.microsoft.com/office/drawing/2014/main" id="{05FF09C6-50B3-5438-93FF-3F248B8C824B}"/>
              </a:ext>
            </a:extLst>
          </p:cNvPr>
          <p:cNvSpPr/>
          <p:nvPr>
            <p:custDataLst>
              <p:tags r:id="rId163"/>
            </p:custDataLst>
          </p:nvPr>
        </p:nvSpPr>
        <p:spPr bwMode="gray">
          <a:xfrm>
            <a:off x="2521733" y="5202238"/>
            <a:ext cx="165100" cy="165100"/>
          </a:xfrm>
          <a:prstGeom prst="ellipse">
            <a:avLst/>
          </a:prstGeom>
          <a:solidFill>
            <a:srgbClr val="9DB1CF"/>
          </a:solidFill>
          <a:ln w="63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0</a:t>
            </a:r>
          </a:p>
        </p:txBody>
      </p:sp>
      <p:sp>
        <p:nvSpPr>
          <p:cNvPr id="48" name="Oval 47">
            <a:extLst>
              <a:ext uri="{FF2B5EF4-FFF2-40B4-BE49-F238E27FC236}">
                <a16:creationId xmlns:a16="http://schemas.microsoft.com/office/drawing/2014/main" id="{395B40EE-7D75-9547-C032-F2865E36C671}"/>
              </a:ext>
            </a:extLst>
          </p:cNvPr>
          <p:cNvSpPr/>
          <p:nvPr>
            <p:custDataLst>
              <p:tags r:id="rId164"/>
            </p:custDataLst>
          </p:nvPr>
        </p:nvSpPr>
        <p:spPr bwMode="gray">
          <a:xfrm>
            <a:off x="5064866" y="3962400"/>
            <a:ext cx="165100" cy="165100"/>
          </a:xfrm>
          <a:prstGeom prst="ellipse">
            <a:avLst/>
          </a:prstGeom>
          <a:solidFill>
            <a:srgbClr val="9DB1CF"/>
          </a:solidFill>
          <a:ln w="63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ctr">
              <a:buNone/>
            </a:pPr>
            <a:r>
              <a:rPr lang="en-US" sz="800">
                <a:solidFill>
                  <a:schemeClr val="tx1"/>
                </a:solidFill>
              </a:rPr>
              <a:t>1</a:t>
            </a:r>
          </a:p>
        </p:txBody>
      </p:sp>
      <p:sp>
        <p:nvSpPr>
          <p:cNvPr id="49" name="TextBox 48">
            <a:extLst>
              <a:ext uri="{FF2B5EF4-FFF2-40B4-BE49-F238E27FC236}">
                <a16:creationId xmlns:a16="http://schemas.microsoft.com/office/drawing/2014/main" id="{9F6A278D-81D7-3E2A-B5B7-8BE1DEAE7F02}"/>
              </a:ext>
            </a:extLst>
          </p:cNvPr>
          <p:cNvSpPr txBox="1"/>
          <p:nvPr>
            <p:custDataLst>
              <p:tags r:id="rId165"/>
            </p:custDataLst>
          </p:nvPr>
        </p:nvSpPr>
        <p:spPr bwMode="gray">
          <a:xfrm>
            <a:off x="4403716" y="3941505"/>
            <a:ext cx="503238" cy="184666"/>
          </a:xfrm>
          <a:prstGeom prst="rect">
            <a:avLst/>
          </a:prstGeom>
          <a:noFill/>
        </p:spPr>
        <p:txBody>
          <a:bodyPr wrap="square" lIns="0" tIns="0" rIns="0" bIns="0" rtlCol="0">
            <a:spAutoFit/>
          </a:bodyPr>
          <a:lstStyle/>
          <a:p>
            <a:pPr marL="0" indent="0">
              <a:buNone/>
            </a:pPr>
            <a:r>
              <a:rPr lang="en-US" sz="1200"/>
              <a:t>Africa</a:t>
            </a:r>
          </a:p>
        </p:txBody>
      </p:sp>
      <p:sp>
        <p:nvSpPr>
          <p:cNvPr id="62" name="Speech Bubble: Rectangle 61">
            <a:extLst>
              <a:ext uri="{FF2B5EF4-FFF2-40B4-BE49-F238E27FC236}">
                <a16:creationId xmlns:a16="http://schemas.microsoft.com/office/drawing/2014/main" id="{7FB6420E-9107-2969-0865-C08F3714BD93}"/>
              </a:ext>
            </a:extLst>
          </p:cNvPr>
          <p:cNvSpPr/>
          <p:nvPr/>
        </p:nvSpPr>
        <p:spPr bwMode="gray">
          <a:xfrm>
            <a:off x="7574995" y="3785462"/>
            <a:ext cx="1478605" cy="379239"/>
          </a:xfrm>
          <a:prstGeom prst="wedgeRectCallout">
            <a:avLst>
              <a:gd name="adj1" fmla="val -21710"/>
              <a:gd name="adj2" fmla="val -71286"/>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50" dirty="0">
                <a:solidFill>
                  <a:srgbClr val="FFFFFF"/>
                </a:solidFill>
              </a:rPr>
              <a:t>Japan has ~21 GW in suspended operation.</a:t>
            </a:r>
          </a:p>
        </p:txBody>
      </p:sp>
      <p:sp>
        <p:nvSpPr>
          <p:cNvPr id="4" name="Rectangle 3">
            <a:extLst>
              <a:ext uri="{FF2B5EF4-FFF2-40B4-BE49-F238E27FC236}">
                <a16:creationId xmlns:a16="http://schemas.microsoft.com/office/drawing/2014/main" id="{6A0F68AA-0D41-C1F0-9704-0E1D78ADFC7F}"/>
              </a:ext>
            </a:extLst>
          </p:cNvPr>
          <p:cNvSpPr/>
          <p:nvPr/>
        </p:nvSpPr>
        <p:spPr bwMode="gray">
          <a:xfrm>
            <a:off x="0" y="0"/>
            <a:ext cx="2922494" cy="38220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Deep dive: New build – large reactors</a:t>
            </a:r>
          </a:p>
        </p:txBody>
      </p:sp>
    </p:spTree>
    <p:extLst>
      <p:ext uri="{BB962C8B-B14F-4D97-AF65-F5344CB8AC3E}">
        <p14:creationId xmlns:p14="http://schemas.microsoft.com/office/powerpoint/2010/main" val="7156287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6DC15D-B7FF-986F-F5CF-5BDF14CDEEF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DDE6024-CE47-2E12-7AA8-E9A6327A6375}"/>
              </a:ext>
            </a:extLst>
          </p:cNvPr>
          <p:cNvGraphicFramePr>
            <a:graphicFrameLocks noChangeAspect="1"/>
          </p:cNvGraphicFramePr>
          <p:nvPr>
            <p:custDataLst>
              <p:tags r:id="rId2"/>
            </p:custDataLst>
            <p:extLst>
              <p:ext uri="{D42A27DB-BD31-4B8C-83A1-F6EECF244321}">
                <p14:modId xmlns:p14="http://schemas.microsoft.com/office/powerpoint/2010/main" val="1871494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592" imgH="591" progId="TCLayout.ActiveDocument.1">
                  <p:embed/>
                </p:oleObj>
              </mc:Choice>
              <mc:Fallback>
                <p:oleObj name="think-cell Slide" r:id="rId40" imgW="592" imgH="591" progId="TCLayout.ActiveDocument.1">
                  <p:embed/>
                  <p:pic>
                    <p:nvPicPr>
                      <p:cNvPr id="7" name="think-cell data - do not delete" hidden="1">
                        <a:extLst>
                          <a:ext uri="{FF2B5EF4-FFF2-40B4-BE49-F238E27FC236}">
                            <a16:creationId xmlns:a16="http://schemas.microsoft.com/office/drawing/2014/main" id="{ADDE6024-CE47-2E12-7AA8-E9A6327A6375}"/>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1911" name="Rectangle 1910">
            <a:extLst>
              <a:ext uri="{FF2B5EF4-FFF2-40B4-BE49-F238E27FC236}">
                <a16:creationId xmlns:a16="http://schemas.microsoft.com/office/drawing/2014/main" id="{D8B22266-2B2E-5D94-634B-09359BD6822B}"/>
              </a:ext>
            </a:extLst>
          </p:cNvPr>
          <p:cNvSpPr/>
          <p:nvPr/>
        </p:nvSpPr>
        <p:spPr bwMode="gray">
          <a:xfrm>
            <a:off x="6368119" y="2057306"/>
            <a:ext cx="1140757" cy="1679669"/>
          </a:xfrm>
          <a:prstGeom prst="rect">
            <a:avLst/>
          </a:prstGeom>
          <a:solidFill>
            <a:schemeClr val="accent1">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BA71FAD2-338C-EAB7-2C55-2D4188BAB36B}"/>
              </a:ext>
            </a:extLst>
          </p:cNvPr>
          <p:cNvSpPr>
            <a:spLocks noGrp="1"/>
          </p:cNvSpPr>
          <p:nvPr>
            <p:ph type="title"/>
          </p:nvPr>
        </p:nvSpPr>
        <p:spPr/>
        <p:txBody>
          <a:bodyPr vert="horz">
            <a:noAutofit/>
          </a:bodyPr>
          <a:lstStyle/>
          <a:p>
            <a:r>
              <a:rPr lang="en-US"/>
              <a:t>Off-grid SMRs are a mid- to long-term solution for increased energy demand from hyperscale and colocation data centers</a:t>
            </a:r>
            <a:endParaRPr lang="en-US" sz="2800">
              <a:solidFill>
                <a:schemeClr val="tx1"/>
              </a:solidFill>
            </a:endParaRPr>
          </a:p>
        </p:txBody>
      </p:sp>
      <p:sp>
        <p:nvSpPr>
          <p:cNvPr id="44" name="TextBox 8">
            <a:extLst>
              <a:ext uri="{FF2B5EF4-FFF2-40B4-BE49-F238E27FC236}">
                <a16:creationId xmlns:a16="http://schemas.microsoft.com/office/drawing/2014/main" id="{4B7C3435-21AB-8E28-C37C-8909D1642205}"/>
              </a:ext>
            </a:extLst>
          </p:cNvPr>
          <p:cNvSpPr txBox="1"/>
          <p:nvPr/>
        </p:nvSpPr>
        <p:spPr bwMode="gray">
          <a:xfrm>
            <a:off x="9663830" y="1554480"/>
            <a:ext cx="2257558" cy="4809009"/>
          </a:xfrm>
          <a:prstGeom prst="rect">
            <a:avLst/>
          </a:prstGeom>
          <a:solidFill>
            <a:srgbClr val="E3E8EE"/>
          </a:solidFill>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Observa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Long timelines for transmission connection, gas turbines (more than seven years), and power supply stress the need for </a:t>
            </a:r>
            <a:r>
              <a:rPr kumimoji="0" lang="en-US" sz="1050" b="1" i="0" u="none" strike="noStrike" kern="1200" cap="none" spc="0" normalizeH="0" baseline="0" noProof="0">
                <a:ln>
                  <a:noFill/>
                </a:ln>
                <a:solidFill>
                  <a:srgbClr val="000000"/>
                </a:solidFill>
                <a:effectLst/>
                <a:uLnTx/>
                <a:uFillTx/>
                <a:latin typeface="Arial"/>
                <a:ea typeface="+mn-ea"/>
                <a:cs typeface="+mn-cs"/>
              </a:rPr>
              <a:t>off-grid solu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b="1">
                <a:solidFill>
                  <a:srgbClr val="000000"/>
                </a:solidFill>
                <a:latin typeface="Arial"/>
              </a:rPr>
              <a:t>Off-grid solar is a strong option for training-only data centers, </a:t>
            </a:r>
            <a:r>
              <a:rPr lang="en-US" sz="1050">
                <a:solidFill>
                  <a:srgbClr val="000000"/>
                </a:solidFill>
                <a:latin typeface="Arial"/>
              </a:rPr>
              <a:t>when uptime requirements are slightly relaxed.</a:t>
            </a:r>
          </a:p>
          <a:p>
            <a:pPr marL="171450" indent="-171450">
              <a:spcAft>
                <a:spcPts val="600"/>
              </a:spcAft>
              <a:buFont typeface="Arial" panose="020B0604020202020204" pitchFamily="34" charset="0"/>
              <a:buChar char="•"/>
              <a:defRPr/>
            </a:pPr>
            <a:r>
              <a:rPr lang="en-US" sz="1050">
                <a:solidFill>
                  <a:srgbClr val="000000"/>
                </a:solidFill>
              </a:rPr>
              <a:t>The </a:t>
            </a:r>
            <a:r>
              <a:rPr lang="en-US" sz="1050" b="1">
                <a:solidFill>
                  <a:srgbClr val="000000"/>
                </a:solidFill>
              </a:rPr>
              <a:t>small size and modularity of SMRs </a:t>
            </a:r>
            <a:r>
              <a:rPr lang="en-US" sz="1050">
                <a:solidFill>
                  <a:srgbClr val="000000"/>
                </a:solidFill>
              </a:rPr>
              <a:t>allow these to be sited closer to data centers. This is ideal for </a:t>
            </a:r>
            <a:r>
              <a:rPr lang="en-US" sz="1050" b="1">
                <a:solidFill>
                  <a:srgbClr val="000000"/>
                </a:solidFill>
              </a:rPr>
              <a:t>inference AI </a:t>
            </a:r>
            <a:r>
              <a:rPr lang="en-US" sz="1050">
                <a:solidFill>
                  <a:srgbClr val="000000"/>
                </a:solidFill>
              </a:rPr>
              <a:t>workloads, which have </a:t>
            </a:r>
            <a:r>
              <a:rPr lang="en-US" sz="1050" b="1">
                <a:solidFill>
                  <a:srgbClr val="000000"/>
                </a:solidFill>
              </a:rPr>
              <a:t>low-latency and high-redundancy</a:t>
            </a:r>
            <a:r>
              <a:rPr lang="en-US" sz="1050">
                <a:solidFill>
                  <a:srgbClr val="000000"/>
                </a:solidFill>
              </a:rPr>
              <a:t> requirements. </a:t>
            </a:r>
            <a:endParaRPr lang="en-US" sz="1050">
              <a:solidFill>
                <a:srgbClr val="000000"/>
              </a:solidFill>
              <a:latin typeface="Arial"/>
            </a:endParaRPr>
          </a:p>
          <a:p>
            <a:pPr marL="171450" indent="-171450">
              <a:spcAft>
                <a:spcPts val="600"/>
              </a:spcAft>
              <a:buFont typeface="Arial" panose="020B0604020202020204" pitchFamily="34" charset="0"/>
              <a:buChar char="•"/>
              <a:defRPr/>
            </a:pPr>
            <a:r>
              <a:rPr kumimoji="0" lang="en-US" sz="1050" b="0" i="0" u="none" strike="noStrike" kern="1200" cap="none" spc="0" normalizeH="0" baseline="0" noProof="0">
                <a:ln>
                  <a:noFill/>
                </a:ln>
                <a:solidFill>
                  <a:srgbClr val="000000"/>
                </a:solidFill>
                <a:effectLst/>
                <a:uLnTx/>
                <a:uFillTx/>
                <a:latin typeface="Arial"/>
                <a:ea typeface="+mn-ea"/>
                <a:cs typeface="+mn-cs"/>
              </a:rPr>
              <a:t>The data center construction timeline is up to seven years in the United States. SMR technology is expected to be deployed </a:t>
            </a:r>
            <a:r>
              <a:rPr lang="en-US" sz="1050">
                <a:solidFill>
                  <a:srgbClr val="000000"/>
                </a:solidFill>
                <a:latin typeface="Arial"/>
              </a:rPr>
              <a:t>after </a:t>
            </a:r>
            <a:r>
              <a:rPr kumimoji="0" lang="en-US" sz="1050" b="0" i="0" u="none" strike="noStrike" kern="1200" cap="none" spc="0" normalizeH="0" baseline="0" noProof="0">
                <a:ln>
                  <a:noFill/>
                </a:ln>
                <a:solidFill>
                  <a:srgbClr val="000000"/>
                </a:solidFill>
                <a:effectLst/>
                <a:uLnTx/>
                <a:uFillTx/>
                <a:latin typeface="Arial"/>
                <a:ea typeface="+mn-ea"/>
                <a:cs typeface="+mn-cs"/>
              </a:rPr>
              <a:t>2030</a:t>
            </a:r>
            <a:r>
              <a:rPr lang="en-US" sz="1050">
                <a:solidFill>
                  <a:srgbClr val="000000"/>
                </a:solidFill>
                <a:latin typeface="Arial"/>
              </a:rPr>
              <a:t>.</a:t>
            </a:r>
            <a:endParaRPr lang="en-US" sz="1050" b="0" i="0" u="none" strike="noStrike" kern="1200" cap="none" spc="0" normalizeH="0" baseline="0" noProof="0">
              <a:ln>
                <a:noFill/>
              </a:ln>
              <a:solidFill>
                <a:srgbClr val="000000"/>
              </a:solidFill>
              <a:effectLst/>
              <a:uLnTx/>
              <a:uFillTx/>
              <a:latin typeface="Arial"/>
              <a:cs typeface="Arial"/>
            </a:endParaRPr>
          </a:p>
        </p:txBody>
      </p:sp>
      <p:cxnSp>
        <p:nvCxnSpPr>
          <p:cNvPr id="364" name="btfpColumnHeaderBoxLine223027">
            <a:extLst>
              <a:ext uri="{FF2B5EF4-FFF2-40B4-BE49-F238E27FC236}">
                <a16:creationId xmlns:a16="http://schemas.microsoft.com/office/drawing/2014/main" id="{7E92EB11-0102-C14B-895C-902AE702A780}"/>
              </a:ext>
            </a:extLst>
          </p:cNvPr>
          <p:cNvCxnSpPr/>
          <p:nvPr/>
        </p:nvCxnSpPr>
        <p:spPr bwMode="gray">
          <a:xfrm>
            <a:off x="329184" y="1842626"/>
            <a:ext cx="443394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56" name="Chart 55"/>
          <p:cNvGraphicFramePr/>
          <p:nvPr>
            <p:custDataLst>
              <p:tags r:id="rId3"/>
            </p:custDataLst>
            <p:extLst>
              <p:ext uri="{D42A27DB-BD31-4B8C-83A1-F6EECF244321}">
                <p14:modId xmlns:p14="http://schemas.microsoft.com/office/powerpoint/2010/main" val="3637845460"/>
              </p:ext>
            </p:extLst>
          </p:nvPr>
        </p:nvGraphicFramePr>
        <p:xfrm>
          <a:off x="5645150" y="2006600"/>
          <a:ext cx="4035425" cy="2382838"/>
        </p:xfrm>
        <a:graphic>
          <a:graphicData uri="http://schemas.openxmlformats.org/drawingml/2006/chart">
            <c:chart xmlns:c="http://schemas.openxmlformats.org/drawingml/2006/chart" xmlns:r="http://schemas.openxmlformats.org/officeDocument/2006/relationships" r:id="rId42"/>
          </a:graphicData>
        </a:graphic>
      </p:graphicFrame>
      <p:sp>
        <p:nvSpPr>
          <p:cNvPr id="1376" name="Text Placeholder 10">
            <a:extLst>
              <a:ext uri="{FF2B5EF4-FFF2-40B4-BE49-F238E27FC236}">
                <a16:creationId xmlns:a16="http://schemas.microsoft.com/office/drawing/2014/main" id="{0A36DA0F-49BC-E3F3-E7E8-73D4A8457F97}"/>
              </a:ext>
            </a:extLst>
          </p:cNvPr>
          <p:cNvSpPr txBox="1">
            <a:spLocks/>
          </p:cNvSpPr>
          <p:nvPr>
            <p:custDataLst>
              <p:tags r:id="rId4"/>
            </p:custDataLst>
          </p:nvPr>
        </p:nvSpPr>
        <p:spPr bwMode="gray">
          <a:xfrm>
            <a:off x="5505450" y="3856038"/>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EE5798E-0C25-4B80-967F-098E1A7A186A}" type="datetime'''''0''''''''''''''.''0'''''''''''''''''''">
              <a:rPr kumimoji="0" lang="en-US" altLang="en-US" sz="1200" b="0" i="0" u="none" strike="noStrike" kern="1200" cap="none" spc="0" normalizeH="0" baseline="0" noProof="0" smtClean="0">
                <a:ln>
                  <a:noFill/>
                </a:ln>
                <a:solidFill>
                  <a:srgbClr val="000000"/>
                </a:solidFill>
                <a:effectLst/>
                <a:uLnTx/>
                <a:uFillTx/>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0</a:t>
            </a:fld>
            <a:endParaRPr kumimoji="0" lang="en-US" sz="1200" b="0" i="0" u="none" strike="noStrike" kern="1200" cap="none" spc="0" normalizeH="0" baseline="0" noProof="0">
              <a:ln>
                <a:noFill/>
              </a:ln>
              <a:solidFill>
                <a:srgbClr val="000000"/>
              </a:solidFill>
              <a:effectLst/>
              <a:uLnTx/>
              <a:uFillTx/>
            </a:endParaRPr>
          </a:p>
        </p:txBody>
      </p:sp>
      <p:sp>
        <p:nvSpPr>
          <p:cNvPr id="1816" name="Text Placeholder 10">
            <a:extLst>
              <a:ext uri="{FF2B5EF4-FFF2-40B4-BE49-F238E27FC236}">
                <a16:creationId xmlns:a16="http://schemas.microsoft.com/office/drawing/2014/main" id="{7280C423-FE61-7D8B-AC72-C80BE2F98D70}"/>
              </a:ext>
            </a:extLst>
          </p:cNvPr>
          <p:cNvSpPr txBox="1">
            <a:spLocks/>
          </p:cNvSpPr>
          <p:nvPr>
            <p:custDataLst>
              <p:tags r:id="rId5"/>
            </p:custDataLst>
          </p:nvPr>
        </p:nvSpPr>
        <p:spPr bwMode="gray">
          <a:xfrm>
            <a:off x="5505450" y="1998663"/>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60197E0-9992-43E7-A492-D273839B9545}" type="datetime'''''''''''''''''''''''''''''''''''''3''''''''''''.''''0'''''''">
              <a:rPr kumimoji="0" lang="en-US" altLang="en-US" sz="1200" b="0" i="0" u="none" strike="noStrike" kern="1200" cap="none" spc="0" normalizeH="0" baseline="0" noProof="0" smtClean="0">
                <a:ln>
                  <a:noFill/>
                </a:ln>
                <a:solidFill>
                  <a:srgbClr val="000000"/>
                </a:solidFill>
                <a:effectLst/>
                <a:uLnTx/>
                <a:uFillTx/>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200" b="0" i="0" u="none" strike="noStrike" kern="1200" cap="none" spc="0" normalizeH="0" baseline="0" noProof="0">
              <a:ln>
                <a:noFill/>
              </a:ln>
              <a:solidFill>
                <a:srgbClr val="000000"/>
              </a:solidFill>
              <a:effectLst/>
              <a:uLnTx/>
              <a:uFillTx/>
            </a:endParaRPr>
          </a:p>
        </p:txBody>
      </p:sp>
      <p:cxnSp>
        <p:nvCxnSpPr>
          <p:cNvPr id="1801" name="Straight Connector 1800">
            <a:extLst>
              <a:ext uri="{FF2B5EF4-FFF2-40B4-BE49-F238E27FC236}">
                <a16:creationId xmlns:a16="http://schemas.microsoft.com/office/drawing/2014/main" id="{6178C296-E049-98D7-CF3F-D1DE40DDDEB2}"/>
              </a:ext>
            </a:extLst>
          </p:cNvPr>
          <p:cNvCxnSpPr>
            <a:cxnSpLocks/>
          </p:cNvCxnSpPr>
          <p:nvPr>
            <p:custDataLst>
              <p:tags r:id="rId6"/>
            </p:custDataLst>
          </p:nvPr>
        </p:nvCxnSpPr>
        <p:spPr bwMode="auto">
          <a:xfrm>
            <a:off x="6902450" y="2303464"/>
            <a:ext cx="93663" cy="666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83" name="Straight Connector 1982"/>
          <p:cNvCxnSpPr/>
          <p:nvPr>
            <p:custDataLst>
              <p:tags r:id="rId7"/>
            </p:custDataLst>
          </p:nvPr>
        </p:nvCxnSpPr>
        <p:spPr bwMode="auto">
          <a:xfrm flipH="1">
            <a:off x="6618288" y="2684464"/>
            <a:ext cx="98425" cy="158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42" name="Straight Connector 1941"/>
          <p:cNvCxnSpPr/>
          <p:nvPr>
            <p:custDataLst>
              <p:tags r:id="rId8"/>
            </p:custDataLst>
          </p:nvPr>
        </p:nvCxnSpPr>
        <p:spPr bwMode="auto">
          <a:xfrm flipH="1">
            <a:off x="6115050" y="3338513"/>
            <a:ext cx="17463" cy="650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47" name="Straight Connector 1946"/>
          <p:cNvCxnSpPr/>
          <p:nvPr>
            <p:custDataLst>
              <p:tags r:id="rId9"/>
            </p:custDataLst>
          </p:nvPr>
        </p:nvCxnSpPr>
        <p:spPr bwMode="auto">
          <a:xfrm flipH="1">
            <a:off x="6035675" y="3633788"/>
            <a:ext cx="55563" cy="15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78" name="Straight Connector 1977"/>
          <p:cNvCxnSpPr/>
          <p:nvPr>
            <p:custDataLst>
              <p:tags r:id="rId10"/>
            </p:custDataLst>
          </p:nvPr>
        </p:nvCxnSpPr>
        <p:spPr bwMode="auto">
          <a:xfrm>
            <a:off x="7200900" y="3544888"/>
            <a:ext cx="39688" cy="523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93" name="Straight Connector 1792">
            <a:extLst>
              <a:ext uri="{FF2B5EF4-FFF2-40B4-BE49-F238E27FC236}">
                <a16:creationId xmlns:a16="http://schemas.microsoft.com/office/drawing/2014/main" id="{B1ABA823-3FFA-3698-32B4-924B724F192C}"/>
              </a:ext>
            </a:extLst>
          </p:cNvPr>
          <p:cNvCxnSpPr/>
          <p:nvPr>
            <p:custDataLst>
              <p:tags r:id="rId11"/>
            </p:custDataLst>
          </p:nvPr>
        </p:nvCxnSpPr>
        <p:spPr bwMode="auto">
          <a:xfrm flipV="1">
            <a:off x="9104314" y="3406775"/>
            <a:ext cx="220663" cy="873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p:cNvCxnSpPr/>
          <p:nvPr>
            <p:custDataLst>
              <p:tags r:id="rId12"/>
            </p:custDataLst>
          </p:nvPr>
        </p:nvCxnSpPr>
        <p:spPr bwMode="auto">
          <a:xfrm flipH="1">
            <a:off x="6502399" y="3822700"/>
            <a:ext cx="6508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565" name="Text Placeholder 10">
            <a:extLst>
              <a:ext uri="{FF2B5EF4-FFF2-40B4-BE49-F238E27FC236}">
                <a16:creationId xmlns:a16="http://schemas.microsoft.com/office/drawing/2014/main" id="{9FE82FC6-9010-D373-4D5E-00ABB7E6D51D}"/>
              </a:ext>
            </a:extLst>
          </p:cNvPr>
          <p:cNvSpPr txBox="1">
            <a:spLocks/>
          </p:cNvSpPr>
          <p:nvPr>
            <p:custDataLst>
              <p:tags r:id="rId13"/>
            </p:custDataLst>
          </p:nvPr>
        </p:nvSpPr>
        <p:spPr bwMode="auto">
          <a:xfrm>
            <a:off x="7359650" y="4352925"/>
            <a:ext cx="2138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AEE3D42-0A4B-4A0D-9563-49AED0DAFEFF}" type="datetime'Dis''''tance ''fr''o''m u''rb''''''''an are''a''s ''(''k''m)'">
              <a:rPr lang="en-US" altLang="en-US" sz="1200" smtClean="0">
                <a:solidFill>
                  <a:srgbClr val="000000"/>
                </a:solidFill>
              </a:rPr>
              <a:pPr marL="0" lvl="0" indent="0" algn="r">
                <a:spcBef>
                  <a:spcPct val="0"/>
                </a:spcBef>
                <a:spcAft>
                  <a:spcPct val="0"/>
                </a:spcAft>
                <a:buNone/>
                <a:defRPr/>
              </a:pPr>
              <a:t>Distance from urban areas (km)</a:t>
            </a:fld>
            <a:endParaRPr kumimoji="0" lang="en-US" sz="1200" i="0" strike="noStrike" kern="1200" cap="none" spc="0" normalizeH="0" baseline="0" noProof="0">
              <a:ln>
                <a:noFill/>
              </a:ln>
              <a:solidFill>
                <a:srgbClr val="000000"/>
              </a:solidFill>
              <a:effectLst/>
              <a:uLnTx/>
              <a:uFillTx/>
            </a:endParaRPr>
          </a:p>
        </p:txBody>
      </p:sp>
      <p:sp>
        <p:nvSpPr>
          <p:cNvPr id="1656" name="Text Placeholder 10">
            <a:extLst>
              <a:ext uri="{FF2B5EF4-FFF2-40B4-BE49-F238E27FC236}">
                <a16:creationId xmlns:a16="http://schemas.microsoft.com/office/drawing/2014/main" id="{60E8AB55-2B31-67D2-5CA4-CB6F4BDEDE76}"/>
              </a:ext>
            </a:extLst>
          </p:cNvPr>
          <p:cNvSpPr txBox="1">
            <a:spLocks/>
          </p:cNvSpPr>
          <p:nvPr>
            <p:custDataLst>
              <p:tags r:id="rId14"/>
            </p:custDataLst>
          </p:nvPr>
        </p:nvSpPr>
        <p:spPr bwMode="auto">
          <a:xfrm>
            <a:off x="5200650" y="1998663"/>
            <a:ext cx="182563" cy="1474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80F4A8E-E3AF-4499-ADB9-17454E2C3CAE}" type="datetime'Sp''''atia''''l'' c''on''cen''''''tr''a''t''''''i''''o''n'">
              <a:rPr lang="en-US" altLang="en-US" sz="1200" smtClean="0">
                <a:solidFill>
                  <a:srgbClr val="000000"/>
                </a:solidFill>
              </a:rPr>
              <a:pPr marL="0" lvl="0" indent="0" algn="r">
                <a:spcBef>
                  <a:spcPct val="0"/>
                </a:spcBef>
                <a:spcAft>
                  <a:spcPct val="0"/>
                </a:spcAft>
                <a:buNone/>
                <a:defRPr/>
              </a:pPr>
              <a:t>Spatial concentration</a:t>
            </a:fld>
            <a:r>
              <a:rPr lang="en-US" altLang="en-US" sz="1200" baseline="30000">
                <a:solidFill>
                  <a:srgbClr val="000000"/>
                </a:solidFill>
              </a:rPr>
              <a:t>2</a:t>
            </a:r>
            <a:endParaRPr kumimoji="0" lang="en-US" sz="1200" i="0" strike="noStrike" kern="1200" cap="none" spc="0" normalizeH="0" baseline="0" noProof="0">
              <a:ln>
                <a:noFill/>
              </a:ln>
              <a:solidFill>
                <a:srgbClr val="000000"/>
              </a:solidFill>
              <a:effectLst/>
              <a:uLnTx/>
              <a:uFillTx/>
            </a:endParaRPr>
          </a:p>
        </p:txBody>
      </p:sp>
      <p:sp>
        <p:nvSpPr>
          <p:cNvPr id="1400" name="Text Placeholder 10">
            <a:extLst>
              <a:ext uri="{FF2B5EF4-FFF2-40B4-BE49-F238E27FC236}">
                <a16:creationId xmlns:a16="http://schemas.microsoft.com/office/drawing/2014/main" id="{042CAA11-24DF-A1B0-5ABF-3FB771DE6977}"/>
              </a:ext>
            </a:extLst>
          </p:cNvPr>
          <p:cNvSpPr txBox="1">
            <a:spLocks/>
          </p:cNvSpPr>
          <p:nvPr>
            <p:custDataLst>
              <p:tags r:id="rId15"/>
            </p:custDataLst>
          </p:nvPr>
        </p:nvSpPr>
        <p:spPr bwMode="gray">
          <a:xfrm>
            <a:off x="6370638" y="2120900"/>
            <a:ext cx="80327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1A75E0A-9D49-4FAB-9C6F-B089D7A3B6EA}" type="datetime'''H''''y''''''''''''''''''p''e''r''s''c''''a''''le'''''''">
              <a:rPr kumimoji="0" lang="en-US" altLang="en-US" sz="1200" b="0" i="0" u="none" strike="noStrike" kern="1200" cap="none" spc="0" normalizeH="0" baseline="0" noProof="0" smtClean="0">
                <a:ln>
                  <a:noFill/>
                </a:ln>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yperscale</a:t>
            </a:fld>
            <a:endParaRPr kumimoji="0" lang="en-US" sz="1200" b="0" i="0" u="none" strike="noStrike" kern="1200" cap="none" spc="0" normalizeH="0" baseline="0" noProof="0">
              <a:ln>
                <a:noFill/>
              </a:ln>
              <a:effectLst/>
              <a:uLnTx/>
              <a:uFillTx/>
            </a:endParaRPr>
          </a:p>
        </p:txBody>
      </p:sp>
      <p:sp>
        <p:nvSpPr>
          <p:cNvPr id="1391" name="Text Placeholder 10">
            <a:extLst>
              <a:ext uri="{FF2B5EF4-FFF2-40B4-BE49-F238E27FC236}">
                <a16:creationId xmlns:a16="http://schemas.microsoft.com/office/drawing/2014/main" id="{E3E7DEF2-63E5-C966-8FC1-223E5E27F0FA}"/>
              </a:ext>
            </a:extLst>
          </p:cNvPr>
          <p:cNvSpPr txBox="1">
            <a:spLocks/>
          </p:cNvSpPr>
          <p:nvPr>
            <p:custDataLst>
              <p:tags r:id="rId16"/>
            </p:custDataLst>
          </p:nvPr>
        </p:nvSpPr>
        <p:spPr bwMode="gray">
          <a:xfrm>
            <a:off x="6716713" y="2535238"/>
            <a:ext cx="76041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AF9D083-8FCC-4179-8F6D-EA05146BCEA5}" type="datetime'''C''olo''''''''c''a''''''''''''''''''t''i''on'''''">
              <a:rPr kumimoji="0" lang="en-US" altLang="en-US" sz="1200" b="0" i="0" u="none" strike="noStrike" kern="1200" cap="none" spc="0" normalizeH="0" baseline="0" noProof="0" smtClean="0">
                <a:ln>
                  <a:noFill/>
                </a:ln>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location</a:t>
            </a:fld>
            <a:endParaRPr kumimoji="0" lang="en-US" sz="1200" b="0" i="0" u="none" strike="noStrike" kern="1200" cap="none" spc="0" normalizeH="0" baseline="0" noProof="0">
              <a:ln>
                <a:noFill/>
              </a:ln>
              <a:effectLst/>
              <a:uLnTx/>
              <a:uFillTx/>
            </a:endParaRPr>
          </a:p>
        </p:txBody>
      </p:sp>
      <p:sp>
        <p:nvSpPr>
          <p:cNvPr id="1382" name="Text Placeholder 10">
            <a:extLst>
              <a:ext uri="{FF2B5EF4-FFF2-40B4-BE49-F238E27FC236}">
                <a16:creationId xmlns:a16="http://schemas.microsoft.com/office/drawing/2014/main" id="{03703A75-0B8C-C1EA-1446-00E1301771DD}"/>
              </a:ext>
            </a:extLst>
          </p:cNvPr>
          <p:cNvSpPr txBox="1">
            <a:spLocks/>
          </p:cNvSpPr>
          <p:nvPr>
            <p:custDataLst>
              <p:tags r:id="rId17"/>
            </p:custDataLst>
          </p:nvPr>
        </p:nvSpPr>
        <p:spPr bwMode="gray">
          <a:xfrm>
            <a:off x="5957888" y="3155950"/>
            <a:ext cx="398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A06C8B7-43D9-4779-99CA-8423E9561DCB}" type="datetime'E''''''''''''''d''''g''''''e'''''''''''''''''''''''''''''">
              <a:rPr kumimoji="0" lang="en-US" altLang="en-US" sz="1200" b="0" i="0" u="none" strike="noStrike" kern="1200" cap="none" spc="0" normalizeH="0" baseline="0" noProof="0" smtClean="0">
                <a:ln>
                  <a:noFill/>
                </a:ln>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dge</a:t>
            </a:fld>
            <a:endParaRPr kumimoji="0" lang="en-US" sz="1200" b="0" i="0" u="none" strike="noStrike" kern="1200" cap="none" spc="0" normalizeH="0" baseline="0" noProof="0">
              <a:ln>
                <a:noFill/>
              </a:ln>
              <a:effectLst/>
              <a:uLnTx/>
              <a:uFillTx/>
            </a:endParaRPr>
          </a:p>
        </p:txBody>
      </p:sp>
      <p:sp>
        <p:nvSpPr>
          <p:cNvPr id="1372" name="Text Placeholder 10">
            <a:extLst>
              <a:ext uri="{FF2B5EF4-FFF2-40B4-BE49-F238E27FC236}">
                <a16:creationId xmlns:a16="http://schemas.microsoft.com/office/drawing/2014/main" id="{B7B1F4A1-1666-C886-EF17-6DD0EBB59815}"/>
              </a:ext>
            </a:extLst>
          </p:cNvPr>
          <p:cNvSpPr txBox="1">
            <a:spLocks/>
          </p:cNvSpPr>
          <p:nvPr>
            <p:custDataLst>
              <p:tags r:id="rId18"/>
            </p:custDataLst>
          </p:nvPr>
        </p:nvSpPr>
        <p:spPr bwMode="gray">
          <a:xfrm>
            <a:off x="6091238" y="3532188"/>
            <a:ext cx="769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413731B-22DD-4750-966B-BB3D9A4C2780}" type="datetime'''''''''''''''''D''''''''is''t''r''i''but''''''''ed'''''''''''">
              <a:rPr kumimoji="0" lang="en-US" altLang="en-US" sz="1200" b="0" i="0" u="none" strike="noStrike" kern="1200" cap="none" spc="0" normalizeH="0" baseline="0" noProof="0" smtClean="0">
                <a:ln>
                  <a:noFill/>
                </a:ln>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istributed</a:t>
            </a:fld>
            <a:endParaRPr kumimoji="0" lang="en-US" sz="1200" b="0" i="0" u="none" strike="noStrike" kern="1200" cap="none" spc="0" normalizeH="0" baseline="0" noProof="0">
              <a:ln>
                <a:noFill/>
              </a:ln>
              <a:effectLst/>
              <a:uLnTx/>
              <a:uFillTx/>
            </a:endParaRPr>
          </a:p>
        </p:txBody>
      </p:sp>
      <p:sp>
        <p:nvSpPr>
          <p:cNvPr id="1363" name="Text Placeholder 10">
            <a:extLst>
              <a:ext uri="{FF2B5EF4-FFF2-40B4-BE49-F238E27FC236}">
                <a16:creationId xmlns:a16="http://schemas.microsoft.com/office/drawing/2014/main" id="{C4676F71-392C-5FFC-7AAD-263B0073D75E}"/>
              </a:ext>
            </a:extLst>
          </p:cNvPr>
          <p:cNvSpPr txBox="1">
            <a:spLocks/>
          </p:cNvSpPr>
          <p:nvPr>
            <p:custDataLst>
              <p:tags r:id="rId19"/>
            </p:custDataLst>
          </p:nvPr>
        </p:nvSpPr>
        <p:spPr bwMode="gray">
          <a:xfrm>
            <a:off x="6902450" y="3362325"/>
            <a:ext cx="4587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42B330E-8644-4C2C-ADE5-FE4127E0F499}" type="datetime'''S''''''''M''Rs'''''''''''''''''''''''''''''''''''''''">
              <a:rPr kumimoji="0" lang="en-US" altLang="en-US" sz="1200" b="0" i="0" u="none" strike="noStrike" kern="1200" cap="none" spc="0" normalizeH="0" baseline="0" noProof="0" smtClean="0">
                <a:ln>
                  <a:noFill/>
                </a:ln>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MRs</a:t>
            </a:fld>
            <a:endParaRPr kumimoji="0" lang="en-US" sz="1200" b="0" i="0" u="none" strike="noStrike" kern="1200" cap="none" spc="0" normalizeH="0" baseline="0" noProof="0">
              <a:ln>
                <a:noFill/>
              </a:ln>
              <a:effectLst/>
              <a:uLnTx/>
              <a:uFillTx/>
            </a:endParaRPr>
          </a:p>
        </p:txBody>
      </p:sp>
      <p:sp>
        <p:nvSpPr>
          <p:cNvPr id="1355" name="Text Placeholder 10">
            <a:extLst>
              <a:ext uri="{FF2B5EF4-FFF2-40B4-BE49-F238E27FC236}">
                <a16:creationId xmlns:a16="http://schemas.microsoft.com/office/drawing/2014/main" id="{48408AD7-E95F-DFB6-C41F-CAD2449862FC}"/>
              </a:ext>
            </a:extLst>
          </p:cNvPr>
          <p:cNvSpPr txBox="1">
            <a:spLocks/>
          </p:cNvSpPr>
          <p:nvPr>
            <p:custDataLst>
              <p:tags r:id="rId20"/>
            </p:custDataLst>
          </p:nvPr>
        </p:nvSpPr>
        <p:spPr bwMode="gray">
          <a:xfrm>
            <a:off x="8162925" y="3494088"/>
            <a:ext cx="14192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72177AAA-8351-4BFE-9F61-3F13549B0A12}" type="datetime'''''Lar''ge'' ''''''nuc''lea''r'''''' ''''p''''l''a''nt''''s'">
              <a:rPr lang="en-US" altLang="en-US" sz="1200" smtClean="0"/>
              <a:pPr marL="0" lvl="0" indent="0">
                <a:spcBef>
                  <a:spcPct val="0"/>
                </a:spcBef>
                <a:spcAft>
                  <a:spcPct val="0"/>
                </a:spcAft>
                <a:buNone/>
                <a:defRPr/>
              </a:pPr>
              <a:t>Large nuclear plants</a:t>
            </a:fld>
            <a:endParaRPr kumimoji="0" lang="en-US" sz="1200" b="0" i="0" u="none" strike="noStrike" kern="1200" cap="none" spc="0" normalizeH="0" baseline="0" noProof="0">
              <a:ln>
                <a:noFill/>
              </a:ln>
              <a:effectLst/>
              <a:uLnTx/>
              <a:uFillTx/>
            </a:endParaRPr>
          </a:p>
        </p:txBody>
      </p:sp>
      <p:sp>
        <p:nvSpPr>
          <p:cNvPr id="9" name="Text Placeholder 10">
            <a:extLst>
              <a:ext uri="{FF2B5EF4-FFF2-40B4-BE49-F238E27FC236}">
                <a16:creationId xmlns:a16="http://schemas.microsoft.com/office/drawing/2014/main" id="{846EDD4C-1A6D-EE2D-927B-AFD267D28C3D}"/>
              </a:ext>
            </a:extLst>
          </p:cNvPr>
          <p:cNvSpPr txBox="1">
            <a:spLocks/>
          </p:cNvSpPr>
          <p:nvPr>
            <p:custDataLst>
              <p:tags r:id="rId21"/>
            </p:custDataLst>
          </p:nvPr>
        </p:nvSpPr>
        <p:spPr bwMode="gray">
          <a:xfrm>
            <a:off x="6567488" y="3735388"/>
            <a:ext cx="920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78EE0AD-4B4A-424A-9580-C3BCEE5D2115}" type="datetime'''Off''''-g''r''''''''''i''''d ''''''''''s''o''l''a''''''''r'">
              <a:rPr lang="en-US" altLang="en-US" sz="1200" smtClean="0"/>
              <a:pPr marL="0" lvl="0" indent="0">
                <a:spcBef>
                  <a:spcPct val="0"/>
                </a:spcBef>
                <a:spcAft>
                  <a:spcPct val="0"/>
                </a:spcAft>
                <a:buNone/>
                <a:defRPr/>
              </a:pPr>
              <a:t>Off-grid solar</a:t>
            </a:fld>
            <a:endParaRPr kumimoji="0" lang="en-US" sz="1200" b="0" i="0" strike="noStrike" kern="1200" cap="none" spc="0" normalizeH="0" baseline="0" noProof="0">
              <a:ln>
                <a:noFill/>
              </a:ln>
              <a:effectLst/>
              <a:uLnTx/>
              <a:uFillTx/>
            </a:endParaRPr>
          </a:p>
        </p:txBody>
      </p:sp>
      <p:graphicFrame>
        <p:nvGraphicFramePr>
          <p:cNvPr id="27" name="Table 26">
            <a:extLst>
              <a:ext uri="{FF2B5EF4-FFF2-40B4-BE49-F238E27FC236}">
                <a16:creationId xmlns:a16="http://schemas.microsoft.com/office/drawing/2014/main" id="{14744CBA-D941-D0BD-BB9A-1C79EFD3B4ED}"/>
              </a:ext>
            </a:extLst>
          </p:cNvPr>
          <p:cNvGraphicFramePr>
            <a:graphicFrameLocks noGrp="1"/>
          </p:cNvGraphicFramePr>
          <p:nvPr>
            <p:extLst>
              <p:ext uri="{D42A27DB-BD31-4B8C-83A1-F6EECF244321}">
                <p14:modId xmlns:p14="http://schemas.microsoft.com/office/powerpoint/2010/main" val="3720063534"/>
              </p:ext>
            </p:extLst>
          </p:nvPr>
        </p:nvGraphicFramePr>
        <p:xfrm>
          <a:off x="5505450" y="4840288"/>
          <a:ext cx="3757254" cy="1303460"/>
        </p:xfrm>
        <a:graphic>
          <a:graphicData uri="http://schemas.openxmlformats.org/drawingml/2006/table">
            <a:tbl>
              <a:tblPr firstRow="1" bandRow="1">
                <a:tableStyleId>{2D5ABB26-0587-4C30-8999-92F81FD0307C}</a:tableStyleId>
              </a:tblPr>
              <a:tblGrid>
                <a:gridCol w="1287139">
                  <a:extLst>
                    <a:ext uri="{9D8B030D-6E8A-4147-A177-3AD203B41FA5}">
                      <a16:colId xmlns:a16="http://schemas.microsoft.com/office/drawing/2014/main" val="450818218"/>
                    </a:ext>
                  </a:extLst>
                </a:gridCol>
                <a:gridCol w="1269125">
                  <a:extLst>
                    <a:ext uri="{9D8B030D-6E8A-4147-A177-3AD203B41FA5}">
                      <a16:colId xmlns:a16="http://schemas.microsoft.com/office/drawing/2014/main" val="2129070320"/>
                    </a:ext>
                  </a:extLst>
                </a:gridCol>
                <a:gridCol w="1200990">
                  <a:extLst>
                    <a:ext uri="{9D8B030D-6E8A-4147-A177-3AD203B41FA5}">
                      <a16:colId xmlns:a16="http://schemas.microsoft.com/office/drawing/2014/main" val="3459595104"/>
                    </a:ext>
                  </a:extLst>
                </a:gridCol>
              </a:tblGrid>
              <a:tr h="250050">
                <a:tc>
                  <a:txBody>
                    <a:bodyPr/>
                    <a:lstStyle/>
                    <a:p>
                      <a:pPr lvl="0" algn="ctr">
                        <a:buNone/>
                      </a:pPr>
                      <a:endParaRPr lang="en-US" sz="1200" b="1">
                        <a:effectLst/>
                        <a:latin typeface="Arial" panose="020B0604020202020204" pitchFamily="34" charset="0"/>
                        <a:cs typeface="Arial" panose="020B0604020202020204" pitchFamily="34" charset="0"/>
                      </a:endParaRPr>
                    </a:p>
                  </a:txBody>
                  <a:tcPr marL="64843" marR="64843" marT="38906" marB="38906">
                    <a:lnL w="0">
                      <a:noFill/>
                    </a:lnL>
                    <a:lnR w="0">
                      <a:noFill/>
                    </a:lnR>
                    <a:lnT w="0">
                      <a:noFill/>
                    </a:lnT>
                    <a:lnB w="3175">
                      <a:solidFill>
                        <a:schemeClr val="tx1"/>
                      </a:solidFill>
                    </a:lnB>
                  </a:tcPr>
                </a:tc>
                <a:tc>
                  <a:txBody>
                    <a:bodyPr/>
                    <a:lstStyle/>
                    <a:p>
                      <a:pPr lvl="0" algn="l">
                        <a:buNone/>
                      </a:pPr>
                      <a:r>
                        <a:rPr lang="en-US" sz="1200" b="1">
                          <a:latin typeface="Arial" panose="020B0604020202020204" pitchFamily="34" charset="0"/>
                          <a:cs typeface="Arial" panose="020B0604020202020204" pitchFamily="34" charset="0"/>
                        </a:rPr>
                        <a:t>Training AI</a:t>
                      </a:r>
                      <a:endParaRPr lang="en-US" sz="1200" b="0">
                        <a:latin typeface="Arial" panose="020B0604020202020204" pitchFamily="34" charset="0"/>
                        <a:cs typeface="Arial" panose="020B0604020202020204" pitchFamily="34" charset="0"/>
                      </a:endParaRPr>
                    </a:p>
                  </a:txBody>
                  <a:tcPr marL="77811" marR="77811" marT="38906" marB="38906">
                    <a:lnL w="0">
                      <a:noFill/>
                    </a:lnL>
                    <a:lnR w="0">
                      <a:noFill/>
                    </a:lnR>
                    <a:lnT w="0">
                      <a:noFill/>
                    </a:lnT>
                    <a:lnB w="3175">
                      <a:solidFill>
                        <a:schemeClr val="tx1"/>
                      </a:solidFill>
                    </a:lnB>
                    <a:solidFill>
                      <a:schemeClr val="bg2">
                        <a:lumMod val="40000"/>
                        <a:lumOff val="60000"/>
                      </a:schemeClr>
                    </a:solidFill>
                  </a:tcPr>
                </a:tc>
                <a:tc>
                  <a:txBody>
                    <a:bodyPr/>
                    <a:lstStyle/>
                    <a:p>
                      <a:pPr lvl="0" algn="l">
                        <a:buNone/>
                      </a:pPr>
                      <a:r>
                        <a:rPr lang="en-US" sz="1200" b="1">
                          <a:latin typeface="Arial" panose="020B0604020202020204" pitchFamily="34" charset="0"/>
                          <a:cs typeface="Arial" panose="020B0604020202020204" pitchFamily="34" charset="0"/>
                        </a:rPr>
                        <a:t>Inference AI</a:t>
                      </a:r>
                      <a:endParaRPr lang="en-US" sz="1200" b="0">
                        <a:latin typeface="Arial" panose="020B0604020202020204" pitchFamily="34" charset="0"/>
                        <a:cs typeface="Arial" panose="020B0604020202020204" pitchFamily="34" charset="0"/>
                      </a:endParaRPr>
                    </a:p>
                  </a:txBody>
                  <a:tcPr marL="77811" marR="77811" marT="38906" marB="38906">
                    <a:lnL w="0">
                      <a:noFill/>
                    </a:lnL>
                    <a:lnR w="0">
                      <a:noFill/>
                    </a:lnR>
                    <a:lnT w="0">
                      <a:noFill/>
                    </a:lnT>
                    <a:lnB w="3175">
                      <a:solidFill>
                        <a:schemeClr val="tx1"/>
                      </a:solidFill>
                    </a:lnB>
                    <a:solidFill>
                      <a:schemeClr val="bg2">
                        <a:lumMod val="40000"/>
                        <a:lumOff val="60000"/>
                      </a:schemeClr>
                    </a:solidFill>
                  </a:tcPr>
                </a:tc>
                <a:extLst>
                  <a:ext uri="{0D108BD9-81ED-4DB2-BD59-A6C34878D82A}">
                    <a16:rowId xmlns:a16="http://schemas.microsoft.com/office/drawing/2014/main" val="2023106739"/>
                  </a:ext>
                </a:extLst>
              </a:tr>
              <a:tr h="234068">
                <a:tc>
                  <a:txBody>
                    <a:bodyPr/>
                    <a:lstStyle/>
                    <a:p>
                      <a:pPr marL="0" indent="0" fontAlgn="base" latinLnBrk="0">
                        <a:buNone/>
                      </a:pPr>
                      <a:r>
                        <a:rPr lang="en-US" sz="1200">
                          <a:effectLst/>
                          <a:latin typeface="Arial" panose="020B0604020202020204" pitchFamily="34" charset="0"/>
                          <a:cs typeface="Arial" panose="020B0604020202020204" pitchFamily="34" charset="0"/>
                        </a:rPr>
                        <a:t>Hyperscale</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fontAlgn="base" latinLnBrk="0">
                        <a:buNone/>
                      </a:pPr>
                      <a:r>
                        <a:rPr lang="en-US" sz="1200">
                          <a:effectLst/>
                          <a:latin typeface="Arial" panose="020B0604020202020204" pitchFamily="34" charset="0"/>
                          <a:cs typeface="Arial" panose="020B0604020202020204" pitchFamily="34" charset="0"/>
                        </a:rPr>
                        <a:t>Primary </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tc>
                  <a:txBody>
                    <a:bodyPr/>
                    <a:lstStyle/>
                    <a:p>
                      <a:pPr marL="0" indent="0" fontAlgn="base" latinLnBrk="0">
                        <a:buNone/>
                      </a:pPr>
                      <a:r>
                        <a:rPr lang="en-US" sz="1200">
                          <a:effectLst/>
                          <a:latin typeface="Arial" panose="020B0604020202020204" pitchFamily="34" charset="0"/>
                          <a:cs typeface="Arial" panose="020B0604020202020204" pitchFamily="34" charset="0"/>
                        </a:rPr>
                        <a:t>Common</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54230108"/>
                  </a:ext>
                </a:extLst>
              </a:tr>
              <a:tr h="234068">
                <a:tc>
                  <a:txBody>
                    <a:bodyPr/>
                    <a:lstStyle/>
                    <a:p>
                      <a:pPr marL="0" indent="0" fontAlgn="base" latinLnBrk="0">
                        <a:buNone/>
                      </a:pPr>
                      <a:r>
                        <a:rPr lang="en-US" sz="1200">
                          <a:effectLst/>
                          <a:latin typeface="Arial" panose="020B0604020202020204" pitchFamily="34" charset="0"/>
                          <a:cs typeface="Arial" panose="020B0604020202020204" pitchFamily="34" charset="0"/>
                        </a:rPr>
                        <a:t>Colocation</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fontAlgn="base" latinLnBrk="0">
                        <a:buNone/>
                      </a:pPr>
                      <a:r>
                        <a:rPr lang="en-US" sz="1200">
                          <a:effectLst/>
                          <a:latin typeface="Arial" panose="020B0604020202020204" pitchFamily="34" charset="0"/>
                          <a:cs typeface="Arial" panose="020B0604020202020204" pitchFamily="34" charset="0"/>
                        </a:rPr>
                        <a:t>Limited</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tc>
                  <a:txBody>
                    <a:bodyPr/>
                    <a:lstStyle/>
                    <a:p>
                      <a:pPr marL="0" indent="0" fontAlgn="base" latinLnBrk="0">
                        <a:buNone/>
                      </a:pPr>
                      <a:r>
                        <a:rPr lang="en-US" sz="1200">
                          <a:effectLst/>
                          <a:latin typeface="Arial" panose="020B0604020202020204" pitchFamily="34" charset="0"/>
                          <a:cs typeface="Arial" panose="020B0604020202020204" pitchFamily="34" charset="0"/>
                        </a:rPr>
                        <a:t>Common</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200297278"/>
                  </a:ext>
                </a:extLst>
              </a:tr>
              <a:tr h="234068">
                <a:tc>
                  <a:txBody>
                    <a:bodyPr/>
                    <a:lstStyle/>
                    <a:p>
                      <a:pPr marL="0" indent="0" fontAlgn="base" latinLnBrk="0">
                        <a:buNone/>
                      </a:pPr>
                      <a:r>
                        <a:rPr lang="en-US" sz="1200">
                          <a:effectLst/>
                          <a:latin typeface="Arial" panose="020B0604020202020204" pitchFamily="34" charset="0"/>
                          <a:cs typeface="Arial" panose="020B0604020202020204" pitchFamily="34" charset="0"/>
                        </a:rPr>
                        <a:t>Edge</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fontAlgn="base" latinLnBrk="0">
                        <a:buNone/>
                      </a:pPr>
                      <a:r>
                        <a:rPr lang="en-US" sz="1200">
                          <a:effectLst/>
                          <a:latin typeface="Arial" panose="020B0604020202020204" pitchFamily="34" charset="0"/>
                          <a:cs typeface="Arial" panose="020B0604020202020204" pitchFamily="34" charset="0"/>
                        </a:rPr>
                        <a:t>Not suitable</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tc>
                  <a:txBody>
                    <a:bodyPr/>
                    <a:lstStyle/>
                    <a:p>
                      <a:pPr marL="0" indent="0" fontAlgn="base" latinLnBrk="0">
                        <a:buNone/>
                      </a:pPr>
                      <a:r>
                        <a:rPr lang="en-US" sz="1200">
                          <a:effectLst/>
                          <a:latin typeface="Arial" panose="020B0604020202020204" pitchFamily="34" charset="0"/>
                          <a:cs typeface="Arial" panose="020B0604020202020204" pitchFamily="34" charset="0"/>
                        </a:rPr>
                        <a:t>Primary</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491472058"/>
                  </a:ext>
                </a:extLst>
              </a:tr>
              <a:tr h="234068">
                <a:tc>
                  <a:txBody>
                    <a:bodyPr/>
                    <a:lstStyle/>
                    <a:p>
                      <a:pPr marL="0" indent="0" fontAlgn="base" latinLnBrk="0">
                        <a:buNone/>
                      </a:pPr>
                      <a:r>
                        <a:rPr lang="en-US" sz="1200">
                          <a:effectLst/>
                          <a:latin typeface="Arial" panose="020B0604020202020204" pitchFamily="34" charset="0"/>
                          <a:cs typeface="Arial" panose="020B0604020202020204" pitchFamily="34" charset="0"/>
                        </a:rPr>
                        <a:t>Distributed</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fontAlgn="base" latinLnBrk="0">
                        <a:buNone/>
                      </a:pPr>
                      <a:r>
                        <a:rPr lang="en-US" sz="1200">
                          <a:effectLst/>
                          <a:latin typeface="Arial" panose="020B0604020202020204" pitchFamily="34" charset="0"/>
                          <a:cs typeface="Arial" panose="020B0604020202020204" pitchFamily="34" charset="0"/>
                        </a:rPr>
                        <a:t>Not suitable</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tc>
                  <a:txBody>
                    <a:bodyPr/>
                    <a:lstStyle/>
                    <a:p>
                      <a:pPr marL="0" indent="0" fontAlgn="base" latinLnBrk="0">
                        <a:buNone/>
                      </a:pPr>
                      <a:r>
                        <a:rPr lang="en-US" sz="1200">
                          <a:effectLst/>
                          <a:latin typeface="Arial" panose="020B0604020202020204" pitchFamily="34" charset="0"/>
                          <a:cs typeface="Arial" panose="020B0604020202020204" pitchFamily="34" charset="0"/>
                        </a:rPr>
                        <a:t>Primary</a:t>
                      </a:r>
                    </a:p>
                  </a:txBody>
                  <a:tcPr marL="64843" marR="64843" marT="38906" marB="3890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323522735"/>
                  </a:ext>
                </a:extLst>
              </a:tr>
            </a:tbl>
          </a:graphicData>
        </a:graphic>
      </p:graphicFrame>
      <p:sp>
        <p:nvSpPr>
          <p:cNvPr id="1773" name="Rectangle 1772">
            <a:extLst>
              <a:ext uri="{FF2B5EF4-FFF2-40B4-BE49-F238E27FC236}">
                <a16:creationId xmlns:a16="http://schemas.microsoft.com/office/drawing/2014/main" id="{F3154FC8-0EA0-93B4-0C40-9861EC6F0DDA}"/>
              </a:ext>
            </a:extLst>
          </p:cNvPr>
          <p:cNvSpPr/>
          <p:nvPr/>
        </p:nvSpPr>
        <p:spPr bwMode="gray">
          <a:xfrm>
            <a:off x="2917547" y="2564592"/>
            <a:ext cx="1422523" cy="248611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High uncertainty</a:t>
            </a:r>
          </a:p>
        </p:txBody>
      </p:sp>
      <p:graphicFrame>
        <p:nvGraphicFramePr>
          <p:cNvPr id="60" name="Chart 59"/>
          <p:cNvGraphicFramePr/>
          <p:nvPr>
            <p:custDataLst>
              <p:tags r:id="rId22"/>
            </p:custDataLst>
            <p:extLst>
              <p:ext uri="{D42A27DB-BD31-4B8C-83A1-F6EECF244321}">
                <p14:modId xmlns:p14="http://schemas.microsoft.com/office/powerpoint/2010/main" val="91855711"/>
              </p:ext>
            </p:extLst>
          </p:nvPr>
        </p:nvGraphicFramePr>
        <p:xfrm>
          <a:off x="204788" y="2382838"/>
          <a:ext cx="4489450" cy="3624262"/>
        </p:xfrm>
        <a:graphic>
          <a:graphicData uri="http://schemas.openxmlformats.org/drawingml/2006/chart">
            <c:chart xmlns:c="http://schemas.openxmlformats.org/drawingml/2006/chart" xmlns:r="http://schemas.openxmlformats.org/officeDocument/2006/relationships" r:id="rId43"/>
          </a:graphicData>
        </a:graphic>
      </p:graphicFrame>
      <p:sp>
        <p:nvSpPr>
          <p:cNvPr id="1603" name="TextBox 1602">
            <a:extLst>
              <a:ext uri="{FF2B5EF4-FFF2-40B4-BE49-F238E27FC236}">
                <a16:creationId xmlns:a16="http://schemas.microsoft.com/office/drawing/2014/main" id="{A74C3529-B5F8-2064-5870-5474A127D5C0}"/>
              </a:ext>
            </a:extLst>
          </p:cNvPr>
          <p:cNvSpPr txBox="1"/>
          <p:nvPr/>
        </p:nvSpPr>
        <p:spPr bwMode="gray">
          <a:xfrm>
            <a:off x="329184" y="1554480"/>
            <a:ext cx="4843526" cy="28814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ojected global </a:t>
            </a:r>
            <a:r>
              <a:rPr lang="en-US" sz="1400" b="1">
                <a:solidFill>
                  <a:srgbClr val="000000"/>
                </a:solidFill>
                <a:latin typeface="Arial" panose="020B0604020202020204" pitchFamily="34" charset="0"/>
                <a:cs typeface="Arial" panose="020B0604020202020204" pitchFamily="34" charset="0"/>
              </a:rPr>
              <a:t>d</a:t>
            </a:r>
            <a:r>
              <a:rPr kumimoji="0" lang="en-US" sz="14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ata</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lang="en-US" sz="1400" b="1">
                <a:solidFill>
                  <a:srgbClr val="000000"/>
                </a:solidFill>
                <a:latin typeface="Arial" panose="020B0604020202020204" pitchFamily="34" charset="0"/>
                <a:cs typeface="Arial" panose="020B0604020202020204" pitchFamily="34" charset="0"/>
              </a:rPr>
              <a:t>c</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ter </a:t>
            </a:r>
            <a:r>
              <a:rPr lang="en-US" sz="1400" b="1">
                <a:solidFill>
                  <a:srgbClr val="000000"/>
                </a:solidFill>
                <a:latin typeface="Arial" panose="020B0604020202020204" pitchFamily="34" charset="0"/>
                <a:cs typeface="Arial" panose="020B0604020202020204" pitchFamily="34" charset="0"/>
              </a:rPr>
              <a:t>energy</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demand</a:t>
            </a:r>
            <a:r>
              <a:rPr kumimoji="0" lang="en-US" sz="1400" b="1"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1</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TWh</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31" name="TextBox 1630">
            <a:extLst>
              <a:ext uri="{FF2B5EF4-FFF2-40B4-BE49-F238E27FC236}">
                <a16:creationId xmlns:a16="http://schemas.microsoft.com/office/drawing/2014/main" id="{EDCA48FD-9B88-49F5-41D1-A37363963657}"/>
              </a:ext>
            </a:extLst>
          </p:cNvPr>
          <p:cNvSpPr txBox="1"/>
          <p:nvPr/>
        </p:nvSpPr>
        <p:spPr bwMode="gray">
          <a:xfrm>
            <a:off x="5258435" y="1554479"/>
            <a:ext cx="3846595" cy="28814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Urban proximity and spatial concentration</a:t>
            </a:r>
            <a:r>
              <a:rPr kumimoji="0" lang="en-US" sz="1400" b="1"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2</a:t>
            </a: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95" name="Speech Bubble: Rectangle 4">
            <a:extLst>
              <a:ext uri="{FF2B5EF4-FFF2-40B4-BE49-F238E27FC236}">
                <a16:creationId xmlns:a16="http://schemas.microsoft.com/office/drawing/2014/main" id="{60F25385-CAFD-EE72-A897-4CFFB6235CE5}"/>
              </a:ext>
            </a:extLst>
          </p:cNvPr>
          <p:cNvSpPr/>
          <p:nvPr/>
        </p:nvSpPr>
        <p:spPr bwMode="gray">
          <a:xfrm>
            <a:off x="7592142" y="2734932"/>
            <a:ext cx="1483596" cy="542011"/>
          </a:xfrm>
          <a:prstGeom prst="wedgeRectCallout">
            <a:avLst>
              <a:gd name="adj1" fmla="val -67740"/>
              <a:gd name="adj2" fmla="val -4151"/>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Arial"/>
                <a:ea typeface="+mn-ea"/>
                <a:cs typeface="+mn-cs"/>
              </a:rPr>
              <a:t>SMRs can power spatially concentrated data center clusters.</a:t>
            </a:r>
          </a:p>
        </p:txBody>
      </p:sp>
      <p:sp>
        <p:nvSpPr>
          <p:cNvPr id="3" name="Rectangle 2">
            <a:extLst>
              <a:ext uri="{FF2B5EF4-FFF2-40B4-BE49-F238E27FC236}">
                <a16:creationId xmlns:a16="http://schemas.microsoft.com/office/drawing/2014/main" id="{40DEEAC5-B3CB-4A2F-6D27-D78691DD0AC6}"/>
              </a:ext>
            </a:extLst>
          </p:cNvPr>
          <p:cNvSpPr/>
          <p:nvPr/>
        </p:nvSpPr>
        <p:spPr bwMode="gray">
          <a:xfrm>
            <a:off x="-1" y="0"/>
            <a:ext cx="2607867" cy="38220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Deep dive: New build – SMRs</a:t>
            </a:r>
          </a:p>
        </p:txBody>
      </p:sp>
      <p:sp>
        <p:nvSpPr>
          <p:cNvPr id="57" name="btfpNotesBox368131">
            <a:hlinkClick r:id="rId44"/>
            <a:extLst>
              <a:ext uri="{FF2B5EF4-FFF2-40B4-BE49-F238E27FC236}">
                <a16:creationId xmlns:a16="http://schemas.microsoft.com/office/drawing/2014/main" id="{C2733DB5-CD27-957B-5C47-CC30E006C54D}"/>
              </a:ext>
            </a:extLst>
          </p:cNvPr>
          <p:cNvSpPr txBox="1"/>
          <p:nvPr>
            <p:custDataLst>
              <p:tags r:id="rId23"/>
            </p:custDataLst>
          </p:nvPr>
        </p:nvSpPr>
        <p:spPr bwMode="gray">
          <a:xfrm>
            <a:off x="330199" y="6328676"/>
            <a:ext cx="8774115" cy="492443"/>
          </a:xfrm>
          <a:prstGeom prst="rect">
            <a:avLst/>
          </a:prstGeom>
          <a:noFill/>
        </p:spPr>
        <p:txBody>
          <a:bodyPr vert="horz" wrap="square" lIns="0" tIns="0" rIns="0" bIns="0" rtlCol="0" anchor="b">
            <a:spAutoFit/>
          </a:bodyPr>
          <a:lstStyle/>
          <a:p>
            <a:pPr defTabSz="711200">
              <a:defRPr/>
            </a:pPr>
            <a:r>
              <a:rPr lang="en-US" sz="800" baseline="30000" dirty="0">
                <a:solidFill>
                  <a:srgbClr val="000000"/>
                </a:solidFill>
                <a:latin typeface="Arial"/>
              </a:rPr>
              <a:t>1</a:t>
            </a:r>
            <a:r>
              <a:rPr kumimoji="0" lang="en-US" sz="800" b="0" i="0" u="none" strike="noStrike" kern="1200" cap="none" spc="0" normalizeH="0" baseline="0" noProof="0" dirty="0">
                <a:ln>
                  <a:noFill/>
                </a:ln>
                <a:solidFill>
                  <a:srgbClr val="000000"/>
                </a:solidFill>
                <a:effectLst/>
                <a:uLnTx/>
                <a:uFillTx/>
                <a:latin typeface="Arial"/>
                <a:ea typeface="+mn-ea"/>
                <a:cs typeface="+mn-cs"/>
              </a:rPr>
              <a:t> IEA Scenarios are based on projected AI uptake, energy sector bottlenecks, and efficiency improvements</a:t>
            </a:r>
            <a:r>
              <a:rPr lang="en-US" sz="800" noProof="0" dirty="0">
                <a:solidFill>
                  <a:srgbClr val="000000"/>
                </a:solidFill>
                <a:latin typeface="Arial"/>
              </a:rPr>
              <a:t>.</a:t>
            </a:r>
            <a:r>
              <a:rPr lang="en-US" sz="800" baseline="30000" noProof="0" dirty="0">
                <a:solidFill>
                  <a:srgbClr val="000000"/>
                </a:solidFill>
                <a:latin typeface="Arial"/>
              </a:rPr>
              <a:t> </a:t>
            </a:r>
            <a:r>
              <a:rPr lang="en-US" sz="800" baseline="30000" dirty="0">
                <a:solidFill>
                  <a:srgbClr val="000000"/>
                </a:solidFill>
                <a:latin typeface="Arial"/>
              </a:rPr>
              <a:t>2 </a:t>
            </a:r>
            <a:r>
              <a:rPr lang="en-US" sz="800" dirty="0">
                <a:solidFill>
                  <a:srgbClr val="000000"/>
                </a:solidFill>
              </a:rPr>
              <a:t>Spatial concentration = electrical output/land area used.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Energy and AI</a:t>
            </a:r>
            <a:r>
              <a:rPr kumimoji="0" lang="en-US" sz="800" b="0" i="0" u="none" strike="noStrike" kern="1200" cap="none" spc="0" normalizeH="0" baseline="0" noProof="0" dirty="0">
                <a:ln>
                  <a:noFill/>
                </a:ln>
                <a:solidFill>
                  <a:srgbClr val="000000"/>
                </a:solidFill>
                <a:effectLst/>
                <a:uLnTx/>
                <a:uFillTx/>
                <a:latin typeface="Arial"/>
                <a:ea typeface="+mn-ea"/>
                <a:cs typeface="+mn-cs"/>
              </a:rPr>
              <a:t> (2025);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6"/>
              </a:rPr>
              <a:t>Electricity</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r>
              <a:rPr kumimoji="0" lang="en-US" sz="800" b="0" i="0" u="none" strike="noStrike" kern="1200" cap="none" spc="0" normalizeH="0" baseline="0" noProof="0" dirty="0" err="1">
                <a:ln>
                  <a:noFill/>
                </a:ln>
                <a:solidFill>
                  <a:srgbClr val="000000"/>
                </a:solidFill>
                <a:effectLst/>
                <a:uLnTx/>
                <a:uFillTx/>
                <a:latin typeface="Arial"/>
                <a:ea typeface="+mn-ea"/>
                <a:cs typeface="+mn-cs"/>
              </a:rPr>
              <a:t>Baranko</a:t>
            </a:r>
            <a:r>
              <a:rPr kumimoji="0" lang="en-US" sz="800" b="0" i="0" u="none" strike="noStrike" kern="1200" cap="none" spc="0" normalizeH="0" baseline="0" noProof="0" dirty="0">
                <a:ln>
                  <a:noFill/>
                </a:ln>
                <a:solidFill>
                  <a:srgbClr val="000000"/>
                </a:solidFill>
                <a:effectLst/>
                <a:uLnTx/>
                <a:uFillTx/>
                <a:latin typeface="Arial"/>
                <a:ea typeface="+mn-ea"/>
                <a:cs typeface="+mn-cs"/>
              </a:rPr>
              <a:t> et a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7"/>
              </a:rPr>
              <a:t>Fast, scalable, clean, and cheap enough</a:t>
            </a:r>
            <a:r>
              <a:rPr kumimoji="0" lang="en-US" sz="800" b="0" i="0" u="none" strike="noStrike" kern="1200" cap="none" spc="0" normalizeH="0" baseline="0" noProof="0" dirty="0">
                <a:ln>
                  <a:noFill/>
                </a:ln>
                <a:solidFill>
                  <a:srgbClr val="000000"/>
                </a:solidFill>
                <a:effectLst/>
                <a:uLnTx/>
                <a:uFillTx/>
                <a:latin typeface="Arial"/>
                <a:ea typeface="+mn-ea"/>
                <a:cs typeface="+mn-cs"/>
              </a:rPr>
              <a:t> (2024); Embe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8"/>
              </a:rPr>
              <a:t>Global Electricity Review</a:t>
            </a:r>
            <a:r>
              <a:rPr kumimoji="0" lang="en-US" sz="800" b="0" i="0" u="none" strike="noStrike" kern="1200" cap="none" spc="0" normalizeH="0" baseline="0" noProof="0" dirty="0">
                <a:ln>
                  <a:noFill/>
                </a:ln>
                <a:solidFill>
                  <a:srgbClr val="000000"/>
                </a:solidFill>
                <a:effectLst/>
                <a:uLnTx/>
                <a:uFillTx/>
                <a:latin typeface="Arial"/>
                <a:ea typeface="+mn-ea"/>
                <a:cs typeface="+mn-cs"/>
              </a:rPr>
              <a:t> (2025); B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9"/>
              </a:rPr>
              <a:t>How AI Influences US Data Center Power Demand</a:t>
            </a:r>
            <a:r>
              <a:rPr kumimoji="0" lang="en-US" sz="800" b="0" i="0" u="none" strike="noStrike" kern="1200" cap="none" spc="0" normalizeH="0" baseline="0" noProof="0" dirty="0">
                <a:ln>
                  <a:noFill/>
                </a:ln>
                <a:solidFill>
                  <a:srgbClr val="000000"/>
                </a:solidFill>
                <a:effectLst/>
                <a:uLnTx/>
                <a:uFillTx/>
                <a:latin typeface="Arial"/>
                <a:ea typeface="+mn-ea"/>
                <a:cs typeface="+mn-cs"/>
              </a:rPr>
              <a:t> (2025); Gartne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0"/>
              </a:rPr>
              <a:t>Power Shortages Will Restrict 40% of AI Data Centers by 2027</a:t>
            </a:r>
            <a:r>
              <a:rPr kumimoji="0" lang="en-US" sz="800" b="0" i="0" u="none" strike="noStrike" kern="1200" cap="none" spc="0" normalizeH="0" baseline="0" noProof="0" dirty="0">
                <a:ln>
                  <a:noFill/>
                </a:ln>
                <a:solidFill>
                  <a:srgbClr val="000000"/>
                </a:solidFill>
                <a:effectLst/>
                <a:uLnTx/>
                <a:uFillTx/>
                <a:latin typeface="Arial"/>
                <a:ea typeface="+mn-ea"/>
                <a:cs typeface="+mn-cs"/>
              </a:rPr>
              <a:t> (2024); Last Energy,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1"/>
              </a:rPr>
              <a:t>On-Site Nuclear Power</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Clara </a:t>
            </a:r>
            <a:r>
              <a:rPr kumimoji="0" lang="en-US" sz="800" b="0" i="0" u="none" strike="noStrike" kern="1200" cap="none" spc="0" normalizeH="0" baseline="0" noProof="0" dirty="0" err="1">
                <a:ln>
                  <a:noFill/>
                </a:ln>
                <a:solidFill>
                  <a:srgbClr val="000000"/>
                </a:solidFill>
                <a:effectLst/>
                <a:uLnTx/>
                <a:uFillTx/>
                <a:latin typeface="Arial"/>
                <a:ea typeface="+mn-ea"/>
                <a:cs typeface="+mn-cs"/>
              </a:rPr>
              <a:t>Zibel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Khande-Jaé</a:t>
            </a:r>
            <a:r>
              <a:rPr kumimoji="0" lang="en-US" sz="800" b="0" i="0" u="none" strike="noStrike" kern="1200" cap="none" spc="0" normalizeH="0" baseline="0" noProof="0" dirty="0">
                <a:ln>
                  <a:noFill/>
                </a:ln>
                <a:solidFill>
                  <a:srgbClr val="000000"/>
                </a:solidFill>
                <a:effectLst/>
                <a:uLnTx/>
                <a:uFillTx/>
                <a:latin typeface="Arial"/>
                <a:ea typeface="+mn-ea"/>
                <a:cs typeface="+mn-cs"/>
              </a:rPr>
              <a:t> Fisher, Isabel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yos</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2"/>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3"/>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Reenergizing Nuclear" (</a:t>
            </a:r>
            <a:r>
              <a:rPr lang="en-US" sz="800" dirty="0">
                <a:solidFill>
                  <a:srgbClr val="000000"/>
                </a:solidFill>
                <a:latin typeface="Arial"/>
              </a:rPr>
              <a:t>23 September 2025</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p:txBody>
      </p:sp>
      <p:sp>
        <p:nvSpPr>
          <p:cNvPr id="164" name="Rectangle 163"/>
          <p:cNvSpPr/>
          <p:nvPr>
            <p:custDataLst>
              <p:tags r:id="rId24"/>
            </p:custDataLst>
          </p:nvPr>
        </p:nvSpPr>
        <p:spPr bwMode="auto">
          <a:xfrm>
            <a:off x="850900" y="1843089"/>
            <a:ext cx="3492500" cy="536575"/>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870" name="Straight Connector 1869"/>
          <p:cNvCxnSpPr/>
          <p:nvPr>
            <p:custDataLst>
              <p:tags r:id="rId25"/>
            </p:custDataLst>
          </p:nvPr>
        </p:nvCxnSpPr>
        <p:spPr bwMode="gray">
          <a:xfrm>
            <a:off x="920750" y="1987550"/>
            <a:ext cx="195263"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2" name="Straight Connector 291"/>
          <p:cNvCxnSpPr/>
          <p:nvPr>
            <p:custDataLst>
              <p:tags r:id="rId26"/>
            </p:custDataLst>
          </p:nvPr>
        </p:nvCxnSpPr>
        <p:spPr bwMode="gray">
          <a:xfrm>
            <a:off x="920750" y="2220913"/>
            <a:ext cx="195263"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72" name="Straight Connector 1871"/>
          <p:cNvCxnSpPr/>
          <p:nvPr>
            <p:custDataLst>
              <p:tags r:id="rId27"/>
            </p:custDataLst>
          </p:nvPr>
        </p:nvCxnSpPr>
        <p:spPr bwMode="gray">
          <a:xfrm>
            <a:off x="1897063" y="1987550"/>
            <a:ext cx="195263"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73" name="Straight Connector 1872"/>
          <p:cNvCxnSpPr/>
          <p:nvPr>
            <p:custDataLst>
              <p:tags r:id="rId28"/>
            </p:custDataLst>
          </p:nvPr>
        </p:nvCxnSpPr>
        <p:spPr bwMode="gray">
          <a:xfrm>
            <a:off x="1908175" y="2220913"/>
            <a:ext cx="171450" cy="0"/>
          </a:xfrm>
          <a:prstGeom prst="line">
            <a:avLst/>
          </a:prstGeom>
          <a:ln w="9525" cap="rnd" cmpd="sng" algn="ctr">
            <a:solidFill>
              <a:schemeClr val="accent5"/>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506" name="Text Placeholder 10">
            <a:extLst>
              <a:ext uri="{FF2B5EF4-FFF2-40B4-BE49-F238E27FC236}">
                <a16:creationId xmlns:a16="http://schemas.microsoft.com/office/drawing/2014/main" id="{486518A3-4726-D250-8622-DCC3FD2BA8DA}"/>
              </a:ext>
            </a:extLst>
          </p:cNvPr>
          <p:cNvSpPr txBox="1">
            <a:spLocks/>
          </p:cNvSpPr>
          <p:nvPr>
            <p:custDataLst>
              <p:tags r:id="rId29"/>
            </p:custDataLst>
          </p:nvPr>
        </p:nvSpPr>
        <p:spPr bwMode="auto">
          <a:xfrm>
            <a:off x="1176339" y="1903413"/>
            <a:ext cx="600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en-US" altLang="en-US" sz="1200">
                <a:solidFill>
                  <a:srgbClr val="000000"/>
                </a:solidFill>
              </a:rPr>
              <a:t>IEA liftoff</a:t>
            </a:r>
            <a:endParaRPr kumimoji="0" lang="en-US" sz="1200" b="0" i="0" strike="noStrike" kern="1200" cap="none" spc="0" normalizeH="0" baseline="0" noProof="0">
              <a:ln>
                <a:noFill/>
              </a:ln>
              <a:solidFill>
                <a:srgbClr val="000000"/>
              </a:solidFill>
              <a:effectLst/>
              <a:uLnTx/>
              <a:uFillTx/>
            </a:endParaRPr>
          </a:p>
        </p:txBody>
      </p:sp>
      <p:sp>
        <p:nvSpPr>
          <p:cNvPr id="597" name="Text Placeholder 10">
            <a:extLst>
              <a:ext uri="{FF2B5EF4-FFF2-40B4-BE49-F238E27FC236}">
                <a16:creationId xmlns:a16="http://schemas.microsoft.com/office/drawing/2014/main" id="{486518A3-4726-D250-8622-DCC3FD2BA8DA}"/>
              </a:ext>
            </a:extLst>
          </p:cNvPr>
          <p:cNvSpPr txBox="1">
            <a:spLocks/>
          </p:cNvSpPr>
          <p:nvPr>
            <p:custDataLst>
              <p:tags r:id="rId30"/>
            </p:custDataLst>
          </p:nvPr>
        </p:nvSpPr>
        <p:spPr bwMode="auto">
          <a:xfrm>
            <a:off x="1176338" y="2136775"/>
            <a:ext cx="609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en-US" altLang="en-US" sz="1200">
                <a:solidFill>
                  <a:srgbClr val="000000"/>
                </a:solidFill>
              </a:rPr>
              <a:t>IEA base</a:t>
            </a:r>
            <a:endParaRPr kumimoji="0" lang="en-US" sz="1200" b="0" i="0" strike="noStrike" kern="1200" cap="none" spc="0" normalizeH="0" baseline="0" noProof="0">
              <a:ln>
                <a:noFill/>
              </a:ln>
              <a:solidFill>
                <a:srgbClr val="000000"/>
              </a:solidFill>
              <a:effectLst/>
              <a:uLnTx/>
              <a:uFillTx/>
            </a:endParaRPr>
          </a:p>
        </p:txBody>
      </p:sp>
      <p:sp>
        <p:nvSpPr>
          <p:cNvPr id="1508" name="Text Placeholder 10">
            <a:extLst>
              <a:ext uri="{FF2B5EF4-FFF2-40B4-BE49-F238E27FC236}">
                <a16:creationId xmlns:a16="http://schemas.microsoft.com/office/drawing/2014/main" id="{9CBC3028-E477-3F25-0268-298D7CEA5AA2}"/>
              </a:ext>
            </a:extLst>
          </p:cNvPr>
          <p:cNvSpPr txBox="1">
            <a:spLocks/>
          </p:cNvSpPr>
          <p:nvPr>
            <p:custDataLst>
              <p:tags r:id="rId31"/>
            </p:custDataLst>
          </p:nvPr>
        </p:nvSpPr>
        <p:spPr bwMode="auto">
          <a:xfrm>
            <a:off x="2152650" y="1903413"/>
            <a:ext cx="10048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en-US" altLang="en-US" sz="1200">
                <a:solidFill>
                  <a:srgbClr val="000000"/>
                </a:solidFill>
              </a:rPr>
              <a:t>IEA headwinds</a:t>
            </a:r>
            <a:endParaRPr kumimoji="0" lang="en-US" sz="1200" b="0" i="0" u="none" strike="noStrike" kern="1200" cap="none" spc="0" normalizeH="0" baseline="0" noProof="0">
              <a:ln>
                <a:noFill/>
              </a:ln>
              <a:solidFill>
                <a:srgbClr val="000000"/>
              </a:solidFill>
              <a:effectLst/>
              <a:uLnTx/>
              <a:uFillTx/>
            </a:endParaRPr>
          </a:p>
        </p:txBody>
      </p:sp>
      <p:sp>
        <p:nvSpPr>
          <p:cNvPr id="1804" name="Text Placeholder 10">
            <a:extLst>
              <a:ext uri="{FF2B5EF4-FFF2-40B4-BE49-F238E27FC236}">
                <a16:creationId xmlns:a16="http://schemas.microsoft.com/office/drawing/2014/main" id="{1BF6607B-A369-5893-EDC1-79E0F3610F13}"/>
              </a:ext>
            </a:extLst>
          </p:cNvPr>
          <p:cNvSpPr txBox="1">
            <a:spLocks/>
          </p:cNvSpPr>
          <p:nvPr>
            <p:custDataLst>
              <p:tags r:id="rId32"/>
            </p:custDataLst>
          </p:nvPr>
        </p:nvSpPr>
        <p:spPr bwMode="auto">
          <a:xfrm>
            <a:off x="2152650" y="2136775"/>
            <a:ext cx="2130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en-US" altLang="en-US" sz="1200"/>
              <a:t>Bloomberg ETS – U.S. demand</a:t>
            </a:r>
            <a:endParaRPr kumimoji="0" lang="en-US" sz="1200" b="0" i="0" u="none" strike="noStrike" kern="1200" cap="none" spc="0" normalizeH="0" baseline="0" noProof="0">
              <a:ln>
                <a:noFill/>
              </a:ln>
              <a:effectLst/>
              <a:uLnTx/>
              <a:uFillTx/>
            </a:endParaRPr>
          </a:p>
        </p:txBody>
      </p:sp>
      <p:sp>
        <p:nvSpPr>
          <p:cNvPr id="71" name="Rectangle 70"/>
          <p:cNvSpPr/>
          <p:nvPr>
            <p:custDataLst>
              <p:tags r:id="rId33"/>
            </p:custDataLst>
          </p:nvPr>
        </p:nvSpPr>
        <p:spPr bwMode="auto">
          <a:xfrm>
            <a:off x="7770813" y="1843088"/>
            <a:ext cx="1600200" cy="536575"/>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91" name="Isosceles Triangle 1890"/>
          <p:cNvSpPr/>
          <p:nvPr>
            <p:custDataLst>
              <p:tags r:id="rId34"/>
            </p:custDataLst>
          </p:nvPr>
        </p:nvSpPr>
        <p:spPr bwMode="auto">
          <a:xfrm>
            <a:off x="7893050" y="1943100"/>
            <a:ext cx="88900" cy="88900"/>
          </a:xfrm>
          <a:prstGeom prst="triangle">
            <a:avLst/>
          </a:prstGeom>
          <a:solidFill>
            <a:schemeClr val="accent4"/>
          </a:solidFill>
          <a:ln w="9525"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97" name="Oval 1896"/>
          <p:cNvSpPr/>
          <p:nvPr>
            <p:custDataLst>
              <p:tags r:id="rId35"/>
            </p:custDataLst>
          </p:nvPr>
        </p:nvSpPr>
        <p:spPr bwMode="auto">
          <a:xfrm>
            <a:off x="7893050" y="2176463"/>
            <a:ext cx="88900" cy="88900"/>
          </a:xfrm>
          <a:prstGeom prst="ellipse">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0"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8096251" y="1903413"/>
            <a:ext cx="1116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Data center type</a:t>
            </a:r>
            <a:endParaRPr lang="en-US" sz="1200"/>
          </a:p>
        </p:txBody>
      </p:sp>
      <p:sp>
        <p:nvSpPr>
          <p:cNvPr id="211"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8096250" y="2136775"/>
            <a:ext cx="9794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8F1E6CE-F53F-4003-903B-C04652CE437F}" type="datetime'''E''''''''ne''r''''''g''''''''''''y'''''' ''s''ourc''''e'''">
              <a:rPr lang="en-US" altLang="en-US" sz="1200" smtClean="0"/>
              <a:pPr marL="0" lvl="0" indent="0">
                <a:spcBef>
                  <a:spcPct val="0"/>
                </a:spcBef>
                <a:spcAft>
                  <a:spcPct val="0"/>
                </a:spcAft>
                <a:buNone/>
              </a:pPr>
              <a:t>Energy source</a:t>
            </a:fld>
            <a:endParaRPr lang="en-US" sz="1200"/>
          </a:p>
        </p:txBody>
      </p:sp>
      <p:cxnSp>
        <p:nvCxnSpPr>
          <p:cNvPr id="514" name="btfpColumnHeaderBoxLine223027">
            <a:extLst>
              <a:ext uri="{FF2B5EF4-FFF2-40B4-BE49-F238E27FC236}">
                <a16:creationId xmlns:a16="http://schemas.microsoft.com/office/drawing/2014/main" id="{7E92EB11-0102-C14B-895C-902AE702A780}"/>
              </a:ext>
            </a:extLst>
          </p:cNvPr>
          <p:cNvCxnSpPr/>
          <p:nvPr/>
        </p:nvCxnSpPr>
        <p:spPr bwMode="gray">
          <a:xfrm>
            <a:off x="5222876" y="1842626"/>
            <a:ext cx="429768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43" name="TextBox 542">
            <a:extLst>
              <a:ext uri="{FF2B5EF4-FFF2-40B4-BE49-F238E27FC236}">
                <a16:creationId xmlns:a16="http://schemas.microsoft.com/office/drawing/2014/main" id="{EDCA48FD-9B88-49F5-41D1-A37363963657}"/>
              </a:ext>
            </a:extLst>
          </p:cNvPr>
          <p:cNvSpPr txBox="1"/>
          <p:nvPr/>
        </p:nvSpPr>
        <p:spPr bwMode="gray">
          <a:xfrm>
            <a:off x="5258435" y="4544216"/>
            <a:ext cx="3846595" cy="28814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ata center types</a:t>
            </a: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544" name="btfpColumnHeaderBoxLine223027">
            <a:extLst>
              <a:ext uri="{FF2B5EF4-FFF2-40B4-BE49-F238E27FC236}">
                <a16:creationId xmlns:a16="http://schemas.microsoft.com/office/drawing/2014/main" id="{7E92EB11-0102-C14B-895C-902AE702A780}"/>
              </a:ext>
            </a:extLst>
          </p:cNvPr>
          <p:cNvCxnSpPr/>
          <p:nvPr/>
        </p:nvCxnSpPr>
        <p:spPr bwMode="gray">
          <a:xfrm>
            <a:off x="5222876" y="4832363"/>
            <a:ext cx="429768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0632847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08B5256B-BD9C-7A33-3A41-22EB35B6F2C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56251B3-3245-F8BB-78FC-DD6F62D4C072}"/>
              </a:ext>
            </a:extLst>
          </p:cNvPr>
          <p:cNvGraphicFramePr>
            <a:graphicFrameLocks noChangeAspect="1"/>
          </p:cNvGraphicFramePr>
          <p:nvPr>
            <p:custDataLst>
              <p:tags r:id="rId2"/>
            </p:custDataLst>
            <p:extLst>
              <p:ext uri="{D42A27DB-BD31-4B8C-83A1-F6EECF244321}">
                <p14:modId xmlns:p14="http://schemas.microsoft.com/office/powerpoint/2010/main" val="731518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6" name="think-cell data - do not delete" hidden="1">
                        <a:extLst>
                          <a:ext uri="{FF2B5EF4-FFF2-40B4-BE49-F238E27FC236}">
                            <a16:creationId xmlns:a16="http://schemas.microsoft.com/office/drawing/2014/main" id="{556251B3-3245-F8BB-78FC-DD6F62D4C0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426D07-C123-9B00-5EAE-A36231CD0EC0}"/>
              </a:ext>
            </a:extLst>
          </p:cNvPr>
          <p:cNvSpPr>
            <a:spLocks noGrp="1"/>
          </p:cNvSpPr>
          <p:nvPr>
            <p:ph type="title"/>
          </p:nvPr>
        </p:nvSpPr>
        <p:spPr>
          <a:xfrm>
            <a:off x="472440" y="4017571"/>
            <a:ext cx="10515600" cy="2436792"/>
          </a:xfrm>
        </p:spPr>
        <p:txBody>
          <a:bodyPr vert="horz">
            <a:normAutofit/>
          </a:bodyPr>
          <a:lstStyle/>
          <a:p>
            <a:r>
              <a:rPr lang="en-US">
                <a:effectLst>
                  <a:outerShdw blurRad="50800" dist="38100" dir="8100000" algn="tr" rotWithShape="0">
                    <a:prstClr val="black">
                      <a:alpha val="40000"/>
                    </a:prstClr>
                  </a:outerShdw>
                </a:effectLst>
              </a:rPr>
              <a:t>Technological Developments</a:t>
            </a:r>
          </a:p>
        </p:txBody>
      </p:sp>
    </p:spTree>
    <p:custDataLst>
      <p:tags r:id="rId1"/>
    </p:custDataLst>
    <p:extLst>
      <p:ext uri="{BB962C8B-B14F-4D97-AF65-F5344CB8AC3E}">
        <p14:creationId xmlns:p14="http://schemas.microsoft.com/office/powerpoint/2010/main" val="13129675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extLst>
              <p:ext uri="{D42A27DB-BD31-4B8C-83A1-F6EECF244321}">
                <p14:modId xmlns:p14="http://schemas.microsoft.com/office/powerpoint/2010/main" val="3430754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15" name="Picture 14"/>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520995" y="808075"/>
            <a:ext cx="3498112" cy="5178056"/>
          </a:xfrm>
          <a:prstGeom prst="rect">
            <a:avLst/>
          </a:prstGeom>
        </p:spPr>
      </p:pic>
      <p:sp>
        <p:nvSpPr>
          <p:cNvPr id="13" name="Title 2">
            <a:extLst>
              <a:ext uri="{FF2B5EF4-FFF2-40B4-BE49-F238E27FC236}">
                <a16:creationId xmlns:a16="http://schemas.microsoft.com/office/drawing/2014/main" id="{360AB3BC-5A13-1AF0-BA4D-D333B3A78B56}"/>
              </a:ext>
            </a:extLst>
          </p:cNvPr>
          <p:cNvSpPr txBox="1">
            <a:spLocks/>
          </p:cNvSpPr>
          <p:nvPr/>
        </p:nvSpPr>
        <p:spPr>
          <a:xfrm>
            <a:off x="672895" y="4696510"/>
            <a:ext cx="3165987" cy="1154162"/>
          </a:xfrm>
          <a:prstGeom prst="rect">
            <a:avLst/>
          </a:prstGeom>
          <a:solidFill>
            <a:srgbClr val="9D9D9D">
              <a:alpha val="67059"/>
            </a:srgbClr>
          </a:solidFill>
        </p:spPr>
        <p:txBody>
          <a:bodyPr vert="horz" lIns="91440" tIns="0" rIns="91440" bIns="45720" rtlCol="0" anchor="b" anchorCtr="0">
            <a:spAutoFit/>
          </a:bodyPr>
          <a:lstStyle>
            <a:defPPr>
              <a:defRPr lang="en-US"/>
            </a:defPPr>
            <a:lvl1pPr marL="0" marR="0" lvl="0" indent="0" fontAlgn="auto">
              <a:lnSpc>
                <a:spcPct val="100000"/>
              </a:lnSpc>
              <a:spcBef>
                <a:spcPct val="0"/>
              </a:spcBef>
              <a:spcAft>
                <a:spcPts val="0"/>
              </a:spcAft>
              <a:buClrTx/>
              <a:buSzTx/>
              <a:buFontTx/>
              <a:buNone/>
              <a:tabLst/>
              <a:defRPr kumimoji="0" sz="2400" b="1" i="0" u="none" strike="noStrike" cap="none" spc="0" normalizeH="0" baseline="0">
                <a:ln>
                  <a:noFill/>
                </a:ln>
                <a:solidFill>
                  <a:srgbClr val="FFFFFF"/>
                </a:solidFill>
                <a:effectLst/>
                <a:uLnTx/>
                <a:uFillTx/>
                <a:latin typeface="Arial"/>
                <a:ea typeface="+mj-ea"/>
                <a:cs typeface="+mj-cs"/>
              </a:defRPr>
            </a:lvl1pPr>
          </a:lstStyle>
          <a:p>
            <a:r>
              <a:rPr lang="en-US"/>
              <a:t>Key messages</a:t>
            </a:r>
            <a:br>
              <a:rPr lang="en-US"/>
            </a:br>
            <a:r>
              <a:rPr lang="en-US" b="0"/>
              <a:t>Technological Developments</a:t>
            </a:r>
          </a:p>
        </p:txBody>
      </p:sp>
      <p:sp>
        <p:nvSpPr>
          <p:cNvPr id="24" name="btfpNotesBox368131">
            <a:hlinkClick r:id="rId13"/>
            <a:extLst>
              <a:ext uri="{FF2B5EF4-FFF2-40B4-BE49-F238E27FC236}">
                <a16:creationId xmlns:a16="http://schemas.microsoft.com/office/drawing/2014/main" id="{30B64B73-5203-3A7A-0432-21AF37C8631A}"/>
              </a:ext>
            </a:extLst>
          </p:cNvPr>
          <p:cNvSpPr txBox="1"/>
          <p:nvPr>
            <p:custDataLst>
              <p:tags r:id="rId3"/>
            </p:custDataLst>
          </p:nvPr>
        </p:nvSpPr>
        <p:spPr bwMode="gray">
          <a:xfrm>
            <a:off x="410335" y="6594185"/>
            <a:ext cx="9411804"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Vedan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Bhansali</a:t>
            </a:r>
            <a:r>
              <a:rPr kumimoji="0" lang="en-US" sz="800" b="0" i="0" u="none" strike="noStrike" kern="1200" cap="none" spc="0" normalizeH="0" baseline="0" noProof="0" dirty="0">
                <a:ln>
                  <a:noFill/>
                </a:ln>
                <a:solidFill>
                  <a:srgbClr val="000000"/>
                </a:solidFill>
                <a:effectLst/>
                <a:uLnTx/>
                <a:uFillTx/>
                <a:latin typeface="Arial"/>
                <a:ea typeface="+mn-ea"/>
                <a:cs typeface="+mn-cs"/>
              </a:rPr>
              <a: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cxnSp>
        <p:nvCxnSpPr>
          <p:cNvPr id="5" name="Straight Connector 4">
            <a:extLst>
              <a:ext uri="{FF2B5EF4-FFF2-40B4-BE49-F238E27FC236}">
                <a16:creationId xmlns:a16="http://schemas.microsoft.com/office/drawing/2014/main" id="{EFC5B79D-CBFD-5789-AB20-BE4C26FCBEE1}"/>
              </a:ext>
            </a:extLst>
          </p:cNvPr>
          <p:cNvCxnSpPr>
            <a:cxnSpLocks/>
          </p:cNvCxnSpPr>
          <p:nvPr/>
        </p:nvCxnSpPr>
        <p:spPr bwMode="gray">
          <a:xfrm>
            <a:off x="4188030" y="162753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667F336-3CF8-A914-D8C9-447487E4280D}"/>
              </a:ext>
            </a:extLst>
          </p:cNvPr>
          <p:cNvCxnSpPr>
            <a:cxnSpLocks/>
          </p:cNvCxnSpPr>
          <p:nvPr/>
        </p:nvCxnSpPr>
        <p:spPr bwMode="gray">
          <a:xfrm>
            <a:off x="4188030" y="4857680"/>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BulletedList771181">
            <a:extLst>
              <a:ext uri="{FF2B5EF4-FFF2-40B4-BE49-F238E27FC236}">
                <a16:creationId xmlns:a16="http://schemas.microsoft.com/office/drawing/2014/main" id="{2EB31C46-6EFA-E948-7C78-F71C595F28B7}"/>
              </a:ext>
            </a:extLst>
          </p:cNvPr>
          <p:cNvSpPr txBox="1"/>
          <p:nvPr>
            <p:custDataLst>
              <p:tags r:id="rId4"/>
            </p:custDataLst>
          </p:nvPr>
        </p:nvSpPr>
        <p:spPr bwMode="gray">
          <a:xfrm>
            <a:off x="4188030" y="1748541"/>
            <a:ext cx="7703933" cy="2304083"/>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9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ere are four main types of coolant: water, gas, metal, and molten salt.</a:t>
            </a:r>
            <a:endParaRPr kumimoji="0" lang="en-US" sz="1200" b="0" i="0" u="none" strike="noStrike" kern="1200" cap="none" spc="0" normalizeH="0" baseline="0" noProof="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Pressurized water reactors (PWR) are most common, </a:t>
            </a:r>
            <a:r>
              <a:rPr kumimoji="0" lang="en-US" sz="1200" i="0" u="none" strike="noStrike" kern="1200" cap="none" spc="0" normalizeH="0" baseline="0" noProof="0">
                <a:ln>
                  <a:noFill/>
                </a:ln>
                <a:solidFill>
                  <a:srgbClr val="000000"/>
                </a:solidFill>
                <a:effectLst/>
                <a:uLnTx/>
                <a:uFillTx/>
                <a:latin typeface="Arial"/>
                <a:ea typeface="+mn-ea"/>
                <a:cs typeface="+mn-cs"/>
              </a:rPr>
              <a:t>but they are complex due to the high pressure needed to keep the water liquid.</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Boiling water reactors (BWR) are </a:t>
            </a:r>
            <a:r>
              <a:rPr lang="en-US" sz="1200" b="1">
                <a:solidFill>
                  <a:srgbClr val="000000"/>
                </a:solidFill>
                <a:latin typeface="Arial"/>
              </a:rPr>
              <a:t>simpler than PWR, </a:t>
            </a:r>
            <a:r>
              <a:rPr lang="en-US" sz="1200">
                <a:solidFill>
                  <a:srgbClr val="000000"/>
                </a:solidFill>
                <a:latin typeface="Arial"/>
              </a:rPr>
              <a:t>and therefore modern reactors are typically BWR; however, they do have to deal with radioactive steam.</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Gas</a:t>
            </a:r>
            <a:r>
              <a:rPr lang="en-US" sz="1200" b="1">
                <a:solidFill>
                  <a:srgbClr val="000000"/>
                </a:solidFill>
                <a:latin typeface="Arial"/>
              </a:rPr>
              <a:t>-cooled reactors have higher thermal efficiency </a:t>
            </a:r>
            <a:r>
              <a:rPr lang="en-US" sz="1200">
                <a:solidFill>
                  <a:srgbClr val="000000"/>
                </a:solidFill>
                <a:latin typeface="Arial"/>
              </a:rPr>
              <a:t>but need specialized material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lang="en-US" sz="1200" b="1">
                <a:solidFill>
                  <a:srgbClr val="000000"/>
                </a:solidFill>
                <a:latin typeface="Arial"/>
              </a:rPr>
              <a:t>Liquid metal reactors</a:t>
            </a:r>
            <a:r>
              <a:rPr lang="en-US" sz="1200">
                <a:solidFill>
                  <a:srgbClr val="000000"/>
                </a:solidFill>
                <a:latin typeface="Arial"/>
              </a:rPr>
              <a:t> </a:t>
            </a:r>
            <a:r>
              <a:rPr lang="en-US" sz="1200" b="1">
                <a:solidFill>
                  <a:srgbClr val="000000"/>
                </a:solidFill>
                <a:latin typeface="Arial"/>
              </a:rPr>
              <a:t>have high thermal efficiency </a:t>
            </a:r>
            <a:r>
              <a:rPr lang="en-US" sz="1200">
                <a:solidFill>
                  <a:srgbClr val="000000"/>
                </a:solidFill>
                <a:latin typeface="Arial"/>
              </a:rPr>
              <a:t>but also have chemically reactive materials that </a:t>
            </a:r>
            <a:br>
              <a:rPr lang="en-US" sz="1200">
                <a:solidFill>
                  <a:srgbClr val="000000"/>
                </a:solidFill>
                <a:latin typeface="Arial"/>
              </a:rPr>
            </a:br>
            <a:r>
              <a:rPr lang="en-US" sz="1200">
                <a:solidFill>
                  <a:srgbClr val="000000"/>
                </a:solidFill>
                <a:latin typeface="Arial"/>
              </a:rPr>
              <a:t>could cause explosions when leaks occur.</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lang="en-US" sz="1200" b="1">
                <a:solidFill>
                  <a:srgbClr val="000000"/>
                </a:solidFill>
                <a:latin typeface="Arial"/>
              </a:rPr>
              <a:t>Molten salt reactors (MSR) have higher thermal efficiency </a:t>
            </a:r>
            <a:r>
              <a:rPr lang="en-US" sz="1200">
                <a:solidFill>
                  <a:srgbClr val="000000"/>
                </a:solidFill>
                <a:latin typeface="Arial"/>
              </a:rPr>
              <a:t>and fuel cycle flexibility but need special tubing to deal with corrosion.</a:t>
            </a:r>
            <a:endParaRPr kumimoji="0" lang="en-US" sz="1200" b="0" i="0" u="none" strike="noStrike" kern="1200" cap="none" spc="0" normalizeH="0" baseline="0" noProof="0">
              <a:ln>
                <a:noFill/>
              </a:ln>
              <a:solidFill>
                <a:srgbClr val="000000"/>
              </a:solidFill>
              <a:effectLst/>
              <a:uLnTx/>
              <a:uFillTx/>
              <a:latin typeface="Arial"/>
              <a:ea typeface="+mn-ea"/>
              <a:cs typeface="Arial"/>
            </a:endParaRPr>
          </a:p>
        </p:txBody>
      </p:sp>
      <p:sp>
        <p:nvSpPr>
          <p:cNvPr id="25" name="btfpBulletedList771181">
            <a:extLst>
              <a:ext uri="{FF2B5EF4-FFF2-40B4-BE49-F238E27FC236}">
                <a16:creationId xmlns:a16="http://schemas.microsoft.com/office/drawing/2014/main" id="{6DE26EB2-F6BE-8F33-7A2E-8F44DF044C12}"/>
              </a:ext>
            </a:extLst>
          </p:cNvPr>
          <p:cNvSpPr txBox="1"/>
          <p:nvPr>
            <p:custDataLst>
              <p:tags r:id="rId5"/>
            </p:custDataLst>
          </p:nvPr>
        </p:nvSpPr>
        <p:spPr bwMode="gray">
          <a:xfrm>
            <a:off x="4188030" y="1064492"/>
            <a:ext cx="7703933" cy="442035"/>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9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Reactors are similar in their mechanics, although they use different coolants; small modular reactors (SMRs) simplify the existing design.</a:t>
            </a:r>
          </a:p>
        </p:txBody>
      </p:sp>
      <p:sp>
        <p:nvSpPr>
          <p:cNvPr id="27" name="btfpBulletedList771181">
            <a:extLst>
              <a:ext uri="{FF2B5EF4-FFF2-40B4-BE49-F238E27FC236}">
                <a16:creationId xmlns:a16="http://schemas.microsoft.com/office/drawing/2014/main" id="{7258CC36-3A62-A843-1EB4-D80F935AF0CD}"/>
              </a:ext>
            </a:extLst>
          </p:cNvPr>
          <p:cNvSpPr txBox="1"/>
          <p:nvPr>
            <p:custDataLst>
              <p:tags r:id="rId6"/>
            </p:custDataLst>
          </p:nvPr>
        </p:nvSpPr>
        <p:spPr bwMode="gray">
          <a:xfrm>
            <a:off x="4188030" y="4978685"/>
            <a:ext cx="7703933" cy="442035"/>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9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Nuclear-produced “pink” hydrogen offers an emission-free, cost-competitive, and subsidized option, but scaling remains a challenge.</a:t>
            </a:r>
          </a:p>
        </p:txBody>
      </p:sp>
      <p:cxnSp>
        <p:nvCxnSpPr>
          <p:cNvPr id="29" name="Straight Connector 28">
            <a:extLst>
              <a:ext uri="{FF2B5EF4-FFF2-40B4-BE49-F238E27FC236}">
                <a16:creationId xmlns:a16="http://schemas.microsoft.com/office/drawing/2014/main" id="{B3E6C9C6-F767-C3FF-935E-41F463AAC4CD}"/>
              </a:ext>
            </a:extLst>
          </p:cNvPr>
          <p:cNvCxnSpPr>
            <a:cxnSpLocks/>
          </p:cNvCxnSpPr>
          <p:nvPr/>
        </p:nvCxnSpPr>
        <p:spPr bwMode="gray">
          <a:xfrm>
            <a:off x="4188030" y="417363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BulletedList771181">
            <a:extLst>
              <a:ext uri="{FF2B5EF4-FFF2-40B4-BE49-F238E27FC236}">
                <a16:creationId xmlns:a16="http://schemas.microsoft.com/office/drawing/2014/main" id="{6389D52D-A750-B284-7F58-F35D9F63F332}"/>
              </a:ext>
            </a:extLst>
          </p:cNvPr>
          <p:cNvSpPr txBox="1"/>
          <p:nvPr>
            <p:custDataLst>
              <p:tags r:id="rId7"/>
            </p:custDataLst>
          </p:nvPr>
        </p:nvSpPr>
        <p:spPr bwMode="gray">
          <a:xfrm>
            <a:off x="4188030" y="4294638"/>
            <a:ext cx="7703933" cy="442035"/>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9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Water-cooled reactors have evolved significantly over four generations to become safer, standardized, more efficient, and more modular.</a:t>
            </a:r>
            <a:endParaRPr kumimoji="0" lang="en-US" sz="1200" b="0" i="0" u="none" strike="noStrike" kern="1200" cap="none" spc="0" normalizeH="0" baseline="0" noProof="0">
              <a:ln>
                <a:noFill/>
              </a:ln>
              <a:solidFill>
                <a:srgbClr val="000000"/>
              </a:solidFill>
              <a:effectLst/>
              <a:uLnTx/>
              <a:uFillTx/>
              <a:latin typeface="Arial"/>
              <a:ea typeface="+mn-ea"/>
              <a:cs typeface="Arial"/>
            </a:endParaRPr>
          </a:p>
        </p:txBody>
      </p:sp>
    </p:spTree>
    <p:custDataLst>
      <p:tags r:id="rId1"/>
    </p:custDataLst>
    <p:extLst>
      <p:ext uri="{BB962C8B-B14F-4D97-AF65-F5344CB8AC3E}">
        <p14:creationId xmlns:p14="http://schemas.microsoft.com/office/powerpoint/2010/main" val="4430743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4E07459-C23C-753D-460E-CD75D04CF0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6" name="think-cell data - do not delete" hidden="1">
                        <a:extLst>
                          <a:ext uri="{FF2B5EF4-FFF2-40B4-BE49-F238E27FC236}">
                            <a16:creationId xmlns:a16="http://schemas.microsoft.com/office/drawing/2014/main" id="{C4E07459-C23C-753D-460E-CD75D04CF0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8" name="Rectangle 57">
            <a:extLst>
              <a:ext uri="{FF2B5EF4-FFF2-40B4-BE49-F238E27FC236}">
                <a16:creationId xmlns:a16="http://schemas.microsoft.com/office/drawing/2014/main" id="{38126A5E-FFEE-4D5A-B5E8-342F2E3D45D1}"/>
              </a:ext>
            </a:extLst>
          </p:cNvPr>
          <p:cNvSpPr/>
          <p:nvPr/>
        </p:nvSpPr>
        <p:spPr bwMode="gray">
          <a:xfrm rot="5400000">
            <a:off x="-234248" y="5366565"/>
            <a:ext cx="1570473" cy="3657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 name="Title 2">
            <a:extLst>
              <a:ext uri="{FF2B5EF4-FFF2-40B4-BE49-F238E27FC236}">
                <a16:creationId xmlns:a16="http://schemas.microsoft.com/office/drawing/2014/main" id="{595B98A4-984D-E344-9778-105062F437EF}"/>
              </a:ext>
            </a:extLst>
          </p:cNvPr>
          <p:cNvSpPr>
            <a:spLocks noGrp="1"/>
          </p:cNvSpPr>
          <p:nvPr>
            <p:ph type="title"/>
          </p:nvPr>
        </p:nvSpPr>
        <p:spPr/>
        <p:txBody>
          <a:bodyPr vert="horz">
            <a:noAutofit/>
          </a:bodyPr>
          <a:lstStyle/>
          <a:p>
            <a:r>
              <a:rPr lang="en-US" dirty="0">
                <a:solidFill>
                  <a:srgbClr val="1D1C1D"/>
                </a:solidFill>
              </a:rPr>
              <a:t>Emerging SMR technology is small and flexible, providing an off-grid and off-site solution for nuclear power</a:t>
            </a:r>
            <a:endParaRPr lang="en-US" dirty="0"/>
          </a:p>
        </p:txBody>
      </p:sp>
      <p:sp>
        <p:nvSpPr>
          <p:cNvPr id="4" name="btfpNotesBox111697">
            <a:extLst>
              <a:ext uri="{FF2B5EF4-FFF2-40B4-BE49-F238E27FC236}">
                <a16:creationId xmlns:a16="http://schemas.microsoft.com/office/drawing/2014/main" id="{00BEB6B4-7B9A-4A95-51BB-D04F0DA56E20}"/>
              </a:ext>
            </a:extLst>
          </p:cNvPr>
          <p:cNvSpPr txBox="1"/>
          <p:nvPr/>
        </p:nvSpPr>
        <p:spPr bwMode="gray">
          <a:xfrm>
            <a:off x="329184" y="6309360"/>
            <a:ext cx="9215038" cy="492443"/>
          </a:xfrm>
          <a:prstGeom prst="rect">
            <a:avLst/>
          </a:prstGeom>
          <a:noFill/>
        </p:spPr>
        <p:txBody>
          <a:bodyPr vert="horz" wrap="square" lIns="0" tIns="0" rIns="0" bIns="0"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lvl="0" indent="0" fontAlgn="base">
              <a:spcBef>
                <a:spcPts val="0"/>
              </a:spcBef>
              <a:buNone/>
              <a:defRPr/>
            </a:pP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lvl="0" indent="0" fontAlgn="base">
              <a:spcBef>
                <a:spcPts val="0"/>
              </a:spcBef>
              <a:buNone/>
              <a:defRPr/>
            </a:pPr>
            <a:r>
              <a:rPr kumimoji="0" lang="en-US" sz="800" b="0" i="0" u="none" strike="noStrike" kern="1200" cap="none" spc="0" normalizeH="0" baseline="0" noProof="0" dirty="0">
                <a:ln>
                  <a:noFill/>
                </a:ln>
                <a:solidFill>
                  <a:srgbClr val="000000"/>
                </a:solidFill>
                <a:effectLst/>
                <a:uLnTx/>
                <a:uFillTx/>
                <a:latin typeface="Arial"/>
                <a:cs typeface="Arial"/>
              </a:rPr>
              <a:t>Sources: European Commission, </a:t>
            </a:r>
            <a:r>
              <a:rPr kumimoji="0" lang="en-US" sz="800" b="0" i="0" u="none" strike="noStrike" kern="1200" cap="none" spc="0" normalizeH="0" baseline="0" noProof="0" dirty="0">
                <a:ln>
                  <a:noFill/>
                </a:ln>
                <a:solidFill>
                  <a:srgbClr val="000000"/>
                </a:solidFill>
                <a:effectLst/>
                <a:uLnTx/>
                <a:uFillTx/>
                <a:latin typeface="Arial"/>
                <a:cs typeface="Arial"/>
                <a:hlinkClick r:id="rId7"/>
              </a:rPr>
              <a:t>Small Modular Reactors Explained</a:t>
            </a:r>
            <a:r>
              <a:rPr kumimoji="0" lang="en-US" sz="800" b="0" i="0" u="none" strike="noStrike" kern="1200" cap="none" spc="0" normalizeH="0" baseline="0" noProof="0" dirty="0">
                <a:ln>
                  <a:noFill/>
                </a:ln>
                <a:solidFill>
                  <a:srgbClr val="000000"/>
                </a:solidFill>
                <a:effectLst/>
                <a:uLnTx/>
                <a:uFillTx/>
                <a:latin typeface="Arial"/>
                <a:cs typeface="Arial"/>
              </a:rPr>
              <a:t> (2025); NEI, </a:t>
            </a:r>
            <a:r>
              <a:rPr kumimoji="0" lang="en-US" sz="800" b="0" i="0" u="none" strike="noStrike" kern="1200" cap="none" spc="0" normalizeH="0" baseline="0" noProof="0" dirty="0">
                <a:ln>
                  <a:noFill/>
                </a:ln>
                <a:solidFill>
                  <a:srgbClr val="000000"/>
                </a:solidFill>
                <a:effectLst/>
                <a:uLnTx/>
                <a:uFillTx/>
                <a:latin typeface="Arial"/>
                <a:cs typeface="Arial"/>
                <a:hlinkClick r:id="rId8"/>
              </a:rPr>
              <a:t>Nuclear Plant’s Footprint</a:t>
            </a:r>
            <a:r>
              <a:rPr kumimoji="0" lang="en-US" sz="800" b="0" i="0" u="none" strike="noStrike" kern="1200" cap="none" spc="0" normalizeH="0" baseline="0" noProof="0" dirty="0">
                <a:ln>
                  <a:noFill/>
                </a:ln>
                <a:solidFill>
                  <a:srgbClr val="000000"/>
                </a:solidFill>
                <a:effectLst/>
                <a:uLnTx/>
                <a:uFillTx/>
                <a:latin typeface="Arial"/>
                <a:cs typeface="Arial"/>
              </a:rPr>
              <a:t> (2025); </a:t>
            </a:r>
            <a:r>
              <a:rPr lang="en-US" sz="800" dirty="0">
                <a:solidFill>
                  <a:srgbClr val="000000"/>
                </a:solidFill>
                <a:latin typeface="Arial"/>
                <a:cs typeface="Arial"/>
              </a:rPr>
              <a:t>IAEA, </a:t>
            </a:r>
            <a:r>
              <a:rPr lang="en-US" sz="800" dirty="0">
                <a:solidFill>
                  <a:srgbClr val="000000"/>
                </a:solidFill>
                <a:latin typeface="Arial"/>
                <a:cs typeface="Arial"/>
                <a:hlinkClick r:id="rId9"/>
              </a:rPr>
              <a:t>What are SMRs?</a:t>
            </a:r>
            <a:r>
              <a:rPr lang="en-US" sz="800" dirty="0">
                <a:solidFill>
                  <a:srgbClr val="000000"/>
                </a:solidFill>
                <a:latin typeface="Arial"/>
                <a:cs typeface="Arial"/>
              </a:rPr>
              <a:t> (2023); </a:t>
            </a:r>
            <a:r>
              <a:rPr kumimoji="0" lang="en-US" sz="800" b="0" i="0" u="none" strike="noStrike" kern="1200" cap="none" spc="0" normalizeH="0" baseline="0" noProof="0" dirty="0">
                <a:ln>
                  <a:noFill/>
                </a:ln>
                <a:solidFill>
                  <a:srgbClr val="000000"/>
                </a:solidFill>
                <a:effectLst/>
                <a:uLnTx/>
                <a:uFillTx/>
                <a:latin typeface="Arial"/>
                <a:cs typeface="Arial"/>
              </a:rPr>
              <a:t>Statista, </a:t>
            </a:r>
            <a:r>
              <a:rPr kumimoji="0" lang="en-US" sz="800" b="0" i="0" u="sng" strike="noStrike" kern="1200" cap="none" spc="0" normalizeH="0" baseline="0" noProof="0" dirty="0">
                <a:ln>
                  <a:noFill/>
                </a:ln>
                <a:solidFill>
                  <a:srgbClr val="46647B"/>
                </a:solidFill>
                <a:effectLst/>
                <a:uLnTx/>
                <a:uFillTx/>
                <a:latin typeface="Arial"/>
                <a:cs typeface="Arial"/>
                <a:hlinkClick r:id="rId10"/>
              </a:rPr>
              <a:t>Construction Time for Nuclear Reactors Worldwide</a:t>
            </a:r>
            <a:r>
              <a:rPr kumimoji="0" lang="en-US" sz="800" b="0" i="0" u="none" strike="noStrike" kern="1200" cap="none" spc="0" normalizeH="0" baseline="0" noProof="0" dirty="0">
                <a:ln>
                  <a:noFill/>
                </a:ln>
                <a:solidFill>
                  <a:srgbClr val="000000"/>
                </a:solidFill>
                <a:effectLst/>
                <a:uLnTx/>
                <a:uFillTx/>
                <a:latin typeface="Arial"/>
                <a:cs typeface="Arial"/>
                <a:hlinkClick r:id="rId10"/>
              </a:rPr>
              <a:t> </a:t>
            </a:r>
            <a:r>
              <a:rPr kumimoji="0" lang="en-US" sz="800" b="0" i="0" u="none" strike="noStrike" kern="1200" cap="none" spc="0" normalizeH="0" baseline="0" noProof="0" dirty="0">
                <a:ln>
                  <a:noFill/>
                </a:ln>
                <a:solidFill>
                  <a:srgbClr val="000000"/>
                </a:solidFill>
                <a:effectLst/>
                <a:uLnTx/>
                <a:uFillTx/>
                <a:latin typeface="Arial"/>
                <a:cs typeface="Arial"/>
              </a:rPr>
              <a:t>(2024)</a:t>
            </a:r>
            <a:r>
              <a:rPr lang="en-US" sz="800" dirty="0">
                <a:solidFill>
                  <a:srgbClr val="000000"/>
                </a:solidFill>
                <a:latin typeface="Arial"/>
                <a:cs typeface="Arial"/>
              </a:rPr>
              <a:t>​; </a:t>
            </a:r>
            <a:r>
              <a:rPr lang="en-US" sz="800" dirty="0" err="1">
                <a:solidFill>
                  <a:srgbClr val="000000"/>
                </a:solidFill>
                <a:latin typeface="Arial"/>
                <a:cs typeface="Arial"/>
              </a:rPr>
              <a:t>Holtec</a:t>
            </a:r>
            <a:r>
              <a:rPr lang="en-US" sz="800" dirty="0">
                <a:solidFill>
                  <a:srgbClr val="000000"/>
                </a:solidFill>
                <a:latin typeface="Arial"/>
                <a:cs typeface="Arial"/>
              </a:rPr>
              <a:t>, </a:t>
            </a:r>
            <a:r>
              <a:rPr lang="en-US" sz="800" dirty="0">
                <a:solidFill>
                  <a:srgbClr val="000000"/>
                </a:solidFill>
                <a:latin typeface="Arial"/>
                <a:cs typeface="Arial"/>
                <a:hlinkClick r:id="rId11"/>
              </a:rPr>
              <a:t>SMR FAQs</a:t>
            </a:r>
            <a:r>
              <a:rPr lang="en-US" sz="800" dirty="0">
                <a:solidFill>
                  <a:srgbClr val="000000"/>
                </a:solidFill>
                <a:latin typeface="Arial"/>
                <a:cs typeface="Arial"/>
              </a:rPr>
              <a:t> (2025); </a:t>
            </a:r>
            <a:r>
              <a:rPr kumimoji="0" lang="en-US" sz="800" b="0" i="0" u="none" strike="noStrike" kern="1200" cap="none" spc="0" normalizeH="0" baseline="0" noProof="0" dirty="0">
                <a:ln>
                  <a:noFill/>
                </a:ln>
                <a:solidFill>
                  <a:srgbClr val="000000"/>
                </a:solidFill>
                <a:effectLst/>
                <a:uLnTx/>
                <a:uFillTx/>
                <a:latin typeface="Arial"/>
                <a:cs typeface="Arial"/>
              </a:rPr>
              <a:t>CNBC, </a:t>
            </a:r>
            <a:r>
              <a:rPr kumimoji="0" lang="en-US" sz="800" b="0" i="0" u="none" strike="noStrike" kern="1200" cap="none" spc="0" normalizeH="0" baseline="0" noProof="0" dirty="0">
                <a:ln>
                  <a:noFill/>
                </a:ln>
                <a:solidFill>
                  <a:srgbClr val="000000"/>
                </a:solidFill>
                <a:effectLst/>
                <a:uLnTx/>
                <a:uFillTx/>
                <a:latin typeface="Arial"/>
                <a:cs typeface="Arial"/>
                <a:hlinkClick r:id="rId12"/>
              </a:rPr>
              <a:t>GE </a:t>
            </a:r>
            <a:r>
              <a:rPr kumimoji="0" lang="en-US" sz="800" b="0" i="0" u="none" strike="noStrike" kern="1200" cap="none" spc="0" normalizeH="0" baseline="0" noProof="0" dirty="0" err="1">
                <a:ln>
                  <a:noFill/>
                </a:ln>
                <a:solidFill>
                  <a:srgbClr val="000000"/>
                </a:solidFill>
                <a:effectLst/>
                <a:uLnTx/>
                <a:uFillTx/>
                <a:latin typeface="Arial"/>
                <a:cs typeface="Arial"/>
                <a:hlinkClick r:id="rId12"/>
              </a:rPr>
              <a:t>Vernova</a:t>
            </a:r>
            <a:r>
              <a:rPr kumimoji="0" lang="en-US" sz="800" b="0" i="0" u="none" strike="noStrike" kern="1200" cap="none" spc="0" normalizeH="0" baseline="0" noProof="0" dirty="0">
                <a:ln>
                  <a:noFill/>
                </a:ln>
                <a:solidFill>
                  <a:srgbClr val="000000"/>
                </a:solidFill>
                <a:effectLst/>
                <a:uLnTx/>
                <a:uFillTx/>
                <a:latin typeface="Arial"/>
                <a:cs typeface="Arial"/>
                <a:hlinkClick r:id="rId12"/>
              </a:rPr>
              <a:t> Deploying SMRs</a:t>
            </a:r>
            <a:r>
              <a:rPr kumimoji="0" lang="en-US" sz="800" b="0" i="0" u="none" strike="noStrike" kern="1200" cap="none" spc="0" normalizeH="0" baseline="0" noProof="0" dirty="0">
                <a:ln>
                  <a:noFill/>
                </a:ln>
                <a:solidFill>
                  <a:srgbClr val="000000"/>
                </a:solidFill>
                <a:effectLst/>
                <a:uLnTx/>
                <a:uFillTx/>
                <a:latin typeface="Arial"/>
                <a:cs typeface="Arial"/>
              </a:rPr>
              <a:t> (2024).</a:t>
            </a:r>
            <a:br>
              <a:rPr lang="en-US" sz="80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lang="en-US" sz="800" dirty="0">
                <a:solidFill>
                  <a:srgbClr val="000000"/>
                </a:solidFill>
              </a:rPr>
              <a:t>Credit: Adele </a:t>
            </a:r>
            <a:r>
              <a:rPr lang="en-US" sz="800" dirty="0" err="1">
                <a:solidFill>
                  <a:srgbClr val="000000"/>
                </a:solidFill>
              </a:rPr>
              <a:t>Teh</a:t>
            </a:r>
            <a:r>
              <a:rPr lang="en-US" sz="800" dirty="0">
                <a:solidFill>
                  <a:srgbClr val="000000"/>
                </a:solidFill>
              </a:rPr>
              <a:t>, Isabel </a:t>
            </a:r>
            <a:r>
              <a:rPr lang="en-US" sz="800" dirty="0" err="1">
                <a:solidFill>
                  <a:srgbClr val="000000"/>
                </a:solidFill>
              </a:rPr>
              <a:t>Hoyos</a:t>
            </a:r>
            <a:r>
              <a:rPr lang="en-US" sz="800" dirty="0">
                <a:solidFill>
                  <a:srgbClr val="000000"/>
                </a:solidFill>
              </a:rPr>
              <a:t>, </a:t>
            </a:r>
            <a:r>
              <a:rPr lang="en-US" sz="800" dirty="0" err="1">
                <a:solidFill>
                  <a:srgbClr val="000000"/>
                </a:solidFill>
              </a:rPr>
              <a:t>Hyae</a:t>
            </a:r>
            <a:r>
              <a:rPr lang="en-US" sz="800" dirty="0">
                <a:solidFill>
                  <a:srgbClr val="000000"/>
                </a:solidFill>
              </a:rPr>
              <a:t> </a:t>
            </a:r>
            <a:r>
              <a:rPr lang="en-US" sz="800" dirty="0" err="1">
                <a:solidFill>
                  <a:srgbClr val="000000"/>
                </a:solidFill>
              </a:rPr>
              <a:t>Ryung</a:t>
            </a:r>
            <a:r>
              <a:rPr lang="en-US" sz="800" dirty="0">
                <a:solidFill>
                  <a:srgbClr val="000000"/>
                </a:solidFill>
              </a:rPr>
              <a:t> Kim, and </a:t>
            </a:r>
            <a:r>
              <a:rPr lang="en-US" sz="800" dirty="0">
                <a:solidFill>
                  <a:srgbClr val="000000"/>
                </a:solidFill>
                <a:hlinkClick r:id="rId13"/>
              </a:rPr>
              <a:t>Gernot Wagner</a:t>
            </a:r>
            <a:r>
              <a:rPr lang="en-US" sz="800" dirty="0">
                <a:solidFill>
                  <a:srgbClr val="000000"/>
                </a:solidFill>
              </a:rPr>
              <a:t>. Share with </a:t>
            </a:r>
            <a:r>
              <a:rPr lang="en-US" sz="800" dirty="0">
                <a:solidFill>
                  <a:srgbClr val="000000"/>
                </a:solidFill>
                <a:hlinkClick r:id="rId14"/>
              </a:rPr>
              <a:t>attribution</a:t>
            </a:r>
            <a:r>
              <a:rPr lang="en-US" sz="800" dirty="0">
                <a:solidFill>
                  <a:srgbClr val="000000"/>
                </a:solidFill>
              </a:rPr>
              <a:t>: </a:t>
            </a:r>
            <a:r>
              <a:rPr lang="en-US" sz="800" dirty="0" err="1">
                <a:solidFill>
                  <a:srgbClr val="000000"/>
                </a:solidFill>
              </a:rPr>
              <a:t>Houwink</a:t>
            </a:r>
            <a:r>
              <a:rPr lang="en-US" sz="800" dirty="0">
                <a:solidFill>
                  <a:srgbClr val="000000"/>
                </a:solidFill>
              </a:rPr>
              <a:t> et al., "Reenergizing Nuclear" (23 September 2025).</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7" name="Content Placeholder 22">
            <a:extLst>
              <a:ext uri="{FF2B5EF4-FFF2-40B4-BE49-F238E27FC236}">
                <a16:creationId xmlns:a16="http://schemas.microsoft.com/office/drawing/2014/main" id="{4D2A0871-10AC-6E9C-AC45-6A66F595A143}"/>
              </a:ext>
            </a:extLst>
          </p:cNvPr>
          <p:cNvGraphicFramePr>
            <a:graphicFrameLocks/>
          </p:cNvGraphicFramePr>
          <p:nvPr>
            <p:custDataLst>
              <p:tags r:id="rId2"/>
            </p:custDataLst>
            <p:extLst>
              <p:ext uri="{D42A27DB-BD31-4B8C-83A1-F6EECF244321}">
                <p14:modId xmlns:p14="http://schemas.microsoft.com/office/powerpoint/2010/main" val="3027077549"/>
              </p:ext>
            </p:extLst>
          </p:nvPr>
        </p:nvGraphicFramePr>
        <p:xfrm>
          <a:off x="329184" y="2196162"/>
          <a:ext cx="11527855" cy="4181311"/>
        </p:xfrm>
        <a:graphic>
          <a:graphicData uri="http://schemas.openxmlformats.org/drawingml/2006/table">
            <a:tbl>
              <a:tblPr firstRow="1" bandRow="1">
                <a:tableStyleId>{2D5ABB26-0587-4C30-8999-92F81FD0307C}</a:tableStyleId>
              </a:tblPr>
              <a:tblGrid>
                <a:gridCol w="2849445">
                  <a:extLst>
                    <a:ext uri="{9D8B030D-6E8A-4147-A177-3AD203B41FA5}">
                      <a16:colId xmlns:a16="http://schemas.microsoft.com/office/drawing/2014/main" val="2382266633"/>
                    </a:ext>
                  </a:extLst>
                </a:gridCol>
                <a:gridCol w="4339205">
                  <a:extLst>
                    <a:ext uri="{9D8B030D-6E8A-4147-A177-3AD203B41FA5}">
                      <a16:colId xmlns:a16="http://schemas.microsoft.com/office/drawing/2014/main" val="4180512835"/>
                    </a:ext>
                  </a:extLst>
                </a:gridCol>
                <a:gridCol w="4339205">
                  <a:extLst>
                    <a:ext uri="{9D8B030D-6E8A-4147-A177-3AD203B41FA5}">
                      <a16:colId xmlns:a16="http://schemas.microsoft.com/office/drawing/2014/main" val="3024775201"/>
                    </a:ext>
                  </a:extLst>
                </a:gridCol>
              </a:tblGrid>
              <a:tr h="228600">
                <a:tc>
                  <a:txBody>
                    <a:bodyPr/>
                    <a:lstStyle/>
                    <a:p>
                      <a:pPr marL="0" indent="0" algn="l" fontAlgn="b">
                        <a:buNone/>
                      </a:pPr>
                      <a:r>
                        <a:rPr lang="en-US" sz="1050" b="1" i="0" u="none" strike="noStrike">
                          <a:solidFill>
                            <a:srgbClr val="000000"/>
                          </a:solidFill>
                          <a:effectLst/>
                          <a:latin typeface="+mj-lt"/>
                        </a:rPr>
                        <a:t>Description</a:t>
                      </a:r>
                    </a:p>
                  </a:txBody>
                  <a:tcPr marL="45720" marR="9525" marT="9716" marB="0" anchor="ctr">
                    <a:lnB w="6350" cap="flat" cmpd="sng" algn="ctr">
                      <a:noFill/>
                      <a:prstDash val="solid"/>
                      <a:round/>
                      <a:headEnd type="none" w="med" len="med"/>
                      <a:tailEnd type="none" w="med" len="med"/>
                    </a:lnB>
                  </a:tcPr>
                </a:tc>
                <a:tc>
                  <a:txBody>
                    <a:bodyPr/>
                    <a:lstStyle/>
                    <a:p>
                      <a:pPr marL="0" indent="0" algn="ctr" fontAlgn="b">
                        <a:buNone/>
                      </a:pPr>
                      <a:r>
                        <a:rPr lang="en-US" sz="1050" b="1" i="0" u="none" strike="noStrike">
                          <a:solidFill>
                            <a:srgbClr val="000000"/>
                          </a:solidFill>
                          <a:effectLst/>
                          <a:latin typeface="+mj-lt"/>
                        </a:rPr>
                        <a:t>Large-size nuclear power plants</a:t>
                      </a:r>
                    </a:p>
                  </a:txBody>
                  <a:tcPr marL="9525" marR="9525" marT="9716" marB="0" anchor="ctr">
                    <a:lnB w="6350" cap="flat" cmpd="sng" algn="ctr">
                      <a:noFill/>
                      <a:prstDash val="solid"/>
                      <a:round/>
                      <a:headEnd type="none" w="med" len="med"/>
                      <a:tailEnd type="none" w="med" len="med"/>
                    </a:lnB>
                  </a:tcPr>
                </a:tc>
                <a:tc>
                  <a:txBody>
                    <a:bodyPr/>
                    <a:lstStyle/>
                    <a:p>
                      <a:pPr marL="0" indent="0" algn="ctr" fontAlgn="b">
                        <a:buNone/>
                      </a:pPr>
                      <a:r>
                        <a:rPr lang="en-US" sz="1050" b="1" i="0" u="none" strike="noStrike">
                          <a:solidFill>
                            <a:srgbClr val="000000"/>
                          </a:solidFill>
                          <a:effectLst/>
                          <a:latin typeface="+mj-lt"/>
                        </a:rPr>
                        <a:t>Small modular reactors</a:t>
                      </a:r>
                    </a:p>
                  </a:txBody>
                  <a:tcPr marL="9525" marR="9525" marT="9716" marB="0" anchor="ctr">
                    <a:lnB w="6350" cap="flat" cmpd="sng" algn="ctr">
                      <a:noFill/>
                      <a:prstDash val="solid"/>
                      <a:round/>
                      <a:headEnd type="none" w="med" len="med"/>
                      <a:tailEnd type="none" w="med" len="med"/>
                    </a:lnB>
                  </a:tcPr>
                </a:tc>
                <a:extLst>
                  <a:ext uri="{0D108BD9-81ED-4DB2-BD59-A6C34878D82A}">
                    <a16:rowId xmlns:a16="http://schemas.microsoft.com/office/drawing/2014/main" val="4192557747"/>
                  </a:ext>
                </a:extLst>
              </a:tr>
              <a:tr h="182880">
                <a:tc>
                  <a:txBody>
                    <a:bodyPr/>
                    <a:lstStyle/>
                    <a:p>
                      <a:pPr marL="0" indent="0" algn="l" fontAlgn="t">
                        <a:buNone/>
                      </a:pPr>
                      <a:r>
                        <a:rPr lang="en-US" sz="1050" b="0" i="0" u="none" strike="noStrike">
                          <a:solidFill>
                            <a:srgbClr val="000000"/>
                          </a:solidFill>
                          <a:effectLst/>
                          <a:latin typeface="+mj-lt"/>
                        </a:rPr>
                        <a:t>Electrical capacity (MWe/unit)</a:t>
                      </a:r>
                    </a:p>
                  </a:txBody>
                  <a:tcPr marL="457200" marR="9525" marT="9716" marB="0" anchor="ctr">
                    <a:lnL>
                      <a:noFill/>
                    </a:lnL>
                    <a:lnR>
                      <a:noFill/>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gt;1,000</a:t>
                      </a:r>
                    </a:p>
                  </a:txBody>
                  <a:tcPr marL="274320" marR="182880" marT="9716" marB="0" anchor="ctr">
                    <a:lnL>
                      <a:noFill/>
                    </a:lnL>
                    <a:lnR>
                      <a:noFill/>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Up to 300</a:t>
                      </a:r>
                    </a:p>
                  </a:txBody>
                  <a:tcPr marL="274320" marR="182880" marT="9716" marB="0" anchor="ctr">
                    <a:lnL>
                      <a:noFill/>
                    </a:lnL>
                    <a:lnR>
                      <a:noFill/>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1931219"/>
                  </a:ext>
                </a:extLst>
              </a:tr>
              <a:tr h="182880">
                <a:tc>
                  <a:txBody>
                    <a:bodyPr/>
                    <a:lstStyle/>
                    <a:p>
                      <a:pPr marL="0" indent="0" algn="l" fontAlgn="t">
                        <a:buNone/>
                      </a:pPr>
                      <a:r>
                        <a:rPr lang="en-US" sz="1050" b="0" i="0" u="none" strike="noStrike">
                          <a:solidFill>
                            <a:srgbClr val="000000"/>
                          </a:solidFill>
                          <a:effectLst/>
                          <a:latin typeface="+mj-lt"/>
                        </a:rPr>
                        <a:t>Fuel</a:t>
                      </a:r>
                    </a:p>
                  </a:txBody>
                  <a:tcPr marL="457200" marR="9525"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Typically light water reactors</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May use various coolants and fuel types</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5495541"/>
                  </a:ext>
                </a:extLst>
              </a:tr>
              <a:tr h="182880">
                <a:tc>
                  <a:txBody>
                    <a:bodyPr/>
                    <a:lstStyle/>
                    <a:p>
                      <a:pPr marL="0" indent="0" algn="l" fontAlgn="t">
                        <a:buNone/>
                      </a:pPr>
                      <a:r>
                        <a:rPr lang="en-US" sz="1050" b="0" i="0" u="none" strike="noStrike">
                          <a:solidFill>
                            <a:srgbClr val="000000"/>
                          </a:solidFill>
                          <a:effectLst/>
                          <a:latin typeface="+mj-lt"/>
                        </a:rPr>
                        <a:t>Refueling frequency</a:t>
                      </a:r>
                    </a:p>
                  </a:txBody>
                  <a:tcPr marL="457200" marR="9525"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Every 1-2 years</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Every 3-7 years, even up to 30 years</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06525577"/>
                  </a:ext>
                </a:extLst>
              </a:tr>
              <a:tr h="182880">
                <a:tc>
                  <a:txBody>
                    <a:bodyPr/>
                    <a:lstStyle/>
                    <a:p>
                      <a:pPr marL="0" indent="0" algn="l" fontAlgn="t">
                        <a:buNone/>
                      </a:pPr>
                      <a:r>
                        <a:rPr lang="en-US" sz="1050" b="0" i="0" u="none" strike="noStrike">
                          <a:solidFill>
                            <a:srgbClr val="000000"/>
                          </a:solidFill>
                          <a:effectLst/>
                          <a:latin typeface="+mj-lt"/>
                        </a:rPr>
                        <a:t>Safety features</a:t>
                      </a:r>
                    </a:p>
                  </a:txBody>
                  <a:tcPr marL="457200" marR="9525"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Active systems (operator or power dependent)</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Passive systems (self-shutdown)</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49829862"/>
                  </a:ext>
                </a:extLst>
              </a:tr>
              <a:tr h="182880">
                <a:tc>
                  <a:txBody>
                    <a:bodyPr/>
                    <a:lstStyle/>
                    <a:p>
                      <a:pPr marL="0" indent="0" algn="l" fontAlgn="t">
                        <a:buNone/>
                      </a:pPr>
                      <a:r>
                        <a:rPr lang="en-US" sz="1050" b="0" i="0" u="none" strike="noStrike">
                          <a:solidFill>
                            <a:srgbClr val="000000"/>
                          </a:solidFill>
                          <a:effectLst/>
                          <a:latin typeface="+mj-lt"/>
                        </a:rPr>
                        <a:t>Land area requirement (square miles)</a:t>
                      </a:r>
                    </a:p>
                  </a:txBody>
                  <a:tcPr marL="457200" marR="9525"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1.3</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0.01</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4263314"/>
                  </a:ext>
                </a:extLst>
              </a:tr>
              <a:tr h="182880">
                <a:tc>
                  <a:txBody>
                    <a:bodyPr/>
                    <a:lstStyle/>
                    <a:p>
                      <a:pPr marL="0" indent="0" algn="l" fontAlgn="t">
                        <a:buNone/>
                      </a:pPr>
                      <a:r>
                        <a:rPr lang="en-US" sz="1050" b="0" i="0" u="none" strike="noStrike">
                          <a:solidFill>
                            <a:srgbClr val="000000"/>
                          </a:solidFill>
                          <a:effectLst/>
                          <a:latin typeface="+mj-lt"/>
                        </a:rPr>
                        <a:t>Construction approach</a:t>
                      </a:r>
                    </a:p>
                  </a:txBody>
                  <a:tcPr marL="457200" marR="9525"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Custom built on-site</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Factory fabricated and shipped to sites for modular assembly</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78683998"/>
                  </a:ext>
                </a:extLst>
              </a:tr>
              <a:tr h="182880">
                <a:tc>
                  <a:txBody>
                    <a:bodyPr/>
                    <a:lstStyle/>
                    <a:p>
                      <a:pPr marL="0" indent="0" algn="l" fontAlgn="t">
                        <a:buNone/>
                      </a:pPr>
                      <a:r>
                        <a:rPr lang="en-US" sz="1050" b="0" i="0" u="none" strike="noStrike">
                          <a:solidFill>
                            <a:srgbClr val="000000"/>
                          </a:solidFill>
                          <a:effectLst/>
                          <a:latin typeface="+mj-lt"/>
                        </a:rPr>
                        <a:t>Siting flexibility</a:t>
                      </a:r>
                    </a:p>
                  </a:txBody>
                  <a:tcPr marL="457200" marR="9525"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Low; large dedicated sites required</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High; suitable for remote, urban, and industrial areas</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87724194"/>
                  </a:ext>
                </a:extLst>
              </a:tr>
              <a:tr h="45720">
                <a:tc>
                  <a:txBody>
                    <a:bodyPr/>
                    <a:lstStyle/>
                    <a:p>
                      <a:pPr marL="0" indent="0" algn="l" fontAlgn="t">
                        <a:buNone/>
                      </a:pPr>
                      <a:endParaRPr lang="en-US" sz="300" b="0" i="0" u="none" strike="noStrike">
                        <a:solidFill>
                          <a:srgbClr val="000000"/>
                        </a:solidFill>
                        <a:effectLst/>
                        <a:latin typeface="+mj-lt"/>
                      </a:endParaRPr>
                    </a:p>
                  </a:txBody>
                  <a:tcPr marL="457200" marR="9525" marT="9716"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endParaRPr lang="en-US" sz="300" b="0" i="0" u="none" strike="noStrike">
                        <a:solidFill>
                          <a:srgbClr val="000000"/>
                        </a:solidFill>
                        <a:effectLst/>
                        <a:latin typeface="+mj-lt"/>
                      </a:endParaRPr>
                    </a:p>
                  </a:txBody>
                  <a:tcPr marL="274320" marR="182880" marT="9716"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endParaRPr lang="en-US" sz="300" b="0" i="0" u="none" strike="noStrike">
                        <a:solidFill>
                          <a:srgbClr val="000000"/>
                        </a:solidFill>
                        <a:effectLst/>
                        <a:latin typeface="+mj-lt"/>
                      </a:endParaRPr>
                    </a:p>
                  </a:txBody>
                  <a:tcPr marL="274320" marR="182880" marT="9716"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8139293"/>
                  </a:ext>
                </a:extLst>
              </a:tr>
              <a:tr h="182880">
                <a:tc>
                  <a:txBody>
                    <a:bodyPr/>
                    <a:lstStyle/>
                    <a:p>
                      <a:pPr marL="0" indent="0" algn="l" fontAlgn="t">
                        <a:buNone/>
                      </a:pPr>
                      <a:r>
                        <a:rPr lang="en-US" sz="1050" b="0" i="0" u="none" strike="noStrike">
                          <a:solidFill>
                            <a:srgbClr val="000000"/>
                          </a:solidFill>
                          <a:effectLst/>
                          <a:latin typeface="+mj-lt"/>
                        </a:rPr>
                        <a:t>Construction time</a:t>
                      </a:r>
                    </a:p>
                  </a:txBody>
                  <a:tcPr marL="457200" marR="9525" marT="9716" marB="0" anchor="ctr">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10 years, often with overruns</a:t>
                      </a:r>
                    </a:p>
                  </a:txBody>
                  <a:tcPr marL="274320" marR="182880" marT="9716" marB="0" anchor="ctr">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3-5 years </a:t>
                      </a:r>
                    </a:p>
                  </a:txBody>
                  <a:tcPr marL="274320" marR="182880" marT="9716" marB="0" anchor="ctr">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2322803"/>
                  </a:ext>
                </a:extLst>
              </a:tr>
              <a:tr h="182880">
                <a:tc>
                  <a:txBody>
                    <a:bodyPr/>
                    <a:lstStyle/>
                    <a:p>
                      <a:pPr marL="0" indent="0" algn="l" fontAlgn="t">
                        <a:buNone/>
                      </a:pPr>
                      <a:r>
                        <a:rPr lang="en-US" sz="1050" b="0" i="0" u="none" strike="noStrike">
                          <a:solidFill>
                            <a:srgbClr val="000000"/>
                          </a:solidFill>
                          <a:effectLst/>
                          <a:latin typeface="+mj-lt"/>
                        </a:rPr>
                        <a:t>Cost to build ($)</a:t>
                      </a:r>
                    </a:p>
                  </a:txBody>
                  <a:tcPr marL="457200" marR="9525"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10B-15B</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2B-4B</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75256222"/>
                  </a:ext>
                </a:extLst>
              </a:tr>
              <a:tr h="365760">
                <a:tc>
                  <a:txBody>
                    <a:bodyPr/>
                    <a:lstStyle/>
                    <a:p>
                      <a:pPr marL="0" indent="0" algn="l" fontAlgn="t">
                        <a:buNone/>
                      </a:pPr>
                      <a:r>
                        <a:rPr lang="en-US" sz="1050" b="0" i="0" u="none" strike="noStrike">
                          <a:solidFill>
                            <a:srgbClr val="000000"/>
                          </a:solidFill>
                          <a:effectLst/>
                          <a:latin typeface="+mj-lt"/>
                        </a:rPr>
                        <a:t>Cost structure</a:t>
                      </a:r>
                    </a:p>
                  </a:txBody>
                  <a:tcPr marL="457200" marR="9525"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Economies of scale; high upfront investment with high financial risk</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Economies of series; lower initial capital, but costs per MW may initially be high</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5955216"/>
                  </a:ext>
                </a:extLst>
              </a:tr>
              <a:tr h="182880">
                <a:tc>
                  <a:txBody>
                    <a:bodyPr/>
                    <a:lstStyle/>
                    <a:p>
                      <a:pPr marL="0" indent="0" algn="l" fontAlgn="t">
                        <a:buNone/>
                      </a:pPr>
                      <a:r>
                        <a:rPr lang="en-US" sz="1050" b="0" i="0" u="none" strike="noStrike">
                          <a:solidFill>
                            <a:srgbClr val="000000"/>
                          </a:solidFill>
                          <a:effectLst/>
                          <a:latin typeface="+mj-lt"/>
                        </a:rPr>
                        <a:t>LCOE ($/MWh)</a:t>
                      </a:r>
                    </a:p>
                  </a:txBody>
                  <a:tcPr marL="457200" marR="9525"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140-220</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50-120 (uncertain)</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3635706"/>
                  </a:ext>
                </a:extLst>
              </a:tr>
              <a:tr h="56795">
                <a:tc>
                  <a:txBody>
                    <a:bodyPr/>
                    <a:lstStyle/>
                    <a:p>
                      <a:pPr marL="0" indent="0" algn="l" fontAlgn="t">
                        <a:buNone/>
                      </a:pPr>
                      <a:endParaRPr lang="en-US" sz="300" b="0" i="0" u="none" strike="noStrike">
                        <a:solidFill>
                          <a:srgbClr val="000000"/>
                        </a:solidFill>
                        <a:effectLst/>
                        <a:latin typeface="+mj-lt"/>
                      </a:endParaRPr>
                    </a:p>
                  </a:txBody>
                  <a:tcPr marL="457200" marR="9525" marT="9716"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endParaRPr lang="en-US" sz="300" b="0" i="0" u="none" strike="noStrike">
                        <a:solidFill>
                          <a:srgbClr val="000000"/>
                        </a:solidFill>
                        <a:effectLst/>
                        <a:latin typeface="+mj-lt"/>
                      </a:endParaRPr>
                    </a:p>
                  </a:txBody>
                  <a:tcPr marL="274320" marR="182880" marT="9716"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endParaRPr lang="en-US" sz="300" b="0" i="0" u="none" strike="noStrike">
                        <a:solidFill>
                          <a:srgbClr val="000000"/>
                        </a:solidFill>
                        <a:effectLst/>
                        <a:latin typeface="+mj-lt"/>
                      </a:endParaRPr>
                    </a:p>
                  </a:txBody>
                  <a:tcPr marL="274320" marR="182880" marT="9716"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22593969"/>
                  </a:ext>
                </a:extLst>
              </a:tr>
              <a:tr h="182880">
                <a:tc>
                  <a:txBody>
                    <a:bodyPr/>
                    <a:lstStyle/>
                    <a:p>
                      <a:pPr marL="0" indent="0" algn="l" fontAlgn="t">
                        <a:buNone/>
                      </a:pPr>
                      <a:r>
                        <a:rPr lang="en-US" sz="1050" b="0" i="0" u="none" strike="noStrike">
                          <a:solidFill>
                            <a:srgbClr val="000000"/>
                          </a:solidFill>
                          <a:effectLst/>
                          <a:latin typeface="+mj-lt"/>
                        </a:rPr>
                        <a:t>Use case</a:t>
                      </a:r>
                    </a:p>
                  </a:txBody>
                  <a:tcPr marL="457200" marR="9525" marT="9716" marB="0" anchor="ctr">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Baseload power for national grids</a:t>
                      </a:r>
                    </a:p>
                  </a:txBody>
                  <a:tcPr marL="274320" marR="182880" marT="9716" marB="0" anchor="ctr">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Flexible: remote/off-grid</a:t>
                      </a:r>
                    </a:p>
                  </a:txBody>
                  <a:tcPr marL="274320" marR="182880" marT="9716" marB="0" anchor="ctr">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4709453"/>
                  </a:ext>
                </a:extLst>
              </a:tr>
              <a:tr h="365760">
                <a:tc>
                  <a:txBody>
                    <a:bodyPr/>
                    <a:lstStyle/>
                    <a:p>
                      <a:pPr marL="0" indent="0" algn="l" fontAlgn="t">
                        <a:buNone/>
                      </a:pPr>
                      <a:r>
                        <a:rPr lang="en-US" sz="1050" b="0" i="0" u="none" strike="noStrike">
                          <a:solidFill>
                            <a:srgbClr val="000000"/>
                          </a:solidFill>
                          <a:effectLst/>
                          <a:latin typeface="+mj-lt"/>
                        </a:rPr>
                        <a:t>Waste management</a:t>
                      </a:r>
                    </a:p>
                  </a:txBody>
                  <a:tcPr marL="457200" marR="9525"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Established waste management protocols in place, but long-term disposal continues to face public and political resistance</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Some studies suggest higher radioactive waste per MWh, though advanced modular reactors may improve waste handling</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22594140"/>
                  </a:ext>
                </a:extLst>
              </a:tr>
              <a:tr h="365760">
                <a:tc>
                  <a:txBody>
                    <a:bodyPr/>
                    <a:lstStyle/>
                    <a:p>
                      <a:pPr marL="0" indent="0" algn="l" fontAlgn="t">
                        <a:buNone/>
                      </a:pPr>
                      <a:r>
                        <a:rPr lang="en-US" sz="1050" b="0" i="0" u="none" strike="noStrike">
                          <a:solidFill>
                            <a:srgbClr val="000000"/>
                          </a:solidFill>
                          <a:effectLst/>
                          <a:latin typeface="+mj-lt"/>
                        </a:rPr>
                        <a:t>Deployment status</a:t>
                      </a:r>
                    </a:p>
                  </a:txBody>
                  <a:tcPr marL="457200" marR="9525"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Mature, globally deployed</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First-of-a-kind stage, few operational units; commercial viability yet to be proved</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82743848"/>
                  </a:ext>
                </a:extLst>
              </a:tr>
              <a:tr h="365760">
                <a:tc>
                  <a:txBody>
                    <a:bodyPr/>
                    <a:lstStyle/>
                    <a:p>
                      <a:pPr marL="0" indent="0" algn="l" fontAlgn="t">
                        <a:buNone/>
                      </a:pPr>
                      <a:r>
                        <a:rPr lang="en-US" sz="1050" b="0" i="0" u="none" strike="noStrike">
                          <a:solidFill>
                            <a:srgbClr val="000000"/>
                          </a:solidFill>
                          <a:effectLst/>
                          <a:latin typeface="+mj-lt"/>
                        </a:rPr>
                        <a:t>Supply chain readiness</a:t>
                      </a:r>
                    </a:p>
                  </a:txBody>
                  <a:tcPr marL="457200" marR="9525"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Mature, although often highly specialized and slow moving</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a:t>Emerging; key components still under development and supplier confidence is needed to scale up</a:t>
                      </a:r>
                      <a:endParaRPr lang="en-US" sz="1050" b="0" i="0" u="none" strike="noStrike">
                        <a:solidFill>
                          <a:srgbClr val="000000"/>
                        </a:solidFill>
                        <a:effectLst/>
                        <a:latin typeface="+mj-lt"/>
                      </a:endParaRP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71070577"/>
                  </a:ext>
                </a:extLst>
              </a:tr>
              <a:tr h="365760">
                <a:tc>
                  <a:txBody>
                    <a:bodyPr/>
                    <a:lstStyle/>
                    <a:p>
                      <a:pPr marL="0" indent="0" algn="l" fontAlgn="t">
                        <a:buNone/>
                      </a:pPr>
                      <a:r>
                        <a:rPr lang="en-US" sz="1050" b="0" i="0" u="none" strike="noStrike">
                          <a:solidFill>
                            <a:srgbClr val="000000"/>
                          </a:solidFill>
                          <a:effectLst/>
                          <a:latin typeface="+mj-lt"/>
                        </a:rPr>
                        <a:t>Standards and regulations</a:t>
                      </a:r>
                    </a:p>
                  </a:txBody>
                  <a:tcPr marL="457200" marR="9525" marT="9716" marB="0" anchor="ctr">
                    <a:lnL>
                      <a:noFill/>
                    </a:lnL>
                    <a:lnR>
                      <a:noFill/>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Established framework</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t">
                        <a:buNone/>
                      </a:pPr>
                      <a:r>
                        <a:rPr lang="en-US" sz="1050" b="0" i="0" u="none" strike="noStrike">
                          <a:solidFill>
                            <a:srgbClr val="000000"/>
                          </a:solidFill>
                          <a:effectLst/>
                          <a:latin typeface="+mj-lt"/>
                        </a:rPr>
                        <a:t>Adapting existing frameworks and emerging regulatory approaches</a:t>
                      </a:r>
                    </a:p>
                  </a:txBody>
                  <a:tcPr marL="274320" marR="182880" marT="9716" marB="0" anchor="ctr">
                    <a:lnL>
                      <a:noFill/>
                    </a:lnL>
                    <a:lnR>
                      <a:noFill/>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9955804"/>
                  </a:ext>
                </a:extLst>
              </a:tr>
            </a:tbl>
          </a:graphicData>
        </a:graphic>
      </p:graphicFrame>
      <p:pic>
        <p:nvPicPr>
          <p:cNvPr id="8" name="Picture 2" descr="One of Plant Vogtle's new reactors has been offline for a week. Here's why">
            <a:extLst>
              <a:ext uri="{FF2B5EF4-FFF2-40B4-BE49-F238E27FC236}">
                <a16:creationId xmlns:a16="http://schemas.microsoft.com/office/drawing/2014/main" id="{6244C323-0F66-9D21-AD08-7778B527D711}"/>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a:fillRect/>
          </a:stretch>
        </p:blipFill>
        <p:spPr bwMode="auto">
          <a:xfrm>
            <a:off x="4681779" y="1582596"/>
            <a:ext cx="1438939" cy="60982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79522DF-330A-3FC6-CB8E-CCE14BEB2ACD}"/>
              </a:ext>
            </a:extLst>
          </p:cNvPr>
          <p:cNvSpPr/>
          <p:nvPr/>
        </p:nvSpPr>
        <p:spPr bwMode="gray">
          <a:xfrm>
            <a:off x="8719357" y="1260428"/>
            <a:ext cx="1029233" cy="190977"/>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i="1" dirty="0">
                <a:solidFill>
                  <a:schemeClr val="bg1"/>
                </a:solidFill>
              </a:rPr>
              <a:t>High</a:t>
            </a:r>
          </a:p>
        </p:txBody>
      </p:sp>
      <p:sp>
        <p:nvSpPr>
          <p:cNvPr id="11" name="Rectangle 10">
            <a:extLst>
              <a:ext uri="{FF2B5EF4-FFF2-40B4-BE49-F238E27FC236}">
                <a16:creationId xmlns:a16="http://schemas.microsoft.com/office/drawing/2014/main" id="{A2C5644D-9CBD-636D-4B86-2AD67323EF7F}"/>
              </a:ext>
            </a:extLst>
          </p:cNvPr>
          <p:cNvSpPr/>
          <p:nvPr/>
        </p:nvSpPr>
        <p:spPr bwMode="gray">
          <a:xfrm>
            <a:off x="9778381" y="1260428"/>
            <a:ext cx="1029233" cy="19097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i="1" dirty="0">
                <a:solidFill>
                  <a:schemeClr val="bg1"/>
                </a:solidFill>
              </a:rPr>
              <a:t>Medium</a:t>
            </a:r>
          </a:p>
        </p:txBody>
      </p:sp>
      <p:sp>
        <p:nvSpPr>
          <p:cNvPr id="12" name="Rectangle 11">
            <a:extLst>
              <a:ext uri="{FF2B5EF4-FFF2-40B4-BE49-F238E27FC236}">
                <a16:creationId xmlns:a16="http://schemas.microsoft.com/office/drawing/2014/main" id="{DDD1BEF6-6F26-AF4B-DCF5-265E8241212B}"/>
              </a:ext>
            </a:extLst>
          </p:cNvPr>
          <p:cNvSpPr/>
          <p:nvPr/>
        </p:nvSpPr>
        <p:spPr bwMode="gray">
          <a:xfrm>
            <a:off x="10837402" y="1260428"/>
            <a:ext cx="1029233" cy="190977"/>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i="1" dirty="0">
                <a:solidFill>
                  <a:schemeClr val="bg1"/>
                </a:solidFill>
              </a:rPr>
              <a:t>Low</a:t>
            </a:r>
          </a:p>
        </p:txBody>
      </p:sp>
      <p:cxnSp>
        <p:nvCxnSpPr>
          <p:cNvPr id="17" name="Straight Connector 16">
            <a:extLst>
              <a:ext uri="{FF2B5EF4-FFF2-40B4-BE49-F238E27FC236}">
                <a16:creationId xmlns:a16="http://schemas.microsoft.com/office/drawing/2014/main" id="{A87E3A60-1A87-1F1A-DB81-CDA2277B45C7}"/>
              </a:ext>
            </a:extLst>
          </p:cNvPr>
          <p:cNvCxnSpPr/>
          <p:nvPr/>
        </p:nvCxnSpPr>
        <p:spPr bwMode="gray">
          <a:xfrm>
            <a:off x="334963" y="4693968"/>
            <a:ext cx="1152207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A7CE6FD-3EBC-3FF4-89B6-64DD8191E227}"/>
              </a:ext>
            </a:extLst>
          </p:cNvPr>
          <p:cNvCxnSpPr/>
          <p:nvPr/>
        </p:nvCxnSpPr>
        <p:spPr bwMode="gray">
          <a:xfrm>
            <a:off x="336095" y="3707897"/>
            <a:ext cx="1152207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E7BEE2B-9741-0A78-0E37-429E7024B6D3}"/>
              </a:ext>
            </a:extLst>
          </p:cNvPr>
          <p:cNvCxnSpPr/>
          <p:nvPr/>
        </p:nvCxnSpPr>
        <p:spPr bwMode="gray">
          <a:xfrm>
            <a:off x="334963" y="2397196"/>
            <a:ext cx="1152207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EA686E6-C5B3-1E71-5A53-021E79DE78FB}"/>
              </a:ext>
            </a:extLst>
          </p:cNvPr>
          <p:cNvCxnSpPr/>
          <p:nvPr/>
        </p:nvCxnSpPr>
        <p:spPr bwMode="gray">
          <a:xfrm>
            <a:off x="334963" y="6378656"/>
            <a:ext cx="1152207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10F64A9-B570-AD15-9D60-BDF709EDF1E6}"/>
              </a:ext>
            </a:extLst>
          </p:cNvPr>
          <p:cNvSpPr/>
          <p:nvPr/>
        </p:nvSpPr>
        <p:spPr bwMode="gray">
          <a:xfrm>
            <a:off x="3306648" y="2436689"/>
            <a:ext cx="53622" cy="137160"/>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 name="Rectangle 21">
            <a:extLst>
              <a:ext uri="{FF2B5EF4-FFF2-40B4-BE49-F238E27FC236}">
                <a16:creationId xmlns:a16="http://schemas.microsoft.com/office/drawing/2014/main" id="{4530B236-3629-4925-458B-485E389BEF5E}"/>
              </a:ext>
            </a:extLst>
          </p:cNvPr>
          <p:cNvSpPr/>
          <p:nvPr/>
        </p:nvSpPr>
        <p:spPr bwMode="gray">
          <a:xfrm>
            <a:off x="7644333" y="2436689"/>
            <a:ext cx="53622" cy="137160"/>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 name="Rectangle 22">
            <a:extLst>
              <a:ext uri="{FF2B5EF4-FFF2-40B4-BE49-F238E27FC236}">
                <a16:creationId xmlns:a16="http://schemas.microsoft.com/office/drawing/2014/main" id="{B349B579-29E2-8F9A-BCC7-C69A899EADEF}"/>
              </a:ext>
            </a:extLst>
          </p:cNvPr>
          <p:cNvSpPr/>
          <p:nvPr/>
        </p:nvSpPr>
        <p:spPr bwMode="gray">
          <a:xfrm>
            <a:off x="3306648" y="2621438"/>
            <a:ext cx="53622" cy="137160"/>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4" name="Rectangle 23">
            <a:extLst>
              <a:ext uri="{FF2B5EF4-FFF2-40B4-BE49-F238E27FC236}">
                <a16:creationId xmlns:a16="http://schemas.microsoft.com/office/drawing/2014/main" id="{CF063AEE-A7B2-E49A-9368-98174930B99A}"/>
              </a:ext>
            </a:extLst>
          </p:cNvPr>
          <p:cNvSpPr/>
          <p:nvPr/>
        </p:nvSpPr>
        <p:spPr bwMode="gray">
          <a:xfrm>
            <a:off x="7644333" y="2621438"/>
            <a:ext cx="53622" cy="13716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5" name="Rectangle 24">
            <a:extLst>
              <a:ext uri="{FF2B5EF4-FFF2-40B4-BE49-F238E27FC236}">
                <a16:creationId xmlns:a16="http://schemas.microsoft.com/office/drawing/2014/main" id="{8EB5BF81-A867-8342-125C-5D9FC7AAB4FC}"/>
              </a:ext>
            </a:extLst>
          </p:cNvPr>
          <p:cNvSpPr/>
          <p:nvPr/>
        </p:nvSpPr>
        <p:spPr bwMode="gray">
          <a:xfrm>
            <a:off x="3306648" y="2806187"/>
            <a:ext cx="53622" cy="13716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6" name="Rectangle 25">
            <a:extLst>
              <a:ext uri="{FF2B5EF4-FFF2-40B4-BE49-F238E27FC236}">
                <a16:creationId xmlns:a16="http://schemas.microsoft.com/office/drawing/2014/main" id="{96BA60D2-299C-358A-FF41-671FD11A54A6}"/>
              </a:ext>
            </a:extLst>
          </p:cNvPr>
          <p:cNvSpPr/>
          <p:nvPr/>
        </p:nvSpPr>
        <p:spPr bwMode="gray">
          <a:xfrm>
            <a:off x="7644333" y="2806187"/>
            <a:ext cx="53622" cy="13716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Rectangle 26">
            <a:extLst>
              <a:ext uri="{FF2B5EF4-FFF2-40B4-BE49-F238E27FC236}">
                <a16:creationId xmlns:a16="http://schemas.microsoft.com/office/drawing/2014/main" id="{1C6E506D-5103-AFDC-F77F-E746B1BF25D6}"/>
              </a:ext>
            </a:extLst>
          </p:cNvPr>
          <p:cNvSpPr/>
          <p:nvPr/>
        </p:nvSpPr>
        <p:spPr bwMode="gray">
          <a:xfrm>
            <a:off x="3306648" y="2990936"/>
            <a:ext cx="53622" cy="13716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8" name="Rectangle 27">
            <a:extLst>
              <a:ext uri="{FF2B5EF4-FFF2-40B4-BE49-F238E27FC236}">
                <a16:creationId xmlns:a16="http://schemas.microsoft.com/office/drawing/2014/main" id="{50818058-750C-F9CF-CD4B-FA7BE0948340}"/>
              </a:ext>
            </a:extLst>
          </p:cNvPr>
          <p:cNvSpPr/>
          <p:nvPr/>
        </p:nvSpPr>
        <p:spPr bwMode="gray">
          <a:xfrm>
            <a:off x="7644333" y="2990936"/>
            <a:ext cx="53622" cy="13716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9" name="Rectangle 28">
            <a:extLst>
              <a:ext uri="{FF2B5EF4-FFF2-40B4-BE49-F238E27FC236}">
                <a16:creationId xmlns:a16="http://schemas.microsoft.com/office/drawing/2014/main" id="{B18674D8-EF47-5F85-A4E9-3870B0B1530B}"/>
              </a:ext>
            </a:extLst>
          </p:cNvPr>
          <p:cNvSpPr/>
          <p:nvPr/>
        </p:nvSpPr>
        <p:spPr bwMode="gray">
          <a:xfrm>
            <a:off x="3306648" y="3175685"/>
            <a:ext cx="53622" cy="13716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 name="Rectangle 29">
            <a:extLst>
              <a:ext uri="{FF2B5EF4-FFF2-40B4-BE49-F238E27FC236}">
                <a16:creationId xmlns:a16="http://schemas.microsoft.com/office/drawing/2014/main" id="{51D87340-CA73-AA2B-937C-38844327CF86}"/>
              </a:ext>
            </a:extLst>
          </p:cNvPr>
          <p:cNvSpPr/>
          <p:nvPr/>
        </p:nvSpPr>
        <p:spPr bwMode="gray">
          <a:xfrm>
            <a:off x="7644333" y="3175685"/>
            <a:ext cx="53622" cy="13716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 name="Rectangle 30">
            <a:extLst>
              <a:ext uri="{FF2B5EF4-FFF2-40B4-BE49-F238E27FC236}">
                <a16:creationId xmlns:a16="http://schemas.microsoft.com/office/drawing/2014/main" id="{C78215DA-0A53-B6A2-4F30-CF50B4DA5A9F}"/>
              </a:ext>
            </a:extLst>
          </p:cNvPr>
          <p:cNvSpPr/>
          <p:nvPr/>
        </p:nvSpPr>
        <p:spPr bwMode="gray">
          <a:xfrm>
            <a:off x="3306648" y="3360434"/>
            <a:ext cx="53622" cy="13716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 name="Rectangle 31">
            <a:extLst>
              <a:ext uri="{FF2B5EF4-FFF2-40B4-BE49-F238E27FC236}">
                <a16:creationId xmlns:a16="http://schemas.microsoft.com/office/drawing/2014/main" id="{174D5C6D-BB55-0BAD-2EEF-AA5874BB0C30}"/>
              </a:ext>
            </a:extLst>
          </p:cNvPr>
          <p:cNvSpPr/>
          <p:nvPr/>
        </p:nvSpPr>
        <p:spPr bwMode="gray">
          <a:xfrm>
            <a:off x="7644333" y="3360434"/>
            <a:ext cx="53622" cy="13716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 name="Rectangle 32">
            <a:extLst>
              <a:ext uri="{FF2B5EF4-FFF2-40B4-BE49-F238E27FC236}">
                <a16:creationId xmlns:a16="http://schemas.microsoft.com/office/drawing/2014/main" id="{2B8BF1CA-ADE5-9121-E484-9884145F5D94}"/>
              </a:ext>
            </a:extLst>
          </p:cNvPr>
          <p:cNvSpPr/>
          <p:nvPr/>
        </p:nvSpPr>
        <p:spPr bwMode="gray">
          <a:xfrm>
            <a:off x="3306648" y="3545182"/>
            <a:ext cx="53622" cy="13716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4" name="Rectangle 33">
            <a:extLst>
              <a:ext uri="{FF2B5EF4-FFF2-40B4-BE49-F238E27FC236}">
                <a16:creationId xmlns:a16="http://schemas.microsoft.com/office/drawing/2014/main" id="{DEE594AF-9E79-952A-4CE2-05C0D723910D}"/>
              </a:ext>
            </a:extLst>
          </p:cNvPr>
          <p:cNvSpPr/>
          <p:nvPr/>
        </p:nvSpPr>
        <p:spPr bwMode="gray">
          <a:xfrm>
            <a:off x="7644333" y="3545182"/>
            <a:ext cx="53622" cy="13716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5" name="Rectangle 34">
            <a:extLst>
              <a:ext uri="{FF2B5EF4-FFF2-40B4-BE49-F238E27FC236}">
                <a16:creationId xmlns:a16="http://schemas.microsoft.com/office/drawing/2014/main" id="{6899A32B-C160-011E-4397-0EBB3FC5D4FF}"/>
              </a:ext>
            </a:extLst>
          </p:cNvPr>
          <p:cNvSpPr/>
          <p:nvPr/>
        </p:nvSpPr>
        <p:spPr bwMode="gray">
          <a:xfrm>
            <a:off x="3306648" y="3779438"/>
            <a:ext cx="53622" cy="13716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 name="Rectangle 35">
            <a:extLst>
              <a:ext uri="{FF2B5EF4-FFF2-40B4-BE49-F238E27FC236}">
                <a16:creationId xmlns:a16="http://schemas.microsoft.com/office/drawing/2014/main" id="{9ED4C404-F4E6-96F4-4397-7D167C9ECD98}"/>
              </a:ext>
            </a:extLst>
          </p:cNvPr>
          <p:cNvSpPr/>
          <p:nvPr/>
        </p:nvSpPr>
        <p:spPr bwMode="gray">
          <a:xfrm>
            <a:off x="7644333" y="3779438"/>
            <a:ext cx="53622" cy="13716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7" name="Rectangle 36">
            <a:extLst>
              <a:ext uri="{FF2B5EF4-FFF2-40B4-BE49-F238E27FC236}">
                <a16:creationId xmlns:a16="http://schemas.microsoft.com/office/drawing/2014/main" id="{9E43152F-B4D5-08A1-3717-5FD18C55CD7F}"/>
              </a:ext>
            </a:extLst>
          </p:cNvPr>
          <p:cNvSpPr/>
          <p:nvPr/>
        </p:nvSpPr>
        <p:spPr bwMode="gray">
          <a:xfrm>
            <a:off x="3306648" y="3964187"/>
            <a:ext cx="53622" cy="13716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8" name="Rectangle 37">
            <a:extLst>
              <a:ext uri="{FF2B5EF4-FFF2-40B4-BE49-F238E27FC236}">
                <a16:creationId xmlns:a16="http://schemas.microsoft.com/office/drawing/2014/main" id="{3EDA0029-9EDD-EAF3-5830-EFCB066431A8}"/>
              </a:ext>
            </a:extLst>
          </p:cNvPr>
          <p:cNvSpPr/>
          <p:nvPr/>
        </p:nvSpPr>
        <p:spPr bwMode="gray">
          <a:xfrm>
            <a:off x="7644333" y="3964187"/>
            <a:ext cx="53622" cy="13716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9" name="Rectangle 38">
            <a:extLst>
              <a:ext uri="{FF2B5EF4-FFF2-40B4-BE49-F238E27FC236}">
                <a16:creationId xmlns:a16="http://schemas.microsoft.com/office/drawing/2014/main" id="{0B809039-A84E-1ED6-708F-0FE214C52D51}"/>
              </a:ext>
            </a:extLst>
          </p:cNvPr>
          <p:cNvSpPr/>
          <p:nvPr/>
        </p:nvSpPr>
        <p:spPr bwMode="gray">
          <a:xfrm>
            <a:off x="3306648" y="4250534"/>
            <a:ext cx="53622" cy="137160"/>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0" name="Rectangle 39">
            <a:extLst>
              <a:ext uri="{FF2B5EF4-FFF2-40B4-BE49-F238E27FC236}">
                <a16:creationId xmlns:a16="http://schemas.microsoft.com/office/drawing/2014/main" id="{F335F833-4181-6F44-F17F-65D57ED0DD19}"/>
              </a:ext>
            </a:extLst>
          </p:cNvPr>
          <p:cNvSpPr/>
          <p:nvPr/>
        </p:nvSpPr>
        <p:spPr bwMode="gray">
          <a:xfrm>
            <a:off x="7644333" y="4250534"/>
            <a:ext cx="53622" cy="137160"/>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1" name="Rectangle 40">
            <a:extLst>
              <a:ext uri="{FF2B5EF4-FFF2-40B4-BE49-F238E27FC236}">
                <a16:creationId xmlns:a16="http://schemas.microsoft.com/office/drawing/2014/main" id="{82FC62A1-94C1-B90C-653F-A776054B39BE}"/>
              </a:ext>
            </a:extLst>
          </p:cNvPr>
          <p:cNvSpPr/>
          <p:nvPr/>
        </p:nvSpPr>
        <p:spPr bwMode="gray">
          <a:xfrm>
            <a:off x="3306648" y="4512843"/>
            <a:ext cx="53622" cy="13716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 name="Rectangle 41">
            <a:extLst>
              <a:ext uri="{FF2B5EF4-FFF2-40B4-BE49-F238E27FC236}">
                <a16:creationId xmlns:a16="http://schemas.microsoft.com/office/drawing/2014/main" id="{4B4DC2F9-FF82-4362-B7A2-E52D39813228}"/>
              </a:ext>
            </a:extLst>
          </p:cNvPr>
          <p:cNvSpPr/>
          <p:nvPr/>
        </p:nvSpPr>
        <p:spPr bwMode="gray">
          <a:xfrm>
            <a:off x="7644333" y="4512843"/>
            <a:ext cx="53622" cy="13716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 name="Rectangle 42">
            <a:extLst>
              <a:ext uri="{FF2B5EF4-FFF2-40B4-BE49-F238E27FC236}">
                <a16:creationId xmlns:a16="http://schemas.microsoft.com/office/drawing/2014/main" id="{4FFD0624-72CB-AD7F-F9BE-F6E3D2970895}"/>
              </a:ext>
            </a:extLst>
          </p:cNvPr>
          <p:cNvSpPr/>
          <p:nvPr/>
        </p:nvSpPr>
        <p:spPr bwMode="gray">
          <a:xfrm>
            <a:off x="3306648" y="4739562"/>
            <a:ext cx="53622" cy="137160"/>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4" name="Rectangle 43">
            <a:extLst>
              <a:ext uri="{FF2B5EF4-FFF2-40B4-BE49-F238E27FC236}">
                <a16:creationId xmlns:a16="http://schemas.microsoft.com/office/drawing/2014/main" id="{C32E8F4C-E620-EDE3-FCE9-E76F06FE49A9}"/>
              </a:ext>
            </a:extLst>
          </p:cNvPr>
          <p:cNvSpPr/>
          <p:nvPr/>
        </p:nvSpPr>
        <p:spPr bwMode="gray">
          <a:xfrm>
            <a:off x="7644333" y="4739562"/>
            <a:ext cx="53622" cy="137160"/>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5" name="Rectangle 44">
            <a:extLst>
              <a:ext uri="{FF2B5EF4-FFF2-40B4-BE49-F238E27FC236}">
                <a16:creationId xmlns:a16="http://schemas.microsoft.com/office/drawing/2014/main" id="{299B0DDF-CF50-0AFF-BC26-FB66F12869C3}"/>
              </a:ext>
            </a:extLst>
          </p:cNvPr>
          <p:cNvSpPr/>
          <p:nvPr/>
        </p:nvSpPr>
        <p:spPr bwMode="gray">
          <a:xfrm>
            <a:off x="3306648" y="5035451"/>
            <a:ext cx="53622" cy="137160"/>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 name="Rectangle 45">
            <a:extLst>
              <a:ext uri="{FF2B5EF4-FFF2-40B4-BE49-F238E27FC236}">
                <a16:creationId xmlns:a16="http://schemas.microsoft.com/office/drawing/2014/main" id="{300FC9C0-B66C-1A1B-D682-1EA77F4743A3}"/>
              </a:ext>
            </a:extLst>
          </p:cNvPr>
          <p:cNvSpPr/>
          <p:nvPr/>
        </p:nvSpPr>
        <p:spPr bwMode="gray">
          <a:xfrm>
            <a:off x="7644333" y="5035451"/>
            <a:ext cx="53622" cy="137160"/>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7" name="Rectangle 46">
            <a:extLst>
              <a:ext uri="{FF2B5EF4-FFF2-40B4-BE49-F238E27FC236}">
                <a16:creationId xmlns:a16="http://schemas.microsoft.com/office/drawing/2014/main" id="{2B90DA9B-6AF8-C777-779C-05CA34713EBB}"/>
              </a:ext>
            </a:extLst>
          </p:cNvPr>
          <p:cNvSpPr/>
          <p:nvPr/>
        </p:nvSpPr>
        <p:spPr bwMode="gray">
          <a:xfrm>
            <a:off x="3306648" y="5369373"/>
            <a:ext cx="53622" cy="13716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8" name="Rectangle 47">
            <a:extLst>
              <a:ext uri="{FF2B5EF4-FFF2-40B4-BE49-F238E27FC236}">
                <a16:creationId xmlns:a16="http://schemas.microsoft.com/office/drawing/2014/main" id="{9A1E361A-9756-0A21-6EA2-0EACC767287F}"/>
              </a:ext>
            </a:extLst>
          </p:cNvPr>
          <p:cNvSpPr/>
          <p:nvPr/>
        </p:nvSpPr>
        <p:spPr bwMode="gray">
          <a:xfrm>
            <a:off x="7644333" y="5369373"/>
            <a:ext cx="53622" cy="13716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 name="Rectangle 48">
            <a:extLst>
              <a:ext uri="{FF2B5EF4-FFF2-40B4-BE49-F238E27FC236}">
                <a16:creationId xmlns:a16="http://schemas.microsoft.com/office/drawing/2014/main" id="{C55AC8D9-5BB2-C38F-8CE5-454F744CD0F4}"/>
              </a:ext>
            </a:extLst>
          </p:cNvPr>
          <p:cNvSpPr/>
          <p:nvPr/>
        </p:nvSpPr>
        <p:spPr bwMode="gray">
          <a:xfrm>
            <a:off x="3306648" y="5757877"/>
            <a:ext cx="53622" cy="13716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0" name="Rectangle 49">
            <a:extLst>
              <a:ext uri="{FF2B5EF4-FFF2-40B4-BE49-F238E27FC236}">
                <a16:creationId xmlns:a16="http://schemas.microsoft.com/office/drawing/2014/main" id="{CAFDF389-9F60-3315-4B3D-1E5081A2C3DC}"/>
              </a:ext>
            </a:extLst>
          </p:cNvPr>
          <p:cNvSpPr/>
          <p:nvPr/>
        </p:nvSpPr>
        <p:spPr bwMode="gray">
          <a:xfrm>
            <a:off x="7644333" y="5757877"/>
            <a:ext cx="53622" cy="13716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 name="Rectangle 50">
            <a:extLst>
              <a:ext uri="{FF2B5EF4-FFF2-40B4-BE49-F238E27FC236}">
                <a16:creationId xmlns:a16="http://schemas.microsoft.com/office/drawing/2014/main" id="{18DD99F3-19A2-E6E6-6924-CB05F4C050AA}"/>
              </a:ext>
            </a:extLst>
          </p:cNvPr>
          <p:cNvSpPr/>
          <p:nvPr/>
        </p:nvSpPr>
        <p:spPr bwMode="gray">
          <a:xfrm>
            <a:off x="3306648" y="6113357"/>
            <a:ext cx="53622" cy="13716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2" name="Rectangle 51">
            <a:extLst>
              <a:ext uri="{FF2B5EF4-FFF2-40B4-BE49-F238E27FC236}">
                <a16:creationId xmlns:a16="http://schemas.microsoft.com/office/drawing/2014/main" id="{86229DF8-F245-27B9-CA89-2F1FA8FB77C9}"/>
              </a:ext>
            </a:extLst>
          </p:cNvPr>
          <p:cNvSpPr/>
          <p:nvPr/>
        </p:nvSpPr>
        <p:spPr bwMode="gray">
          <a:xfrm>
            <a:off x="7644333" y="6113357"/>
            <a:ext cx="53622" cy="13716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5" name="TextBox 54">
            <a:extLst>
              <a:ext uri="{FF2B5EF4-FFF2-40B4-BE49-F238E27FC236}">
                <a16:creationId xmlns:a16="http://schemas.microsoft.com/office/drawing/2014/main" id="{942D124B-8ED5-4051-8AE1-C3FEE2482A1C}"/>
              </a:ext>
            </a:extLst>
          </p:cNvPr>
          <p:cNvSpPr txBox="1"/>
          <p:nvPr/>
        </p:nvSpPr>
        <p:spPr bwMode="gray">
          <a:xfrm rot="16200000">
            <a:off x="-96152" y="2969490"/>
            <a:ext cx="1245653" cy="180049"/>
          </a:xfrm>
          <a:prstGeom prst="rect">
            <a:avLst/>
          </a:prstGeom>
          <a:solidFill>
            <a:schemeClr val="bg1"/>
          </a:solidFill>
        </p:spPr>
        <p:txBody>
          <a:bodyPr wrap="square" lIns="9144" tIns="9144" rIns="9144" bIns="9144" rtlCol="0">
            <a:spAutoFit/>
          </a:bodyPr>
          <a:lstStyle/>
          <a:p>
            <a:pPr marL="0" indent="0" algn="ctr">
              <a:spcBef>
                <a:spcPts val="600"/>
              </a:spcBef>
              <a:spcAft>
                <a:spcPts val="600"/>
              </a:spcAft>
              <a:buNone/>
            </a:pPr>
            <a:endParaRPr lang="en-US" sz="1050" b="1"/>
          </a:p>
        </p:txBody>
      </p:sp>
      <p:pic>
        <p:nvPicPr>
          <p:cNvPr id="2" name="Picture 1">
            <a:extLst>
              <a:ext uri="{FF2B5EF4-FFF2-40B4-BE49-F238E27FC236}">
                <a16:creationId xmlns:a16="http://schemas.microsoft.com/office/drawing/2014/main" id="{F98DFF8B-895D-B7C3-8F0D-2AEAF3A2A76D}"/>
              </a:ext>
            </a:extLst>
          </p:cNvPr>
          <p:cNvPicPr>
            <a:picLocks noChangeAspect="1"/>
          </p:cNvPicPr>
          <p:nvPr/>
        </p:nvPicPr>
        <p:blipFill>
          <a:blip r:embed="rId16" cstate="screen">
            <a:extLst>
              <a:ext uri="{28A0092B-C50C-407E-A947-70E740481C1C}">
                <a14:useLocalDpi xmlns:a14="http://schemas.microsoft.com/office/drawing/2010/main"/>
              </a:ext>
            </a:extLst>
          </a:blip>
          <a:srcRect/>
          <a:stretch>
            <a:fillRect/>
          </a:stretch>
        </p:blipFill>
        <p:spPr>
          <a:xfrm>
            <a:off x="9029120" y="1582596"/>
            <a:ext cx="1438939" cy="604407"/>
          </a:xfrm>
          <a:prstGeom prst="rect">
            <a:avLst/>
          </a:prstGeom>
        </p:spPr>
      </p:pic>
      <p:sp>
        <p:nvSpPr>
          <p:cNvPr id="5" name="Rectangle 4">
            <a:extLst>
              <a:ext uri="{FF2B5EF4-FFF2-40B4-BE49-F238E27FC236}">
                <a16:creationId xmlns:a16="http://schemas.microsoft.com/office/drawing/2014/main" id="{C3E0CB5C-CB46-A59A-9FF0-FDD52EABD833}"/>
              </a:ext>
            </a:extLst>
          </p:cNvPr>
          <p:cNvSpPr/>
          <p:nvPr/>
        </p:nvSpPr>
        <p:spPr bwMode="gray">
          <a:xfrm>
            <a:off x="354268" y="2451136"/>
            <a:ext cx="406912" cy="119336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54864" bIns="36000" numCol="1" spcCol="0" rtlCol="0" fromWordArt="0" anchor="b" anchorCtr="0" forceAA="0" compatLnSpc="1">
            <a:prstTxWarp prst="textNoShape">
              <a:avLst/>
            </a:prstTxWarp>
            <a:noAutofit/>
          </a:bodyPr>
          <a:lstStyle/>
          <a:p>
            <a:pPr algn="ctr"/>
            <a:r>
              <a:rPr lang="en-US" sz="1050" b="1">
                <a:solidFill>
                  <a:schemeClr val="tx1"/>
                </a:solidFill>
              </a:rPr>
              <a:t>Technical specifications</a:t>
            </a:r>
            <a:endParaRPr lang="en-US" sz="1050">
              <a:solidFill>
                <a:schemeClr val="tx1"/>
              </a:solidFill>
            </a:endParaRPr>
          </a:p>
        </p:txBody>
      </p:sp>
      <p:sp>
        <p:nvSpPr>
          <p:cNvPr id="14" name="Rectangle 13">
            <a:extLst>
              <a:ext uri="{FF2B5EF4-FFF2-40B4-BE49-F238E27FC236}">
                <a16:creationId xmlns:a16="http://schemas.microsoft.com/office/drawing/2014/main" id="{52A4F22F-6746-E876-88C4-960A4D8A118D}"/>
              </a:ext>
            </a:extLst>
          </p:cNvPr>
          <p:cNvSpPr/>
          <p:nvPr/>
        </p:nvSpPr>
        <p:spPr bwMode="gray">
          <a:xfrm>
            <a:off x="354268" y="3741184"/>
            <a:ext cx="406912" cy="92722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576" rIns="54864" bIns="36000" numCol="1" spcCol="0" rtlCol="0" fromWordArt="0" anchor="b" anchorCtr="0" forceAA="0" compatLnSpc="1">
            <a:prstTxWarp prst="textNoShape">
              <a:avLst/>
            </a:prstTxWarp>
            <a:noAutofit/>
          </a:bodyPr>
          <a:lstStyle/>
          <a:p>
            <a:pPr algn="ctr"/>
            <a:r>
              <a:rPr lang="en-US" sz="1050" b="1">
                <a:solidFill>
                  <a:schemeClr val="tx1"/>
                </a:solidFill>
              </a:rPr>
              <a:t>Economics</a:t>
            </a:r>
            <a:endParaRPr lang="en-US" sz="1050">
              <a:solidFill>
                <a:schemeClr val="tx1"/>
              </a:solidFill>
            </a:endParaRPr>
          </a:p>
        </p:txBody>
      </p:sp>
      <p:sp>
        <p:nvSpPr>
          <p:cNvPr id="53" name="Rectangle 52">
            <a:extLst>
              <a:ext uri="{FF2B5EF4-FFF2-40B4-BE49-F238E27FC236}">
                <a16:creationId xmlns:a16="http://schemas.microsoft.com/office/drawing/2014/main" id="{4AA76535-CB4E-AF66-3F59-7B3D38886D40}"/>
              </a:ext>
            </a:extLst>
          </p:cNvPr>
          <p:cNvSpPr/>
          <p:nvPr/>
        </p:nvSpPr>
        <p:spPr bwMode="gray">
          <a:xfrm>
            <a:off x="354268" y="4736750"/>
            <a:ext cx="406912" cy="161423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54864" bIns="36000" numCol="1" spcCol="0" rtlCol="0" fromWordArt="0" anchor="b" anchorCtr="0" forceAA="0" compatLnSpc="1">
            <a:prstTxWarp prst="textNoShape">
              <a:avLst/>
            </a:prstTxWarp>
            <a:noAutofit/>
          </a:bodyPr>
          <a:lstStyle/>
          <a:p>
            <a:pPr algn="ctr"/>
            <a:r>
              <a:rPr lang="en-US" sz="1050" b="1">
                <a:solidFill>
                  <a:schemeClr val="tx1"/>
                </a:solidFill>
              </a:rPr>
              <a:t>Operations</a:t>
            </a:r>
            <a:endParaRPr lang="en-US" sz="1050">
              <a:solidFill>
                <a:schemeClr val="tx1"/>
              </a:solidFill>
            </a:endParaRPr>
          </a:p>
        </p:txBody>
      </p:sp>
      <p:sp>
        <p:nvSpPr>
          <p:cNvPr id="9" name="Rectangle 8">
            <a:extLst>
              <a:ext uri="{FF2B5EF4-FFF2-40B4-BE49-F238E27FC236}">
                <a16:creationId xmlns:a16="http://schemas.microsoft.com/office/drawing/2014/main" id="{B99EA22D-D0EF-DA76-A93D-A5699056A3D1}"/>
              </a:ext>
            </a:extLst>
          </p:cNvPr>
          <p:cNvSpPr/>
          <p:nvPr/>
        </p:nvSpPr>
        <p:spPr bwMode="gray">
          <a:xfrm>
            <a:off x="9573527" y="1024102"/>
            <a:ext cx="1438939" cy="17663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i="1" dirty="0">
                <a:solidFill>
                  <a:schemeClr val="tx1"/>
                </a:solidFill>
              </a:rPr>
              <a:t>Desirability</a:t>
            </a:r>
          </a:p>
        </p:txBody>
      </p:sp>
    </p:spTree>
    <p:extLst>
      <p:ext uri="{BB962C8B-B14F-4D97-AF65-F5344CB8AC3E}">
        <p14:creationId xmlns:p14="http://schemas.microsoft.com/office/powerpoint/2010/main" val="5807473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552F8A-3B5E-0283-B557-69A40D11C80B}"/>
              </a:ext>
            </a:extLst>
          </p:cNvPr>
          <p:cNvGraphicFramePr>
            <a:graphicFrameLocks noChangeAspect="1"/>
          </p:cNvGraphicFramePr>
          <p:nvPr>
            <p:custDataLst>
              <p:tags r:id="rId1"/>
            </p:custDataLst>
            <p:extLst>
              <p:ext uri="{D42A27DB-BD31-4B8C-83A1-F6EECF244321}">
                <p14:modId xmlns:p14="http://schemas.microsoft.com/office/powerpoint/2010/main" val="363027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405" progId="TCLayout.ActiveDocument.1">
                  <p:embed/>
                </p:oleObj>
              </mc:Choice>
              <mc:Fallback>
                <p:oleObj name="think-cell Slide" r:id="rId5" imgW="405" imgH="405" progId="TCLayout.ActiveDocument.1">
                  <p:embed/>
                  <p:pic>
                    <p:nvPicPr>
                      <p:cNvPr id="4" name="think-cell data - do not delete" hidden="1">
                        <a:extLst>
                          <a:ext uri="{FF2B5EF4-FFF2-40B4-BE49-F238E27FC236}">
                            <a16:creationId xmlns:a16="http://schemas.microsoft.com/office/drawing/2014/main" id="{9B552F8A-3B5E-0283-B557-69A40D11C8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Freeform: Shape 33">
            <a:extLst>
              <a:ext uri="{FF2B5EF4-FFF2-40B4-BE49-F238E27FC236}">
                <a16:creationId xmlns:a16="http://schemas.microsoft.com/office/drawing/2014/main" id="{BB504B50-5F33-BF16-0285-A42A29F0A327}"/>
              </a:ext>
            </a:extLst>
          </p:cNvPr>
          <p:cNvSpPr/>
          <p:nvPr/>
        </p:nvSpPr>
        <p:spPr bwMode="gray">
          <a:xfrm>
            <a:off x="6311348" y="0"/>
            <a:ext cx="5880652" cy="6858000"/>
          </a:xfrm>
          <a:custGeom>
            <a:avLst/>
            <a:gdLst>
              <a:gd name="connsiteX0" fmla="*/ 15 w 5880652"/>
              <a:gd name="connsiteY0" fmla="*/ 4440453 h 6858000"/>
              <a:gd name="connsiteX1" fmla="*/ 15 w 5880652"/>
              <a:gd name="connsiteY1" fmla="*/ 4769339 h 6858000"/>
              <a:gd name="connsiteX2" fmla="*/ 221449 w 5880652"/>
              <a:gd name="connsiteY2" fmla="*/ 4769339 h 6858000"/>
              <a:gd name="connsiteX3" fmla="*/ 265737 w 5880652"/>
              <a:gd name="connsiteY3" fmla="*/ 4725051 h 6858000"/>
              <a:gd name="connsiteX4" fmla="*/ 265737 w 5880652"/>
              <a:gd name="connsiteY4" fmla="*/ 4484741 h 6858000"/>
              <a:gd name="connsiteX5" fmla="*/ 221449 w 5880652"/>
              <a:gd name="connsiteY5" fmla="*/ 4440453 h 6858000"/>
              <a:gd name="connsiteX6" fmla="*/ 14 w 5880652"/>
              <a:gd name="connsiteY6" fmla="*/ 3891300 h 6858000"/>
              <a:gd name="connsiteX7" fmla="*/ 14 w 5880652"/>
              <a:gd name="connsiteY7" fmla="*/ 4220186 h 6858000"/>
              <a:gd name="connsiteX8" fmla="*/ 221448 w 5880652"/>
              <a:gd name="connsiteY8" fmla="*/ 4220186 h 6858000"/>
              <a:gd name="connsiteX9" fmla="*/ 265736 w 5880652"/>
              <a:gd name="connsiteY9" fmla="*/ 4175898 h 6858000"/>
              <a:gd name="connsiteX10" fmla="*/ 265736 w 5880652"/>
              <a:gd name="connsiteY10" fmla="*/ 3935588 h 6858000"/>
              <a:gd name="connsiteX11" fmla="*/ 221448 w 5880652"/>
              <a:gd name="connsiteY11" fmla="*/ 3891300 h 6858000"/>
              <a:gd name="connsiteX12" fmla="*/ 10 w 5880652"/>
              <a:gd name="connsiteY12" fmla="*/ 3342147 h 6858000"/>
              <a:gd name="connsiteX13" fmla="*/ 10 w 5880652"/>
              <a:gd name="connsiteY13" fmla="*/ 3671033 h 6858000"/>
              <a:gd name="connsiteX14" fmla="*/ 221444 w 5880652"/>
              <a:gd name="connsiteY14" fmla="*/ 3671033 h 6858000"/>
              <a:gd name="connsiteX15" fmla="*/ 265732 w 5880652"/>
              <a:gd name="connsiteY15" fmla="*/ 3626745 h 6858000"/>
              <a:gd name="connsiteX16" fmla="*/ 265732 w 5880652"/>
              <a:gd name="connsiteY16" fmla="*/ 3386435 h 6858000"/>
              <a:gd name="connsiteX17" fmla="*/ 221444 w 5880652"/>
              <a:gd name="connsiteY17" fmla="*/ 3342147 h 6858000"/>
              <a:gd name="connsiteX18" fmla="*/ 10 w 5880652"/>
              <a:gd name="connsiteY18" fmla="*/ 2792994 h 6858000"/>
              <a:gd name="connsiteX19" fmla="*/ 10 w 5880652"/>
              <a:gd name="connsiteY19" fmla="*/ 3121880 h 6858000"/>
              <a:gd name="connsiteX20" fmla="*/ 221444 w 5880652"/>
              <a:gd name="connsiteY20" fmla="*/ 3121880 h 6858000"/>
              <a:gd name="connsiteX21" fmla="*/ 265732 w 5880652"/>
              <a:gd name="connsiteY21" fmla="*/ 3077592 h 6858000"/>
              <a:gd name="connsiteX22" fmla="*/ 265732 w 5880652"/>
              <a:gd name="connsiteY22" fmla="*/ 2837282 h 6858000"/>
              <a:gd name="connsiteX23" fmla="*/ 221444 w 5880652"/>
              <a:gd name="connsiteY23" fmla="*/ 2792994 h 6858000"/>
              <a:gd name="connsiteX24" fmla="*/ 7 w 5880652"/>
              <a:gd name="connsiteY24" fmla="*/ 2243841 h 6858000"/>
              <a:gd name="connsiteX25" fmla="*/ 7 w 5880652"/>
              <a:gd name="connsiteY25" fmla="*/ 2572727 h 6858000"/>
              <a:gd name="connsiteX26" fmla="*/ 221440 w 5880652"/>
              <a:gd name="connsiteY26" fmla="*/ 2572727 h 6858000"/>
              <a:gd name="connsiteX27" fmla="*/ 265728 w 5880652"/>
              <a:gd name="connsiteY27" fmla="*/ 2528439 h 6858000"/>
              <a:gd name="connsiteX28" fmla="*/ 265728 w 5880652"/>
              <a:gd name="connsiteY28" fmla="*/ 2288129 h 6858000"/>
              <a:gd name="connsiteX29" fmla="*/ 221440 w 5880652"/>
              <a:gd name="connsiteY29" fmla="*/ 2243841 h 6858000"/>
              <a:gd name="connsiteX30" fmla="*/ 6 w 5880652"/>
              <a:gd name="connsiteY30" fmla="*/ 1694688 h 6858000"/>
              <a:gd name="connsiteX31" fmla="*/ 6 w 5880652"/>
              <a:gd name="connsiteY31" fmla="*/ 2023574 h 6858000"/>
              <a:gd name="connsiteX32" fmla="*/ 221439 w 5880652"/>
              <a:gd name="connsiteY32" fmla="*/ 2023574 h 6858000"/>
              <a:gd name="connsiteX33" fmla="*/ 265727 w 5880652"/>
              <a:gd name="connsiteY33" fmla="*/ 1979286 h 6858000"/>
              <a:gd name="connsiteX34" fmla="*/ 265727 w 5880652"/>
              <a:gd name="connsiteY34" fmla="*/ 1738976 h 6858000"/>
              <a:gd name="connsiteX35" fmla="*/ 221439 w 5880652"/>
              <a:gd name="connsiteY35" fmla="*/ 1694688 h 6858000"/>
              <a:gd name="connsiteX36" fmla="*/ 0 w 5880652"/>
              <a:gd name="connsiteY36" fmla="*/ 0 h 6858000"/>
              <a:gd name="connsiteX37" fmla="*/ 5880652 w 5880652"/>
              <a:gd name="connsiteY37" fmla="*/ 0 h 6858000"/>
              <a:gd name="connsiteX38" fmla="*/ 5880652 w 5880652"/>
              <a:gd name="connsiteY38" fmla="*/ 6858000 h 6858000"/>
              <a:gd name="connsiteX39" fmla="*/ 0 w 5880652"/>
              <a:gd name="connsiteY39" fmla="*/ 6858000 h 6858000"/>
              <a:gd name="connsiteX40" fmla="*/ 0 w 5880652"/>
              <a:gd name="connsiteY40" fmla="*/ 5318492 h 6858000"/>
              <a:gd name="connsiteX41" fmla="*/ 473301 w 5880652"/>
              <a:gd name="connsiteY41" fmla="*/ 5318492 h 6858000"/>
              <a:gd name="connsiteX42" fmla="*/ 528116 w 5880652"/>
              <a:gd name="connsiteY42" fmla="*/ 5263677 h 6858000"/>
              <a:gd name="connsiteX43" fmla="*/ 528116 w 5880652"/>
              <a:gd name="connsiteY43" fmla="*/ 5044421 h 6858000"/>
              <a:gd name="connsiteX44" fmla="*/ 473301 w 5880652"/>
              <a:gd name="connsiteY44" fmla="*/ 4989606 h 6858000"/>
              <a:gd name="connsiteX45" fmla="*/ 0 w 5880652"/>
              <a:gd name="connsiteY45" fmla="*/ 498960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880652" h="6858000">
                <a:moveTo>
                  <a:pt x="15" y="4440453"/>
                </a:moveTo>
                <a:lnTo>
                  <a:pt x="15" y="4769339"/>
                </a:lnTo>
                <a:lnTo>
                  <a:pt x="221449" y="4769339"/>
                </a:lnTo>
                <a:cubicBezTo>
                  <a:pt x="245909" y="4769339"/>
                  <a:pt x="265737" y="4749511"/>
                  <a:pt x="265737" y="4725051"/>
                </a:cubicBezTo>
                <a:lnTo>
                  <a:pt x="265737" y="4484741"/>
                </a:lnTo>
                <a:cubicBezTo>
                  <a:pt x="265737" y="4460281"/>
                  <a:pt x="245909" y="4440453"/>
                  <a:pt x="221449" y="4440453"/>
                </a:cubicBezTo>
                <a:close/>
                <a:moveTo>
                  <a:pt x="14" y="3891300"/>
                </a:moveTo>
                <a:lnTo>
                  <a:pt x="14" y="4220186"/>
                </a:lnTo>
                <a:lnTo>
                  <a:pt x="221448" y="4220186"/>
                </a:lnTo>
                <a:cubicBezTo>
                  <a:pt x="245908" y="4220186"/>
                  <a:pt x="265736" y="4200358"/>
                  <a:pt x="265736" y="4175898"/>
                </a:cubicBezTo>
                <a:lnTo>
                  <a:pt x="265736" y="3935588"/>
                </a:lnTo>
                <a:cubicBezTo>
                  <a:pt x="265736" y="3911128"/>
                  <a:pt x="245908" y="3891300"/>
                  <a:pt x="221448" y="3891300"/>
                </a:cubicBezTo>
                <a:close/>
                <a:moveTo>
                  <a:pt x="10" y="3342147"/>
                </a:moveTo>
                <a:lnTo>
                  <a:pt x="10" y="3671033"/>
                </a:lnTo>
                <a:lnTo>
                  <a:pt x="221444" y="3671033"/>
                </a:lnTo>
                <a:cubicBezTo>
                  <a:pt x="245904" y="3671033"/>
                  <a:pt x="265732" y="3651205"/>
                  <a:pt x="265732" y="3626745"/>
                </a:cubicBezTo>
                <a:lnTo>
                  <a:pt x="265732" y="3386435"/>
                </a:lnTo>
                <a:cubicBezTo>
                  <a:pt x="265732" y="3361975"/>
                  <a:pt x="245904" y="3342147"/>
                  <a:pt x="221444" y="3342147"/>
                </a:cubicBezTo>
                <a:close/>
                <a:moveTo>
                  <a:pt x="10" y="2792994"/>
                </a:moveTo>
                <a:lnTo>
                  <a:pt x="10" y="3121880"/>
                </a:lnTo>
                <a:lnTo>
                  <a:pt x="221444" y="3121880"/>
                </a:lnTo>
                <a:cubicBezTo>
                  <a:pt x="245904" y="3121880"/>
                  <a:pt x="265732" y="3102052"/>
                  <a:pt x="265732" y="3077592"/>
                </a:cubicBezTo>
                <a:lnTo>
                  <a:pt x="265732" y="2837282"/>
                </a:lnTo>
                <a:cubicBezTo>
                  <a:pt x="265732" y="2812822"/>
                  <a:pt x="245904" y="2792994"/>
                  <a:pt x="221444" y="2792994"/>
                </a:cubicBezTo>
                <a:close/>
                <a:moveTo>
                  <a:pt x="7" y="2243841"/>
                </a:moveTo>
                <a:lnTo>
                  <a:pt x="7" y="2572727"/>
                </a:lnTo>
                <a:lnTo>
                  <a:pt x="221440" y="2572727"/>
                </a:lnTo>
                <a:cubicBezTo>
                  <a:pt x="245900" y="2572727"/>
                  <a:pt x="265728" y="2552899"/>
                  <a:pt x="265728" y="2528439"/>
                </a:cubicBezTo>
                <a:lnTo>
                  <a:pt x="265728" y="2288129"/>
                </a:lnTo>
                <a:cubicBezTo>
                  <a:pt x="265728" y="2263669"/>
                  <a:pt x="245900" y="2243841"/>
                  <a:pt x="221440" y="2243841"/>
                </a:cubicBezTo>
                <a:close/>
                <a:moveTo>
                  <a:pt x="6" y="1694688"/>
                </a:moveTo>
                <a:lnTo>
                  <a:pt x="6" y="2023574"/>
                </a:lnTo>
                <a:lnTo>
                  <a:pt x="221439" y="2023574"/>
                </a:lnTo>
                <a:cubicBezTo>
                  <a:pt x="245899" y="2023574"/>
                  <a:pt x="265727" y="2003746"/>
                  <a:pt x="265727" y="1979286"/>
                </a:cubicBezTo>
                <a:lnTo>
                  <a:pt x="265727" y="1738976"/>
                </a:lnTo>
                <a:cubicBezTo>
                  <a:pt x="265727" y="1714516"/>
                  <a:pt x="245899" y="1694688"/>
                  <a:pt x="221439" y="1694688"/>
                </a:cubicBezTo>
                <a:close/>
                <a:moveTo>
                  <a:pt x="0" y="0"/>
                </a:moveTo>
                <a:lnTo>
                  <a:pt x="5880652" y="0"/>
                </a:lnTo>
                <a:lnTo>
                  <a:pt x="5880652" y="6858000"/>
                </a:lnTo>
                <a:lnTo>
                  <a:pt x="0" y="6858000"/>
                </a:lnTo>
                <a:lnTo>
                  <a:pt x="0" y="5318492"/>
                </a:lnTo>
                <a:lnTo>
                  <a:pt x="473301" y="5318492"/>
                </a:lnTo>
                <a:cubicBezTo>
                  <a:pt x="503574" y="5318492"/>
                  <a:pt x="528116" y="5293950"/>
                  <a:pt x="528116" y="5263677"/>
                </a:cubicBezTo>
                <a:lnTo>
                  <a:pt x="528116" y="5044421"/>
                </a:lnTo>
                <a:cubicBezTo>
                  <a:pt x="528116" y="5014148"/>
                  <a:pt x="503574" y="4989606"/>
                  <a:pt x="473301" y="4989606"/>
                </a:cubicBezTo>
                <a:lnTo>
                  <a:pt x="0" y="4989606"/>
                </a:lnTo>
                <a:close/>
              </a:path>
            </a:pathLst>
          </a:custGeom>
          <a:solidFill>
            <a:srgbClr val="FFFFFF">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ln w="0"/>
              <a:solidFill>
                <a:schemeClr val="tx1"/>
              </a:solidFill>
              <a:effectLst>
                <a:outerShdw blurRad="38100" dist="19050" dir="2700000" algn="tl" rotWithShape="0">
                  <a:schemeClr val="dk1">
                    <a:alpha val="40000"/>
                  </a:schemeClr>
                </a:outerShdw>
              </a:effectLst>
            </a:endParaRPr>
          </a:p>
        </p:txBody>
      </p:sp>
      <p:sp>
        <p:nvSpPr>
          <p:cNvPr id="2" name="Title 1">
            <a:extLst>
              <a:ext uri="{FF2B5EF4-FFF2-40B4-BE49-F238E27FC236}">
                <a16:creationId xmlns:a16="http://schemas.microsoft.com/office/drawing/2014/main" id="{EE53A68D-1D34-AC49-97DF-E464D4953E7D}"/>
              </a:ext>
            </a:extLst>
          </p:cNvPr>
          <p:cNvSpPr>
            <a:spLocks noGrp="1"/>
          </p:cNvSpPr>
          <p:nvPr>
            <p:ph type="title"/>
          </p:nvPr>
        </p:nvSpPr>
        <p:spPr>
          <a:xfrm>
            <a:off x="6741459" y="-458184"/>
            <a:ext cx="4368035" cy="1482312"/>
          </a:xfrm>
          <a:effectLst/>
        </p:spPr>
        <p:txBody>
          <a:bodyPr vert="horz" lIns="0" tIns="45720" rIns="91440" bIns="0" rtlCol="0" anchor="b">
            <a:noAutofit/>
          </a:bodyPr>
          <a:lstStyle/>
          <a:p>
            <a:r>
              <a:rPr lang="en-US" sz="4000">
                <a:ln w="0"/>
                <a:solidFill>
                  <a:schemeClr val="tx1"/>
                </a:solidFill>
                <a:cs typeface="Arial"/>
              </a:rPr>
              <a:t>Table of contents</a:t>
            </a:r>
          </a:p>
        </p:txBody>
      </p:sp>
      <p:sp>
        <p:nvSpPr>
          <p:cNvPr id="29" name="Title 1">
            <a:extLst>
              <a:ext uri="{FF2B5EF4-FFF2-40B4-BE49-F238E27FC236}">
                <a16:creationId xmlns:a16="http://schemas.microsoft.com/office/drawing/2014/main" id="{555C0C0C-45AA-B2BD-3EFE-F0E9F3533FFB}"/>
              </a:ext>
            </a:extLst>
          </p:cNvPr>
          <p:cNvSpPr txBox="1">
            <a:spLocks/>
          </p:cNvSpPr>
          <p:nvPr/>
        </p:nvSpPr>
        <p:spPr>
          <a:xfrm>
            <a:off x="6741459" y="1554194"/>
            <a:ext cx="5313847" cy="3871873"/>
          </a:xfrm>
          <a:prstGeom prst="rect">
            <a:avLst/>
          </a:prstGeom>
          <a:effectLst/>
        </p:spPr>
        <p:txBody>
          <a:bodyPr vert="horz" lIns="0" tIns="0" rIns="0" bIns="0" rtlCol="0" anchor="t" anchorCtr="0">
            <a:spAutoFit/>
          </a:bodyPr>
          <a:lstStyle>
            <a:lvl1pPr>
              <a:lnSpc>
                <a:spcPct val="100000"/>
              </a:lnSpc>
              <a:spcBef>
                <a:spcPct val="0"/>
              </a:spcBef>
              <a:buNone/>
              <a:defRPr sz="4400" b="1" baseline="0">
                <a:solidFill>
                  <a:schemeClr val="bg1"/>
                </a:solidFill>
                <a:effectLst>
                  <a:outerShdw blurRad="50800" dist="38100" dir="8100000" algn="tr" rotWithShape="0">
                    <a:prstClr val="black">
                      <a:alpha val="40000"/>
                    </a:prstClr>
                  </a:outerShdw>
                </a:effectLst>
                <a:latin typeface="+mj-lt"/>
                <a:ea typeface="+mj-ea"/>
                <a:cs typeface="Arial"/>
              </a:defRPr>
            </a:lvl1pPr>
          </a:lstStyle>
          <a:p>
            <a:pPr>
              <a:lnSpc>
                <a:spcPct val="150000"/>
              </a:lnSpc>
            </a:pPr>
            <a:r>
              <a:rPr lang="en-US" sz="2400">
                <a:ln w="0"/>
                <a:solidFill>
                  <a:schemeClr val="tx1"/>
                </a:solidFill>
                <a:effectLst/>
              </a:rPr>
              <a:t>The Nuclear Opportunity</a:t>
            </a:r>
          </a:p>
          <a:p>
            <a:pPr>
              <a:lnSpc>
                <a:spcPct val="150000"/>
              </a:lnSpc>
            </a:pPr>
            <a:r>
              <a:rPr lang="en-US" sz="2400">
                <a:ln w="0"/>
                <a:solidFill>
                  <a:schemeClr val="tx1"/>
                </a:solidFill>
                <a:effectLst/>
              </a:rPr>
              <a:t>Technological Developments</a:t>
            </a:r>
          </a:p>
          <a:p>
            <a:pPr>
              <a:lnSpc>
                <a:spcPct val="150000"/>
              </a:lnSpc>
            </a:pPr>
            <a:r>
              <a:rPr lang="en-US" sz="2400">
                <a:ln w="0"/>
                <a:solidFill>
                  <a:schemeClr val="tx1"/>
                </a:solidFill>
                <a:effectLst/>
              </a:rPr>
              <a:t>Deployment and Public Perception</a:t>
            </a:r>
          </a:p>
          <a:p>
            <a:pPr>
              <a:lnSpc>
                <a:spcPct val="150000"/>
              </a:lnSpc>
            </a:pPr>
            <a:r>
              <a:rPr lang="en-US" sz="2400">
                <a:ln w="0"/>
                <a:solidFill>
                  <a:schemeClr val="tx1"/>
                </a:solidFill>
                <a:effectLst/>
              </a:rPr>
              <a:t>Supply Chain</a:t>
            </a:r>
          </a:p>
          <a:p>
            <a:pPr marL="0" indent="0">
              <a:lnSpc>
                <a:spcPct val="150000"/>
              </a:lnSpc>
            </a:pPr>
            <a:r>
              <a:rPr lang="en-US" sz="2400">
                <a:ln w="0"/>
                <a:solidFill>
                  <a:schemeClr val="tx1"/>
                </a:solidFill>
                <a:effectLst/>
              </a:rPr>
              <a:t>Global Policy</a:t>
            </a:r>
          </a:p>
          <a:p>
            <a:pPr marL="0" indent="0">
              <a:lnSpc>
                <a:spcPct val="150000"/>
              </a:lnSpc>
            </a:pPr>
            <a:r>
              <a:rPr lang="en-US" sz="2400">
                <a:ln w="0"/>
                <a:solidFill>
                  <a:schemeClr val="tx1"/>
                </a:solidFill>
                <a:effectLst/>
              </a:rPr>
              <a:t>Fusion Technology</a:t>
            </a:r>
          </a:p>
          <a:p>
            <a:pPr marL="0" indent="0">
              <a:lnSpc>
                <a:spcPct val="150000"/>
              </a:lnSpc>
            </a:pPr>
            <a:r>
              <a:rPr lang="en-US" sz="2400">
                <a:ln w="0"/>
                <a:solidFill>
                  <a:schemeClr val="tx1"/>
                </a:solidFill>
                <a:effectLst/>
              </a:rPr>
              <a:t>    Appendix</a:t>
            </a:r>
          </a:p>
        </p:txBody>
      </p:sp>
    </p:spTree>
    <p:extLst>
      <p:ext uri="{BB962C8B-B14F-4D97-AF65-F5344CB8AC3E}">
        <p14:creationId xmlns:p14="http://schemas.microsoft.com/office/powerpoint/2010/main" val="4171294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AAD7B9-2E67-5E58-C7C4-73B394D7CFE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85545C5-EEC7-52AF-4430-EDA7C417962C}"/>
              </a:ext>
            </a:extLst>
          </p:cNvPr>
          <p:cNvGraphicFramePr>
            <a:graphicFrameLocks noChangeAspect="1"/>
          </p:cNvGraphicFramePr>
          <p:nvPr>
            <p:custDataLst>
              <p:tags r:id="rId2"/>
            </p:custDataLst>
            <p:extLst>
              <p:ext uri="{D42A27DB-BD31-4B8C-83A1-F6EECF244321}">
                <p14:modId xmlns:p14="http://schemas.microsoft.com/office/powerpoint/2010/main" val="2871452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C85545C5-EEC7-52AF-4430-EDA7C417962C}"/>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4C314DB-8D20-D19B-F5ED-02F108EBBA5D}"/>
              </a:ext>
            </a:extLst>
          </p:cNvPr>
          <p:cNvSpPr>
            <a:spLocks noGrp="1"/>
          </p:cNvSpPr>
          <p:nvPr>
            <p:ph type="title"/>
          </p:nvPr>
        </p:nvSpPr>
        <p:spPr/>
        <p:txBody>
          <a:bodyPr vert="horz">
            <a:noAutofit/>
          </a:bodyPr>
          <a:lstStyle/>
          <a:p>
            <a:r>
              <a:rPr lang="en-US">
                <a:latin typeface="Arial (body)"/>
              </a:rPr>
              <a:t>All reactor types use </a:t>
            </a:r>
            <a:r>
              <a:rPr lang="en-US" b="1">
                <a:latin typeface="Arial (body)"/>
              </a:rPr>
              <a:t>similar mechanics and different coolants; small modular reactors simplify the existing design</a:t>
            </a:r>
            <a:endParaRPr lang="en-US">
              <a:latin typeface="Arial (body)"/>
            </a:endParaRPr>
          </a:p>
        </p:txBody>
      </p:sp>
      <p:sp>
        <p:nvSpPr>
          <p:cNvPr id="32" name="btfpNotesBox368131">
            <a:hlinkClick r:id="rId7"/>
            <a:extLst>
              <a:ext uri="{FF2B5EF4-FFF2-40B4-BE49-F238E27FC236}">
                <a16:creationId xmlns:a16="http://schemas.microsoft.com/office/drawing/2014/main" id="{7C922122-00B6-EB69-46EA-8A681C6E21F1}"/>
              </a:ext>
            </a:extLst>
          </p:cNvPr>
          <p:cNvSpPr txBox="1"/>
          <p:nvPr>
            <p:custDataLst>
              <p:tags r:id="rId3"/>
            </p:custDataLst>
          </p:nvPr>
        </p:nvSpPr>
        <p:spPr bwMode="gray">
          <a:xfrm>
            <a:off x="329184" y="6309360"/>
            <a:ext cx="9391207" cy="492443"/>
          </a:xfrm>
          <a:prstGeom prst="rect">
            <a:avLst/>
          </a:prstGeom>
          <a:noFill/>
        </p:spPr>
        <p:txBody>
          <a:bodyPr vert="horz" wrap="square" lIns="0" tIns="0" rIns="0" bIns="0" rtlCol="0" anchor="b">
            <a:spAutoFit/>
          </a:bodyPr>
          <a:lstStyle/>
          <a:p>
            <a:pPr algn="l"/>
            <a:endParaRPr kumimoji="0" lang="en-US" sz="800" i="0" u="none" strike="noStrike" kern="1200" cap="none" spc="0" normalizeH="0" baseline="0" noProof="0" dirty="0">
              <a:ln>
                <a:noFill/>
              </a:ln>
              <a:effectLst/>
              <a:uLnTx/>
              <a:uFillTx/>
              <a:cs typeface="Arial" panose="020B0604020202020204" pitchFamily="34" charset="0"/>
            </a:endParaRPr>
          </a:p>
          <a:p>
            <a:pPr algn="l"/>
            <a:endParaRPr lang="en-US" sz="800" dirty="0">
              <a:cs typeface="Arial" panose="020B0604020202020204" pitchFamily="34" charset="0"/>
            </a:endParaRPr>
          </a:p>
          <a:p>
            <a:r>
              <a:rPr kumimoji="0" lang="en-US" sz="800" i="0" u="none" strike="noStrike" kern="1200" cap="none" spc="0" normalizeH="0" baseline="0" noProof="0" dirty="0">
                <a:ln>
                  <a:noFill/>
                </a:ln>
                <a:effectLst/>
                <a:uLnTx/>
                <a:uFillTx/>
                <a:cs typeface="Arial" panose="020B0604020202020204" pitchFamily="34" charset="0"/>
              </a:rPr>
              <a:t>Sources: U.S. DOE, </a:t>
            </a:r>
            <a:r>
              <a:rPr lang="en-US" sz="800" i="0" dirty="0">
                <a:effectLst/>
                <a:hlinkClick r:id="rId8">
                  <a:extLst>
                    <a:ext uri="{A12FA001-AC4F-418D-AE19-62706E023703}">
                      <ahyp:hlinkClr xmlns:ahyp="http://schemas.microsoft.com/office/drawing/2018/hyperlinkcolor" val="tx"/>
                    </a:ext>
                  </a:extLst>
                </a:hlinkClick>
              </a:rPr>
              <a:t>NUCLEAR 101: How Does a Nuclear Reactor Work?</a:t>
            </a:r>
            <a:r>
              <a:rPr lang="en-US" sz="800" i="0" dirty="0">
                <a:effectLst/>
              </a:rPr>
              <a:t>, 2023; NEA,</a:t>
            </a:r>
            <a:r>
              <a:rPr lang="en-US" sz="800" dirty="0"/>
              <a:t> </a:t>
            </a:r>
            <a:r>
              <a:rPr lang="en-US" sz="800" i="0" dirty="0">
                <a:effectLst/>
                <a:hlinkClick r:id="rId9">
                  <a:extLst>
                    <a:ext uri="{A12FA001-AC4F-418D-AE19-62706E023703}">
                      <ahyp:hlinkClr xmlns:ahyp="http://schemas.microsoft.com/office/drawing/2018/hyperlinkcolor" val="tx"/>
                    </a:ext>
                  </a:extLst>
                </a:hlinkClick>
              </a:rPr>
              <a:t>The NEA Small Modular Reactor (SMR) Strategy</a:t>
            </a:r>
            <a:r>
              <a:rPr lang="en-US" sz="800" i="0" dirty="0">
                <a:effectLst/>
              </a:rPr>
              <a:t> (2025); IN,</a:t>
            </a:r>
            <a:r>
              <a:rPr lang="en-US" sz="800" dirty="0"/>
              <a:t> </a:t>
            </a:r>
            <a:r>
              <a:rPr lang="en-US" sz="800" i="0" u="none" strike="noStrike" dirty="0">
                <a:effectLst/>
                <a:hlinkClick r:id="rId10"/>
              </a:rPr>
              <a:t>Advanced Small Modular Reactors</a:t>
            </a:r>
            <a:r>
              <a:rPr lang="en-US" sz="800" i="0" u="none" strike="noStrike" dirty="0">
                <a:effectLst/>
              </a:rPr>
              <a:t> </a:t>
            </a:r>
            <a:r>
              <a:rPr lang="en-US" sz="800" dirty="0"/>
              <a:t>(</a:t>
            </a:r>
            <a:r>
              <a:rPr lang="en-US" sz="800" i="0" u="none" strike="noStrike" dirty="0">
                <a:effectLst/>
              </a:rPr>
              <a:t>2025).</a:t>
            </a:r>
            <a:r>
              <a:rPr lang="en-US" sz="800" b="1" i="0" u="none" strike="noStrike" dirty="0">
                <a:effectLst/>
              </a:rPr>
              <a:t> </a:t>
            </a:r>
            <a:endParaRPr lang="en-US" sz="800" b="1" i="0" dirty="0">
              <a:effectLst/>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rPr>
              <a:t>Credit: </a:t>
            </a:r>
            <a:r>
              <a:rPr kumimoji="0" lang="en-US" sz="800" b="0" i="0" u="none" strike="noStrike" kern="1200" cap="none" spc="0" normalizeH="0" baseline="0" noProof="0" dirty="0" err="1">
                <a:ln>
                  <a:noFill/>
                </a:ln>
                <a:effectLst/>
                <a:uLnTx/>
                <a:uFillTx/>
              </a:rPr>
              <a:t>Vedant</a:t>
            </a:r>
            <a:r>
              <a:rPr kumimoji="0" lang="en-US" sz="800" b="0" i="0" u="none" strike="noStrike" kern="1200" cap="none" spc="0" normalizeH="0" baseline="0" noProof="0" dirty="0">
                <a:ln>
                  <a:noFill/>
                </a:ln>
                <a:effectLst/>
                <a:uLnTx/>
                <a:uFillTx/>
              </a:rPr>
              <a:t> </a:t>
            </a:r>
            <a:r>
              <a:rPr kumimoji="0" lang="en-US" sz="800" b="0" i="0" u="none" strike="noStrike" kern="1200" cap="none" spc="0" normalizeH="0" baseline="0" noProof="0" dirty="0" err="1">
                <a:ln>
                  <a:noFill/>
                </a:ln>
                <a:effectLst/>
                <a:uLnTx/>
                <a:uFillTx/>
              </a:rPr>
              <a:t>Bhansali</a:t>
            </a:r>
            <a:r>
              <a:rPr kumimoji="0" lang="en-US" sz="800" b="0" i="0" u="none" strike="noStrike" kern="1200" cap="none" spc="0" normalizeH="0" baseline="0" noProof="0" dirty="0">
                <a:ln>
                  <a:noFill/>
                </a:ln>
                <a:effectLst/>
                <a:uLnTx/>
                <a:uFillTx/>
              </a:rPr>
              <a:t>, Quint </a:t>
            </a:r>
            <a:r>
              <a:rPr kumimoji="0" lang="en-US" sz="800" b="0" i="0" u="none" strike="noStrike" kern="1200" cap="none" spc="0" normalizeH="0" baseline="0" noProof="0" dirty="0" err="1">
                <a:ln>
                  <a:noFill/>
                </a:ln>
                <a:effectLst/>
                <a:uLnTx/>
                <a:uFillTx/>
              </a:rPr>
              <a:t>Houwink</a:t>
            </a:r>
            <a:r>
              <a:rPr kumimoji="0" lang="en-US" sz="800" b="0" i="0" u="none" strike="noStrike" kern="1200" cap="none" spc="0" normalizeH="0" baseline="0" noProof="0" dirty="0">
                <a:ln>
                  <a:noFill/>
                </a:ln>
                <a:effectLst/>
                <a:uLnTx/>
                <a:uFillTx/>
              </a:rPr>
              <a:t>, and </a:t>
            </a:r>
            <a:r>
              <a:rPr kumimoji="0" lang="en-US" sz="800" b="0" i="0" u="none" strike="noStrike" kern="1200" cap="none" spc="0" normalizeH="0" baseline="0" noProof="0" dirty="0">
                <a:ln>
                  <a:noFill/>
                </a:ln>
                <a:effectLst/>
                <a:uLnTx/>
                <a:uFillTx/>
                <a:hlinkClick r:id="rId11">
                  <a:extLst>
                    <a:ext uri="{A12FA001-AC4F-418D-AE19-62706E023703}">
                      <ahyp:hlinkClr xmlns:ahyp="http://schemas.microsoft.com/office/drawing/2018/hyperlinkcolor" val="tx"/>
                    </a:ext>
                  </a:extLst>
                </a:hlinkClick>
              </a:rPr>
              <a:t>Gernot Wagner</a:t>
            </a:r>
            <a:r>
              <a:rPr kumimoji="0" lang="en-US" sz="800" b="0" i="0" u="none" strike="noStrike" kern="1200" cap="none" spc="0" normalizeH="0" baseline="0" noProof="0" dirty="0">
                <a:ln>
                  <a:noFill/>
                </a:ln>
                <a:effectLst/>
                <a:uLnTx/>
                <a:uFillTx/>
              </a:rPr>
              <a:t>. Share with </a:t>
            </a:r>
            <a:r>
              <a:rPr kumimoji="0" lang="en-US" sz="800" b="0" i="0" u="none" strike="noStrike" kern="1200" cap="none" spc="0" normalizeH="0" baseline="0" noProof="0" dirty="0">
                <a:ln>
                  <a:noFill/>
                </a:ln>
                <a:effectLst/>
                <a:uLnTx/>
                <a:uFillTx/>
                <a:hlinkClick r:id="rId12">
                  <a:extLst>
                    <a:ext uri="{A12FA001-AC4F-418D-AE19-62706E023703}">
                      <ahyp:hlinkClr xmlns:ahyp="http://schemas.microsoft.com/office/drawing/2018/hyperlinkcolor" val="tx"/>
                    </a:ext>
                  </a:extLst>
                </a:hlinkClick>
              </a:rPr>
              <a:t>attribution</a:t>
            </a:r>
            <a:r>
              <a:rPr kumimoji="0" lang="en-US" sz="800" b="0" i="0" u="none" strike="noStrike" kern="1200" cap="none" spc="0" normalizeH="0" baseline="0" noProof="0" dirty="0">
                <a:ln>
                  <a:noFill/>
                </a:ln>
                <a:effectLst/>
                <a:uLnTx/>
                <a:uFillTx/>
              </a:rPr>
              <a:t>: </a:t>
            </a:r>
            <a:r>
              <a:rPr kumimoji="0" lang="en-US" sz="800" b="0" i="0" u="none" strike="noStrike" kern="1200" cap="none" spc="0" normalizeH="0" baseline="0" noProof="0" dirty="0" err="1">
                <a:ln>
                  <a:noFill/>
                </a:ln>
                <a:effectLst/>
                <a:uLnTx/>
                <a:uFillTx/>
              </a:rPr>
              <a:t>Houwink</a:t>
            </a:r>
            <a:r>
              <a:rPr kumimoji="0" lang="en-US" sz="800" b="0" i="0" u="none" strike="noStrike" kern="1200" cap="none" spc="0" normalizeH="0" baseline="0" noProof="0" dirty="0">
                <a:ln>
                  <a:noFill/>
                </a:ln>
                <a:effectLst/>
                <a:uLnTx/>
                <a:uFillTx/>
              </a:rPr>
              <a:t> </a:t>
            </a:r>
            <a:r>
              <a:rPr kumimoji="0" lang="en-US" sz="800" b="0" u="none" strike="noStrike" kern="1200" cap="none" spc="0" normalizeH="0" baseline="0" noProof="0" dirty="0">
                <a:ln>
                  <a:noFill/>
                </a:ln>
                <a:effectLst/>
                <a:uLnTx/>
                <a:uFillTx/>
              </a:rPr>
              <a:t>et al., </a:t>
            </a:r>
            <a:r>
              <a:rPr kumimoji="0" lang="en-US" sz="800" b="0" i="0" u="none" strike="noStrike" kern="1200" cap="none" spc="0" normalizeH="0" baseline="0" noProof="0" dirty="0">
                <a:ln>
                  <a:noFill/>
                </a:ln>
                <a:effectLst/>
                <a:uLnTx/>
                <a:uFillTx/>
              </a:rPr>
              <a:t>"Reenergizing Nuclear" (23 September 2025).</a:t>
            </a:r>
          </a:p>
        </p:txBody>
      </p:sp>
      <p:grpSp>
        <p:nvGrpSpPr>
          <p:cNvPr id="28" name="Group 27">
            <a:extLst>
              <a:ext uri="{FF2B5EF4-FFF2-40B4-BE49-F238E27FC236}">
                <a16:creationId xmlns:a16="http://schemas.microsoft.com/office/drawing/2014/main" id="{462749C9-D876-0411-9AA1-6FFD8D4C23AA}"/>
              </a:ext>
            </a:extLst>
          </p:cNvPr>
          <p:cNvGrpSpPr/>
          <p:nvPr/>
        </p:nvGrpSpPr>
        <p:grpSpPr>
          <a:xfrm>
            <a:off x="330200" y="1622285"/>
            <a:ext cx="3117780" cy="4532710"/>
            <a:chOff x="330200" y="1356360"/>
            <a:chExt cx="3291840" cy="5029200"/>
          </a:xfrm>
        </p:grpSpPr>
        <p:sp>
          <p:nvSpPr>
            <p:cNvPr id="3" name="Round Same Side Corner Rectangle 2">
              <a:extLst>
                <a:ext uri="{FF2B5EF4-FFF2-40B4-BE49-F238E27FC236}">
                  <a16:creationId xmlns:a16="http://schemas.microsoft.com/office/drawing/2014/main" id="{7C53CF9B-A2FC-2F53-E1A0-DFB569D9BF69}"/>
                </a:ext>
              </a:extLst>
            </p:cNvPr>
            <p:cNvSpPr/>
            <p:nvPr/>
          </p:nvSpPr>
          <p:spPr>
            <a:xfrm>
              <a:off x="330200" y="1356360"/>
              <a:ext cx="3291840" cy="5029200"/>
            </a:xfrm>
            <a:prstGeom prst="round2SameRect">
              <a:avLst>
                <a:gd name="adj1" fmla="val 50000"/>
                <a:gd name="adj2" fmla="val 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 Same Side Corner Rectangle 26">
              <a:extLst>
                <a:ext uri="{FF2B5EF4-FFF2-40B4-BE49-F238E27FC236}">
                  <a16:creationId xmlns:a16="http://schemas.microsoft.com/office/drawing/2014/main" id="{C4978E53-1EA5-BDAE-76E1-AEF1A78E58A1}"/>
                </a:ext>
              </a:extLst>
            </p:cNvPr>
            <p:cNvSpPr/>
            <p:nvPr/>
          </p:nvSpPr>
          <p:spPr>
            <a:xfrm>
              <a:off x="513080" y="1542592"/>
              <a:ext cx="2926080" cy="4663440"/>
            </a:xfrm>
            <a:prstGeom prst="round2SameRect">
              <a:avLst>
                <a:gd name="adj1" fmla="val 50000"/>
                <a:gd name="adj2" fmla="val 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Rounded Rectangle 28">
            <a:extLst>
              <a:ext uri="{FF2B5EF4-FFF2-40B4-BE49-F238E27FC236}">
                <a16:creationId xmlns:a16="http://schemas.microsoft.com/office/drawing/2014/main" id="{D59610B7-311D-E8AC-7379-77D374D4346F}"/>
              </a:ext>
            </a:extLst>
          </p:cNvPr>
          <p:cNvSpPr/>
          <p:nvPr/>
        </p:nvSpPr>
        <p:spPr>
          <a:xfrm>
            <a:off x="797405" y="2344935"/>
            <a:ext cx="1097280" cy="3445329"/>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ounded Rectangle 29">
            <a:extLst>
              <a:ext uri="{FF2B5EF4-FFF2-40B4-BE49-F238E27FC236}">
                <a16:creationId xmlns:a16="http://schemas.microsoft.com/office/drawing/2014/main" id="{80654E43-1C1F-1447-0E2A-947924A007FD}"/>
              </a:ext>
            </a:extLst>
          </p:cNvPr>
          <p:cNvSpPr/>
          <p:nvPr/>
        </p:nvSpPr>
        <p:spPr>
          <a:xfrm>
            <a:off x="883390" y="2435788"/>
            <a:ext cx="914400" cy="3262492"/>
          </a:xfrm>
          <a:prstGeom prst="roundRect">
            <a:avLst>
              <a:gd name="adj" fmla="val 50000"/>
            </a:avLst>
          </a:prstGeom>
          <a:solidFill>
            <a:srgbClr val="215F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FA3699D-0546-D69E-2521-3D6D9E4276DE}"/>
              </a:ext>
            </a:extLst>
          </p:cNvPr>
          <p:cNvSpPr/>
          <p:nvPr/>
        </p:nvSpPr>
        <p:spPr>
          <a:xfrm>
            <a:off x="1026005" y="2267251"/>
            <a:ext cx="640080" cy="221194"/>
          </a:xfrm>
          <a:prstGeom prst="rect">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E5D3BBF1-349B-3D1C-2877-8656B368FD00}"/>
              </a:ext>
            </a:extLst>
          </p:cNvPr>
          <p:cNvSpPr/>
          <p:nvPr/>
        </p:nvSpPr>
        <p:spPr>
          <a:xfrm>
            <a:off x="1066270" y="2325191"/>
            <a:ext cx="548640" cy="221194"/>
          </a:xfrm>
          <a:prstGeom prst="rect">
            <a:avLst/>
          </a:prstGeom>
          <a:solidFill>
            <a:srgbClr val="215F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a:extLst>
              <a:ext uri="{FF2B5EF4-FFF2-40B4-BE49-F238E27FC236}">
                <a16:creationId xmlns:a16="http://schemas.microsoft.com/office/drawing/2014/main" id="{44CC0BBC-BA12-E271-A1D7-430D35CEA23F}"/>
              </a:ext>
            </a:extLst>
          </p:cNvPr>
          <p:cNvSpPr/>
          <p:nvPr/>
        </p:nvSpPr>
        <p:spPr>
          <a:xfrm>
            <a:off x="1165597" y="2085301"/>
            <a:ext cx="76515" cy="3321438"/>
          </a:xfrm>
          <a:prstGeom prst="roundRect">
            <a:avLst>
              <a:gd name="adj" fmla="val 50000"/>
            </a:avLst>
          </a:prstGeom>
          <a:solidFill>
            <a:schemeClr val="bg2">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37">
            <a:extLst>
              <a:ext uri="{FF2B5EF4-FFF2-40B4-BE49-F238E27FC236}">
                <a16:creationId xmlns:a16="http://schemas.microsoft.com/office/drawing/2014/main" id="{03F15C98-9A43-1206-E1AD-4B776D087CA3}"/>
              </a:ext>
            </a:extLst>
          </p:cNvPr>
          <p:cNvSpPr/>
          <p:nvPr/>
        </p:nvSpPr>
        <p:spPr>
          <a:xfrm>
            <a:off x="1321277" y="2084356"/>
            <a:ext cx="76515" cy="3321438"/>
          </a:xfrm>
          <a:prstGeom prst="roundRect">
            <a:avLst>
              <a:gd name="adj" fmla="val 50000"/>
            </a:avLst>
          </a:prstGeom>
          <a:solidFill>
            <a:schemeClr val="bg2">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a:extLst>
              <a:ext uri="{FF2B5EF4-FFF2-40B4-BE49-F238E27FC236}">
                <a16:creationId xmlns:a16="http://schemas.microsoft.com/office/drawing/2014/main" id="{61AC69B8-3392-9C27-D9F7-ECC8C3405E51}"/>
              </a:ext>
            </a:extLst>
          </p:cNvPr>
          <p:cNvSpPr/>
          <p:nvPr/>
        </p:nvSpPr>
        <p:spPr>
          <a:xfrm>
            <a:off x="1479686" y="2084356"/>
            <a:ext cx="76515" cy="3321438"/>
          </a:xfrm>
          <a:prstGeom prst="roundRect">
            <a:avLst>
              <a:gd name="adj" fmla="val 50000"/>
            </a:avLst>
          </a:prstGeom>
          <a:solidFill>
            <a:schemeClr val="bg2">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C1B67140-EE4A-7346-0FBE-56492DA1B071}"/>
              </a:ext>
            </a:extLst>
          </p:cNvPr>
          <p:cNvSpPr/>
          <p:nvPr/>
        </p:nvSpPr>
        <p:spPr>
          <a:xfrm>
            <a:off x="1077232" y="2084682"/>
            <a:ext cx="559798" cy="120193"/>
          </a:xfrm>
          <a:prstGeom prst="rect">
            <a:avLst/>
          </a:prstGeom>
          <a:solidFill>
            <a:schemeClr val="bg2">
              <a:lumMod val="1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3" name="Group 52">
            <a:extLst>
              <a:ext uri="{FF2B5EF4-FFF2-40B4-BE49-F238E27FC236}">
                <a16:creationId xmlns:a16="http://schemas.microsoft.com/office/drawing/2014/main" id="{2BB41DA5-AB4E-7A54-2864-DFF5627E1652}"/>
              </a:ext>
            </a:extLst>
          </p:cNvPr>
          <p:cNvGrpSpPr/>
          <p:nvPr/>
        </p:nvGrpSpPr>
        <p:grpSpPr>
          <a:xfrm>
            <a:off x="1079813" y="4258101"/>
            <a:ext cx="548829" cy="1155529"/>
            <a:chOff x="1079813" y="4061461"/>
            <a:chExt cx="548829" cy="1155529"/>
          </a:xfrm>
        </p:grpSpPr>
        <p:sp>
          <p:nvSpPr>
            <p:cNvPr id="42" name="Rectangle 41">
              <a:extLst>
                <a:ext uri="{FF2B5EF4-FFF2-40B4-BE49-F238E27FC236}">
                  <a16:creationId xmlns:a16="http://schemas.microsoft.com/office/drawing/2014/main" id="{FC9D8160-5A3B-CF7A-2F31-66C08BD22778}"/>
                </a:ext>
              </a:extLst>
            </p:cNvPr>
            <p:cNvSpPr/>
            <p:nvPr/>
          </p:nvSpPr>
          <p:spPr>
            <a:xfrm>
              <a:off x="1079813" y="4062406"/>
              <a:ext cx="548640" cy="1146748"/>
            </a:xfrm>
            <a:prstGeom prst="rect">
              <a:avLst/>
            </a:prstGeom>
            <a:solidFill>
              <a:srgbClr val="BEBE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EA850D06-0C3E-B0D7-78A0-23A372708C51}"/>
                </a:ext>
              </a:extLst>
            </p:cNvPr>
            <p:cNvSpPr/>
            <p:nvPr/>
          </p:nvSpPr>
          <p:spPr>
            <a:xfrm>
              <a:off x="1081873" y="4061461"/>
              <a:ext cx="109728" cy="1146748"/>
            </a:xfrm>
            <a:prstGeom prst="rect">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9D519C6D-DFE7-3C8F-07C5-6F538ECEC624}"/>
                </a:ext>
              </a:extLst>
            </p:cNvPr>
            <p:cNvSpPr/>
            <p:nvPr/>
          </p:nvSpPr>
          <p:spPr>
            <a:xfrm>
              <a:off x="1306035" y="4070242"/>
              <a:ext cx="109728" cy="1146748"/>
            </a:xfrm>
            <a:prstGeom prst="rect">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FEBE233C-8AE3-AA80-5BA5-E1600A6AE9C9}"/>
                </a:ext>
              </a:extLst>
            </p:cNvPr>
            <p:cNvSpPr/>
            <p:nvPr/>
          </p:nvSpPr>
          <p:spPr>
            <a:xfrm>
              <a:off x="1518914" y="4061461"/>
              <a:ext cx="109728" cy="1146748"/>
            </a:xfrm>
            <a:prstGeom prst="rect">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9" name="Group 58">
            <a:extLst>
              <a:ext uri="{FF2B5EF4-FFF2-40B4-BE49-F238E27FC236}">
                <a16:creationId xmlns:a16="http://schemas.microsoft.com/office/drawing/2014/main" id="{9DEF2F11-F6A8-02E4-B6EE-90BF74F5C7F5}"/>
              </a:ext>
            </a:extLst>
          </p:cNvPr>
          <p:cNvGrpSpPr/>
          <p:nvPr/>
        </p:nvGrpSpPr>
        <p:grpSpPr>
          <a:xfrm>
            <a:off x="2121158" y="2325191"/>
            <a:ext cx="563169" cy="1371600"/>
            <a:chOff x="5564660" y="2197727"/>
            <a:chExt cx="563169" cy="1371600"/>
          </a:xfrm>
        </p:grpSpPr>
        <p:grpSp>
          <p:nvGrpSpPr>
            <p:cNvPr id="57" name="Group 56">
              <a:extLst>
                <a:ext uri="{FF2B5EF4-FFF2-40B4-BE49-F238E27FC236}">
                  <a16:creationId xmlns:a16="http://schemas.microsoft.com/office/drawing/2014/main" id="{DA850FA4-BFA8-DCCD-6E75-0175A86F2CFF}"/>
                </a:ext>
              </a:extLst>
            </p:cNvPr>
            <p:cNvGrpSpPr/>
            <p:nvPr/>
          </p:nvGrpSpPr>
          <p:grpSpPr>
            <a:xfrm>
              <a:off x="5564660" y="2199790"/>
              <a:ext cx="548640" cy="1369537"/>
              <a:chOff x="4430237" y="2059463"/>
              <a:chExt cx="531340" cy="1369537"/>
            </a:xfrm>
          </p:grpSpPr>
          <p:sp>
            <p:nvSpPr>
              <p:cNvPr id="54" name="Rounded Rectangle 53">
                <a:extLst>
                  <a:ext uri="{FF2B5EF4-FFF2-40B4-BE49-F238E27FC236}">
                    <a16:creationId xmlns:a16="http://schemas.microsoft.com/office/drawing/2014/main" id="{118EBCB5-0A0A-6359-469B-5DAC12554338}"/>
                  </a:ext>
                </a:extLst>
              </p:cNvPr>
              <p:cNvSpPr/>
              <p:nvPr/>
            </p:nvSpPr>
            <p:spPr>
              <a:xfrm>
                <a:off x="4430237" y="2070611"/>
                <a:ext cx="531340" cy="1358389"/>
              </a:xfrm>
              <a:prstGeom prst="roundRect">
                <a:avLst>
                  <a:gd name="adj" fmla="val 50000"/>
                </a:avLst>
              </a:prstGeom>
              <a:solidFill>
                <a:srgbClr val="215F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ounded Rectangle 54">
                <a:extLst>
                  <a:ext uri="{FF2B5EF4-FFF2-40B4-BE49-F238E27FC236}">
                    <a16:creationId xmlns:a16="http://schemas.microsoft.com/office/drawing/2014/main" id="{EB2F2843-848E-635B-732F-6DFCC6EE8D07}"/>
                  </a:ext>
                </a:extLst>
              </p:cNvPr>
              <p:cNvSpPr/>
              <p:nvPr/>
            </p:nvSpPr>
            <p:spPr>
              <a:xfrm>
                <a:off x="4430237" y="2059463"/>
                <a:ext cx="531340" cy="555990"/>
              </a:xfrm>
              <a:prstGeom prst="roundRect">
                <a:avLst>
                  <a:gd name="adj" fmla="val 50000"/>
                </a:avLst>
              </a:prstGeom>
              <a:solidFill>
                <a:srgbClr val="BEBE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0AF6979E-2B86-3C3F-1B1B-3F7744A0B10E}"/>
                  </a:ext>
                </a:extLst>
              </p:cNvPr>
              <p:cNvSpPr/>
              <p:nvPr/>
            </p:nvSpPr>
            <p:spPr>
              <a:xfrm>
                <a:off x="4430237" y="2291805"/>
                <a:ext cx="531340" cy="360653"/>
              </a:xfrm>
              <a:prstGeom prst="rect">
                <a:avLst/>
              </a:prstGeom>
              <a:solidFill>
                <a:srgbClr val="BEBE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8" name="Rounded Rectangle 57">
              <a:extLst>
                <a:ext uri="{FF2B5EF4-FFF2-40B4-BE49-F238E27FC236}">
                  <a16:creationId xmlns:a16="http://schemas.microsoft.com/office/drawing/2014/main" id="{63452327-E822-4A87-3108-2C5BF3765DE2}"/>
                </a:ext>
              </a:extLst>
            </p:cNvPr>
            <p:cNvSpPr/>
            <p:nvPr/>
          </p:nvSpPr>
          <p:spPr>
            <a:xfrm>
              <a:off x="5579189" y="2197727"/>
              <a:ext cx="548640" cy="1371600"/>
            </a:xfrm>
            <a:prstGeom prst="roundRect">
              <a:avLst>
                <a:gd name="adj" fmla="val 50000"/>
              </a:avLst>
            </a:prstGeom>
            <a:noFill/>
            <a:ln w="38100">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0" name="Rounded Rectangle 59">
            <a:extLst>
              <a:ext uri="{FF2B5EF4-FFF2-40B4-BE49-F238E27FC236}">
                <a16:creationId xmlns:a16="http://schemas.microsoft.com/office/drawing/2014/main" id="{4A9D162E-C485-097F-2652-D6B329153BE2}"/>
              </a:ext>
            </a:extLst>
          </p:cNvPr>
          <p:cNvSpPr/>
          <p:nvPr/>
        </p:nvSpPr>
        <p:spPr>
          <a:xfrm>
            <a:off x="2364287" y="3363037"/>
            <a:ext cx="91440" cy="606889"/>
          </a:xfrm>
          <a:prstGeom prst="roundRect">
            <a:avLst>
              <a:gd name="adj" fmla="val 50000"/>
            </a:avLst>
          </a:prstGeom>
          <a:solidFill>
            <a:srgbClr val="215F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ounded Rectangle 60">
            <a:extLst>
              <a:ext uri="{FF2B5EF4-FFF2-40B4-BE49-F238E27FC236}">
                <a16:creationId xmlns:a16="http://schemas.microsoft.com/office/drawing/2014/main" id="{ED7F2E4B-0B71-F31D-8EFC-476134C305DC}"/>
              </a:ext>
            </a:extLst>
          </p:cNvPr>
          <p:cNvSpPr/>
          <p:nvPr/>
        </p:nvSpPr>
        <p:spPr>
          <a:xfrm rot="16200000">
            <a:off x="2250118" y="3396289"/>
            <a:ext cx="91440" cy="1097280"/>
          </a:xfrm>
          <a:prstGeom prst="roundRect">
            <a:avLst>
              <a:gd name="adj" fmla="val 50000"/>
            </a:avLst>
          </a:prstGeom>
          <a:solidFill>
            <a:srgbClr val="215F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85" name="Group 1184">
            <a:extLst>
              <a:ext uri="{FF2B5EF4-FFF2-40B4-BE49-F238E27FC236}">
                <a16:creationId xmlns:a16="http://schemas.microsoft.com/office/drawing/2014/main" id="{DAC53911-C372-BDC9-9054-9DF37A1362C1}"/>
              </a:ext>
            </a:extLst>
          </p:cNvPr>
          <p:cNvGrpSpPr/>
          <p:nvPr/>
        </p:nvGrpSpPr>
        <p:grpSpPr>
          <a:xfrm>
            <a:off x="2420261" y="5158296"/>
            <a:ext cx="754757" cy="822835"/>
            <a:chOff x="3904247" y="4596602"/>
            <a:chExt cx="754757" cy="822835"/>
          </a:xfrm>
        </p:grpSpPr>
        <p:sp>
          <p:nvSpPr>
            <p:cNvPr id="1183" name="Rounded Rectangle 1182">
              <a:extLst>
                <a:ext uri="{FF2B5EF4-FFF2-40B4-BE49-F238E27FC236}">
                  <a16:creationId xmlns:a16="http://schemas.microsoft.com/office/drawing/2014/main" id="{8A8CB421-C4F0-C326-1131-339FABCB3C92}"/>
                </a:ext>
              </a:extLst>
            </p:cNvPr>
            <p:cNvSpPr/>
            <p:nvPr/>
          </p:nvSpPr>
          <p:spPr>
            <a:xfrm>
              <a:off x="3904247" y="4596602"/>
              <a:ext cx="754757" cy="822835"/>
            </a:xfrm>
            <a:prstGeom prst="roundRect">
              <a:avLst>
                <a:gd name="adj" fmla="val 50000"/>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4" name="Rectangle 1183">
              <a:extLst>
                <a:ext uri="{FF2B5EF4-FFF2-40B4-BE49-F238E27FC236}">
                  <a16:creationId xmlns:a16="http://schemas.microsoft.com/office/drawing/2014/main" id="{7CF03C81-1B84-37E2-6103-51BBA470B7BF}"/>
                </a:ext>
              </a:extLst>
            </p:cNvPr>
            <p:cNvSpPr/>
            <p:nvPr/>
          </p:nvSpPr>
          <p:spPr>
            <a:xfrm>
              <a:off x="3904247" y="4596602"/>
              <a:ext cx="754757" cy="408009"/>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82" name="Group 1181">
            <a:extLst>
              <a:ext uri="{FF2B5EF4-FFF2-40B4-BE49-F238E27FC236}">
                <a16:creationId xmlns:a16="http://schemas.microsoft.com/office/drawing/2014/main" id="{A998DE7F-FE90-164B-8BD0-2E25848B7D63}"/>
              </a:ext>
            </a:extLst>
          </p:cNvPr>
          <p:cNvGrpSpPr/>
          <p:nvPr/>
        </p:nvGrpSpPr>
        <p:grpSpPr>
          <a:xfrm>
            <a:off x="2409928" y="4080351"/>
            <a:ext cx="766489" cy="1893391"/>
            <a:chOff x="4126822" y="3688139"/>
            <a:chExt cx="766489" cy="1893391"/>
          </a:xfrm>
        </p:grpSpPr>
        <p:grpSp>
          <p:nvGrpSpPr>
            <p:cNvPr id="1177" name="Group 1176">
              <a:extLst>
                <a:ext uri="{FF2B5EF4-FFF2-40B4-BE49-F238E27FC236}">
                  <a16:creationId xmlns:a16="http://schemas.microsoft.com/office/drawing/2014/main" id="{46DD7C89-771D-DD2B-30D4-DD7BD16743AD}"/>
                </a:ext>
              </a:extLst>
            </p:cNvPr>
            <p:cNvGrpSpPr/>
            <p:nvPr/>
          </p:nvGrpSpPr>
          <p:grpSpPr>
            <a:xfrm>
              <a:off x="4277413" y="3987336"/>
              <a:ext cx="465306" cy="1294995"/>
              <a:chOff x="4446950" y="2424751"/>
              <a:chExt cx="555097" cy="1554480"/>
            </a:xfrm>
            <a:solidFill>
              <a:srgbClr val="215F9B"/>
            </a:solidFill>
          </p:grpSpPr>
          <p:sp>
            <p:nvSpPr>
              <p:cNvPr id="1168" name="Rounded Rectangle 1167">
                <a:extLst>
                  <a:ext uri="{FF2B5EF4-FFF2-40B4-BE49-F238E27FC236}">
                    <a16:creationId xmlns:a16="http://schemas.microsoft.com/office/drawing/2014/main" id="{A157C784-84F9-2960-86D5-760043FE0454}"/>
                  </a:ext>
                </a:extLst>
              </p:cNvPr>
              <p:cNvSpPr/>
              <p:nvPr/>
            </p:nvSpPr>
            <p:spPr>
              <a:xfrm>
                <a:off x="4680305" y="2424751"/>
                <a:ext cx="109085" cy="1554480"/>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75" name="Group 1174">
                <a:extLst>
                  <a:ext uri="{FF2B5EF4-FFF2-40B4-BE49-F238E27FC236}">
                    <a16:creationId xmlns:a16="http://schemas.microsoft.com/office/drawing/2014/main" id="{9D369DBA-1658-9BF4-35C2-5D8FE3CD46B6}"/>
                  </a:ext>
                </a:extLst>
              </p:cNvPr>
              <p:cNvGrpSpPr/>
              <p:nvPr/>
            </p:nvGrpSpPr>
            <p:grpSpPr>
              <a:xfrm>
                <a:off x="4446950" y="2548722"/>
                <a:ext cx="555097" cy="1159759"/>
                <a:chOff x="4446950" y="2548722"/>
                <a:chExt cx="555097" cy="1159759"/>
              </a:xfrm>
              <a:grpFill/>
            </p:grpSpPr>
            <p:sp>
              <p:nvSpPr>
                <p:cNvPr id="62" name="Rounded Rectangle 61">
                  <a:extLst>
                    <a:ext uri="{FF2B5EF4-FFF2-40B4-BE49-F238E27FC236}">
                      <a16:creationId xmlns:a16="http://schemas.microsoft.com/office/drawing/2014/main" id="{BDBCB6BD-F2DC-62A9-121D-559F88DAD4A1}"/>
                    </a:ext>
                  </a:extLst>
                </p:cNvPr>
                <p:cNvSpPr/>
                <p:nvPr/>
              </p:nvSpPr>
              <p:spPr>
                <a:xfrm rot="17451752">
                  <a:off x="4680313" y="2408974"/>
                  <a:ext cx="91440" cy="548640"/>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ounded Rectangle 62">
                  <a:extLst>
                    <a:ext uri="{FF2B5EF4-FFF2-40B4-BE49-F238E27FC236}">
                      <a16:creationId xmlns:a16="http://schemas.microsoft.com/office/drawing/2014/main" id="{099E66F4-3436-2F4E-36BD-F4E7726C3282}"/>
                    </a:ext>
                  </a:extLst>
                </p:cNvPr>
                <p:cNvSpPr/>
                <p:nvPr/>
              </p:nvSpPr>
              <p:spPr>
                <a:xfrm rot="17451752">
                  <a:off x="4680311" y="2601174"/>
                  <a:ext cx="91440" cy="548640"/>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2" name="Rounded Rectangle 1151">
                  <a:extLst>
                    <a:ext uri="{FF2B5EF4-FFF2-40B4-BE49-F238E27FC236}">
                      <a16:creationId xmlns:a16="http://schemas.microsoft.com/office/drawing/2014/main" id="{6B563950-C46C-E527-15B0-91C71006DD49}"/>
                    </a:ext>
                  </a:extLst>
                </p:cNvPr>
                <p:cNvSpPr/>
                <p:nvPr/>
              </p:nvSpPr>
              <p:spPr>
                <a:xfrm rot="17451752">
                  <a:off x="4680308" y="2799530"/>
                  <a:ext cx="91440" cy="548640"/>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5" name="Rounded Rectangle 1164">
                  <a:extLst>
                    <a:ext uri="{FF2B5EF4-FFF2-40B4-BE49-F238E27FC236}">
                      <a16:creationId xmlns:a16="http://schemas.microsoft.com/office/drawing/2014/main" id="{4F917C0E-88B4-FCE4-EBEB-1868EC2DD713}"/>
                    </a:ext>
                  </a:extLst>
                </p:cNvPr>
                <p:cNvSpPr/>
                <p:nvPr/>
              </p:nvSpPr>
              <p:spPr>
                <a:xfrm rot="17451752">
                  <a:off x="4680311" y="2997885"/>
                  <a:ext cx="91440" cy="548640"/>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6" name="Rounded Rectangle 1165">
                  <a:extLst>
                    <a:ext uri="{FF2B5EF4-FFF2-40B4-BE49-F238E27FC236}">
                      <a16:creationId xmlns:a16="http://schemas.microsoft.com/office/drawing/2014/main" id="{F054AEA1-7503-0224-331E-638297856784}"/>
                    </a:ext>
                  </a:extLst>
                </p:cNvPr>
                <p:cNvSpPr/>
                <p:nvPr/>
              </p:nvSpPr>
              <p:spPr>
                <a:xfrm rot="17451752">
                  <a:off x="4680309" y="3190085"/>
                  <a:ext cx="91440" cy="548640"/>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7" name="Rounded Rectangle 1166">
                  <a:extLst>
                    <a:ext uri="{FF2B5EF4-FFF2-40B4-BE49-F238E27FC236}">
                      <a16:creationId xmlns:a16="http://schemas.microsoft.com/office/drawing/2014/main" id="{A85AC109-BDC7-C1EF-5393-F5679C5915AC}"/>
                    </a:ext>
                  </a:extLst>
                </p:cNvPr>
                <p:cNvSpPr/>
                <p:nvPr/>
              </p:nvSpPr>
              <p:spPr>
                <a:xfrm rot="17451752">
                  <a:off x="4680306" y="3388441"/>
                  <a:ext cx="91440" cy="548640"/>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9" name="Rounded Rectangle 1168">
                  <a:extLst>
                    <a:ext uri="{FF2B5EF4-FFF2-40B4-BE49-F238E27FC236}">
                      <a16:creationId xmlns:a16="http://schemas.microsoft.com/office/drawing/2014/main" id="{BCFA0944-9358-24D3-5CFA-F6521E769D50}"/>
                    </a:ext>
                  </a:extLst>
                </p:cNvPr>
                <p:cNvSpPr/>
                <p:nvPr/>
              </p:nvSpPr>
              <p:spPr>
                <a:xfrm rot="16200000">
                  <a:off x="4561157" y="2457282"/>
                  <a:ext cx="91440" cy="274320"/>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0" name="Rounded Rectangle 1169">
                  <a:extLst>
                    <a:ext uri="{FF2B5EF4-FFF2-40B4-BE49-F238E27FC236}">
                      <a16:creationId xmlns:a16="http://schemas.microsoft.com/office/drawing/2014/main" id="{22B659D6-53B7-1EF5-F9B7-FAD34A22C509}"/>
                    </a:ext>
                  </a:extLst>
                </p:cNvPr>
                <p:cNvSpPr/>
                <p:nvPr/>
              </p:nvSpPr>
              <p:spPr>
                <a:xfrm rot="16200000">
                  <a:off x="4678604" y="2505075"/>
                  <a:ext cx="91440" cy="548640"/>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1" name="Rounded Rectangle 1170">
                  <a:extLst>
                    <a:ext uri="{FF2B5EF4-FFF2-40B4-BE49-F238E27FC236}">
                      <a16:creationId xmlns:a16="http://schemas.microsoft.com/office/drawing/2014/main" id="{B96E1CCB-F9C3-BCAC-5963-ACA7233240FF}"/>
                    </a:ext>
                  </a:extLst>
                </p:cNvPr>
                <p:cNvSpPr/>
                <p:nvPr/>
              </p:nvSpPr>
              <p:spPr>
                <a:xfrm rot="16200000">
                  <a:off x="4682007" y="2692739"/>
                  <a:ext cx="91440" cy="548640"/>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2" name="Rounded Rectangle 1171">
                  <a:extLst>
                    <a:ext uri="{FF2B5EF4-FFF2-40B4-BE49-F238E27FC236}">
                      <a16:creationId xmlns:a16="http://schemas.microsoft.com/office/drawing/2014/main" id="{361E54A5-5C6F-5428-3C1C-6AA201B03BC1}"/>
                    </a:ext>
                  </a:extLst>
                </p:cNvPr>
                <p:cNvSpPr/>
                <p:nvPr/>
              </p:nvSpPr>
              <p:spPr>
                <a:xfrm rot="16200000">
                  <a:off x="4682007" y="2901327"/>
                  <a:ext cx="91440" cy="548640"/>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3" name="Rounded Rectangle 1172">
                  <a:extLst>
                    <a:ext uri="{FF2B5EF4-FFF2-40B4-BE49-F238E27FC236}">
                      <a16:creationId xmlns:a16="http://schemas.microsoft.com/office/drawing/2014/main" id="{EDC61867-776A-72D0-CADE-A4A1FB428E5B}"/>
                    </a:ext>
                  </a:extLst>
                </p:cNvPr>
                <p:cNvSpPr/>
                <p:nvPr/>
              </p:nvSpPr>
              <p:spPr>
                <a:xfrm rot="16200000">
                  <a:off x="4675550" y="3096465"/>
                  <a:ext cx="91440" cy="548640"/>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4" name="Rounded Rectangle 1173">
                  <a:extLst>
                    <a:ext uri="{FF2B5EF4-FFF2-40B4-BE49-F238E27FC236}">
                      <a16:creationId xmlns:a16="http://schemas.microsoft.com/office/drawing/2014/main" id="{5FDC1FA9-70BB-DA1B-C790-783602424896}"/>
                    </a:ext>
                  </a:extLst>
                </p:cNvPr>
                <p:cNvSpPr/>
                <p:nvPr/>
              </p:nvSpPr>
              <p:spPr>
                <a:xfrm rot="16200000">
                  <a:off x="4682007" y="3296291"/>
                  <a:ext cx="91440" cy="548640"/>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176" name="Rounded Rectangle 1175">
              <a:extLst>
                <a:ext uri="{FF2B5EF4-FFF2-40B4-BE49-F238E27FC236}">
                  <a16:creationId xmlns:a16="http://schemas.microsoft.com/office/drawing/2014/main" id="{3EE9B961-6D5C-D435-D4C0-5EEE647F49D7}"/>
                </a:ext>
              </a:extLst>
            </p:cNvPr>
            <p:cNvSpPr/>
            <p:nvPr/>
          </p:nvSpPr>
          <p:spPr>
            <a:xfrm>
              <a:off x="4126822" y="3688139"/>
              <a:ext cx="766489" cy="1893391"/>
            </a:xfrm>
            <a:prstGeom prst="roundRect">
              <a:avLst>
                <a:gd name="adj" fmla="val 50000"/>
              </a:avLst>
            </a:prstGeom>
            <a:noFill/>
            <a:ln w="38100">
              <a:solidFill>
                <a:schemeClr val="bg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79" name="Rounded Rectangle 1178">
            <a:extLst>
              <a:ext uri="{FF2B5EF4-FFF2-40B4-BE49-F238E27FC236}">
                <a16:creationId xmlns:a16="http://schemas.microsoft.com/office/drawing/2014/main" id="{955D87C5-4D8F-F718-948E-C7EA84AB32A6}"/>
              </a:ext>
            </a:extLst>
          </p:cNvPr>
          <p:cNvSpPr/>
          <p:nvPr/>
        </p:nvSpPr>
        <p:spPr>
          <a:xfrm rot="10800000">
            <a:off x="2755982" y="3903997"/>
            <a:ext cx="91440" cy="1097280"/>
          </a:xfrm>
          <a:prstGeom prst="roundRect">
            <a:avLst>
              <a:gd name="adj" fmla="val 50000"/>
            </a:avLst>
          </a:prstGeom>
          <a:solidFill>
            <a:srgbClr val="215F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2" name="Rectangle 1161">
            <a:extLst>
              <a:ext uri="{FF2B5EF4-FFF2-40B4-BE49-F238E27FC236}">
                <a16:creationId xmlns:a16="http://schemas.microsoft.com/office/drawing/2014/main" id="{62ABA31C-6A03-FF5E-D10A-B35B544BD2D5}"/>
              </a:ext>
            </a:extLst>
          </p:cNvPr>
          <p:cNvSpPr/>
          <p:nvPr/>
        </p:nvSpPr>
        <p:spPr>
          <a:xfrm>
            <a:off x="4293168" y="5448545"/>
            <a:ext cx="758043" cy="296160"/>
          </a:xfrm>
          <a:prstGeom prst="rect">
            <a:avLst/>
          </a:prstGeom>
          <a:solidFill>
            <a:srgbClr val="05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0" name="Rounded Rectangle 1179">
            <a:extLst>
              <a:ext uri="{FF2B5EF4-FFF2-40B4-BE49-F238E27FC236}">
                <a16:creationId xmlns:a16="http://schemas.microsoft.com/office/drawing/2014/main" id="{F0948A23-320F-69F6-D9B4-3C115870CB56}"/>
              </a:ext>
            </a:extLst>
          </p:cNvPr>
          <p:cNvSpPr/>
          <p:nvPr/>
        </p:nvSpPr>
        <p:spPr>
          <a:xfrm rot="16200000">
            <a:off x="2064962" y="4904184"/>
            <a:ext cx="91440" cy="1463040"/>
          </a:xfrm>
          <a:prstGeom prst="roundRect">
            <a:avLst>
              <a:gd name="adj" fmla="val 50000"/>
            </a:avLst>
          </a:prstGeom>
          <a:solidFill>
            <a:srgbClr val="215F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6" name="Rounded Rectangle 1185">
            <a:extLst>
              <a:ext uri="{FF2B5EF4-FFF2-40B4-BE49-F238E27FC236}">
                <a16:creationId xmlns:a16="http://schemas.microsoft.com/office/drawing/2014/main" id="{D984CCD9-951E-71A6-FF21-AC5B43A03C14}"/>
              </a:ext>
            </a:extLst>
          </p:cNvPr>
          <p:cNvSpPr/>
          <p:nvPr/>
        </p:nvSpPr>
        <p:spPr>
          <a:xfrm rot="16200000">
            <a:off x="4435685" y="3134789"/>
            <a:ext cx="91440" cy="2743200"/>
          </a:xfrm>
          <a:prstGeom prst="roundRect">
            <a:avLst>
              <a:gd name="adj" fmla="val 50000"/>
            </a:avLst>
          </a:prstGeom>
          <a:solidFill>
            <a:schemeClr val="bg1"/>
          </a:solidFill>
          <a:ln>
            <a:solidFill>
              <a:srgbClr val="6F787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0" name="Rounded Rectangle 1159">
            <a:extLst>
              <a:ext uri="{FF2B5EF4-FFF2-40B4-BE49-F238E27FC236}">
                <a16:creationId xmlns:a16="http://schemas.microsoft.com/office/drawing/2014/main" id="{82ECCFC0-1577-D232-6724-6FAC621BC4D9}"/>
              </a:ext>
            </a:extLst>
          </p:cNvPr>
          <p:cNvSpPr/>
          <p:nvPr/>
        </p:nvSpPr>
        <p:spPr>
          <a:xfrm rot="16200000">
            <a:off x="4435685" y="4130378"/>
            <a:ext cx="91440" cy="2743200"/>
          </a:xfrm>
          <a:prstGeom prst="roundRect">
            <a:avLst>
              <a:gd name="adj" fmla="val 50000"/>
            </a:avLst>
          </a:prstGeom>
          <a:solidFill>
            <a:srgbClr val="05B0F0"/>
          </a:solidFill>
          <a:ln>
            <a:solidFill>
              <a:srgbClr val="6F787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8" name="Rectangle 1187">
            <a:extLst>
              <a:ext uri="{FF2B5EF4-FFF2-40B4-BE49-F238E27FC236}">
                <a16:creationId xmlns:a16="http://schemas.microsoft.com/office/drawing/2014/main" id="{87BABCE1-278B-F4B8-EFB5-92264909B1C2}"/>
              </a:ext>
            </a:extLst>
          </p:cNvPr>
          <p:cNvSpPr/>
          <p:nvPr/>
        </p:nvSpPr>
        <p:spPr>
          <a:xfrm>
            <a:off x="3037057" y="4439972"/>
            <a:ext cx="118547" cy="196931"/>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ounded Rectangle 20">
            <a:extLst>
              <a:ext uri="{FF2B5EF4-FFF2-40B4-BE49-F238E27FC236}">
                <a16:creationId xmlns:a16="http://schemas.microsoft.com/office/drawing/2014/main" id="{E994693F-D5A4-7E15-D0F7-750B7FA085CD}"/>
              </a:ext>
            </a:extLst>
          </p:cNvPr>
          <p:cNvSpPr/>
          <p:nvPr/>
        </p:nvSpPr>
        <p:spPr>
          <a:xfrm>
            <a:off x="5629232" y="4143796"/>
            <a:ext cx="914400" cy="722463"/>
          </a:xfrm>
          <a:prstGeom prst="roundRect">
            <a:avLst/>
          </a:prstGeom>
          <a:solidFill>
            <a:srgbClr val="3A3A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94" name="Group 1193">
            <a:extLst>
              <a:ext uri="{FF2B5EF4-FFF2-40B4-BE49-F238E27FC236}">
                <a16:creationId xmlns:a16="http://schemas.microsoft.com/office/drawing/2014/main" id="{F7A26393-2B35-E0A5-EC1A-FEAF35FA8E4E}"/>
              </a:ext>
            </a:extLst>
          </p:cNvPr>
          <p:cNvGrpSpPr/>
          <p:nvPr/>
        </p:nvGrpSpPr>
        <p:grpSpPr>
          <a:xfrm>
            <a:off x="4231247" y="4145157"/>
            <a:ext cx="842018" cy="722462"/>
            <a:chOff x="5283861" y="3630842"/>
            <a:chExt cx="760880" cy="731520"/>
          </a:xfrm>
          <a:solidFill>
            <a:srgbClr val="3A3A3A"/>
          </a:solidFill>
        </p:grpSpPr>
        <p:sp>
          <p:nvSpPr>
            <p:cNvPr id="1190" name="Trapezoid 1189">
              <a:extLst>
                <a:ext uri="{FF2B5EF4-FFF2-40B4-BE49-F238E27FC236}">
                  <a16:creationId xmlns:a16="http://schemas.microsoft.com/office/drawing/2014/main" id="{3CF6B7E4-AD85-5944-2F42-A80AC183DA25}"/>
                </a:ext>
              </a:extLst>
            </p:cNvPr>
            <p:cNvSpPr/>
            <p:nvPr/>
          </p:nvSpPr>
          <p:spPr>
            <a:xfrm rot="16200000">
              <a:off x="5146701" y="3864040"/>
              <a:ext cx="548640" cy="274320"/>
            </a:xfrm>
            <a:prstGeom prst="trapezoid">
              <a:avLst>
                <a:gd name="adj" fmla="val 58112"/>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2" name="Trapezoid 1191">
              <a:extLst>
                <a:ext uri="{FF2B5EF4-FFF2-40B4-BE49-F238E27FC236}">
                  <a16:creationId xmlns:a16="http://schemas.microsoft.com/office/drawing/2014/main" id="{C5853C1A-C35F-DBFA-D1E0-EB02888FA734}"/>
                </a:ext>
              </a:extLst>
            </p:cNvPr>
            <p:cNvSpPr/>
            <p:nvPr/>
          </p:nvSpPr>
          <p:spPr>
            <a:xfrm rot="16200000">
              <a:off x="5344261" y="3859504"/>
              <a:ext cx="640080" cy="274320"/>
            </a:xfrm>
            <a:prstGeom prst="trapezoid">
              <a:avLst>
                <a:gd name="adj" fmla="val 58112"/>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3" name="Trapezoid 1192">
              <a:extLst>
                <a:ext uri="{FF2B5EF4-FFF2-40B4-BE49-F238E27FC236}">
                  <a16:creationId xmlns:a16="http://schemas.microsoft.com/office/drawing/2014/main" id="{3A3A1467-702C-0064-5AEC-A4C13D5B2539}"/>
                </a:ext>
              </a:extLst>
            </p:cNvPr>
            <p:cNvSpPr/>
            <p:nvPr/>
          </p:nvSpPr>
          <p:spPr>
            <a:xfrm rot="16200000">
              <a:off x="5541821" y="3859442"/>
              <a:ext cx="731520" cy="274320"/>
            </a:xfrm>
            <a:prstGeom prst="trapezoid">
              <a:avLst>
                <a:gd name="adj" fmla="val 58112"/>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Rounded Rectangle 22">
            <a:extLst>
              <a:ext uri="{FF2B5EF4-FFF2-40B4-BE49-F238E27FC236}">
                <a16:creationId xmlns:a16="http://schemas.microsoft.com/office/drawing/2014/main" id="{7E0616C4-E79E-46DA-020E-964F07FB6AD5}"/>
              </a:ext>
            </a:extLst>
          </p:cNvPr>
          <p:cNvSpPr/>
          <p:nvPr/>
        </p:nvSpPr>
        <p:spPr>
          <a:xfrm>
            <a:off x="4138904" y="4058553"/>
            <a:ext cx="1099342" cy="924720"/>
          </a:xfrm>
          <a:prstGeom prst="roundRect">
            <a:avLst/>
          </a:prstGeom>
          <a:noFill/>
          <a:ln w="38100">
            <a:solidFill>
              <a:srgbClr val="3A3A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ed Rectangle 23">
            <a:extLst>
              <a:ext uri="{FF2B5EF4-FFF2-40B4-BE49-F238E27FC236}">
                <a16:creationId xmlns:a16="http://schemas.microsoft.com/office/drawing/2014/main" id="{8E836FD7-B4A5-DD4E-BC2E-CCAB87862B5F}"/>
              </a:ext>
            </a:extLst>
          </p:cNvPr>
          <p:cNvSpPr/>
          <p:nvPr/>
        </p:nvSpPr>
        <p:spPr>
          <a:xfrm>
            <a:off x="4365128" y="4951036"/>
            <a:ext cx="91440" cy="365760"/>
          </a:xfrm>
          <a:prstGeom prst="roundRect">
            <a:avLst>
              <a:gd name="adj" fmla="val 50000"/>
            </a:avLst>
          </a:prstGeom>
          <a:noFill/>
          <a:ln>
            <a:solidFill>
              <a:srgbClr val="3A3A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ed Rectangle 24">
            <a:extLst>
              <a:ext uri="{FF2B5EF4-FFF2-40B4-BE49-F238E27FC236}">
                <a16:creationId xmlns:a16="http://schemas.microsoft.com/office/drawing/2014/main" id="{EC21779A-2E40-087D-A382-0FE0D99A33E6}"/>
              </a:ext>
            </a:extLst>
          </p:cNvPr>
          <p:cNvSpPr/>
          <p:nvPr/>
        </p:nvSpPr>
        <p:spPr>
          <a:xfrm>
            <a:off x="4901983" y="4921190"/>
            <a:ext cx="91440" cy="365760"/>
          </a:xfrm>
          <a:prstGeom prst="roundRect">
            <a:avLst>
              <a:gd name="adj" fmla="val 50000"/>
            </a:avLst>
          </a:prstGeom>
          <a:noFill/>
          <a:ln>
            <a:solidFill>
              <a:srgbClr val="3A3A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EA0DC9DE-7350-87ED-C0FB-EC5CDE71B757}"/>
              </a:ext>
            </a:extLst>
          </p:cNvPr>
          <p:cNvSpPr/>
          <p:nvPr/>
        </p:nvSpPr>
        <p:spPr>
          <a:xfrm flipV="1">
            <a:off x="4300456" y="4888203"/>
            <a:ext cx="743745" cy="7767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813A069B-6E16-F683-A9D4-5B4F3C3C4247}"/>
              </a:ext>
            </a:extLst>
          </p:cNvPr>
          <p:cNvSpPr/>
          <p:nvPr/>
        </p:nvSpPr>
        <p:spPr>
          <a:xfrm flipV="1">
            <a:off x="4300456" y="5247307"/>
            <a:ext cx="819869" cy="11582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7D1D74EA-0F02-8259-1C17-C85E54AADE08}"/>
              </a:ext>
            </a:extLst>
          </p:cNvPr>
          <p:cNvSpPr/>
          <p:nvPr/>
        </p:nvSpPr>
        <p:spPr>
          <a:xfrm>
            <a:off x="4283570" y="5251887"/>
            <a:ext cx="777240" cy="503314"/>
          </a:xfrm>
          <a:prstGeom prst="rect">
            <a:avLst/>
          </a:prstGeom>
          <a:noFill/>
          <a:ln>
            <a:solidFill>
              <a:srgbClr val="3A3A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58" name="Group 1157">
            <a:extLst>
              <a:ext uri="{FF2B5EF4-FFF2-40B4-BE49-F238E27FC236}">
                <a16:creationId xmlns:a16="http://schemas.microsoft.com/office/drawing/2014/main" id="{DBD31F4B-D38A-4A3F-3625-EFD144624A6B}"/>
              </a:ext>
            </a:extLst>
          </p:cNvPr>
          <p:cNvGrpSpPr/>
          <p:nvPr/>
        </p:nvGrpSpPr>
        <p:grpSpPr>
          <a:xfrm>
            <a:off x="4355943" y="5320664"/>
            <a:ext cx="616047" cy="365760"/>
            <a:chOff x="4199365" y="5712609"/>
            <a:chExt cx="616047" cy="365760"/>
          </a:xfrm>
        </p:grpSpPr>
        <p:sp>
          <p:nvSpPr>
            <p:cNvPr id="39" name="Rounded Rectangle 38">
              <a:extLst>
                <a:ext uri="{FF2B5EF4-FFF2-40B4-BE49-F238E27FC236}">
                  <a16:creationId xmlns:a16="http://schemas.microsoft.com/office/drawing/2014/main" id="{116B36E9-DBB5-4AD9-3AC6-97F26BE9749C}"/>
                </a:ext>
              </a:extLst>
            </p:cNvPr>
            <p:cNvSpPr/>
            <p:nvPr/>
          </p:nvSpPr>
          <p:spPr>
            <a:xfrm>
              <a:off x="4199365" y="5715679"/>
              <a:ext cx="91440" cy="356616"/>
            </a:xfrm>
            <a:prstGeom prst="roundRect">
              <a:avLst>
                <a:gd name="adj" fmla="val 50000"/>
              </a:avLst>
            </a:prstGeom>
            <a:noFill/>
            <a:ln>
              <a:solidFill>
                <a:srgbClr val="3A3A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43">
              <a:extLst>
                <a:ext uri="{FF2B5EF4-FFF2-40B4-BE49-F238E27FC236}">
                  <a16:creationId xmlns:a16="http://schemas.microsoft.com/office/drawing/2014/main" id="{FEBA9ADA-2D42-F9E1-5E58-80F54A9392BF}"/>
                </a:ext>
              </a:extLst>
            </p:cNvPr>
            <p:cNvSpPr/>
            <p:nvPr/>
          </p:nvSpPr>
          <p:spPr>
            <a:xfrm>
              <a:off x="4372592" y="5715679"/>
              <a:ext cx="91440" cy="356616"/>
            </a:xfrm>
            <a:prstGeom prst="roundRect">
              <a:avLst>
                <a:gd name="adj" fmla="val 50000"/>
              </a:avLst>
            </a:prstGeom>
            <a:noFill/>
            <a:ln>
              <a:solidFill>
                <a:srgbClr val="3A3A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ounded Rectangle 44">
              <a:extLst>
                <a:ext uri="{FF2B5EF4-FFF2-40B4-BE49-F238E27FC236}">
                  <a16:creationId xmlns:a16="http://schemas.microsoft.com/office/drawing/2014/main" id="{8F068FCA-0ABF-E327-947B-D796DD19BFCC}"/>
                </a:ext>
              </a:extLst>
            </p:cNvPr>
            <p:cNvSpPr/>
            <p:nvPr/>
          </p:nvSpPr>
          <p:spPr>
            <a:xfrm>
              <a:off x="4545819" y="5715679"/>
              <a:ext cx="91440" cy="356616"/>
            </a:xfrm>
            <a:prstGeom prst="roundRect">
              <a:avLst>
                <a:gd name="adj" fmla="val 50000"/>
              </a:avLst>
            </a:prstGeom>
            <a:noFill/>
            <a:ln>
              <a:solidFill>
                <a:srgbClr val="3A3A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ounded Rectangle 45">
              <a:extLst>
                <a:ext uri="{FF2B5EF4-FFF2-40B4-BE49-F238E27FC236}">
                  <a16:creationId xmlns:a16="http://schemas.microsoft.com/office/drawing/2014/main" id="{FCAE3DDD-67EF-62A3-4640-54B80014E6FD}"/>
                </a:ext>
              </a:extLst>
            </p:cNvPr>
            <p:cNvSpPr/>
            <p:nvPr/>
          </p:nvSpPr>
          <p:spPr>
            <a:xfrm>
              <a:off x="4723972" y="5715679"/>
              <a:ext cx="91440" cy="356616"/>
            </a:xfrm>
            <a:prstGeom prst="roundRect">
              <a:avLst>
                <a:gd name="adj" fmla="val 50000"/>
              </a:avLst>
            </a:prstGeom>
            <a:noFill/>
            <a:ln>
              <a:solidFill>
                <a:srgbClr val="3A3A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ounded Rectangle 46">
              <a:extLst>
                <a:ext uri="{FF2B5EF4-FFF2-40B4-BE49-F238E27FC236}">
                  <a16:creationId xmlns:a16="http://schemas.microsoft.com/office/drawing/2014/main" id="{D397587B-36F0-CD8B-7B08-66AF1C670508}"/>
                </a:ext>
              </a:extLst>
            </p:cNvPr>
            <p:cNvSpPr/>
            <p:nvPr/>
          </p:nvSpPr>
          <p:spPr>
            <a:xfrm rot="16200000">
              <a:off x="4464208" y="5727164"/>
              <a:ext cx="87150" cy="615259"/>
            </a:xfrm>
            <a:prstGeom prst="roundRect">
              <a:avLst>
                <a:gd name="adj" fmla="val 50000"/>
              </a:avLst>
            </a:prstGeom>
            <a:noFill/>
            <a:ln>
              <a:solidFill>
                <a:srgbClr val="3A3A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ounded Rectangle 47">
              <a:extLst>
                <a:ext uri="{FF2B5EF4-FFF2-40B4-BE49-F238E27FC236}">
                  <a16:creationId xmlns:a16="http://schemas.microsoft.com/office/drawing/2014/main" id="{1CB9F29F-E78A-5FD6-CE5F-1953726B4581}"/>
                </a:ext>
              </a:extLst>
            </p:cNvPr>
            <p:cNvSpPr/>
            <p:nvPr/>
          </p:nvSpPr>
          <p:spPr>
            <a:xfrm rot="16200000">
              <a:off x="4464208" y="5448554"/>
              <a:ext cx="87150" cy="615259"/>
            </a:xfrm>
            <a:prstGeom prst="roundRect">
              <a:avLst>
                <a:gd name="adj" fmla="val 50000"/>
              </a:avLst>
            </a:prstGeom>
            <a:noFill/>
            <a:ln>
              <a:solidFill>
                <a:srgbClr val="3A3A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ounded Rectangle 49">
              <a:extLst>
                <a:ext uri="{FF2B5EF4-FFF2-40B4-BE49-F238E27FC236}">
                  <a16:creationId xmlns:a16="http://schemas.microsoft.com/office/drawing/2014/main" id="{6E7FC07F-B809-1507-883F-F48EB96C7FEE}"/>
                </a:ext>
              </a:extLst>
            </p:cNvPr>
            <p:cNvSpPr/>
            <p:nvPr/>
          </p:nvSpPr>
          <p:spPr>
            <a:xfrm rot="16200000">
              <a:off x="4471841" y="5460262"/>
              <a:ext cx="71883" cy="591425"/>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3" name="Rounded Rectangle 1152">
              <a:extLst>
                <a:ext uri="{FF2B5EF4-FFF2-40B4-BE49-F238E27FC236}">
                  <a16:creationId xmlns:a16="http://schemas.microsoft.com/office/drawing/2014/main" id="{B4698F3B-3B04-562B-4D95-2221AD32341D}"/>
                </a:ext>
              </a:extLst>
            </p:cNvPr>
            <p:cNvSpPr/>
            <p:nvPr/>
          </p:nvSpPr>
          <p:spPr>
            <a:xfrm rot="16200000">
              <a:off x="4471840" y="5738311"/>
              <a:ext cx="71883" cy="591425"/>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4" name="Rounded Rectangle 1153">
              <a:extLst>
                <a:ext uri="{FF2B5EF4-FFF2-40B4-BE49-F238E27FC236}">
                  <a16:creationId xmlns:a16="http://schemas.microsoft.com/office/drawing/2014/main" id="{DD18722D-F81B-C9B8-B209-3532ED09B56F}"/>
                </a:ext>
              </a:extLst>
            </p:cNvPr>
            <p:cNvSpPr/>
            <p:nvPr/>
          </p:nvSpPr>
          <p:spPr>
            <a:xfrm>
              <a:off x="4731125" y="5733838"/>
              <a:ext cx="77406" cy="329184"/>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5" name="Rounded Rectangle 1154">
              <a:extLst>
                <a:ext uri="{FF2B5EF4-FFF2-40B4-BE49-F238E27FC236}">
                  <a16:creationId xmlns:a16="http://schemas.microsoft.com/office/drawing/2014/main" id="{BC59A33D-384D-51CD-4C8C-C345574819DE}"/>
                </a:ext>
              </a:extLst>
            </p:cNvPr>
            <p:cNvSpPr/>
            <p:nvPr/>
          </p:nvSpPr>
          <p:spPr>
            <a:xfrm>
              <a:off x="4382370" y="5752598"/>
              <a:ext cx="71883" cy="274320"/>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6" name="Rounded Rectangle 1155">
              <a:extLst>
                <a:ext uri="{FF2B5EF4-FFF2-40B4-BE49-F238E27FC236}">
                  <a16:creationId xmlns:a16="http://schemas.microsoft.com/office/drawing/2014/main" id="{086FCA0A-0096-1F93-1EF8-90BC23A6794C}"/>
                </a:ext>
              </a:extLst>
            </p:cNvPr>
            <p:cNvSpPr/>
            <p:nvPr/>
          </p:nvSpPr>
          <p:spPr>
            <a:xfrm>
              <a:off x="4208575" y="5729395"/>
              <a:ext cx="71198" cy="329184"/>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7" name="Rounded Rectangle 1156">
              <a:extLst>
                <a:ext uri="{FF2B5EF4-FFF2-40B4-BE49-F238E27FC236}">
                  <a16:creationId xmlns:a16="http://schemas.microsoft.com/office/drawing/2014/main" id="{A8926279-9B77-8015-3BC4-7AB1096636F8}"/>
                </a:ext>
              </a:extLst>
            </p:cNvPr>
            <p:cNvSpPr/>
            <p:nvPr/>
          </p:nvSpPr>
          <p:spPr>
            <a:xfrm>
              <a:off x="4555597" y="5758136"/>
              <a:ext cx="71883" cy="274320"/>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78" name="Trapezoid 1177">
            <a:extLst>
              <a:ext uri="{FF2B5EF4-FFF2-40B4-BE49-F238E27FC236}">
                <a16:creationId xmlns:a16="http://schemas.microsoft.com/office/drawing/2014/main" id="{19EA696B-516F-F15C-537A-CC892DEB72F6}"/>
              </a:ext>
            </a:extLst>
          </p:cNvPr>
          <p:cNvSpPr/>
          <p:nvPr/>
        </p:nvSpPr>
        <p:spPr>
          <a:xfrm>
            <a:off x="5695500" y="4876977"/>
            <a:ext cx="690627" cy="1064061"/>
          </a:xfrm>
          <a:prstGeom prst="trapezoid">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1" name="Rectangle 1160">
            <a:extLst>
              <a:ext uri="{FF2B5EF4-FFF2-40B4-BE49-F238E27FC236}">
                <a16:creationId xmlns:a16="http://schemas.microsoft.com/office/drawing/2014/main" id="{221BFF8F-0E1C-0053-2C62-D7CC4A4394B7}"/>
              </a:ext>
            </a:extLst>
          </p:cNvPr>
          <p:cNvSpPr/>
          <p:nvPr/>
        </p:nvSpPr>
        <p:spPr>
          <a:xfrm>
            <a:off x="3064894" y="5381213"/>
            <a:ext cx="93239" cy="196931"/>
          </a:xfrm>
          <a:prstGeom prst="rect">
            <a:avLst/>
          </a:prstGeom>
          <a:solidFill>
            <a:srgbClr val="05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7" name="Rounded Rectangle 1186">
            <a:extLst>
              <a:ext uri="{FF2B5EF4-FFF2-40B4-BE49-F238E27FC236}">
                <a16:creationId xmlns:a16="http://schemas.microsoft.com/office/drawing/2014/main" id="{FDE8674A-9387-9F5B-9082-2E01A3D60E3B}"/>
              </a:ext>
            </a:extLst>
          </p:cNvPr>
          <p:cNvSpPr/>
          <p:nvPr/>
        </p:nvSpPr>
        <p:spPr>
          <a:xfrm rot="16200000">
            <a:off x="4478013" y="5194725"/>
            <a:ext cx="371907" cy="616047"/>
          </a:xfrm>
          <a:prstGeom prst="roundRect">
            <a:avLst>
              <a:gd name="adj" fmla="val 15481"/>
            </a:avLst>
          </a:prstGeom>
          <a:noFill/>
          <a:ln>
            <a:solidFill>
              <a:srgbClr val="3A3A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D818983B-C363-B915-6381-4739A1CE95A1}"/>
              </a:ext>
            </a:extLst>
          </p:cNvPr>
          <p:cNvSpPr txBox="1"/>
          <p:nvPr/>
        </p:nvSpPr>
        <p:spPr>
          <a:xfrm>
            <a:off x="7291720" y="1501328"/>
            <a:ext cx="4606269" cy="4601260"/>
          </a:xfrm>
          <a:prstGeom prst="rect">
            <a:avLst/>
          </a:prstGeom>
          <a:solidFill>
            <a:srgbClr val="E3E9EE"/>
          </a:solidFill>
        </p:spPr>
        <p:txBody>
          <a:bodyPr wrap="square" lIns="137160" tIns="137160" rIns="274320" bIns="13716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How a typical reactor works</a:t>
            </a:r>
            <a:endParaRPr lang="en-US" sz="1400" b="1">
              <a:solidFill>
                <a:srgbClr val="000000"/>
              </a:solidFill>
              <a:latin typeface="Arial" panose="020B0604020202020204" pitchFamily="34" charset="0"/>
              <a:cs typeface="Arial" panose="020B0604020202020204" pitchFamily="34" charset="0"/>
            </a:endParaRPr>
          </a:p>
          <a:p>
            <a:pPr marL="171450" indent="-171450">
              <a:spcBef>
                <a:spcPts val="600"/>
              </a:spcBef>
              <a:buFont typeface="Arial" panose="020B0604020202020204" pitchFamily="34" charset="0"/>
              <a:buChar char="•"/>
              <a:defRPr/>
            </a:pPr>
            <a:r>
              <a:rPr lang="en-US" sz="1050" b="1">
                <a:latin typeface="Arial" panose="020B0604020202020204" pitchFamily="34" charset="0"/>
                <a:cs typeface="Arial" panose="020B0604020202020204" pitchFamily="34" charset="0"/>
              </a:rPr>
              <a:t>Fuel rods contain fissile material </a:t>
            </a:r>
            <a:r>
              <a:rPr lang="en-US" sz="1050">
                <a:latin typeface="Arial" panose="020B0604020202020204" pitchFamily="34" charset="0"/>
                <a:cs typeface="Arial" panose="020B0604020202020204" pitchFamily="34" charset="0"/>
              </a:rPr>
              <a:t>(e.g., U-235) where fission reactions occur, generating heat.</a:t>
            </a:r>
          </a:p>
          <a:p>
            <a:pPr marL="171450" indent="-171450">
              <a:spcBef>
                <a:spcPts val="600"/>
              </a:spcBef>
              <a:buFont typeface="Arial" panose="020B0604020202020204" pitchFamily="34" charset="0"/>
              <a:buChar char="•"/>
              <a:defRPr/>
            </a:pPr>
            <a:r>
              <a:rPr lang="en-US" sz="1050" b="1">
                <a:latin typeface="Arial" panose="020B0604020202020204" pitchFamily="34" charset="0"/>
                <a:cs typeface="Arial" panose="020B0604020202020204" pitchFamily="34" charset="0"/>
              </a:rPr>
              <a:t>Moderator rods slow down fast neutrons from fission events </a:t>
            </a:r>
            <a:r>
              <a:rPr lang="en-US" sz="1050">
                <a:latin typeface="Arial" panose="020B0604020202020204" pitchFamily="34" charset="0"/>
                <a:cs typeface="Arial" panose="020B0604020202020204" pitchFamily="34" charset="0"/>
              </a:rPr>
              <a:t>to increase the probability of further fission.</a:t>
            </a:r>
          </a:p>
          <a:p>
            <a:pPr marL="171450" indent="-171450">
              <a:spcBef>
                <a:spcPts val="600"/>
              </a:spcBef>
              <a:buFont typeface="Arial" panose="020B0604020202020204" pitchFamily="34" charset="0"/>
              <a:buChar char="•"/>
              <a:defRPr/>
            </a:pPr>
            <a:r>
              <a:rPr lang="en-US" sz="1050" b="1">
                <a:latin typeface="Arial" panose="020B0604020202020204" pitchFamily="34" charset="0"/>
                <a:cs typeface="Arial" panose="020B0604020202020204" pitchFamily="34" charset="0"/>
              </a:rPr>
              <a:t>Control rods control the speed of the reaction </a:t>
            </a:r>
            <a:r>
              <a:rPr lang="en-US" sz="1050">
                <a:latin typeface="Arial" panose="020B0604020202020204" pitchFamily="34" charset="0"/>
                <a:cs typeface="Arial" panose="020B0604020202020204" pitchFamily="34" charset="0"/>
              </a:rPr>
              <a:t>by absorbing excess neutrons.</a:t>
            </a:r>
          </a:p>
          <a:p>
            <a:pPr marL="171450" indent="-171450">
              <a:spcBef>
                <a:spcPts val="600"/>
              </a:spcBef>
              <a:buFont typeface="Arial" panose="020B0604020202020204" pitchFamily="34" charset="0"/>
              <a:buChar char="•"/>
              <a:defRPr/>
            </a:pPr>
            <a:r>
              <a:rPr lang="en-US" sz="1050" b="1">
                <a:latin typeface="Arial" panose="020B0604020202020204" pitchFamily="34" charset="0"/>
                <a:cs typeface="Arial" panose="020B0604020202020204" pitchFamily="34" charset="0"/>
              </a:rPr>
              <a:t>Pressurizer maintains coolant pressure to prevent boiling (for PWR).</a:t>
            </a:r>
            <a:endParaRPr kumimoji="0" lang="en-US" sz="105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171450" indent="-171450">
              <a:spcBef>
                <a:spcPts val="600"/>
              </a:spcBef>
              <a:buFont typeface="Arial" panose="020B0604020202020204" pitchFamily="34" charset="0"/>
              <a:buChar char="•"/>
              <a:defRPr/>
            </a:pPr>
            <a:r>
              <a:rPr lang="en-US" sz="1050" b="1">
                <a:latin typeface="Arial" panose="020B0604020202020204" pitchFamily="34" charset="0"/>
                <a:cs typeface="Arial" panose="020B0604020202020204" pitchFamily="34" charset="0"/>
              </a:rPr>
              <a:t>Heat transfers to secondary water loop</a:t>
            </a:r>
            <a:r>
              <a:rPr lang="en-US" sz="1050">
                <a:latin typeface="Arial" panose="020B0604020202020204" pitchFamily="34" charset="0"/>
                <a:cs typeface="Arial" panose="020B0604020202020204" pitchFamily="34" charset="0"/>
              </a:rPr>
              <a:t>, producing steam.</a:t>
            </a:r>
            <a:endParaRPr lang="en-US" sz="1050" b="1">
              <a:solidFill>
                <a:srgbClr val="000000"/>
              </a:solidFill>
              <a:latin typeface="Arial" panose="020B0604020202020204" pitchFamily="34" charset="0"/>
              <a:cs typeface="Arial" panose="020B0604020202020204" pitchFamily="34" charset="0"/>
            </a:endParaRPr>
          </a:p>
          <a:p>
            <a:pPr marL="171450" indent="-171450">
              <a:spcBef>
                <a:spcPts val="600"/>
              </a:spcBef>
              <a:buFont typeface="Arial" panose="020B0604020202020204" pitchFamily="34" charset="0"/>
              <a:buChar char="•"/>
              <a:defRPr/>
            </a:pPr>
            <a:r>
              <a:rPr lang="en-US" sz="1050" b="1">
                <a:latin typeface="Arial" panose="020B0604020202020204" pitchFamily="34" charset="0"/>
                <a:cs typeface="Arial" panose="020B0604020202020204" pitchFamily="34" charset="0"/>
              </a:rPr>
              <a:t>High-pressure steam flows to spin turbine blades.</a:t>
            </a:r>
            <a:endParaRPr lang="en-US" sz="1050" b="1">
              <a:solidFill>
                <a:srgbClr val="000000"/>
              </a:solidFill>
              <a:latin typeface="Arial" panose="020B0604020202020204" pitchFamily="34" charset="0"/>
              <a:cs typeface="Arial" panose="020B0604020202020204" pitchFamily="34" charset="0"/>
            </a:endParaRPr>
          </a:p>
          <a:p>
            <a:pPr marL="171450" indent="-171450">
              <a:spcBef>
                <a:spcPts val="600"/>
              </a:spcBef>
              <a:buFont typeface="Arial" panose="020B0604020202020204" pitchFamily="34" charset="0"/>
              <a:buChar char="•"/>
              <a:defRPr/>
            </a:pPr>
            <a:r>
              <a:rPr lang="en-US" sz="1050" b="1">
                <a:latin typeface="Arial" panose="020B0604020202020204" pitchFamily="34" charset="0"/>
                <a:cs typeface="Arial" panose="020B0604020202020204" pitchFamily="34" charset="0"/>
              </a:rPr>
              <a:t>The generator converts mechanical energy into electric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Arial" panose="020B0604020202020204" pitchFamily="34" charset="0"/>
                <a:cs typeface="Arial" panose="020B0604020202020204" pitchFamily="34" charset="0"/>
              </a:rPr>
              <a:t>How SMRs are different</a:t>
            </a:r>
          </a:p>
          <a:p>
            <a:pPr marL="171450" indent="-171450">
              <a:spcBef>
                <a:spcPts val="600"/>
              </a:spcBef>
              <a:buFont typeface="Arial" panose="020B0604020202020204" pitchFamily="34" charset="0"/>
              <a:buChar char="•"/>
              <a:defRPr/>
            </a:pPr>
            <a:r>
              <a:rPr lang="en-US" sz="1050" b="1">
                <a:latin typeface="Arial" panose="020B0604020202020204" pitchFamily="34" charset="0"/>
                <a:cs typeface="Arial" panose="020B0604020202020204" pitchFamily="34" charset="0"/>
              </a:rPr>
              <a:t>Compact, integrated containment structure</a:t>
            </a:r>
          </a:p>
          <a:p>
            <a:pPr marL="171450" indent="-171450">
              <a:spcBef>
                <a:spcPts val="600"/>
              </a:spcBef>
              <a:buFont typeface="Arial" panose="020B0604020202020204" pitchFamily="34" charset="0"/>
              <a:buChar char="•"/>
              <a:defRPr/>
            </a:pPr>
            <a:r>
              <a:rPr lang="en-US" sz="1050" b="1">
                <a:latin typeface="Arial" panose="020B0604020202020204" pitchFamily="34" charset="0"/>
                <a:cs typeface="Arial" panose="020B0604020202020204" pitchFamily="34" charset="0"/>
              </a:rPr>
              <a:t>Simplified, passive cooling systems </a:t>
            </a:r>
            <a:r>
              <a:rPr lang="en-US" sz="1050">
                <a:latin typeface="Arial" panose="020B0604020202020204" pitchFamily="34" charset="0"/>
                <a:cs typeface="Arial" panose="020B0604020202020204" pitchFamily="34" charset="0"/>
              </a:rPr>
              <a:t>without external pumps</a:t>
            </a:r>
          </a:p>
          <a:p>
            <a:pPr marL="171450" indent="-171450">
              <a:spcBef>
                <a:spcPts val="600"/>
              </a:spcBef>
              <a:buFont typeface="Arial" panose="020B0604020202020204" pitchFamily="34" charset="0"/>
              <a:buChar char="•"/>
              <a:defRPr/>
            </a:pPr>
            <a:r>
              <a:rPr lang="en-US" sz="1050" b="1">
                <a:latin typeface="Arial" panose="020B0604020202020204" pitchFamily="34" charset="0"/>
                <a:cs typeface="Arial" panose="020B0604020202020204" pitchFamily="34" charset="0"/>
              </a:rPr>
              <a:t>Factory-fabricated modules </a:t>
            </a:r>
            <a:r>
              <a:rPr lang="en-US" sz="1050">
                <a:latin typeface="Arial" panose="020B0604020202020204" pitchFamily="34" charset="0"/>
                <a:cs typeface="Arial" panose="020B0604020202020204" pitchFamily="34" charset="0"/>
              </a:rPr>
              <a:t>that allow for faster construction and deployment</a:t>
            </a:r>
          </a:p>
          <a:p>
            <a:pPr marL="171450" indent="-171450">
              <a:spcBef>
                <a:spcPts val="600"/>
              </a:spcBef>
              <a:buFont typeface="Arial" panose="020B0604020202020204" pitchFamily="34" charset="0"/>
              <a:buChar char="•"/>
              <a:defRPr/>
            </a:pPr>
            <a:r>
              <a:rPr lang="en-US" sz="1050" b="1">
                <a:latin typeface="Arial" panose="020B0604020202020204" pitchFamily="34" charset="0"/>
                <a:cs typeface="Arial" panose="020B0604020202020204" pitchFamily="34" charset="0"/>
              </a:rPr>
              <a:t>Modular and built from components </a:t>
            </a:r>
            <a:r>
              <a:rPr lang="en-US" sz="1050">
                <a:latin typeface="Arial" panose="020B0604020202020204" pitchFamily="34" charset="0"/>
                <a:cs typeface="Arial" panose="020B0604020202020204" pitchFamily="34" charset="0"/>
              </a:rPr>
              <a:t>to be factory manufactured and then transported and assembled at the final site</a:t>
            </a:r>
          </a:p>
        </p:txBody>
      </p:sp>
      <p:sp>
        <p:nvSpPr>
          <p:cNvPr id="1209" name="Oval 1208">
            <a:extLst>
              <a:ext uri="{FF2B5EF4-FFF2-40B4-BE49-F238E27FC236}">
                <a16:creationId xmlns:a16="http://schemas.microsoft.com/office/drawing/2014/main" id="{B635A55A-3BB7-7B27-E436-8741ABC6E410}"/>
              </a:ext>
            </a:extLst>
          </p:cNvPr>
          <p:cNvSpPr/>
          <p:nvPr/>
        </p:nvSpPr>
        <p:spPr>
          <a:xfrm>
            <a:off x="1406486" y="2597374"/>
            <a:ext cx="274320" cy="27432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rgbClr val="FEFEFE"/>
                </a:solidFill>
                <a:latin typeface="Arial (body)"/>
              </a:rPr>
              <a:t>1</a:t>
            </a:r>
          </a:p>
        </p:txBody>
      </p:sp>
      <p:sp>
        <p:nvSpPr>
          <p:cNvPr id="1210" name="Oval 1209">
            <a:extLst>
              <a:ext uri="{FF2B5EF4-FFF2-40B4-BE49-F238E27FC236}">
                <a16:creationId xmlns:a16="http://schemas.microsoft.com/office/drawing/2014/main" id="{BC6BA1CE-461A-654E-E6B4-2FD6FCC5E32B}"/>
              </a:ext>
            </a:extLst>
          </p:cNvPr>
          <p:cNvSpPr/>
          <p:nvPr/>
        </p:nvSpPr>
        <p:spPr>
          <a:xfrm>
            <a:off x="1469872" y="4449890"/>
            <a:ext cx="274320" cy="27432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rgbClr val="FEFEFE"/>
                </a:solidFill>
                <a:latin typeface="Arial (body)"/>
              </a:rPr>
              <a:t>2</a:t>
            </a:r>
          </a:p>
        </p:txBody>
      </p:sp>
      <p:sp>
        <p:nvSpPr>
          <p:cNvPr id="1211" name="Oval 1210">
            <a:extLst>
              <a:ext uri="{FF2B5EF4-FFF2-40B4-BE49-F238E27FC236}">
                <a16:creationId xmlns:a16="http://schemas.microsoft.com/office/drawing/2014/main" id="{FFD4316B-1FF9-CE35-0556-015CC438378D}"/>
              </a:ext>
            </a:extLst>
          </p:cNvPr>
          <p:cNvSpPr/>
          <p:nvPr/>
        </p:nvSpPr>
        <p:spPr>
          <a:xfrm>
            <a:off x="2284815" y="3875573"/>
            <a:ext cx="274320" cy="27432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rgbClr val="FEFEFE"/>
                </a:solidFill>
                <a:latin typeface="Arial (body)"/>
              </a:rPr>
              <a:t>4</a:t>
            </a:r>
          </a:p>
        </p:txBody>
      </p:sp>
      <p:sp>
        <p:nvSpPr>
          <p:cNvPr id="1212" name="Oval 1211">
            <a:extLst>
              <a:ext uri="{FF2B5EF4-FFF2-40B4-BE49-F238E27FC236}">
                <a16:creationId xmlns:a16="http://schemas.microsoft.com/office/drawing/2014/main" id="{86AFCF64-0E1C-2FB3-BABB-151DAE09D4DA}"/>
              </a:ext>
            </a:extLst>
          </p:cNvPr>
          <p:cNvSpPr/>
          <p:nvPr/>
        </p:nvSpPr>
        <p:spPr>
          <a:xfrm>
            <a:off x="2815396" y="4349563"/>
            <a:ext cx="274320" cy="27432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rgbClr val="FEFEFE"/>
                </a:solidFill>
                <a:latin typeface="Arial (body)"/>
              </a:rPr>
              <a:t>5</a:t>
            </a:r>
          </a:p>
        </p:txBody>
      </p:sp>
      <p:sp>
        <p:nvSpPr>
          <p:cNvPr id="1213" name="Oval 1212">
            <a:extLst>
              <a:ext uri="{FF2B5EF4-FFF2-40B4-BE49-F238E27FC236}">
                <a16:creationId xmlns:a16="http://schemas.microsoft.com/office/drawing/2014/main" id="{9B9B266A-B5E1-4D11-48D1-7C5163B394EF}"/>
              </a:ext>
            </a:extLst>
          </p:cNvPr>
          <p:cNvSpPr/>
          <p:nvPr/>
        </p:nvSpPr>
        <p:spPr>
          <a:xfrm>
            <a:off x="4325929" y="4244808"/>
            <a:ext cx="274320" cy="27432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rgbClr val="FEFEFE"/>
                </a:solidFill>
                <a:latin typeface="Arial (body)"/>
              </a:rPr>
              <a:t>7</a:t>
            </a:r>
          </a:p>
        </p:txBody>
      </p:sp>
      <p:sp>
        <p:nvSpPr>
          <p:cNvPr id="1214" name="Oval 1213">
            <a:extLst>
              <a:ext uri="{FF2B5EF4-FFF2-40B4-BE49-F238E27FC236}">
                <a16:creationId xmlns:a16="http://schemas.microsoft.com/office/drawing/2014/main" id="{00F783EA-D8A1-4C33-FBB0-6B39FD82607A}"/>
              </a:ext>
            </a:extLst>
          </p:cNvPr>
          <p:cNvSpPr/>
          <p:nvPr/>
        </p:nvSpPr>
        <p:spPr>
          <a:xfrm>
            <a:off x="4535029" y="5414382"/>
            <a:ext cx="274320" cy="27432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rgbClr val="FEFEFE"/>
                </a:solidFill>
                <a:latin typeface="Arial (body)"/>
              </a:rPr>
              <a:t>6</a:t>
            </a:r>
          </a:p>
        </p:txBody>
      </p:sp>
      <p:sp>
        <p:nvSpPr>
          <p:cNvPr id="1216" name="Oval 1215">
            <a:extLst>
              <a:ext uri="{FF2B5EF4-FFF2-40B4-BE49-F238E27FC236}">
                <a16:creationId xmlns:a16="http://schemas.microsoft.com/office/drawing/2014/main" id="{0FDF397E-A520-CB05-E126-EA36BBBEE2DB}"/>
              </a:ext>
            </a:extLst>
          </p:cNvPr>
          <p:cNvSpPr/>
          <p:nvPr/>
        </p:nvSpPr>
        <p:spPr>
          <a:xfrm>
            <a:off x="2590489" y="2089809"/>
            <a:ext cx="274320" cy="27432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rgbClr val="FEFEFE"/>
                </a:solidFill>
              </a:rPr>
              <a:t>1</a:t>
            </a:r>
          </a:p>
        </p:txBody>
      </p:sp>
      <p:sp>
        <p:nvSpPr>
          <p:cNvPr id="1217" name="Oval 1216">
            <a:extLst>
              <a:ext uri="{FF2B5EF4-FFF2-40B4-BE49-F238E27FC236}">
                <a16:creationId xmlns:a16="http://schemas.microsoft.com/office/drawing/2014/main" id="{E80FA79A-865A-C4F9-6948-2734BE69CC2C}"/>
              </a:ext>
            </a:extLst>
          </p:cNvPr>
          <p:cNvSpPr/>
          <p:nvPr/>
        </p:nvSpPr>
        <p:spPr>
          <a:xfrm>
            <a:off x="3908301" y="5422220"/>
            <a:ext cx="274320" cy="27432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rgbClr val="FEFEFE"/>
                </a:solidFill>
              </a:rPr>
              <a:t>2</a:t>
            </a:r>
          </a:p>
        </p:txBody>
      </p:sp>
      <p:sp>
        <p:nvSpPr>
          <p:cNvPr id="1218" name="Oval 1217">
            <a:extLst>
              <a:ext uri="{FF2B5EF4-FFF2-40B4-BE49-F238E27FC236}">
                <a16:creationId xmlns:a16="http://schemas.microsoft.com/office/drawing/2014/main" id="{DC7F382E-DC34-4604-3356-4C76EC25F0DA}"/>
              </a:ext>
            </a:extLst>
          </p:cNvPr>
          <p:cNvSpPr/>
          <p:nvPr/>
        </p:nvSpPr>
        <p:spPr>
          <a:xfrm>
            <a:off x="900778" y="5851978"/>
            <a:ext cx="274320" cy="27432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rgbClr val="FEFEFE"/>
                </a:solidFill>
              </a:rPr>
              <a:t>3</a:t>
            </a:r>
          </a:p>
        </p:txBody>
      </p:sp>
      <p:sp>
        <p:nvSpPr>
          <p:cNvPr id="1219" name="Oval 1218">
            <a:extLst>
              <a:ext uri="{FF2B5EF4-FFF2-40B4-BE49-F238E27FC236}">
                <a16:creationId xmlns:a16="http://schemas.microsoft.com/office/drawing/2014/main" id="{9FFA6EB2-3E64-80F1-82B0-C53B7C5260BF}"/>
              </a:ext>
            </a:extLst>
          </p:cNvPr>
          <p:cNvSpPr/>
          <p:nvPr/>
        </p:nvSpPr>
        <p:spPr>
          <a:xfrm>
            <a:off x="6201837" y="4222942"/>
            <a:ext cx="274320" cy="27432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rgbClr val="FEFEFE"/>
                </a:solidFill>
              </a:rPr>
              <a:t>4</a:t>
            </a:r>
          </a:p>
        </p:txBody>
      </p:sp>
      <p:sp>
        <p:nvSpPr>
          <p:cNvPr id="4" name="Oval 3">
            <a:extLst>
              <a:ext uri="{FF2B5EF4-FFF2-40B4-BE49-F238E27FC236}">
                <a16:creationId xmlns:a16="http://schemas.microsoft.com/office/drawing/2014/main" id="{22555157-37B5-E366-B2CC-AD4025C988E5}"/>
              </a:ext>
            </a:extLst>
          </p:cNvPr>
          <p:cNvSpPr/>
          <p:nvPr/>
        </p:nvSpPr>
        <p:spPr>
          <a:xfrm>
            <a:off x="3354060" y="5861056"/>
            <a:ext cx="274320" cy="27432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rgbClr val="FEFEFE"/>
                </a:solidFill>
              </a:rPr>
              <a:t>4</a:t>
            </a:r>
          </a:p>
        </p:txBody>
      </p:sp>
      <p:sp>
        <p:nvSpPr>
          <p:cNvPr id="9" name="Speech Bubble: Rectangle 8">
            <a:extLst>
              <a:ext uri="{FF2B5EF4-FFF2-40B4-BE49-F238E27FC236}">
                <a16:creationId xmlns:a16="http://schemas.microsoft.com/office/drawing/2014/main" id="{B4CBDD22-085D-AF44-74EE-EE7157F09D51}"/>
              </a:ext>
            </a:extLst>
          </p:cNvPr>
          <p:cNvSpPr/>
          <p:nvPr/>
        </p:nvSpPr>
        <p:spPr>
          <a:xfrm>
            <a:off x="3571514" y="1586003"/>
            <a:ext cx="3222192" cy="2206732"/>
          </a:xfrm>
          <a:prstGeom prst="wedgeRectCallout">
            <a:avLst>
              <a:gd name="adj1" fmla="val -43804"/>
              <a:gd name="adj2" fmla="val 61553"/>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a:solidFill>
                  <a:srgbClr val="FFFFFF"/>
                </a:solidFill>
                <a:latin typeface="Arial (body)"/>
              </a:rPr>
              <a:t>Coolant systems are the main mechanical difference between reactor types:</a:t>
            </a:r>
          </a:p>
          <a:p>
            <a:pPr marL="171450" indent="-171450">
              <a:buFontTx/>
              <a:buChar char="-"/>
            </a:pPr>
            <a:r>
              <a:rPr lang="en-US" sz="1200">
                <a:solidFill>
                  <a:srgbClr val="FFFFFF"/>
                </a:solidFill>
                <a:latin typeface="Arial (body)"/>
              </a:rPr>
              <a:t>Pressurized water reactors (PWR) need high pressure to prevent water from boiling and a second loop for steam generation.</a:t>
            </a:r>
          </a:p>
          <a:p>
            <a:pPr marL="171450" indent="-171450">
              <a:buFontTx/>
              <a:buChar char="-"/>
            </a:pPr>
            <a:r>
              <a:rPr lang="en-US" sz="1200">
                <a:solidFill>
                  <a:srgbClr val="FFFFFF"/>
                </a:solidFill>
                <a:latin typeface="Arial (body)"/>
              </a:rPr>
              <a:t>Gas-cooled reactors require specialized pressure vessels to contain the gasses.</a:t>
            </a:r>
          </a:p>
          <a:p>
            <a:pPr marL="171450" indent="-171450">
              <a:buFontTx/>
              <a:buChar char="-"/>
            </a:pPr>
            <a:r>
              <a:rPr lang="en-US" sz="1200">
                <a:solidFill>
                  <a:srgbClr val="FFFFFF"/>
                </a:solidFill>
                <a:latin typeface="Arial (body)"/>
              </a:rPr>
              <a:t>Liquid metal and molten salt need specialized equipment to prevent solidification.</a:t>
            </a:r>
          </a:p>
          <a:p>
            <a:pPr marL="171450" indent="-171450">
              <a:buFontTx/>
              <a:buChar char="-"/>
            </a:pPr>
            <a:endParaRPr lang="en-US" sz="1200">
              <a:solidFill>
                <a:srgbClr val="FFFFFF"/>
              </a:solidFill>
              <a:latin typeface="Arial (body)"/>
            </a:endParaRPr>
          </a:p>
        </p:txBody>
      </p:sp>
      <p:sp>
        <p:nvSpPr>
          <p:cNvPr id="1224" name="Oval 1223">
            <a:extLst>
              <a:ext uri="{FF2B5EF4-FFF2-40B4-BE49-F238E27FC236}">
                <a16:creationId xmlns:a16="http://schemas.microsoft.com/office/drawing/2014/main" id="{20741840-BC43-4850-ECF1-87A0D8FCAD13}"/>
              </a:ext>
            </a:extLst>
          </p:cNvPr>
          <p:cNvSpPr/>
          <p:nvPr/>
        </p:nvSpPr>
        <p:spPr>
          <a:xfrm>
            <a:off x="1026496" y="4244050"/>
            <a:ext cx="274320" cy="27432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rgbClr val="FEFEFE"/>
                </a:solidFill>
                <a:latin typeface="Arial (body)"/>
              </a:rPr>
              <a:t>3</a:t>
            </a:r>
          </a:p>
        </p:txBody>
      </p:sp>
      <p:sp>
        <p:nvSpPr>
          <p:cNvPr id="109" name="Oval 108">
            <a:extLst>
              <a:ext uri="{FF2B5EF4-FFF2-40B4-BE49-F238E27FC236}">
                <a16:creationId xmlns:a16="http://schemas.microsoft.com/office/drawing/2014/main" id="{B635A55A-3BB7-7B27-E436-8741ABC6E410}"/>
              </a:ext>
            </a:extLst>
          </p:cNvPr>
          <p:cNvSpPr/>
          <p:nvPr/>
        </p:nvSpPr>
        <p:spPr>
          <a:xfrm>
            <a:off x="7342520" y="1925754"/>
            <a:ext cx="201168" cy="201168"/>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FEFEFE"/>
                </a:solidFill>
                <a:latin typeface="Arial (body)"/>
              </a:rPr>
              <a:t>1</a:t>
            </a:r>
          </a:p>
        </p:txBody>
      </p:sp>
      <p:sp>
        <p:nvSpPr>
          <p:cNvPr id="110" name="Oval 109">
            <a:extLst>
              <a:ext uri="{FF2B5EF4-FFF2-40B4-BE49-F238E27FC236}">
                <a16:creationId xmlns:a16="http://schemas.microsoft.com/office/drawing/2014/main" id="{B635A55A-3BB7-7B27-E436-8741ABC6E410}"/>
              </a:ext>
            </a:extLst>
          </p:cNvPr>
          <p:cNvSpPr/>
          <p:nvPr/>
        </p:nvSpPr>
        <p:spPr>
          <a:xfrm>
            <a:off x="7342520" y="2318412"/>
            <a:ext cx="201168" cy="201168"/>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FEFEFE"/>
                </a:solidFill>
                <a:latin typeface="Arial (body)"/>
              </a:rPr>
              <a:t>2</a:t>
            </a:r>
          </a:p>
        </p:txBody>
      </p:sp>
      <p:sp>
        <p:nvSpPr>
          <p:cNvPr id="111" name="Oval 110">
            <a:extLst>
              <a:ext uri="{FF2B5EF4-FFF2-40B4-BE49-F238E27FC236}">
                <a16:creationId xmlns:a16="http://schemas.microsoft.com/office/drawing/2014/main" id="{B635A55A-3BB7-7B27-E436-8741ABC6E410}"/>
              </a:ext>
            </a:extLst>
          </p:cNvPr>
          <p:cNvSpPr/>
          <p:nvPr/>
        </p:nvSpPr>
        <p:spPr>
          <a:xfrm>
            <a:off x="7342520" y="2695871"/>
            <a:ext cx="201168" cy="201168"/>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FEFEFE"/>
                </a:solidFill>
                <a:latin typeface="Arial (body)"/>
              </a:rPr>
              <a:t>3</a:t>
            </a:r>
          </a:p>
        </p:txBody>
      </p:sp>
      <p:sp>
        <p:nvSpPr>
          <p:cNvPr id="112" name="Oval 111">
            <a:extLst>
              <a:ext uri="{FF2B5EF4-FFF2-40B4-BE49-F238E27FC236}">
                <a16:creationId xmlns:a16="http://schemas.microsoft.com/office/drawing/2014/main" id="{B635A55A-3BB7-7B27-E436-8741ABC6E410}"/>
              </a:ext>
            </a:extLst>
          </p:cNvPr>
          <p:cNvSpPr/>
          <p:nvPr/>
        </p:nvSpPr>
        <p:spPr>
          <a:xfrm>
            <a:off x="7342520" y="3110287"/>
            <a:ext cx="201168" cy="201168"/>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FEFEFE"/>
                </a:solidFill>
                <a:latin typeface="Arial (body)"/>
              </a:rPr>
              <a:t>4</a:t>
            </a:r>
          </a:p>
        </p:txBody>
      </p:sp>
      <p:sp>
        <p:nvSpPr>
          <p:cNvPr id="113" name="Oval 112">
            <a:extLst>
              <a:ext uri="{FF2B5EF4-FFF2-40B4-BE49-F238E27FC236}">
                <a16:creationId xmlns:a16="http://schemas.microsoft.com/office/drawing/2014/main" id="{B635A55A-3BB7-7B27-E436-8741ABC6E410}"/>
              </a:ext>
            </a:extLst>
          </p:cNvPr>
          <p:cNvSpPr/>
          <p:nvPr/>
        </p:nvSpPr>
        <p:spPr>
          <a:xfrm>
            <a:off x="7342520" y="3499506"/>
            <a:ext cx="201168" cy="201168"/>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FEFEFE"/>
                </a:solidFill>
                <a:latin typeface="Arial (body)"/>
              </a:rPr>
              <a:t>5</a:t>
            </a:r>
          </a:p>
        </p:txBody>
      </p:sp>
      <p:sp>
        <p:nvSpPr>
          <p:cNvPr id="114" name="Oval 113">
            <a:extLst>
              <a:ext uri="{FF2B5EF4-FFF2-40B4-BE49-F238E27FC236}">
                <a16:creationId xmlns:a16="http://schemas.microsoft.com/office/drawing/2014/main" id="{B635A55A-3BB7-7B27-E436-8741ABC6E410}"/>
              </a:ext>
            </a:extLst>
          </p:cNvPr>
          <p:cNvSpPr/>
          <p:nvPr/>
        </p:nvSpPr>
        <p:spPr>
          <a:xfrm>
            <a:off x="7342520" y="3731139"/>
            <a:ext cx="201168" cy="201168"/>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FEFEFE"/>
                </a:solidFill>
                <a:latin typeface="Arial (body)"/>
              </a:rPr>
              <a:t>6</a:t>
            </a:r>
          </a:p>
        </p:txBody>
      </p:sp>
      <p:sp>
        <p:nvSpPr>
          <p:cNvPr id="115" name="Oval 114">
            <a:extLst>
              <a:ext uri="{FF2B5EF4-FFF2-40B4-BE49-F238E27FC236}">
                <a16:creationId xmlns:a16="http://schemas.microsoft.com/office/drawing/2014/main" id="{B635A55A-3BB7-7B27-E436-8741ABC6E410}"/>
              </a:ext>
            </a:extLst>
          </p:cNvPr>
          <p:cNvSpPr/>
          <p:nvPr/>
        </p:nvSpPr>
        <p:spPr>
          <a:xfrm>
            <a:off x="7342520" y="3965645"/>
            <a:ext cx="201168" cy="201168"/>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FEFEFE"/>
                </a:solidFill>
                <a:latin typeface="Arial (body)"/>
              </a:rPr>
              <a:t>7</a:t>
            </a:r>
          </a:p>
        </p:txBody>
      </p:sp>
      <p:sp>
        <p:nvSpPr>
          <p:cNvPr id="116" name="Oval 115">
            <a:extLst>
              <a:ext uri="{FF2B5EF4-FFF2-40B4-BE49-F238E27FC236}">
                <a16:creationId xmlns:a16="http://schemas.microsoft.com/office/drawing/2014/main" id="{B635A55A-3BB7-7B27-E436-8741ABC6E410}"/>
              </a:ext>
            </a:extLst>
          </p:cNvPr>
          <p:cNvSpPr/>
          <p:nvPr/>
        </p:nvSpPr>
        <p:spPr>
          <a:xfrm>
            <a:off x="7342520" y="4604462"/>
            <a:ext cx="201168" cy="201168"/>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FEFEFE"/>
                </a:solidFill>
                <a:latin typeface="Arial (body)"/>
              </a:rPr>
              <a:t>1</a:t>
            </a:r>
          </a:p>
        </p:txBody>
      </p:sp>
      <p:sp>
        <p:nvSpPr>
          <p:cNvPr id="117" name="Oval 116">
            <a:extLst>
              <a:ext uri="{FF2B5EF4-FFF2-40B4-BE49-F238E27FC236}">
                <a16:creationId xmlns:a16="http://schemas.microsoft.com/office/drawing/2014/main" id="{B635A55A-3BB7-7B27-E436-8741ABC6E410}"/>
              </a:ext>
            </a:extLst>
          </p:cNvPr>
          <p:cNvSpPr/>
          <p:nvPr/>
        </p:nvSpPr>
        <p:spPr>
          <a:xfrm>
            <a:off x="7342520" y="4829861"/>
            <a:ext cx="201168" cy="201168"/>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FEFEFE"/>
                </a:solidFill>
                <a:latin typeface="Arial (body)"/>
              </a:rPr>
              <a:t>2</a:t>
            </a:r>
          </a:p>
        </p:txBody>
      </p:sp>
      <p:sp>
        <p:nvSpPr>
          <p:cNvPr id="118" name="Oval 117">
            <a:extLst>
              <a:ext uri="{FF2B5EF4-FFF2-40B4-BE49-F238E27FC236}">
                <a16:creationId xmlns:a16="http://schemas.microsoft.com/office/drawing/2014/main" id="{B635A55A-3BB7-7B27-E436-8741ABC6E410}"/>
              </a:ext>
            </a:extLst>
          </p:cNvPr>
          <p:cNvSpPr/>
          <p:nvPr/>
        </p:nvSpPr>
        <p:spPr>
          <a:xfrm>
            <a:off x="7342520" y="5057712"/>
            <a:ext cx="201168" cy="201168"/>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FEFEFE"/>
                </a:solidFill>
                <a:latin typeface="Arial (body)"/>
              </a:rPr>
              <a:t>3</a:t>
            </a:r>
          </a:p>
        </p:txBody>
      </p:sp>
      <p:sp>
        <p:nvSpPr>
          <p:cNvPr id="119" name="Oval 118">
            <a:extLst>
              <a:ext uri="{FF2B5EF4-FFF2-40B4-BE49-F238E27FC236}">
                <a16:creationId xmlns:a16="http://schemas.microsoft.com/office/drawing/2014/main" id="{B635A55A-3BB7-7B27-E436-8741ABC6E410}"/>
              </a:ext>
            </a:extLst>
          </p:cNvPr>
          <p:cNvSpPr/>
          <p:nvPr/>
        </p:nvSpPr>
        <p:spPr>
          <a:xfrm>
            <a:off x="7342520" y="5440910"/>
            <a:ext cx="201168" cy="201168"/>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solidFill>
                  <a:srgbClr val="FEFEFE"/>
                </a:solidFill>
                <a:latin typeface="Arial (body)"/>
              </a:rPr>
              <a:t>4</a:t>
            </a:r>
          </a:p>
        </p:txBody>
      </p:sp>
    </p:spTree>
    <p:custDataLst>
      <p:tags r:id="rId1"/>
    </p:custDataLst>
    <p:extLst>
      <p:ext uri="{BB962C8B-B14F-4D97-AF65-F5344CB8AC3E}">
        <p14:creationId xmlns:p14="http://schemas.microsoft.com/office/powerpoint/2010/main" val="14069723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BE05B-0A01-63F7-4C90-F6BB50343515}"/>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FD4CE2C-34B5-8A68-25ED-C624F4CF7A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2" name="think-cell data - do not delete" hidden="1">
                        <a:extLst>
                          <a:ext uri="{FF2B5EF4-FFF2-40B4-BE49-F238E27FC236}">
                            <a16:creationId xmlns:a16="http://schemas.microsoft.com/office/drawing/2014/main" id="{5FD4CE2C-34B5-8A68-25ED-C624F4CF7A68}"/>
                          </a:ext>
                        </a:extLst>
                      </p:cNvPr>
                      <p:cNvPicPr/>
                      <p:nvPr/>
                    </p:nvPicPr>
                    <p:blipFill>
                      <a:blip/>
                      <a:stretch>
                        <a:fillRect/>
                      </a:stretch>
                    </p:blipFill>
                    <p:spPr>
                      <a:xfrm>
                        <a:off x="1588" y="1588"/>
                        <a:ext cx="1227" cy="1588"/>
                      </a:xfrm>
                      <a:prstGeom prst="rect">
                        <a:avLst/>
                      </a:prstGeom>
                    </p:spPr>
                  </p:pic>
                </p:oleObj>
              </mc:Fallback>
            </mc:AlternateContent>
          </a:graphicData>
        </a:graphic>
      </p:graphicFrame>
      <p:sp>
        <p:nvSpPr>
          <p:cNvPr id="54" name="btfpNotesBox368131">
            <a:hlinkClick r:id="rId6"/>
            <a:extLst>
              <a:ext uri="{FF2B5EF4-FFF2-40B4-BE49-F238E27FC236}">
                <a16:creationId xmlns:a16="http://schemas.microsoft.com/office/drawing/2014/main" id="{BB680DB6-964E-4C23-798D-A078A721CF6F}"/>
              </a:ext>
            </a:extLst>
          </p:cNvPr>
          <p:cNvSpPr txBox="1"/>
          <p:nvPr>
            <p:custDataLst>
              <p:tags r:id="rId2"/>
            </p:custDataLst>
          </p:nvPr>
        </p:nvSpPr>
        <p:spPr bwMode="gray">
          <a:xfrm>
            <a:off x="329184" y="6309360"/>
            <a:ext cx="9411804" cy="492443"/>
          </a:xfrm>
          <a:prstGeom prst="rect">
            <a:avLst/>
          </a:prstGeom>
          <a:noFill/>
        </p:spPr>
        <p:txBody>
          <a:bodyPr vert="horz" wrap="square" lIns="0" tIns="0" rIns="0" bIns="0" rtlCol="0" anchor="b">
            <a:spAutoFit/>
          </a:bodyPr>
          <a:lstStyle/>
          <a:p>
            <a:pPr lvl="0" defTabSz="711200">
              <a:defRPr/>
            </a:pPr>
            <a:endParaRPr lang="en-US" sz="800" dirty="0">
              <a:solidFill>
                <a:srgbClr val="000000"/>
              </a:solidFill>
            </a:endParaRPr>
          </a:p>
          <a:p>
            <a:pPr lvl="0" defTabSz="711200">
              <a:defRPr/>
            </a:pPr>
            <a:r>
              <a:rPr lang="en-US" sz="800" dirty="0">
                <a:solidFill>
                  <a:srgbClr val="000000"/>
                </a:solidFill>
              </a:rPr>
              <a:t>(*) LCOE values are highly uncertain. They depend on assumptions about learning rates, deployment scale, financing costs, and regulatory environment.</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000000"/>
                </a:solidFill>
                <a:effectLst/>
                <a:uLnTx/>
                <a:uFillTx/>
                <a:latin typeface="Arial"/>
                <a:ea typeface="+mn-ea"/>
                <a:cs typeface="+mn-cs"/>
              </a:rPr>
              <a:t>Sources: IET, </a:t>
            </a:r>
            <a:r>
              <a:rPr kumimoji="0" lang="en-US" sz="800" b="0" u="none" strike="noStrike" kern="1200" cap="none" spc="0" normalizeH="0" baseline="0" noProof="0" dirty="0">
                <a:ln>
                  <a:noFill/>
                </a:ln>
                <a:solidFill>
                  <a:srgbClr val="000000"/>
                </a:solidFill>
                <a:effectLst/>
                <a:uLnTx/>
                <a:uFillTx/>
                <a:latin typeface="Arial"/>
                <a:ea typeface="+mn-ea"/>
                <a:cs typeface="+mn-cs"/>
                <a:hlinkClick r:id="rId7"/>
              </a:rPr>
              <a:t>Nuclear Reactor Types</a:t>
            </a:r>
            <a:r>
              <a:rPr kumimoji="0" lang="en-US" sz="800" b="0" u="none" strike="noStrike" kern="1200" cap="none" spc="0" normalizeH="0" baseline="0" noProof="0" dirty="0">
                <a:ln>
                  <a:noFill/>
                </a:ln>
                <a:solidFill>
                  <a:srgbClr val="000000"/>
                </a:solidFill>
                <a:effectLst/>
                <a:uLnTx/>
                <a:uFillTx/>
                <a:latin typeface="Arial"/>
                <a:ea typeface="+mn-ea"/>
                <a:cs typeface="+mn-cs"/>
              </a:rPr>
              <a:t> (2024); WNA, </a:t>
            </a:r>
            <a:r>
              <a:rPr kumimoji="0" lang="en-US" sz="800" b="0" u="none" strike="noStrike" kern="1200" cap="none" spc="0" normalizeH="0" baseline="0" noProof="0" dirty="0">
                <a:ln>
                  <a:noFill/>
                </a:ln>
                <a:solidFill>
                  <a:srgbClr val="000000"/>
                </a:solidFill>
                <a:effectLst/>
                <a:uLnTx/>
                <a:uFillTx/>
                <a:latin typeface="Arial"/>
                <a:ea typeface="+mn-ea"/>
                <a:cs typeface="+mn-cs"/>
                <a:hlinkClick r:id="rId8"/>
              </a:rPr>
              <a:t>Nuclear Power Reactors</a:t>
            </a:r>
            <a:r>
              <a:rPr kumimoji="0" lang="en-US" sz="800" b="0" u="none" strike="noStrike" kern="1200" cap="none" spc="0" normalizeH="0" baseline="0" noProof="0" dirty="0">
                <a:ln>
                  <a:noFill/>
                </a:ln>
                <a:solidFill>
                  <a:srgbClr val="000000"/>
                </a:solidFill>
                <a:effectLst/>
                <a:uLnTx/>
                <a:uFillTx/>
                <a:latin typeface="Arial"/>
                <a:ea typeface="+mn-ea"/>
                <a:cs typeface="+mn-cs"/>
              </a:rPr>
              <a:t> (2025); IAEA, </a:t>
            </a:r>
            <a:r>
              <a:rPr lang="en-US" sz="800" dirty="0">
                <a:hlinkClick r:id="rId9"/>
              </a:rPr>
              <a:t>Comparative Evaluation of Nuclear Energy System Options</a:t>
            </a:r>
            <a:r>
              <a:rPr lang="en-US" sz="800" dirty="0"/>
              <a:t> (2023).</a:t>
            </a:r>
            <a:br>
              <a:rPr kumimoji="0" lang="en-US" sz="800" b="0" u="none" strike="noStrike" kern="1200" cap="none" spc="0" normalizeH="0" baseline="0" noProof="0" dirty="0">
                <a:ln>
                  <a:noFill/>
                </a:ln>
                <a:solidFill>
                  <a:srgbClr val="000000"/>
                </a:solidFill>
                <a:effectLst/>
                <a:uLnTx/>
                <a:uFillTx/>
                <a:latin typeface="Arial"/>
                <a:ea typeface="+mn-ea"/>
                <a:cs typeface="+mn-cs"/>
              </a:rPr>
            </a:br>
            <a:r>
              <a:rPr kumimoji="0" lang="en-US" sz="800" b="0" u="none" strike="noStrike" kern="1200" cap="none" spc="0" normalizeH="0" baseline="0" noProof="0" dirty="0">
                <a:ln>
                  <a:noFill/>
                </a:ln>
                <a:solidFill>
                  <a:srgbClr val="000000"/>
                </a:solidFill>
                <a:effectLst/>
                <a:uLnTx/>
                <a:uFillTx/>
                <a:latin typeface="Arial"/>
                <a:ea typeface="+mn-ea"/>
                <a:cs typeface="+mn-cs"/>
              </a:rPr>
              <a:t>Credit: </a:t>
            </a:r>
            <a:r>
              <a:rPr kumimoji="0" lang="en-US" sz="800" b="0" u="none" strike="noStrike" kern="1200" cap="none" spc="0" normalizeH="0" baseline="0" noProof="0" dirty="0" err="1">
                <a:ln>
                  <a:noFill/>
                </a:ln>
                <a:solidFill>
                  <a:srgbClr val="000000"/>
                </a:solidFill>
                <a:effectLst/>
                <a:uLnTx/>
                <a:uFillTx/>
                <a:latin typeface="Arial"/>
                <a:ea typeface="+mn-ea"/>
                <a:cs typeface="+mn-cs"/>
              </a:rPr>
              <a:t>Vedant</a:t>
            </a:r>
            <a:r>
              <a:rPr kumimoji="0" lang="en-US" sz="800" b="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err="1">
                <a:ln>
                  <a:noFill/>
                </a:ln>
                <a:solidFill>
                  <a:srgbClr val="000000"/>
                </a:solidFill>
                <a:effectLst/>
                <a:uLnTx/>
                <a:uFillTx/>
                <a:latin typeface="Arial"/>
                <a:ea typeface="+mn-ea"/>
                <a:cs typeface="+mn-cs"/>
              </a:rPr>
              <a:t>Bhansali</a:t>
            </a:r>
            <a:r>
              <a:rPr kumimoji="0" lang="en-US" sz="800" b="0" u="none" strike="noStrike" kern="1200" cap="none" spc="0" normalizeH="0" baseline="0" noProof="0" dirty="0">
                <a:ln>
                  <a:noFill/>
                </a:ln>
                <a:solidFill>
                  <a:srgbClr val="000000"/>
                </a:solidFill>
                <a:effectLst/>
                <a:uLnTx/>
                <a:uFillTx/>
                <a:latin typeface="Arial"/>
                <a:ea typeface="+mn-ea"/>
                <a:cs typeface="+mn-cs"/>
              </a:rPr>
              <a:t>, Quint </a:t>
            </a:r>
            <a:r>
              <a:rPr kumimoji="0" lang="en-US" sz="800" b="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u="none" strike="noStrike" kern="1200" cap="none" spc="0" normalizeH="0" baseline="0" noProof="0" dirty="0">
                <a:ln>
                  <a:noFill/>
                </a:ln>
                <a:solidFill>
                  <a:srgbClr val="000000"/>
                </a:solidFill>
                <a:effectLst/>
                <a:uLnTx/>
                <a:uFillTx/>
                <a:latin typeface="Arial"/>
                <a:ea typeface="+mn-ea"/>
                <a:cs typeface="+mn-cs"/>
              </a:rPr>
              <a:t>, and </a:t>
            </a:r>
            <a:r>
              <a:rPr kumimoji="0" lang="en-US" sz="800" b="0" u="none" strike="noStrike" kern="1200" cap="none" spc="0" normalizeH="0" baseline="0" noProof="0" dirty="0">
                <a:ln>
                  <a:noFill/>
                </a:ln>
                <a:solidFill>
                  <a:srgbClr val="000000"/>
                </a:solidFill>
                <a:effectLst/>
                <a:uLnTx/>
                <a:uFillTx/>
                <a:latin typeface="Arial"/>
                <a:ea typeface="+mn-ea"/>
                <a:cs typeface="+mn-cs"/>
                <a:hlinkClick r:id="rId10"/>
              </a:rPr>
              <a:t>Gernot Wagner</a:t>
            </a:r>
            <a:r>
              <a:rPr kumimoji="0" lang="en-US" sz="800" b="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u="none" strike="noStrike" kern="1200" cap="none" spc="0" normalizeH="0" baseline="0" noProof="0" dirty="0">
                <a:ln>
                  <a:noFill/>
                </a:ln>
                <a:solidFill>
                  <a:srgbClr val="000000"/>
                </a:solidFill>
                <a:effectLst/>
                <a:uLnTx/>
                <a:uFillTx/>
                <a:latin typeface="Arial"/>
                <a:ea typeface="+mn-ea"/>
                <a:cs typeface="+mn-cs"/>
                <a:hlinkClick r:id="rId11"/>
              </a:rPr>
              <a:t>attribution</a:t>
            </a:r>
            <a:r>
              <a:rPr kumimoji="0" lang="en-US" sz="800" b="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u="none" strike="noStrike" kern="1200" cap="none" spc="0" normalizeH="0" baseline="0" noProof="0" dirty="0">
                <a:ln>
                  <a:noFill/>
                </a:ln>
                <a:solidFill>
                  <a:srgbClr val="000000"/>
                </a:solidFill>
                <a:effectLst/>
                <a:uLnTx/>
                <a:uFillTx/>
                <a:latin typeface="Arial"/>
                <a:ea typeface="+mn-ea"/>
                <a:cs typeface="+mn-cs"/>
              </a:rPr>
              <a:t> et al., "Reenergizing Nuclear" (23 September 2025).</a:t>
            </a:r>
          </a:p>
        </p:txBody>
      </p:sp>
      <p:sp>
        <p:nvSpPr>
          <p:cNvPr id="108" name="Title 1">
            <a:extLst>
              <a:ext uri="{FF2B5EF4-FFF2-40B4-BE49-F238E27FC236}">
                <a16:creationId xmlns:a16="http://schemas.microsoft.com/office/drawing/2014/main" id="{D084C14C-C861-CD57-5CC7-5A9CA25F201C}"/>
              </a:ext>
            </a:extLst>
          </p:cNvPr>
          <p:cNvSpPr>
            <a:spLocks noGrp="1"/>
          </p:cNvSpPr>
          <p:nvPr>
            <p:ph type="title"/>
          </p:nvPr>
        </p:nvSpPr>
        <p:spPr/>
        <p:txBody>
          <a:bodyPr vert="horz">
            <a:noAutofit/>
          </a:bodyPr>
          <a:lstStyle/>
          <a:p>
            <a:r>
              <a:rPr lang="en-US" b="1">
                <a:latin typeface="Arial (body)"/>
              </a:rPr>
              <a:t>Water-cooled reactors dominate today’s nuclear landscape; advanced coolant types offer efficiency and safety gains</a:t>
            </a:r>
            <a:endParaRPr lang="en-US">
              <a:latin typeface="Arial (body)"/>
            </a:endParaRPr>
          </a:p>
        </p:txBody>
      </p:sp>
      <p:sp>
        <p:nvSpPr>
          <p:cNvPr id="161" name="Rectangle 160">
            <a:extLst>
              <a:ext uri="{FF2B5EF4-FFF2-40B4-BE49-F238E27FC236}">
                <a16:creationId xmlns:a16="http://schemas.microsoft.com/office/drawing/2014/main" id="{ED8B0E0D-72DC-A47D-7685-4AC19EB09A8C}"/>
              </a:ext>
            </a:extLst>
          </p:cNvPr>
          <p:cNvSpPr/>
          <p:nvPr/>
        </p:nvSpPr>
        <p:spPr bwMode="gray">
          <a:xfrm>
            <a:off x="1927559" y="1529914"/>
            <a:ext cx="1965960" cy="4753655"/>
          </a:xfrm>
          <a:prstGeom prst="rect">
            <a:avLst/>
          </a:prstGeom>
          <a:solidFill>
            <a:schemeClr val="accent6">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u="none" strike="noStrike" kern="1200" cap="none" spc="0" normalizeH="0" baseline="0" noProof="0">
              <a:ln>
                <a:noFill/>
              </a:ln>
              <a:solidFill>
                <a:prstClr val="black"/>
              </a:solidFill>
              <a:effectLst/>
              <a:uLnTx/>
              <a:uFillTx/>
              <a:latin typeface="Arial (body)"/>
            </a:endParaRPr>
          </a:p>
        </p:txBody>
      </p:sp>
      <p:sp>
        <p:nvSpPr>
          <p:cNvPr id="106" name="Rectangle 105">
            <a:extLst>
              <a:ext uri="{FF2B5EF4-FFF2-40B4-BE49-F238E27FC236}">
                <a16:creationId xmlns:a16="http://schemas.microsoft.com/office/drawing/2014/main" id="{2FA1FBDA-AA2A-DA69-7DC7-E5ABA3112CF5}"/>
              </a:ext>
            </a:extLst>
          </p:cNvPr>
          <p:cNvSpPr/>
          <p:nvPr/>
        </p:nvSpPr>
        <p:spPr bwMode="gray">
          <a:xfrm>
            <a:off x="3905237" y="1531635"/>
            <a:ext cx="1965960" cy="4751697"/>
          </a:xfrm>
          <a:prstGeom prst="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u="none" strike="noStrike" kern="1200" cap="none" spc="0" normalizeH="0" baseline="0" noProof="0">
              <a:ln>
                <a:noFill/>
              </a:ln>
              <a:solidFill>
                <a:prstClr val="black"/>
              </a:solidFill>
              <a:effectLst/>
              <a:uLnTx/>
              <a:uFillTx/>
              <a:latin typeface="Arial (body)"/>
            </a:endParaRPr>
          </a:p>
        </p:txBody>
      </p:sp>
      <p:sp>
        <p:nvSpPr>
          <p:cNvPr id="109" name="Rectangle 108">
            <a:extLst>
              <a:ext uri="{FF2B5EF4-FFF2-40B4-BE49-F238E27FC236}">
                <a16:creationId xmlns:a16="http://schemas.microsoft.com/office/drawing/2014/main" id="{BEB3A83E-641F-F8C3-547C-5DED76739A2D}"/>
              </a:ext>
            </a:extLst>
          </p:cNvPr>
          <p:cNvSpPr/>
          <p:nvPr/>
        </p:nvSpPr>
        <p:spPr bwMode="gray">
          <a:xfrm>
            <a:off x="5867635" y="1531635"/>
            <a:ext cx="1965960" cy="4751697"/>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u="none" strike="noStrike" kern="1200" cap="none" spc="0" normalizeH="0" baseline="0" noProof="0">
              <a:ln>
                <a:noFill/>
              </a:ln>
              <a:solidFill>
                <a:prstClr val="black"/>
              </a:solidFill>
              <a:effectLst/>
              <a:uLnTx/>
              <a:uFillTx/>
              <a:latin typeface="Arial (body)"/>
            </a:endParaRPr>
          </a:p>
        </p:txBody>
      </p:sp>
      <p:sp>
        <p:nvSpPr>
          <p:cNvPr id="111" name="Rectangle 110">
            <a:extLst>
              <a:ext uri="{FF2B5EF4-FFF2-40B4-BE49-F238E27FC236}">
                <a16:creationId xmlns:a16="http://schemas.microsoft.com/office/drawing/2014/main" id="{A35483E6-D57E-C5D3-A349-425C359B34F2}"/>
              </a:ext>
            </a:extLst>
          </p:cNvPr>
          <p:cNvSpPr/>
          <p:nvPr/>
        </p:nvSpPr>
        <p:spPr bwMode="gray">
          <a:xfrm>
            <a:off x="7844649" y="1531635"/>
            <a:ext cx="1965960" cy="4751697"/>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u="none" strike="noStrike" kern="1200" cap="none" spc="0" normalizeH="0" baseline="0" noProof="0">
              <a:ln>
                <a:noFill/>
              </a:ln>
              <a:solidFill>
                <a:prstClr val="black"/>
              </a:solidFill>
              <a:effectLst/>
              <a:uLnTx/>
              <a:uFillTx/>
              <a:latin typeface="Arial (body)"/>
            </a:endParaRPr>
          </a:p>
        </p:txBody>
      </p:sp>
      <p:sp>
        <p:nvSpPr>
          <p:cNvPr id="112" name="Rectangle 111">
            <a:extLst>
              <a:ext uri="{FF2B5EF4-FFF2-40B4-BE49-F238E27FC236}">
                <a16:creationId xmlns:a16="http://schemas.microsoft.com/office/drawing/2014/main" id="{BC51B833-F836-1906-B15D-C975AB6AC3CD}"/>
              </a:ext>
            </a:extLst>
          </p:cNvPr>
          <p:cNvSpPr/>
          <p:nvPr/>
        </p:nvSpPr>
        <p:spPr bwMode="gray">
          <a:xfrm>
            <a:off x="9825797" y="1531635"/>
            <a:ext cx="1920240" cy="4751697"/>
          </a:xfrm>
          <a:prstGeom prst="rect">
            <a:avLst/>
          </a:prstGeom>
          <a:solidFill>
            <a:schemeClr val="bg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u="none" strike="noStrike" kern="1200" cap="none" spc="0" normalizeH="0" baseline="0" noProof="0">
              <a:ln>
                <a:noFill/>
              </a:ln>
              <a:solidFill>
                <a:prstClr val="black"/>
              </a:solidFill>
              <a:effectLst/>
              <a:uLnTx/>
              <a:uFillTx/>
              <a:latin typeface="Arial (body)"/>
            </a:endParaRPr>
          </a:p>
        </p:txBody>
      </p:sp>
      <p:sp>
        <p:nvSpPr>
          <p:cNvPr id="7" name="TextBox 6">
            <a:extLst>
              <a:ext uri="{FF2B5EF4-FFF2-40B4-BE49-F238E27FC236}">
                <a16:creationId xmlns:a16="http://schemas.microsoft.com/office/drawing/2014/main" id="{0889822D-9338-E5EC-EFFC-6B273C0B63B8}"/>
              </a:ext>
            </a:extLst>
          </p:cNvPr>
          <p:cNvSpPr txBox="1"/>
          <p:nvPr/>
        </p:nvSpPr>
        <p:spPr>
          <a:xfrm>
            <a:off x="3924534" y="1815141"/>
            <a:ext cx="1920240" cy="577081"/>
          </a:xfrm>
          <a:prstGeom prst="rect">
            <a:avLst/>
          </a:prstGeom>
          <a:noFill/>
        </p:spPr>
        <p:txBody>
          <a:bodyPr wrap="square" rtlCol="0">
            <a:spAutoFit/>
          </a:bodyPr>
          <a:lstStyle/>
          <a:p>
            <a:r>
              <a:rPr lang="en-US" sz="1050">
                <a:latin typeface="Arial (body)"/>
              </a:rPr>
              <a:t>Water as coolant and moderator; water boils inside the reactor core</a:t>
            </a:r>
          </a:p>
        </p:txBody>
      </p:sp>
      <p:sp>
        <p:nvSpPr>
          <p:cNvPr id="10" name="TextBox 9">
            <a:extLst>
              <a:ext uri="{FF2B5EF4-FFF2-40B4-BE49-F238E27FC236}">
                <a16:creationId xmlns:a16="http://schemas.microsoft.com/office/drawing/2014/main" id="{6236EDBD-9B58-A07B-671A-0651A6799594}"/>
              </a:ext>
            </a:extLst>
          </p:cNvPr>
          <p:cNvSpPr txBox="1"/>
          <p:nvPr/>
        </p:nvSpPr>
        <p:spPr>
          <a:xfrm>
            <a:off x="5892276" y="1785960"/>
            <a:ext cx="1920240" cy="415498"/>
          </a:xfrm>
          <a:prstGeom prst="rect">
            <a:avLst/>
          </a:prstGeom>
          <a:noFill/>
        </p:spPr>
        <p:txBody>
          <a:bodyPr wrap="square" rtlCol="0">
            <a:spAutoFit/>
          </a:bodyPr>
          <a:lstStyle/>
          <a:p>
            <a:r>
              <a:rPr lang="en-US" sz="1050">
                <a:latin typeface="Arial (body)"/>
              </a:rPr>
              <a:t>Gas (CO₂ or helium) as coolant</a:t>
            </a:r>
          </a:p>
        </p:txBody>
      </p:sp>
      <p:sp>
        <p:nvSpPr>
          <p:cNvPr id="14" name="TextBox 13">
            <a:extLst>
              <a:ext uri="{FF2B5EF4-FFF2-40B4-BE49-F238E27FC236}">
                <a16:creationId xmlns:a16="http://schemas.microsoft.com/office/drawing/2014/main" id="{C67E7B5B-22AB-CB10-2A6B-C0DC9C9255AA}"/>
              </a:ext>
            </a:extLst>
          </p:cNvPr>
          <p:cNvSpPr txBox="1"/>
          <p:nvPr/>
        </p:nvSpPr>
        <p:spPr>
          <a:xfrm>
            <a:off x="7867509" y="1786255"/>
            <a:ext cx="1920240" cy="415498"/>
          </a:xfrm>
          <a:prstGeom prst="rect">
            <a:avLst/>
          </a:prstGeom>
          <a:noFill/>
        </p:spPr>
        <p:txBody>
          <a:bodyPr wrap="square">
            <a:spAutoFit/>
          </a:bodyPr>
          <a:lstStyle/>
          <a:p>
            <a:r>
              <a:rPr lang="en-US" sz="1050">
                <a:latin typeface="Arial (body)"/>
              </a:rPr>
              <a:t>Liquid metals (e.g., sodium, lead) as coolant</a:t>
            </a:r>
          </a:p>
        </p:txBody>
      </p:sp>
      <p:sp>
        <p:nvSpPr>
          <p:cNvPr id="16" name="TextBox 15">
            <a:extLst>
              <a:ext uri="{FF2B5EF4-FFF2-40B4-BE49-F238E27FC236}">
                <a16:creationId xmlns:a16="http://schemas.microsoft.com/office/drawing/2014/main" id="{0F5E6495-C193-E9C8-071B-84D852BD1CC9}"/>
              </a:ext>
            </a:extLst>
          </p:cNvPr>
          <p:cNvSpPr txBox="1"/>
          <p:nvPr/>
        </p:nvSpPr>
        <p:spPr>
          <a:xfrm>
            <a:off x="9822139" y="1815140"/>
            <a:ext cx="1920240" cy="1223412"/>
          </a:xfrm>
          <a:prstGeom prst="rect">
            <a:avLst/>
          </a:prstGeom>
          <a:noFill/>
        </p:spPr>
        <p:txBody>
          <a:bodyPr wrap="square">
            <a:spAutoFit/>
          </a:bodyPr>
          <a:lstStyle/>
          <a:p>
            <a:r>
              <a:rPr lang="en-US" sz="1050"/>
              <a:t>Molten fluoride or chloride salts used as coolant and sometimes fuel; includes both liquid-fueled and solid-fueled designs (e.g., Kairos FHR); high thermal efficiency and strong passive safety</a:t>
            </a:r>
          </a:p>
        </p:txBody>
      </p:sp>
      <p:sp>
        <p:nvSpPr>
          <p:cNvPr id="18" name="TextBox 17">
            <a:extLst>
              <a:ext uri="{FF2B5EF4-FFF2-40B4-BE49-F238E27FC236}">
                <a16:creationId xmlns:a16="http://schemas.microsoft.com/office/drawing/2014/main" id="{03106694-7A5D-B2D5-1B26-ED0EF9B37B45}"/>
              </a:ext>
            </a:extLst>
          </p:cNvPr>
          <p:cNvSpPr txBox="1"/>
          <p:nvPr/>
        </p:nvSpPr>
        <p:spPr>
          <a:xfrm>
            <a:off x="295961" y="1808243"/>
            <a:ext cx="152848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prstClr val="black"/>
                </a:solidFill>
                <a:effectLst/>
                <a:uLnTx/>
                <a:uFillTx/>
                <a:latin typeface="Arial (body)"/>
              </a:rPr>
              <a:t>Description</a:t>
            </a:r>
          </a:p>
        </p:txBody>
      </p:sp>
      <p:sp>
        <p:nvSpPr>
          <p:cNvPr id="19" name="TextBox 18">
            <a:extLst>
              <a:ext uri="{FF2B5EF4-FFF2-40B4-BE49-F238E27FC236}">
                <a16:creationId xmlns:a16="http://schemas.microsoft.com/office/drawing/2014/main" id="{68DB8BEE-DF48-15C8-481B-1294A2C8E2D7}"/>
              </a:ext>
            </a:extLst>
          </p:cNvPr>
          <p:cNvSpPr txBox="1"/>
          <p:nvPr/>
        </p:nvSpPr>
        <p:spPr>
          <a:xfrm>
            <a:off x="3924300" y="3200515"/>
            <a:ext cx="1919288" cy="25391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u="none" strike="noStrike" kern="1200" cap="none" spc="0" normalizeH="0" baseline="0" noProof="0">
                <a:ln>
                  <a:noFill/>
                </a:ln>
                <a:solidFill>
                  <a:prstClr val="black"/>
                </a:solidFill>
                <a:effectLst/>
                <a:uLnTx/>
                <a:uFillTx/>
                <a:latin typeface="Arial (body)"/>
              </a:rPr>
              <a:t>200</a:t>
            </a:r>
          </a:p>
        </p:txBody>
      </p:sp>
      <p:sp>
        <p:nvSpPr>
          <p:cNvPr id="20" name="TextBox 19">
            <a:extLst>
              <a:ext uri="{FF2B5EF4-FFF2-40B4-BE49-F238E27FC236}">
                <a16:creationId xmlns:a16="http://schemas.microsoft.com/office/drawing/2014/main" id="{449AFC92-123B-50D2-0195-4145264C8E18}"/>
              </a:ext>
            </a:extLst>
          </p:cNvPr>
          <p:cNvSpPr txBox="1"/>
          <p:nvPr/>
        </p:nvSpPr>
        <p:spPr>
          <a:xfrm>
            <a:off x="5892276" y="3200515"/>
            <a:ext cx="1920240" cy="25391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u="none" strike="noStrike" kern="1200" cap="none" spc="0" normalizeH="0" baseline="0" noProof="0">
                <a:ln>
                  <a:noFill/>
                </a:ln>
                <a:solidFill>
                  <a:prstClr val="black"/>
                </a:solidFill>
                <a:effectLst/>
                <a:uLnTx/>
                <a:uFillTx/>
                <a:latin typeface="Arial (body)"/>
              </a:rPr>
              <a:t>~30</a:t>
            </a:r>
          </a:p>
        </p:txBody>
      </p:sp>
      <p:sp>
        <p:nvSpPr>
          <p:cNvPr id="21" name="TextBox 20">
            <a:extLst>
              <a:ext uri="{FF2B5EF4-FFF2-40B4-BE49-F238E27FC236}">
                <a16:creationId xmlns:a16="http://schemas.microsoft.com/office/drawing/2014/main" id="{2EE30F10-F9ED-EA1A-580E-D223D6AC4E02}"/>
              </a:ext>
            </a:extLst>
          </p:cNvPr>
          <p:cNvSpPr txBox="1"/>
          <p:nvPr/>
        </p:nvSpPr>
        <p:spPr>
          <a:xfrm>
            <a:off x="7867650" y="3200515"/>
            <a:ext cx="1919288" cy="253916"/>
          </a:xfrm>
          <a:prstGeom prst="rect">
            <a:avLst/>
          </a:prstGeom>
          <a:noFill/>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a:solidFill>
                  <a:prstClr val="black"/>
                </a:solidFill>
                <a:latin typeface="Arial (body)"/>
              </a:rPr>
              <a:t>&lt;1</a:t>
            </a:r>
            <a:endParaRPr kumimoji="0" lang="en-US" sz="1050" b="0" u="none" strike="noStrike" kern="1200" cap="none" spc="0" normalizeH="0" baseline="0" noProof="0">
              <a:ln>
                <a:noFill/>
              </a:ln>
              <a:solidFill>
                <a:prstClr val="black"/>
              </a:solidFill>
              <a:effectLst/>
              <a:uLnTx/>
              <a:uFillTx/>
              <a:latin typeface="Arial (body)"/>
            </a:endParaRPr>
          </a:p>
        </p:txBody>
      </p:sp>
      <p:sp>
        <p:nvSpPr>
          <p:cNvPr id="22" name="TextBox 21">
            <a:extLst>
              <a:ext uri="{FF2B5EF4-FFF2-40B4-BE49-F238E27FC236}">
                <a16:creationId xmlns:a16="http://schemas.microsoft.com/office/drawing/2014/main" id="{D6E5DECE-BA76-66A6-05A6-B28CD3CE68DF}"/>
              </a:ext>
            </a:extLst>
          </p:cNvPr>
          <p:cNvSpPr txBox="1"/>
          <p:nvPr/>
        </p:nvSpPr>
        <p:spPr>
          <a:xfrm>
            <a:off x="9829455" y="3200515"/>
            <a:ext cx="1920240"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u="none" strike="noStrike" kern="1200" cap="none" spc="0" normalizeH="0" baseline="0" noProof="0">
                <a:ln>
                  <a:noFill/>
                </a:ln>
                <a:solidFill>
                  <a:prstClr val="black"/>
                </a:solidFill>
                <a:effectLst/>
                <a:uLnTx/>
                <a:uFillTx/>
                <a:latin typeface="Arial (body)"/>
              </a:rPr>
              <a:t>&lt;1</a:t>
            </a:r>
          </a:p>
        </p:txBody>
      </p:sp>
      <p:sp>
        <p:nvSpPr>
          <p:cNvPr id="23" name="TextBox 22">
            <a:extLst>
              <a:ext uri="{FF2B5EF4-FFF2-40B4-BE49-F238E27FC236}">
                <a16:creationId xmlns:a16="http://schemas.microsoft.com/office/drawing/2014/main" id="{0D6743DE-8321-F04C-201D-5371C57C0867}"/>
              </a:ext>
            </a:extLst>
          </p:cNvPr>
          <p:cNvSpPr txBox="1"/>
          <p:nvPr/>
        </p:nvSpPr>
        <p:spPr>
          <a:xfrm>
            <a:off x="303576" y="3221690"/>
            <a:ext cx="1528482"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prstClr val="black"/>
                </a:solidFill>
                <a:effectLst/>
                <a:uLnTx/>
                <a:uFillTx/>
                <a:latin typeface="Arial (body)"/>
              </a:rPr>
              <a:t>Global capacity, </a:t>
            </a:r>
            <a:r>
              <a:rPr kumimoji="0" lang="en-US" sz="1100" u="none" strike="noStrike" kern="1200" cap="none" spc="0" normalizeH="0" baseline="0" noProof="0">
                <a:ln>
                  <a:noFill/>
                </a:ln>
                <a:solidFill>
                  <a:prstClr val="black"/>
                </a:solidFill>
                <a:effectLst/>
                <a:uLnTx/>
                <a:uFillTx/>
                <a:latin typeface="Arial (body)"/>
              </a:rPr>
              <a:t>GW, 2024</a:t>
            </a:r>
          </a:p>
        </p:txBody>
      </p:sp>
      <p:sp>
        <p:nvSpPr>
          <p:cNvPr id="24" name="TextBox 23">
            <a:extLst>
              <a:ext uri="{FF2B5EF4-FFF2-40B4-BE49-F238E27FC236}">
                <a16:creationId xmlns:a16="http://schemas.microsoft.com/office/drawing/2014/main" id="{8A4C7A36-3C29-357B-3D46-7E025206CEAC}"/>
              </a:ext>
            </a:extLst>
          </p:cNvPr>
          <p:cNvSpPr txBox="1"/>
          <p:nvPr/>
        </p:nvSpPr>
        <p:spPr>
          <a:xfrm>
            <a:off x="4039437" y="1543263"/>
            <a:ext cx="169043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prstClr val="black"/>
                </a:solidFill>
                <a:effectLst/>
                <a:uLnTx/>
                <a:uFillTx/>
                <a:latin typeface="Arial (body)"/>
              </a:rPr>
              <a:t>Boiling water</a:t>
            </a:r>
          </a:p>
        </p:txBody>
      </p:sp>
      <p:sp>
        <p:nvSpPr>
          <p:cNvPr id="25" name="TextBox 24">
            <a:extLst>
              <a:ext uri="{FF2B5EF4-FFF2-40B4-BE49-F238E27FC236}">
                <a16:creationId xmlns:a16="http://schemas.microsoft.com/office/drawing/2014/main" id="{E268DF86-82F2-07B7-B644-0607EF885C3C}"/>
              </a:ext>
            </a:extLst>
          </p:cNvPr>
          <p:cNvSpPr txBox="1"/>
          <p:nvPr/>
        </p:nvSpPr>
        <p:spPr>
          <a:xfrm>
            <a:off x="6326606" y="1528816"/>
            <a:ext cx="105158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prstClr val="black"/>
                </a:solidFill>
                <a:effectLst/>
                <a:uLnTx/>
                <a:uFillTx/>
                <a:latin typeface="Arial (body)"/>
              </a:rPr>
              <a:t>Gas cooled</a:t>
            </a:r>
          </a:p>
        </p:txBody>
      </p:sp>
      <p:sp>
        <p:nvSpPr>
          <p:cNvPr id="26" name="TextBox 25">
            <a:extLst>
              <a:ext uri="{FF2B5EF4-FFF2-40B4-BE49-F238E27FC236}">
                <a16:creationId xmlns:a16="http://schemas.microsoft.com/office/drawing/2014/main" id="{1871E22C-C08E-E781-2BEE-76F07C9DF860}"/>
              </a:ext>
            </a:extLst>
          </p:cNvPr>
          <p:cNvSpPr txBox="1"/>
          <p:nvPr/>
        </p:nvSpPr>
        <p:spPr>
          <a:xfrm>
            <a:off x="8320134" y="1544508"/>
            <a:ext cx="1014989"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prstClr val="black"/>
                </a:solidFill>
                <a:effectLst/>
                <a:uLnTx/>
                <a:uFillTx/>
                <a:latin typeface="Arial (body)"/>
              </a:rPr>
              <a:t>Liquid metal</a:t>
            </a:r>
          </a:p>
        </p:txBody>
      </p:sp>
      <p:sp>
        <p:nvSpPr>
          <p:cNvPr id="27" name="TextBox 26">
            <a:extLst>
              <a:ext uri="{FF2B5EF4-FFF2-40B4-BE49-F238E27FC236}">
                <a16:creationId xmlns:a16="http://schemas.microsoft.com/office/drawing/2014/main" id="{2A76B1E6-4DF3-9690-6752-9AF815803DA8}"/>
              </a:ext>
            </a:extLst>
          </p:cNvPr>
          <p:cNvSpPr txBox="1"/>
          <p:nvPr/>
        </p:nvSpPr>
        <p:spPr>
          <a:xfrm>
            <a:off x="10306363" y="1529518"/>
            <a:ext cx="967370" cy="26012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prstClr val="black"/>
                </a:solidFill>
                <a:effectLst/>
                <a:uLnTx/>
                <a:uFillTx/>
                <a:latin typeface="Arial (body)"/>
              </a:rPr>
              <a:t>Molten salt</a:t>
            </a:r>
          </a:p>
        </p:txBody>
      </p:sp>
      <p:sp>
        <p:nvSpPr>
          <p:cNvPr id="33" name="TextBox 32">
            <a:extLst>
              <a:ext uri="{FF2B5EF4-FFF2-40B4-BE49-F238E27FC236}">
                <a16:creationId xmlns:a16="http://schemas.microsoft.com/office/drawing/2014/main" id="{BCBAE9BC-43E8-FDCA-AEA9-CE2B199152FA}"/>
              </a:ext>
            </a:extLst>
          </p:cNvPr>
          <p:cNvSpPr txBox="1"/>
          <p:nvPr/>
        </p:nvSpPr>
        <p:spPr>
          <a:xfrm>
            <a:off x="3924534" y="3959123"/>
            <a:ext cx="1920240" cy="738664"/>
          </a:xfrm>
          <a:prstGeom prst="rect">
            <a:avLst/>
          </a:prstGeom>
          <a:noFill/>
        </p:spPr>
        <p:txBody>
          <a:bodyPr wrap="square" rtlCol="0">
            <a:spAutoFit/>
          </a:bodyPr>
          <a:lstStyle/>
          <a:p>
            <a:r>
              <a:rPr lang="en-US" sz="1050">
                <a:latin typeface="Arial (body)"/>
              </a:rPr>
              <a:t>Simpler system than PWRs; direct steam cycle (no steam generator needed); good operational flexibility</a:t>
            </a:r>
          </a:p>
        </p:txBody>
      </p:sp>
      <p:sp>
        <p:nvSpPr>
          <p:cNvPr id="34" name="TextBox 33">
            <a:extLst>
              <a:ext uri="{FF2B5EF4-FFF2-40B4-BE49-F238E27FC236}">
                <a16:creationId xmlns:a16="http://schemas.microsoft.com/office/drawing/2014/main" id="{64DEDC14-5321-9050-7C48-2F202404A231}"/>
              </a:ext>
            </a:extLst>
          </p:cNvPr>
          <p:cNvSpPr txBox="1"/>
          <p:nvPr/>
        </p:nvSpPr>
        <p:spPr>
          <a:xfrm>
            <a:off x="5892276" y="3959123"/>
            <a:ext cx="1920240" cy="900246"/>
          </a:xfrm>
          <a:prstGeom prst="rect">
            <a:avLst/>
          </a:prstGeom>
          <a:noFill/>
        </p:spPr>
        <p:txBody>
          <a:bodyPr wrap="square" rtlCol="0">
            <a:spAutoFit/>
          </a:bodyPr>
          <a:lstStyle/>
          <a:p>
            <a:r>
              <a:rPr lang="en-US" sz="1050">
                <a:latin typeface="Arial (body)"/>
              </a:rPr>
              <a:t>High thermal efficiency (~41%); uses diverse fuels; passive safety features (low pressure, high heat tolerance)</a:t>
            </a:r>
          </a:p>
        </p:txBody>
      </p:sp>
      <p:sp>
        <p:nvSpPr>
          <p:cNvPr id="35" name="TextBox 34">
            <a:extLst>
              <a:ext uri="{FF2B5EF4-FFF2-40B4-BE49-F238E27FC236}">
                <a16:creationId xmlns:a16="http://schemas.microsoft.com/office/drawing/2014/main" id="{F67D742C-31C6-3EFE-3C91-03CE2F3680D7}"/>
              </a:ext>
            </a:extLst>
          </p:cNvPr>
          <p:cNvSpPr txBox="1"/>
          <p:nvPr/>
        </p:nvSpPr>
        <p:spPr>
          <a:xfrm>
            <a:off x="7867509" y="3959123"/>
            <a:ext cx="1920240" cy="738664"/>
          </a:xfrm>
          <a:prstGeom prst="rect">
            <a:avLst/>
          </a:prstGeom>
          <a:noFill/>
        </p:spPr>
        <p:txBody>
          <a:bodyPr wrap="square">
            <a:spAutoFit/>
          </a:bodyPr>
          <a:lstStyle/>
          <a:p>
            <a:r>
              <a:rPr lang="en-US" sz="1050">
                <a:latin typeface="Arial (body)"/>
              </a:rPr>
              <a:t>Very high thermal efficiency (~40–45%); can “breed” more fuel than consumed; operates at low pressure</a:t>
            </a:r>
          </a:p>
        </p:txBody>
      </p:sp>
      <p:sp>
        <p:nvSpPr>
          <p:cNvPr id="37" name="TextBox 36">
            <a:extLst>
              <a:ext uri="{FF2B5EF4-FFF2-40B4-BE49-F238E27FC236}">
                <a16:creationId xmlns:a16="http://schemas.microsoft.com/office/drawing/2014/main" id="{BC77B8C6-B19E-5482-A23F-8E98766B81D7}"/>
              </a:ext>
            </a:extLst>
          </p:cNvPr>
          <p:cNvSpPr txBox="1"/>
          <p:nvPr/>
        </p:nvSpPr>
        <p:spPr>
          <a:xfrm>
            <a:off x="318911" y="3969667"/>
            <a:ext cx="152848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prstClr val="black"/>
                </a:solidFill>
                <a:effectLst/>
                <a:uLnTx/>
                <a:uFillTx/>
                <a:latin typeface="Arial (body)"/>
              </a:rPr>
              <a:t>Pros</a:t>
            </a:r>
          </a:p>
        </p:txBody>
      </p:sp>
      <p:sp>
        <p:nvSpPr>
          <p:cNvPr id="38" name="TextBox 37">
            <a:extLst>
              <a:ext uri="{FF2B5EF4-FFF2-40B4-BE49-F238E27FC236}">
                <a16:creationId xmlns:a16="http://schemas.microsoft.com/office/drawing/2014/main" id="{16EFE61F-F26D-721A-3C1C-B119C6D1C899}"/>
              </a:ext>
            </a:extLst>
          </p:cNvPr>
          <p:cNvSpPr txBox="1"/>
          <p:nvPr/>
        </p:nvSpPr>
        <p:spPr>
          <a:xfrm>
            <a:off x="9827583" y="3959123"/>
            <a:ext cx="1920240" cy="900246"/>
          </a:xfrm>
          <a:prstGeom prst="rect">
            <a:avLst/>
          </a:prstGeom>
          <a:noFill/>
        </p:spPr>
        <p:txBody>
          <a:bodyPr wrap="square" rtlCol="0">
            <a:spAutoFit/>
          </a:bodyPr>
          <a:lstStyle/>
          <a:p>
            <a:r>
              <a:rPr lang="en-US" sz="1050">
                <a:latin typeface="Arial (body)"/>
              </a:rPr>
              <a:t>Highest thermal efficiency (~45–50%); strong passive safety (negative temp coefficient); fuel cycle flexibility (e.g., thorium)</a:t>
            </a:r>
          </a:p>
        </p:txBody>
      </p:sp>
      <p:sp>
        <p:nvSpPr>
          <p:cNvPr id="46" name="TextBox 45">
            <a:extLst>
              <a:ext uri="{FF2B5EF4-FFF2-40B4-BE49-F238E27FC236}">
                <a16:creationId xmlns:a16="http://schemas.microsoft.com/office/drawing/2014/main" id="{A38ADE3C-F032-4519-EE66-7ED2A86FCD0E}"/>
              </a:ext>
            </a:extLst>
          </p:cNvPr>
          <p:cNvSpPr txBox="1"/>
          <p:nvPr/>
        </p:nvSpPr>
        <p:spPr>
          <a:xfrm>
            <a:off x="3924534" y="4905615"/>
            <a:ext cx="1920240" cy="577081"/>
          </a:xfrm>
          <a:prstGeom prst="rect">
            <a:avLst/>
          </a:prstGeom>
          <a:noFill/>
          <a:ln>
            <a:noFill/>
          </a:ln>
        </p:spPr>
        <p:txBody>
          <a:bodyPr wrap="square" rtlCol="0">
            <a:spAutoFit/>
          </a:bodyPr>
          <a:lstStyle/>
          <a:p>
            <a:r>
              <a:rPr lang="en-US" sz="1050">
                <a:latin typeface="Arial (body)"/>
              </a:rPr>
              <a:t>Steam is radioactive (direct contact with core); more turbine contamination risk</a:t>
            </a:r>
          </a:p>
        </p:txBody>
      </p:sp>
      <p:sp>
        <p:nvSpPr>
          <p:cNvPr id="47" name="TextBox 46">
            <a:extLst>
              <a:ext uri="{FF2B5EF4-FFF2-40B4-BE49-F238E27FC236}">
                <a16:creationId xmlns:a16="http://schemas.microsoft.com/office/drawing/2014/main" id="{77FE6A3F-F916-ECE1-44E5-C5211EFC1CCA}"/>
              </a:ext>
            </a:extLst>
          </p:cNvPr>
          <p:cNvSpPr txBox="1"/>
          <p:nvPr/>
        </p:nvSpPr>
        <p:spPr>
          <a:xfrm>
            <a:off x="5892276" y="4905615"/>
            <a:ext cx="1920240" cy="577081"/>
          </a:xfrm>
          <a:prstGeom prst="rect">
            <a:avLst/>
          </a:prstGeom>
          <a:noFill/>
          <a:ln>
            <a:noFill/>
          </a:ln>
        </p:spPr>
        <p:txBody>
          <a:bodyPr wrap="square" rtlCol="0">
            <a:spAutoFit/>
          </a:bodyPr>
          <a:lstStyle/>
          <a:p>
            <a:r>
              <a:rPr lang="en-US" sz="1050">
                <a:latin typeface="Arial (body)"/>
              </a:rPr>
              <a:t>Needs specialized materials for high temp; higher capital and maintenance costs</a:t>
            </a:r>
          </a:p>
        </p:txBody>
      </p:sp>
      <p:sp>
        <p:nvSpPr>
          <p:cNvPr id="48" name="TextBox 47">
            <a:extLst>
              <a:ext uri="{FF2B5EF4-FFF2-40B4-BE49-F238E27FC236}">
                <a16:creationId xmlns:a16="http://schemas.microsoft.com/office/drawing/2014/main" id="{913CE105-DE80-9F35-33EB-34E97324D5B2}"/>
              </a:ext>
            </a:extLst>
          </p:cNvPr>
          <p:cNvSpPr txBox="1"/>
          <p:nvPr/>
        </p:nvSpPr>
        <p:spPr>
          <a:xfrm>
            <a:off x="7867508" y="4905615"/>
            <a:ext cx="1920240" cy="577081"/>
          </a:xfrm>
          <a:prstGeom prst="rect">
            <a:avLst/>
          </a:prstGeom>
          <a:noFill/>
          <a:ln>
            <a:noFill/>
          </a:ln>
        </p:spPr>
        <p:txBody>
          <a:bodyPr wrap="square">
            <a:spAutoFit/>
          </a:bodyPr>
          <a:lstStyle/>
          <a:p>
            <a:r>
              <a:rPr lang="en-US" sz="1050">
                <a:latin typeface="Arial (body)"/>
              </a:rPr>
              <a:t>Coolants are chemically reactive; material corrosion risks</a:t>
            </a:r>
          </a:p>
        </p:txBody>
      </p:sp>
      <p:sp>
        <p:nvSpPr>
          <p:cNvPr id="49" name="TextBox 48">
            <a:extLst>
              <a:ext uri="{FF2B5EF4-FFF2-40B4-BE49-F238E27FC236}">
                <a16:creationId xmlns:a16="http://schemas.microsoft.com/office/drawing/2014/main" id="{9001CC4B-565C-5932-A4F0-05A18B55F3AE}"/>
              </a:ext>
            </a:extLst>
          </p:cNvPr>
          <p:cNvSpPr txBox="1"/>
          <p:nvPr/>
        </p:nvSpPr>
        <p:spPr>
          <a:xfrm>
            <a:off x="318911" y="4876647"/>
            <a:ext cx="1528482" cy="261610"/>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prstClr val="black"/>
                </a:solidFill>
                <a:effectLst/>
                <a:uLnTx/>
                <a:uFillTx/>
                <a:latin typeface="Arial (body)"/>
              </a:rPr>
              <a:t>Cons</a:t>
            </a:r>
          </a:p>
        </p:txBody>
      </p:sp>
      <p:sp>
        <p:nvSpPr>
          <p:cNvPr id="50" name="TextBox 49">
            <a:extLst>
              <a:ext uri="{FF2B5EF4-FFF2-40B4-BE49-F238E27FC236}">
                <a16:creationId xmlns:a16="http://schemas.microsoft.com/office/drawing/2014/main" id="{BA077A76-745A-0B00-2131-5F151692655C}"/>
              </a:ext>
            </a:extLst>
          </p:cNvPr>
          <p:cNvSpPr txBox="1"/>
          <p:nvPr/>
        </p:nvSpPr>
        <p:spPr>
          <a:xfrm>
            <a:off x="9822139" y="4905615"/>
            <a:ext cx="1920240" cy="577081"/>
          </a:xfrm>
          <a:prstGeom prst="rect">
            <a:avLst/>
          </a:prstGeom>
          <a:noFill/>
          <a:ln>
            <a:noFill/>
          </a:ln>
        </p:spPr>
        <p:txBody>
          <a:bodyPr wrap="square" rtlCol="0">
            <a:spAutoFit/>
          </a:bodyPr>
          <a:lstStyle/>
          <a:p>
            <a:r>
              <a:rPr lang="en-US" sz="1050">
                <a:latin typeface="Arial (body)"/>
              </a:rPr>
              <a:t>Corrosion and material compatibility challenges; no standard regulatory path yet</a:t>
            </a:r>
          </a:p>
        </p:txBody>
      </p:sp>
      <p:sp>
        <p:nvSpPr>
          <p:cNvPr id="55" name="TextBox 54">
            <a:extLst>
              <a:ext uri="{FF2B5EF4-FFF2-40B4-BE49-F238E27FC236}">
                <a16:creationId xmlns:a16="http://schemas.microsoft.com/office/drawing/2014/main" id="{62734DFA-3F38-BEC0-35A9-53E9F61AF9DE}"/>
              </a:ext>
            </a:extLst>
          </p:cNvPr>
          <p:cNvSpPr txBox="1"/>
          <p:nvPr/>
        </p:nvSpPr>
        <p:spPr>
          <a:xfrm>
            <a:off x="295961" y="5587651"/>
            <a:ext cx="1528482" cy="261610"/>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prstClr val="black"/>
                </a:solidFill>
                <a:effectLst/>
                <a:uLnTx/>
                <a:uFillTx/>
                <a:latin typeface="Arial (body)"/>
              </a:rPr>
              <a:t>Scalability</a:t>
            </a:r>
          </a:p>
        </p:txBody>
      </p:sp>
      <p:sp>
        <p:nvSpPr>
          <p:cNvPr id="62" name="Oval 61">
            <a:extLst>
              <a:ext uri="{FF2B5EF4-FFF2-40B4-BE49-F238E27FC236}">
                <a16:creationId xmlns:a16="http://schemas.microsoft.com/office/drawing/2014/main" id="{D787AFF6-37B6-501C-7CCB-441E4A9A285C}"/>
              </a:ext>
            </a:extLst>
          </p:cNvPr>
          <p:cNvSpPr/>
          <p:nvPr/>
        </p:nvSpPr>
        <p:spPr bwMode="gray">
          <a:xfrm>
            <a:off x="4764925" y="5617784"/>
            <a:ext cx="246585" cy="245551"/>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white"/>
                </a:solidFill>
                <a:effectLst/>
                <a:uLnTx/>
                <a:uFillTx/>
                <a:latin typeface="Arial (body)"/>
              </a:rPr>
              <a:t>H</a:t>
            </a:r>
          </a:p>
        </p:txBody>
      </p:sp>
      <p:sp>
        <p:nvSpPr>
          <p:cNvPr id="63" name="Oval 62">
            <a:extLst>
              <a:ext uri="{FF2B5EF4-FFF2-40B4-BE49-F238E27FC236}">
                <a16:creationId xmlns:a16="http://schemas.microsoft.com/office/drawing/2014/main" id="{682E72E7-550F-2120-E8CB-2E28F02FE283}"/>
              </a:ext>
            </a:extLst>
          </p:cNvPr>
          <p:cNvSpPr/>
          <p:nvPr/>
        </p:nvSpPr>
        <p:spPr bwMode="gray">
          <a:xfrm>
            <a:off x="6715604" y="5617784"/>
            <a:ext cx="246585" cy="245551"/>
          </a:xfrm>
          <a:prstGeom prst="ellipse">
            <a:avLst/>
          </a:prstGeom>
          <a:solidFill>
            <a:srgbClr val="FCCC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black"/>
                </a:solidFill>
                <a:effectLst/>
                <a:uLnTx/>
                <a:uFillTx/>
                <a:latin typeface="Arial (body)"/>
              </a:rPr>
              <a:t>M</a:t>
            </a:r>
          </a:p>
        </p:txBody>
      </p:sp>
      <p:sp>
        <p:nvSpPr>
          <p:cNvPr id="74" name="Oval 73">
            <a:extLst>
              <a:ext uri="{FF2B5EF4-FFF2-40B4-BE49-F238E27FC236}">
                <a16:creationId xmlns:a16="http://schemas.microsoft.com/office/drawing/2014/main" id="{44EF713D-2283-8326-7D56-7B3E8F72B8CE}"/>
              </a:ext>
            </a:extLst>
          </p:cNvPr>
          <p:cNvSpPr/>
          <p:nvPr/>
        </p:nvSpPr>
        <p:spPr bwMode="gray">
          <a:xfrm>
            <a:off x="8704337" y="5617784"/>
            <a:ext cx="246585" cy="245551"/>
          </a:xfrm>
          <a:prstGeom prst="ellipse">
            <a:avLst/>
          </a:prstGeom>
          <a:solidFill>
            <a:srgbClr val="FCCC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black"/>
                </a:solidFill>
                <a:effectLst/>
                <a:uLnTx/>
                <a:uFillTx/>
                <a:latin typeface="Arial (body)"/>
              </a:rPr>
              <a:t>M</a:t>
            </a:r>
          </a:p>
        </p:txBody>
      </p:sp>
      <p:sp>
        <p:nvSpPr>
          <p:cNvPr id="76" name="Oval 75">
            <a:extLst>
              <a:ext uri="{FF2B5EF4-FFF2-40B4-BE49-F238E27FC236}">
                <a16:creationId xmlns:a16="http://schemas.microsoft.com/office/drawing/2014/main" id="{6C751A91-1E3E-3DF4-1374-A533E0D0D6C7}"/>
              </a:ext>
            </a:extLst>
          </p:cNvPr>
          <p:cNvSpPr/>
          <p:nvPr/>
        </p:nvSpPr>
        <p:spPr bwMode="gray">
          <a:xfrm>
            <a:off x="10662625" y="5617784"/>
            <a:ext cx="246585" cy="245551"/>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white"/>
                </a:solidFill>
                <a:effectLst/>
                <a:uLnTx/>
                <a:uFillTx/>
                <a:latin typeface="Arial (body)"/>
              </a:rPr>
              <a:t>H</a:t>
            </a:r>
          </a:p>
        </p:txBody>
      </p:sp>
      <p:sp>
        <p:nvSpPr>
          <p:cNvPr id="77" name="TextBox 76">
            <a:extLst>
              <a:ext uri="{FF2B5EF4-FFF2-40B4-BE49-F238E27FC236}">
                <a16:creationId xmlns:a16="http://schemas.microsoft.com/office/drawing/2014/main" id="{F15C7AE6-2432-0239-DF66-C578E9655F62}"/>
              </a:ext>
            </a:extLst>
          </p:cNvPr>
          <p:cNvSpPr txBox="1"/>
          <p:nvPr/>
        </p:nvSpPr>
        <p:spPr>
          <a:xfrm>
            <a:off x="3924534" y="3689414"/>
            <a:ext cx="1920240" cy="253916"/>
          </a:xfrm>
          <a:prstGeom prst="rect">
            <a:avLst/>
          </a:prstGeom>
          <a:noFill/>
        </p:spPr>
        <p:txBody>
          <a:bodyPr wrap="square" rtlCol="0">
            <a:spAutoFit/>
          </a:bodyPr>
          <a:lstStyle/>
          <a:p>
            <a:pPr lvl="0">
              <a:defRPr/>
            </a:pPr>
            <a:r>
              <a:rPr kumimoji="0" lang="en-US" sz="1050" b="0" u="none" strike="noStrike" kern="1200" cap="none" spc="0" normalizeH="0" baseline="0" noProof="0">
                <a:ln>
                  <a:noFill/>
                </a:ln>
                <a:solidFill>
                  <a:prstClr val="black"/>
                </a:solidFill>
                <a:effectLst/>
                <a:uLnTx/>
                <a:uFillTx/>
                <a:latin typeface="Arial (body)"/>
              </a:rPr>
              <a:t>$50–</a:t>
            </a:r>
            <a:r>
              <a:rPr lang="en-US" sz="1050">
                <a:solidFill>
                  <a:prstClr val="black"/>
                </a:solidFill>
                <a:latin typeface="Arial (body)"/>
              </a:rPr>
              <a:t>$</a:t>
            </a:r>
            <a:r>
              <a:rPr kumimoji="0" lang="en-US" sz="1050" b="0" u="none" strike="noStrike" kern="1200" cap="none" spc="0" normalizeH="0" baseline="0" noProof="0">
                <a:ln>
                  <a:noFill/>
                </a:ln>
                <a:solidFill>
                  <a:prstClr val="black"/>
                </a:solidFill>
                <a:effectLst/>
                <a:uLnTx/>
                <a:uFillTx/>
                <a:latin typeface="Arial (body)"/>
              </a:rPr>
              <a:t>100 per MWh</a:t>
            </a:r>
          </a:p>
        </p:txBody>
      </p:sp>
      <p:sp>
        <p:nvSpPr>
          <p:cNvPr id="78" name="TextBox 77">
            <a:extLst>
              <a:ext uri="{FF2B5EF4-FFF2-40B4-BE49-F238E27FC236}">
                <a16:creationId xmlns:a16="http://schemas.microsoft.com/office/drawing/2014/main" id="{9469A133-EBD1-C8E2-E5DF-A20D8F3ABBE4}"/>
              </a:ext>
            </a:extLst>
          </p:cNvPr>
          <p:cNvSpPr txBox="1"/>
          <p:nvPr/>
        </p:nvSpPr>
        <p:spPr>
          <a:xfrm>
            <a:off x="5892276" y="3689414"/>
            <a:ext cx="1920240" cy="253916"/>
          </a:xfrm>
          <a:prstGeom prst="rect">
            <a:avLst/>
          </a:prstGeom>
          <a:noFill/>
        </p:spPr>
        <p:txBody>
          <a:bodyPr wrap="square" rtlCol="0">
            <a:noAutofit/>
          </a:bodyPr>
          <a:lstStyle/>
          <a:p>
            <a:pPr lvl="0">
              <a:defRPr/>
            </a:pPr>
            <a:r>
              <a:rPr kumimoji="0" lang="en-US" sz="1050" b="0" u="none" strike="noStrike" kern="1200" cap="none" spc="0" normalizeH="0" baseline="0" noProof="0">
                <a:ln>
                  <a:noFill/>
                </a:ln>
                <a:solidFill>
                  <a:prstClr val="black"/>
                </a:solidFill>
                <a:effectLst/>
                <a:uLnTx/>
                <a:uFillTx/>
                <a:latin typeface="Arial (body)"/>
              </a:rPr>
              <a:t>$70–</a:t>
            </a:r>
            <a:r>
              <a:rPr lang="en-US" sz="1050">
                <a:solidFill>
                  <a:prstClr val="black"/>
                </a:solidFill>
                <a:latin typeface="Arial (body)"/>
              </a:rPr>
              <a:t>$</a:t>
            </a:r>
            <a:r>
              <a:rPr kumimoji="0" lang="en-US" sz="1050" b="0" u="none" strike="noStrike" kern="1200" cap="none" spc="0" normalizeH="0" baseline="0" noProof="0">
                <a:ln>
                  <a:noFill/>
                </a:ln>
                <a:solidFill>
                  <a:prstClr val="black"/>
                </a:solidFill>
                <a:effectLst/>
                <a:uLnTx/>
                <a:uFillTx/>
                <a:latin typeface="Arial (body)"/>
              </a:rPr>
              <a:t>120 </a:t>
            </a:r>
          </a:p>
        </p:txBody>
      </p:sp>
      <p:sp>
        <p:nvSpPr>
          <p:cNvPr id="79" name="TextBox 78">
            <a:extLst>
              <a:ext uri="{FF2B5EF4-FFF2-40B4-BE49-F238E27FC236}">
                <a16:creationId xmlns:a16="http://schemas.microsoft.com/office/drawing/2014/main" id="{A562F992-6703-6B94-8793-59718730198E}"/>
              </a:ext>
            </a:extLst>
          </p:cNvPr>
          <p:cNvSpPr txBox="1"/>
          <p:nvPr/>
        </p:nvSpPr>
        <p:spPr>
          <a:xfrm>
            <a:off x="7867509" y="3689414"/>
            <a:ext cx="1920240" cy="253916"/>
          </a:xfrm>
          <a:prstGeom prst="rect">
            <a:avLst/>
          </a:prstGeom>
          <a:noFill/>
        </p:spPr>
        <p:txBody>
          <a:bodyPr wrap="square">
            <a:spAutoFit/>
          </a:bodyPr>
          <a:lstStyle/>
          <a:p>
            <a:pPr lvl="0">
              <a:defRPr/>
            </a:pPr>
            <a:r>
              <a:rPr kumimoji="0" lang="en-US" sz="1050" b="0" u="none" strike="noStrike" kern="1200" cap="none" spc="0" normalizeH="0" baseline="0" noProof="0">
                <a:ln>
                  <a:noFill/>
                </a:ln>
                <a:solidFill>
                  <a:prstClr val="black"/>
                </a:solidFill>
                <a:effectLst/>
                <a:uLnTx/>
                <a:uFillTx/>
                <a:latin typeface="Arial (body)"/>
              </a:rPr>
              <a:t>$80–</a:t>
            </a:r>
            <a:r>
              <a:rPr lang="en-US" sz="1050">
                <a:solidFill>
                  <a:prstClr val="black"/>
                </a:solidFill>
                <a:latin typeface="Arial (body)"/>
              </a:rPr>
              <a:t>$</a:t>
            </a:r>
            <a:r>
              <a:rPr kumimoji="0" lang="en-US" sz="1050" b="0" u="none" strike="noStrike" kern="1200" cap="none" spc="0" normalizeH="0" baseline="0" noProof="0">
                <a:ln>
                  <a:noFill/>
                </a:ln>
                <a:solidFill>
                  <a:prstClr val="black"/>
                </a:solidFill>
                <a:effectLst/>
                <a:uLnTx/>
                <a:uFillTx/>
                <a:latin typeface="Arial (body)"/>
              </a:rPr>
              <a:t>140 </a:t>
            </a:r>
          </a:p>
        </p:txBody>
      </p:sp>
      <p:sp>
        <p:nvSpPr>
          <p:cNvPr id="80" name="TextBox 79">
            <a:extLst>
              <a:ext uri="{FF2B5EF4-FFF2-40B4-BE49-F238E27FC236}">
                <a16:creationId xmlns:a16="http://schemas.microsoft.com/office/drawing/2014/main" id="{53A5FD38-9494-BE7B-FB9F-DCCCF0B56217}"/>
              </a:ext>
            </a:extLst>
          </p:cNvPr>
          <p:cNvSpPr txBox="1"/>
          <p:nvPr/>
        </p:nvSpPr>
        <p:spPr>
          <a:xfrm>
            <a:off x="9814267" y="3689414"/>
            <a:ext cx="1920240" cy="253916"/>
          </a:xfrm>
          <a:prstGeom prst="rect">
            <a:avLst/>
          </a:prstGeom>
          <a:noFill/>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u="none" strike="noStrike" kern="1200" cap="none" spc="0" normalizeH="0" baseline="0" noProof="0">
                <a:ln>
                  <a:noFill/>
                </a:ln>
                <a:solidFill>
                  <a:prstClr val="black"/>
                </a:solidFill>
                <a:effectLst/>
                <a:uLnTx/>
                <a:uFillTx/>
                <a:latin typeface="Arial (body)"/>
              </a:rPr>
              <a:t>$90–$150</a:t>
            </a:r>
          </a:p>
        </p:txBody>
      </p:sp>
      <p:sp>
        <p:nvSpPr>
          <p:cNvPr id="81" name="TextBox 80">
            <a:extLst>
              <a:ext uri="{FF2B5EF4-FFF2-40B4-BE49-F238E27FC236}">
                <a16:creationId xmlns:a16="http://schemas.microsoft.com/office/drawing/2014/main" id="{51ED218E-055E-08BE-1F25-0941B605402C}"/>
              </a:ext>
            </a:extLst>
          </p:cNvPr>
          <p:cNvSpPr txBox="1"/>
          <p:nvPr/>
        </p:nvSpPr>
        <p:spPr>
          <a:xfrm>
            <a:off x="309195" y="3689414"/>
            <a:ext cx="152848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prstClr val="black"/>
                </a:solidFill>
                <a:effectLst/>
                <a:uLnTx/>
                <a:uFillTx/>
                <a:latin typeface="Arial (body)"/>
              </a:rPr>
              <a:t>LCOE*, </a:t>
            </a:r>
            <a:r>
              <a:rPr kumimoji="0" lang="en-US" sz="1100" u="none" strike="noStrike" kern="1200" cap="none" spc="0" normalizeH="0" baseline="0" noProof="0">
                <a:ln>
                  <a:noFill/>
                </a:ln>
                <a:solidFill>
                  <a:prstClr val="black"/>
                </a:solidFill>
                <a:effectLst/>
                <a:uLnTx/>
                <a:uFillTx/>
                <a:latin typeface="Arial (body)"/>
              </a:rPr>
              <a:t>2024</a:t>
            </a:r>
          </a:p>
        </p:txBody>
      </p:sp>
      <p:sp>
        <p:nvSpPr>
          <p:cNvPr id="82" name="TextBox 81">
            <a:extLst>
              <a:ext uri="{FF2B5EF4-FFF2-40B4-BE49-F238E27FC236}">
                <a16:creationId xmlns:a16="http://schemas.microsoft.com/office/drawing/2014/main" id="{198551B0-1BE3-C870-3BCC-4E3A2B1999D7}"/>
              </a:ext>
            </a:extLst>
          </p:cNvPr>
          <p:cNvSpPr txBox="1"/>
          <p:nvPr/>
        </p:nvSpPr>
        <p:spPr>
          <a:xfrm>
            <a:off x="275559" y="5935097"/>
            <a:ext cx="1528482" cy="261610"/>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prstClr val="black"/>
                </a:solidFill>
                <a:effectLst/>
                <a:uLnTx/>
                <a:uFillTx/>
                <a:latin typeface="Arial (body)"/>
              </a:rPr>
              <a:t>Maturity</a:t>
            </a:r>
          </a:p>
        </p:txBody>
      </p:sp>
      <p:sp>
        <p:nvSpPr>
          <p:cNvPr id="83" name="Oval 82">
            <a:extLst>
              <a:ext uri="{FF2B5EF4-FFF2-40B4-BE49-F238E27FC236}">
                <a16:creationId xmlns:a16="http://schemas.microsoft.com/office/drawing/2014/main" id="{F9F81CDF-8AB7-3645-DFA1-9433ED09AA0F}"/>
              </a:ext>
            </a:extLst>
          </p:cNvPr>
          <p:cNvSpPr/>
          <p:nvPr/>
        </p:nvSpPr>
        <p:spPr bwMode="gray">
          <a:xfrm>
            <a:off x="4764925" y="5998895"/>
            <a:ext cx="246585" cy="245551"/>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white"/>
                </a:solidFill>
                <a:effectLst/>
                <a:uLnTx/>
                <a:uFillTx/>
                <a:latin typeface="Arial (body)"/>
              </a:rPr>
              <a:t>H</a:t>
            </a:r>
          </a:p>
        </p:txBody>
      </p:sp>
      <p:sp>
        <p:nvSpPr>
          <p:cNvPr id="84" name="Oval 83">
            <a:extLst>
              <a:ext uri="{FF2B5EF4-FFF2-40B4-BE49-F238E27FC236}">
                <a16:creationId xmlns:a16="http://schemas.microsoft.com/office/drawing/2014/main" id="{0ABA2AAE-4C58-A3D6-33C2-EAE8066C733F}"/>
              </a:ext>
            </a:extLst>
          </p:cNvPr>
          <p:cNvSpPr/>
          <p:nvPr/>
        </p:nvSpPr>
        <p:spPr bwMode="gray">
          <a:xfrm>
            <a:off x="6715604" y="5998895"/>
            <a:ext cx="246585" cy="245551"/>
          </a:xfrm>
          <a:prstGeom prst="ellipse">
            <a:avLst/>
          </a:prstGeom>
          <a:solidFill>
            <a:srgbClr val="FCCC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black"/>
                </a:solidFill>
                <a:effectLst/>
                <a:uLnTx/>
                <a:uFillTx/>
                <a:latin typeface="Arial (body)"/>
              </a:rPr>
              <a:t>M</a:t>
            </a:r>
          </a:p>
        </p:txBody>
      </p:sp>
      <p:sp>
        <p:nvSpPr>
          <p:cNvPr id="86" name="Oval 85">
            <a:extLst>
              <a:ext uri="{FF2B5EF4-FFF2-40B4-BE49-F238E27FC236}">
                <a16:creationId xmlns:a16="http://schemas.microsoft.com/office/drawing/2014/main" id="{6E9EFE6E-9B45-A708-311C-13654017F329}"/>
              </a:ext>
            </a:extLst>
          </p:cNvPr>
          <p:cNvSpPr/>
          <p:nvPr/>
        </p:nvSpPr>
        <p:spPr bwMode="gray">
          <a:xfrm>
            <a:off x="10662625" y="5998895"/>
            <a:ext cx="246585" cy="245551"/>
          </a:xfrm>
          <a:prstGeom prst="ellipse">
            <a:avLst/>
          </a:prstGeom>
          <a:solidFill>
            <a:srgbClr val="EE352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white"/>
                </a:solidFill>
                <a:effectLst/>
                <a:uLnTx/>
                <a:uFillTx/>
                <a:latin typeface="Arial (body)"/>
              </a:rPr>
              <a:t>L </a:t>
            </a:r>
          </a:p>
        </p:txBody>
      </p:sp>
      <p:cxnSp>
        <p:nvCxnSpPr>
          <p:cNvPr id="97" name="btfpColumnHeaderBoxLine984923">
            <a:extLst>
              <a:ext uri="{FF2B5EF4-FFF2-40B4-BE49-F238E27FC236}">
                <a16:creationId xmlns:a16="http://schemas.microsoft.com/office/drawing/2014/main" id="{ECC2B7D6-3C18-CE4B-994F-9BDE11B6B6D7}"/>
              </a:ext>
            </a:extLst>
          </p:cNvPr>
          <p:cNvCxnSpPr>
            <a:cxnSpLocks/>
          </p:cNvCxnSpPr>
          <p:nvPr/>
        </p:nvCxnSpPr>
        <p:spPr bwMode="gray">
          <a:xfrm>
            <a:off x="309195" y="1804193"/>
            <a:ext cx="1144349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9" name="btfpColumnHeaderBoxLine984923">
            <a:extLst>
              <a:ext uri="{FF2B5EF4-FFF2-40B4-BE49-F238E27FC236}">
                <a16:creationId xmlns:a16="http://schemas.microsoft.com/office/drawing/2014/main" id="{D587CE63-E1CA-0FCF-2AE2-03740DF756E6}"/>
              </a:ext>
            </a:extLst>
          </p:cNvPr>
          <p:cNvCxnSpPr>
            <a:cxnSpLocks/>
          </p:cNvCxnSpPr>
          <p:nvPr/>
        </p:nvCxnSpPr>
        <p:spPr bwMode="gray">
          <a:xfrm>
            <a:off x="309195" y="3689414"/>
            <a:ext cx="11448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1" name="btfpColumnHeaderBoxLine984923">
            <a:extLst>
              <a:ext uri="{FF2B5EF4-FFF2-40B4-BE49-F238E27FC236}">
                <a16:creationId xmlns:a16="http://schemas.microsoft.com/office/drawing/2014/main" id="{E943736C-2C1A-41A2-4C86-193DA3A74D46}"/>
              </a:ext>
            </a:extLst>
          </p:cNvPr>
          <p:cNvCxnSpPr>
            <a:cxnSpLocks/>
          </p:cNvCxnSpPr>
          <p:nvPr/>
        </p:nvCxnSpPr>
        <p:spPr bwMode="gray">
          <a:xfrm>
            <a:off x="309195" y="3959123"/>
            <a:ext cx="11448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2" name="btfpColumnHeaderBoxLine984923">
            <a:extLst>
              <a:ext uri="{FF2B5EF4-FFF2-40B4-BE49-F238E27FC236}">
                <a16:creationId xmlns:a16="http://schemas.microsoft.com/office/drawing/2014/main" id="{6386A6D5-6229-82CD-B2E6-5852E252CDED}"/>
              </a:ext>
            </a:extLst>
          </p:cNvPr>
          <p:cNvCxnSpPr>
            <a:cxnSpLocks/>
          </p:cNvCxnSpPr>
          <p:nvPr/>
        </p:nvCxnSpPr>
        <p:spPr bwMode="gray">
          <a:xfrm>
            <a:off x="309195" y="4879115"/>
            <a:ext cx="11448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3" name="btfpColumnHeaderBoxLine984923">
            <a:extLst>
              <a:ext uri="{FF2B5EF4-FFF2-40B4-BE49-F238E27FC236}">
                <a16:creationId xmlns:a16="http://schemas.microsoft.com/office/drawing/2014/main" id="{AA8AA7C9-6091-F5E1-4B9B-8BB34AC89635}"/>
              </a:ext>
            </a:extLst>
          </p:cNvPr>
          <p:cNvCxnSpPr>
            <a:cxnSpLocks/>
          </p:cNvCxnSpPr>
          <p:nvPr/>
        </p:nvCxnSpPr>
        <p:spPr bwMode="gray">
          <a:xfrm>
            <a:off x="295961" y="5577018"/>
            <a:ext cx="11448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4" name="btfpColumnHeaderBoxLine984923">
            <a:extLst>
              <a:ext uri="{FF2B5EF4-FFF2-40B4-BE49-F238E27FC236}">
                <a16:creationId xmlns:a16="http://schemas.microsoft.com/office/drawing/2014/main" id="{2851B76E-57A8-F25A-7E4F-6EB8BB9596A3}"/>
              </a:ext>
            </a:extLst>
          </p:cNvPr>
          <p:cNvCxnSpPr>
            <a:cxnSpLocks/>
          </p:cNvCxnSpPr>
          <p:nvPr/>
        </p:nvCxnSpPr>
        <p:spPr bwMode="gray">
          <a:xfrm>
            <a:off x="286219" y="5923996"/>
            <a:ext cx="11448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A8475E80-780F-177B-13A5-EB03713A77E9}"/>
              </a:ext>
            </a:extLst>
          </p:cNvPr>
          <p:cNvSpPr txBox="1"/>
          <p:nvPr/>
        </p:nvSpPr>
        <p:spPr>
          <a:xfrm>
            <a:off x="1937563" y="1812580"/>
            <a:ext cx="1920240" cy="577081"/>
          </a:xfrm>
          <a:prstGeom prst="rect">
            <a:avLst/>
          </a:prstGeom>
          <a:noFill/>
        </p:spPr>
        <p:txBody>
          <a:bodyPr wrap="square" rtlCol="0">
            <a:spAutoFit/>
          </a:bodyPr>
          <a:lstStyle/>
          <a:p>
            <a:r>
              <a:rPr lang="en-US" sz="1050">
                <a:latin typeface="Arial (body)"/>
              </a:rPr>
              <a:t>Water as coolant and moderator; water stays liquid under pressure</a:t>
            </a:r>
          </a:p>
        </p:txBody>
      </p:sp>
      <p:sp>
        <p:nvSpPr>
          <p:cNvPr id="163" name="TextBox 162">
            <a:extLst>
              <a:ext uri="{FF2B5EF4-FFF2-40B4-BE49-F238E27FC236}">
                <a16:creationId xmlns:a16="http://schemas.microsoft.com/office/drawing/2014/main" id="{4496E56D-218D-512D-91A7-6B6C1F6343DE}"/>
              </a:ext>
            </a:extLst>
          </p:cNvPr>
          <p:cNvSpPr txBox="1"/>
          <p:nvPr/>
        </p:nvSpPr>
        <p:spPr>
          <a:xfrm>
            <a:off x="1937563" y="3200515"/>
            <a:ext cx="1920240"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u="none" strike="noStrike" kern="1200" cap="none" spc="0" normalizeH="0" baseline="0" noProof="0">
                <a:ln>
                  <a:noFill/>
                </a:ln>
                <a:solidFill>
                  <a:prstClr val="black"/>
                </a:solidFill>
                <a:effectLst/>
                <a:uLnTx/>
                <a:uFillTx/>
                <a:latin typeface="Arial (body)"/>
              </a:rPr>
              <a:t>950</a:t>
            </a:r>
          </a:p>
        </p:txBody>
      </p:sp>
      <p:sp>
        <p:nvSpPr>
          <p:cNvPr id="164" name="TextBox 163">
            <a:extLst>
              <a:ext uri="{FF2B5EF4-FFF2-40B4-BE49-F238E27FC236}">
                <a16:creationId xmlns:a16="http://schemas.microsoft.com/office/drawing/2014/main" id="{7C591CFD-2F83-1305-0929-723D09636790}"/>
              </a:ext>
            </a:extLst>
          </p:cNvPr>
          <p:cNvSpPr txBox="1"/>
          <p:nvPr/>
        </p:nvSpPr>
        <p:spPr>
          <a:xfrm>
            <a:off x="1913036" y="1552160"/>
            <a:ext cx="1965960" cy="261610"/>
          </a:xfrm>
          <a:prstGeom prst="rect">
            <a:avLst/>
          </a:prstGeom>
          <a:noFill/>
        </p:spPr>
        <p:txBody>
          <a:bodyPr wrap="square" rtlCol="0">
            <a:spAutoFit/>
          </a:bodyPr>
          <a:lstStyle/>
          <a:p>
            <a:r>
              <a:rPr lang="en-US" sz="1100" b="1">
                <a:latin typeface="Arial (body)"/>
              </a:rPr>
              <a:t>Pressurized water  </a:t>
            </a:r>
            <a:endParaRPr lang="en-US" sz="1100">
              <a:latin typeface="Arial (body)"/>
            </a:endParaRPr>
          </a:p>
        </p:txBody>
      </p:sp>
      <p:sp>
        <p:nvSpPr>
          <p:cNvPr id="165" name="TextBox 164">
            <a:extLst>
              <a:ext uri="{FF2B5EF4-FFF2-40B4-BE49-F238E27FC236}">
                <a16:creationId xmlns:a16="http://schemas.microsoft.com/office/drawing/2014/main" id="{DE42999D-5E21-6654-7111-846CAEF5115C}"/>
              </a:ext>
            </a:extLst>
          </p:cNvPr>
          <p:cNvSpPr txBox="1"/>
          <p:nvPr/>
        </p:nvSpPr>
        <p:spPr>
          <a:xfrm>
            <a:off x="1937563" y="3959123"/>
            <a:ext cx="1920240" cy="738664"/>
          </a:xfrm>
          <a:prstGeom prst="rect">
            <a:avLst/>
          </a:prstGeom>
          <a:noFill/>
        </p:spPr>
        <p:txBody>
          <a:bodyPr wrap="square" rtlCol="0">
            <a:spAutoFit/>
          </a:bodyPr>
          <a:lstStyle/>
          <a:p>
            <a:r>
              <a:rPr lang="en-US" sz="1050">
                <a:latin typeface="Arial (body)"/>
              </a:rPr>
              <a:t>Most common reactor type globally; proven safety systems; high capacity for grid-scale power</a:t>
            </a:r>
          </a:p>
        </p:txBody>
      </p:sp>
      <p:sp>
        <p:nvSpPr>
          <p:cNvPr id="166" name="TextBox 165">
            <a:extLst>
              <a:ext uri="{FF2B5EF4-FFF2-40B4-BE49-F238E27FC236}">
                <a16:creationId xmlns:a16="http://schemas.microsoft.com/office/drawing/2014/main" id="{C716B02D-D51E-3543-E979-72A9A870D98E}"/>
              </a:ext>
            </a:extLst>
          </p:cNvPr>
          <p:cNvSpPr txBox="1"/>
          <p:nvPr/>
        </p:nvSpPr>
        <p:spPr>
          <a:xfrm>
            <a:off x="1937563" y="4905615"/>
            <a:ext cx="1920240" cy="577081"/>
          </a:xfrm>
          <a:prstGeom prst="rect">
            <a:avLst/>
          </a:prstGeom>
          <a:noFill/>
          <a:ln>
            <a:noFill/>
          </a:ln>
        </p:spPr>
        <p:txBody>
          <a:bodyPr wrap="square" rtlCol="0">
            <a:spAutoFit/>
          </a:bodyPr>
          <a:lstStyle/>
          <a:p>
            <a:r>
              <a:rPr lang="en-US" sz="1050">
                <a:latin typeface="Arial (body)"/>
              </a:rPr>
              <a:t>High-pressure operation increases system complexity; large infrastructure footprint</a:t>
            </a:r>
          </a:p>
        </p:txBody>
      </p:sp>
      <p:sp>
        <p:nvSpPr>
          <p:cNvPr id="167" name="Oval 166">
            <a:extLst>
              <a:ext uri="{FF2B5EF4-FFF2-40B4-BE49-F238E27FC236}">
                <a16:creationId xmlns:a16="http://schemas.microsoft.com/office/drawing/2014/main" id="{1F3CEB11-A4E6-8B59-E7FB-410207D9A042}"/>
              </a:ext>
            </a:extLst>
          </p:cNvPr>
          <p:cNvSpPr/>
          <p:nvPr/>
        </p:nvSpPr>
        <p:spPr bwMode="gray">
          <a:xfrm>
            <a:off x="2774391" y="5617784"/>
            <a:ext cx="246585" cy="245551"/>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white"/>
                </a:solidFill>
                <a:effectLst/>
                <a:uLnTx/>
                <a:uFillTx/>
                <a:latin typeface="Arial (body)"/>
              </a:rPr>
              <a:t>H</a:t>
            </a:r>
          </a:p>
        </p:txBody>
      </p:sp>
      <p:sp>
        <p:nvSpPr>
          <p:cNvPr id="168" name="TextBox 167">
            <a:extLst>
              <a:ext uri="{FF2B5EF4-FFF2-40B4-BE49-F238E27FC236}">
                <a16:creationId xmlns:a16="http://schemas.microsoft.com/office/drawing/2014/main" id="{11D7F2F0-D9A9-2F92-FE1D-6EA4550CD00E}"/>
              </a:ext>
            </a:extLst>
          </p:cNvPr>
          <p:cNvSpPr txBox="1"/>
          <p:nvPr/>
        </p:nvSpPr>
        <p:spPr>
          <a:xfrm>
            <a:off x="1937563" y="3689414"/>
            <a:ext cx="1920240" cy="253916"/>
          </a:xfrm>
          <a:prstGeom prst="rect">
            <a:avLst/>
          </a:prstGeom>
          <a:noFill/>
        </p:spPr>
        <p:txBody>
          <a:bodyPr wrap="square" rtlCol="0">
            <a:spAutoFit/>
          </a:bodyPr>
          <a:lstStyle/>
          <a:p>
            <a:pPr lvl="0">
              <a:defRPr/>
            </a:pPr>
            <a:r>
              <a:rPr kumimoji="0" lang="en-US" sz="1050" b="0" u="none" strike="noStrike" kern="1200" cap="none" spc="0" normalizeH="0" baseline="0" noProof="0">
                <a:ln>
                  <a:noFill/>
                </a:ln>
                <a:solidFill>
                  <a:prstClr val="black"/>
                </a:solidFill>
                <a:effectLst/>
                <a:uLnTx/>
                <a:uFillTx/>
                <a:latin typeface="Arial (body)"/>
              </a:rPr>
              <a:t>$50–</a:t>
            </a:r>
            <a:r>
              <a:rPr lang="en-US" sz="1050">
                <a:solidFill>
                  <a:prstClr val="black"/>
                </a:solidFill>
                <a:latin typeface="Arial (body)"/>
              </a:rPr>
              <a:t>$</a:t>
            </a:r>
            <a:r>
              <a:rPr kumimoji="0" lang="en-US" sz="1050" b="0" u="none" strike="noStrike" kern="1200" cap="none" spc="0" normalizeH="0" baseline="0" noProof="0">
                <a:ln>
                  <a:noFill/>
                </a:ln>
                <a:solidFill>
                  <a:prstClr val="black"/>
                </a:solidFill>
                <a:effectLst/>
                <a:uLnTx/>
                <a:uFillTx/>
                <a:latin typeface="Arial (body)"/>
              </a:rPr>
              <a:t>100 per MWh</a:t>
            </a:r>
          </a:p>
        </p:txBody>
      </p:sp>
      <p:sp>
        <p:nvSpPr>
          <p:cNvPr id="169" name="Oval 168">
            <a:extLst>
              <a:ext uri="{FF2B5EF4-FFF2-40B4-BE49-F238E27FC236}">
                <a16:creationId xmlns:a16="http://schemas.microsoft.com/office/drawing/2014/main" id="{C7FB69C3-C4A7-8D08-E4BA-ED67C6743EA6}"/>
              </a:ext>
            </a:extLst>
          </p:cNvPr>
          <p:cNvSpPr/>
          <p:nvPr/>
        </p:nvSpPr>
        <p:spPr bwMode="gray">
          <a:xfrm>
            <a:off x="2774391" y="5998895"/>
            <a:ext cx="246585" cy="245551"/>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white"/>
                </a:solidFill>
                <a:effectLst/>
                <a:uLnTx/>
                <a:uFillTx/>
                <a:latin typeface="Arial (body)"/>
              </a:rPr>
              <a:t>H</a:t>
            </a:r>
          </a:p>
        </p:txBody>
      </p:sp>
      <p:cxnSp>
        <p:nvCxnSpPr>
          <p:cNvPr id="174" name="btfpColumnHeaderBoxLine984923">
            <a:extLst>
              <a:ext uri="{FF2B5EF4-FFF2-40B4-BE49-F238E27FC236}">
                <a16:creationId xmlns:a16="http://schemas.microsoft.com/office/drawing/2014/main" id="{36CDEE52-60E2-ED90-9E6F-EC31E5C2D28D}"/>
              </a:ext>
            </a:extLst>
          </p:cNvPr>
          <p:cNvCxnSpPr>
            <a:cxnSpLocks/>
          </p:cNvCxnSpPr>
          <p:nvPr/>
        </p:nvCxnSpPr>
        <p:spPr bwMode="gray">
          <a:xfrm>
            <a:off x="318911" y="3168252"/>
            <a:ext cx="11448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AD230D91-6E2D-2478-220A-B4525579839D}"/>
              </a:ext>
            </a:extLst>
          </p:cNvPr>
          <p:cNvSpPr/>
          <p:nvPr/>
        </p:nvSpPr>
        <p:spPr bwMode="gray">
          <a:xfrm>
            <a:off x="8704337" y="5978296"/>
            <a:ext cx="246585" cy="245551"/>
          </a:xfrm>
          <a:prstGeom prst="ellipse">
            <a:avLst/>
          </a:prstGeom>
          <a:solidFill>
            <a:srgbClr val="FCCC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black"/>
                </a:solidFill>
                <a:effectLst/>
                <a:uLnTx/>
                <a:uFillTx/>
                <a:latin typeface="Arial (body)"/>
              </a:rPr>
              <a:t>M</a:t>
            </a:r>
          </a:p>
        </p:txBody>
      </p:sp>
    </p:spTree>
    <p:extLst>
      <p:ext uri="{BB962C8B-B14F-4D97-AF65-F5344CB8AC3E}">
        <p14:creationId xmlns:p14="http://schemas.microsoft.com/office/powerpoint/2010/main" val="26826791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D4ADD8-4320-B839-46F5-1DE6BB8A0CB6}"/>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D96274C-BC76-624C-60F4-836B7DFB0B92}"/>
              </a:ext>
            </a:extLst>
          </p:cNvPr>
          <p:cNvGraphicFramePr>
            <a:graphicFrameLocks/>
          </p:cNvGraphicFramePr>
          <p:nvPr>
            <p:custDataLst>
              <p:tags r:id="rId1"/>
            </p:custDataLst>
            <p:extLst>
              <p:ext uri="{D42A27DB-BD31-4B8C-83A1-F6EECF244321}">
                <p14:modId xmlns:p14="http://schemas.microsoft.com/office/powerpoint/2010/main" val="42180669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2" name="think-cell data - do not delete" hidden="1">
                        <a:extLst>
                          <a:ext uri="{FF2B5EF4-FFF2-40B4-BE49-F238E27FC236}">
                            <a16:creationId xmlns:a16="http://schemas.microsoft.com/office/drawing/2014/main" id="{DD96274C-BC76-624C-60F4-836B7DFB0B92}"/>
                          </a:ext>
                        </a:extLst>
                      </p:cNvPr>
                      <p:cNvPicPr/>
                      <p:nvPr/>
                    </p:nvPicPr>
                    <p:blipFill>
                      <a:blip/>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D79653-5A6C-E5C7-10F6-20FCA4EA58F0}"/>
              </a:ext>
            </a:extLst>
          </p:cNvPr>
          <p:cNvSpPr>
            <a:spLocks noGrp="1"/>
          </p:cNvSpPr>
          <p:nvPr>
            <p:ph type="title"/>
          </p:nvPr>
        </p:nvSpPr>
        <p:spPr/>
        <p:txBody>
          <a:bodyPr vert="horz">
            <a:noAutofit/>
          </a:bodyPr>
          <a:lstStyle/>
          <a:p>
            <a:r>
              <a:rPr lang="en-US" b="1">
                <a:latin typeface="Arial (body)"/>
                <a:cs typeface="Arial"/>
              </a:rPr>
              <a:t>HTGRs, LMRs, and MSRs have higher efficiency, produce less nuclear waste, and have versatile industrial applications</a:t>
            </a:r>
          </a:p>
        </p:txBody>
      </p:sp>
      <p:sp>
        <p:nvSpPr>
          <p:cNvPr id="46" name="btfpNotesBox368131">
            <a:hlinkClick r:id="rId6"/>
            <a:extLst>
              <a:ext uri="{FF2B5EF4-FFF2-40B4-BE49-F238E27FC236}">
                <a16:creationId xmlns:a16="http://schemas.microsoft.com/office/drawing/2014/main" id="{E964326D-55F0-D2AD-310F-DACAADF8E8C9}"/>
              </a:ext>
            </a:extLst>
          </p:cNvPr>
          <p:cNvSpPr txBox="1"/>
          <p:nvPr>
            <p:custDataLst>
              <p:tags r:id="rId2"/>
            </p:custDataLst>
          </p:nvPr>
        </p:nvSpPr>
        <p:spPr bwMode="gray">
          <a:xfrm>
            <a:off x="329185" y="6206602"/>
            <a:ext cx="9035796" cy="615553"/>
          </a:xfrm>
          <a:prstGeom prst="rect">
            <a:avLst/>
          </a:prstGeom>
          <a:noFill/>
        </p:spPr>
        <p:txBody>
          <a:bodyPr vert="horz" wrap="square" lIns="0" tIns="0" rIns="0" bIns="0" rtlCol="0" anchor="b">
            <a:spAutoFit/>
          </a:bodyPr>
          <a:lstStyle/>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Quadrennial Technology Review, </a:t>
            </a:r>
            <a:r>
              <a:rPr kumimoji="0" lang="en-US" sz="800" b="0" i="0" u="sng" strike="noStrike" kern="1200" cap="none" spc="0" normalizeH="0" baseline="0" noProof="0" dirty="0">
                <a:ln>
                  <a:noFill/>
                </a:ln>
                <a:solidFill>
                  <a:srgbClr val="1155CC"/>
                </a:solidFill>
                <a:effectLst/>
                <a:uLnTx/>
                <a:uFillTx/>
                <a:latin typeface="Arial" panose="020B0604020202020204" pitchFamily="34" charset="0"/>
                <a:ea typeface="+mn-ea"/>
                <a:cs typeface="+mn-cs"/>
                <a:hlinkClick r:id="rId7"/>
              </a:rPr>
              <a:t>Advancing Clean Electric Power Technologies</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15); IAEA, </a:t>
            </a:r>
            <a:r>
              <a:rPr kumimoji="0" lang="en-US" sz="800" b="0" i="0" u="sng" strike="noStrike" kern="1200" cap="none" spc="0" normalizeH="0" baseline="0" noProof="0" dirty="0">
                <a:ln>
                  <a:noFill/>
                </a:ln>
                <a:solidFill>
                  <a:srgbClr val="1155CC"/>
                </a:solidFill>
                <a:effectLst/>
                <a:uLnTx/>
                <a:uFillTx/>
                <a:latin typeface="Arial" panose="020B0604020202020204" pitchFamily="34" charset="0"/>
                <a:ea typeface="+mn-ea"/>
                <a:cs typeface="+mn-cs"/>
                <a:hlinkClick r:id="rId8"/>
              </a:rPr>
              <a:t>High Temperature Gas Cooled Reactor Fuels and Materials</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10); Idaho National Laboratory, </a:t>
            </a:r>
            <a:r>
              <a:rPr kumimoji="0" lang="en-US" sz="800" b="0" i="0" u="sng" strike="noStrike" kern="1200" cap="none" spc="0" normalizeH="0" baseline="0" noProof="0" dirty="0">
                <a:ln>
                  <a:noFill/>
                </a:ln>
                <a:solidFill>
                  <a:srgbClr val="1155CC"/>
                </a:solidFill>
                <a:effectLst/>
                <a:uLnTx/>
                <a:uFillTx/>
                <a:latin typeface="Arial" panose="020B0604020202020204" pitchFamily="34" charset="0"/>
                <a:ea typeface="+mn-ea"/>
                <a:cs typeface="+mn-cs"/>
                <a:hlinkClick r:id="rId9"/>
              </a:rPr>
              <a:t>Baseline Concept Description of a Small Modular High Temperature Reactor</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14)</a:t>
            </a:r>
            <a:r>
              <a:rPr lang="en-US" sz="800" dirty="0">
                <a:solidFill>
                  <a:srgbClr val="000000"/>
                </a:solidFill>
                <a:latin typeface="Arial"/>
              </a:rPr>
              <a:t>; </a:t>
            </a:r>
            <a:r>
              <a:rPr kumimoji="0" lang="en-US" sz="80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errestrial Energy,</a:t>
            </a:r>
            <a:r>
              <a:rPr kumimoji="0" lang="en-US" sz="8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800" b="0" u="sng" strike="noStrike" kern="1200" cap="none" spc="0" normalizeH="0" baseline="0" noProof="0" dirty="0">
                <a:ln>
                  <a:noFill/>
                </a:ln>
                <a:solidFill>
                  <a:srgbClr val="1155CC"/>
                </a:solidFill>
                <a:effectLst/>
                <a:uLnTx/>
                <a:uFillTx/>
                <a:latin typeface="Arial" panose="020B0604020202020204" pitchFamily="34" charset="0"/>
                <a:ea typeface="+mn-ea"/>
                <a:cs typeface="+mn-cs"/>
                <a:hlinkClick r:id="rId10"/>
              </a:rPr>
              <a:t>Molten salt reactor technology</a:t>
            </a:r>
            <a:r>
              <a:rPr kumimoji="0" lang="en-US" sz="8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24)</a:t>
            </a:r>
            <a:r>
              <a:rPr lang="en-US" sz="800" dirty="0">
                <a:solidFill>
                  <a:srgbClr val="000000"/>
                </a:solidFill>
                <a:latin typeface="Arial"/>
              </a:rPr>
              <a:t>;</a:t>
            </a:r>
            <a:r>
              <a:rPr kumimoji="0" lang="en-US" sz="800" b="0" u="none" strike="noStrike" kern="1200" cap="none" spc="0" normalizeH="0" baseline="0" noProof="0" dirty="0">
                <a:ln>
                  <a:noFill/>
                </a:ln>
                <a:solidFill>
                  <a:srgbClr val="000000"/>
                </a:solidFill>
                <a:effectLst/>
                <a:uLnTx/>
                <a:uFillTx/>
                <a:latin typeface="Arial"/>
                <a:ea typeface="+mn-ea"/>
                <a:cs typeface="+mn-cs"/>
              </a:rPr>
              <a:t> </a:t>
            </a:r>
            <a:r>
              <a:rPr kumimoji="0" lang="en-US" sz="80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AEA</a:t>
            </a:r>
            <a:r>
              <a:rPr lang="en-US" sz="800" b="1" dirty="0">
                <a:solidFill>
                  <a:srgbClr val="000000"/>
                </a:solidFill>
                <a:latin typeface="Arial" panose="020B0604020202020204" pitchFamily="34" charset="0"/>
              </a:rPr>
              <a:t>,</a:t>
            </a:r>
            <a:r>
              <a:rPr kumimoji="0" lang="en-US" sz="8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800" b="0" u="sng" strike="noStrike" kern="1200" cap="none" spc="0" normalizeH="0" baseline="0" noProof="0" dirty="0">
                <a:ln>
                  <a:noFill/>
                </a:ln>
                <a:solidFill>
                  <a:srgbClr val="1155CC"/>
                </a:solidFill>
                <a:effectLst/>
                <a:uLnTx/>
                <a:uFillTx/>
                <a:latin typeface="Arial" panose="020B0604020202020204" pitchFamily="34" charset="0"/>
                <a:ea typeface="+mn-ea"/>
                <a:cs typeface="+mn-cs"/>
                <a:hlinkClick r:id="rId11"/>
              </a:rPr>
              <a:t>Molten salt reactors</a:t>
            </a:r>
            <a:r>
              <a:rPr kumimoji="0" lang="en-US" sz="800" b="0" u="sng" strike="noStrike" kern="1200" cap="none" spc="0" normalizeH="0" baseline="0" noProof="0" dirty="0">
                <a:ln>
                  <a:noFill/>
                </a:ln>
                <a:solidFill>
                  <a:srgbClr val="1155CC"/>
                </a:solidFill>
                <a:effectLst/>
                <a:uLnTx/>
                <a:uFillTx/>
                <a:latin typeface="Arial" panose="020B0604020202020204" pitchFamily="34" charset="0"/>
                <a:ea typeface="+mn-ea"/>
                <a:cs typeface="+mn-cs"/>
              </a:rPr>
              <a:t> </a:t>
            </a:r>
            <a:r>
              <a:rPr kumimoji="0" lang="en-US" sz="8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24)</a:t>
            </a:r>
            <a:r>
              <a:rPr lang="en-US" sz="800" dirty="0">
                <a:solidFill>
                  <a:srgbClr val="000000"/>
                </a:solidFill>
                <a:latin typeface="Arial"/>
              </a:rPr>
              <a:t>;</a:t>
            </a:r>
            <a:r>
              <a:rPr kumimoji="0" lang="en-US" sz="800" b="0" u="none" strike="noStrike" kern="1200" cap="none" spc="0" normalizeH="0" baseline="0" noProof="0" dirty="0">
                <a:ln>
                  <a:noFill/>
                </a:ln>
                <a:solidFill>
                  <a:srgbClr val="000000"/>
                </a:solidFill>
                <a:effectLst/>
                <a:uLnTx/>
                <a:uFillTx/>
                <a:latin typeface="Arial"/>
                <a:ea typeface="+mn-ea"/>
                <a:cs typeface="+mn-cs"/>
              </a:rPr>
              <a:t> </a:t>
            </a:r>
            <a:r>
              <a:rPr kumimoji="0" lang="en-US" sz="80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NA</a:t>
            </a:r>
            <a:r>
              <a:rPr lang="en-US" sz="800" dirty="0">
                <a:solidFill>
                  <a:srgbClr val="000000"/>
                </a:solidFill>
                <a:latin typeface="Arial" panose="020B0604020202020204" pitchFamily="34" charset="0"/>
              </a:rPr>
              <a:t>,</a:t>
            </a:r>
            <a:r>
              <a:rPr kumimoji="0" lang="en-US" sz="8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800" b="0" u="sng" strike="noStrike" kern="1200" cap="none" spc="0" normalizeH="0" baseline="0" noProof="0" dirty="0">
                <a:ln>
                  <a:noFill/>
                </a:ln>
                <a:solidFill>
                  <a:srgbClr val="1155CC"/>
                </a:solidFill>
                <a:effectLst/>
                <a:uLnTx/>
                <a:uFillTx/>
                <a:latin typeface="Arial" panose="020B0604020202020204" pitchFamily="34" charset="0"/>
                <a:ea typeface="+mn-ea"/>
                <a:cs typeface="+mn-cs"/>
                <a:hlinkClick r:id="rId12"/>
              </a:rPr>
              <a:t>Molten salt reactors</a:t>
            </a:r>
            <a:r>
              <a:rPr kumimoji="0" lang="en-US" sz="8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24)</a:t>
            </a:r>
            <a:r>
              <a:rPr lang="en-US" sz="800" dirty="0">
                <a:solidFill>
                  <a:srgbClr val="000000"/>
                </a:solidFill>
                <a:latin typeface="Arial"/>
              </a:rPr>
              <a:t>; </a:t>
            </a:r>
            <a:r>
              <a:rPr kumimoji="0" lang="en-US" sz="80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eneration IV International Forum</a:t>
            </a:r>
            <a:r>
              <a:rPr lang="en-US" sz="800" dirty="0">
                <a:solidFill>
                  <a:srgbClr val="000000"/>
                </a:solidFill>
                <a:latin typeface="Arial" panose="020B0604020202020204" pitchFamily="34" charset="0"/>
              </a:rPr>
              <a:t>,</a:t>
            </a:r>
            <a:r>
              <a:rPr kumimoji="0" lang="en-US" sz="8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800" b="0" u="sng" strike="noStrike" kern="1200" cap="none" spc="0" normalizeH="0" baseline="0" noProof="0" dirty="0">
                <a:ln>
                  <a:noFill/>
                </a:ln>
                <a:solidFill>
                  <a:srgbClr val="1155CC"/>
                </a:solidFill>
                <a:effectLst/>
                <a:uLnTx/>
                <a:uFillTx/>
                <a:latin typeface="Arial" panose="020B0604020202020204" pitchFamily="34" charset="0"/>
                <a:ea typeface="+mn-ea"/>
                <a:cs typeface="+mn-cs"/>
                <a:hlinkClick r:id="rId13"/>
              </a:rPr>
              <a:t>Molten salt reactors (MSR) – Criteria and technologies</a:t>
            </a:r>
            <a:r>
              <a:rPr kumimoji="0" lang="en-US" sz="8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24)</a:t>
            </a:r>
            <a:r>
              <a:rPr lang="en-US" sz="800" dirty="0">
                <a:solidFill>
                  <a:srgbClr val="000000"/>
                </a:solidFill>
                <a:latin typeface="Arial"/>
              </a:rPr>
              <a:t>;</a:t>
            </a:r>
            <a:r>
              <a:rPr kumimoji="0" lang="en-US" sz="800" b="0" u="none" strike="noStrike" kern="1200" cap="none" spc="0" normalizeH="0" baseline="0" noProof="0" dirty="0">
                <a:ln>
                  <a:noFill/>
                </a:ln>
                <a:solidFill>
                  <a:srgbClr val="000000"/>
                </a:solidFill>
                <a:effectLst/>
                <a:uLnTx/>
                <a:uFillTx/>
                <a:latin typeface="Arial"/>
                <a:ea typeface="+mn-ea"/>
                <a:cs typeface="+mn-cs"/>
              </a:rPr>
              <a:t> </a:t>
            </a:r>
            <a:r>
              <a:rPr kumimoji="0" lang="en-US" sz="80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acific Northwest National Laboratory, </a:t>
            </a:r>
            <a:r>
              <a:rPr kumimoji="0" lang="en-US" sz="800" b="0" u="sng" strike="noStrike" kern="1200" cap="none" spc="0" normalizeH="0" baseline="0" noProof="0" dirty="0">
                <a:ln>
                  <a:noFill/>
                </a:ln>
                <a:solidFill>
                  <a:srgbClr val="1155CC"/>
                </a:solidFill>
                <a:effectLst/>
                <a:uLnTx/>
                <a:uFillTx/>
                <a:latin typeface="Arial" panose="020B0604020202020204" pitchFamily="34" charset="0"/>
                <a:ea typeface="+mn-ea"/>
                <a:cs typeface="+mn-cs"/>
                <a:hlinkClick r:id="rId14"/>
              </a:rPr>
              <a:t>Technical report on molten salt reactors</a:t>
            </a:r>
            <a:r>
              <a:rPr kumimoji="0" lang="en-US" sz="8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20)</a:t>
            </a:r>
            <a:r>
              <a:rPr lang="en-US" sz="800" dirty="0">
                <a:solidFill>
                  <a:srgbClr val="000000"/>
                </a:solidFill>
                <a:latin typeface="Arial"/>
              </a:rPr>
              <a:t>;</a:t>
            </a:r>
            <a:r>
              <a:rPr kumimoji="0" lang="en-US" sz="800" b="0" u="none" strike="noStrike" kern="1200" cap="none" spc="0" normalizeH="0" baseline="0" noProof="0" dirty="0">
                <a:ln>
                  <a:noFill/>
                </a:ln>
                <a:solidFill>
                  <a:srgbClr val="000000"/>
                </a:solidFill>
                <a:effectLst/>
                <a:uLnTx/>
                <a:uFillTx/>
                <a:latin typeface="Arial"/>
                <a:ea typeface="+mn-ea"/>
                <a:cs typeface="+mn-cs"/>
              </a:rPr>
              <a:t> </a:t>
            </a:r>
            <a:r>
              <a:rPr kumimoji="0" lang="en-US" sz="80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Moltex</a:t>
            </a:r>
            <a:r>
              <a:rPr kumimoji="0" lang="en-US" sz="80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Energy</a:t>
            </a:r>
            <a:r>
              <a:rPr lang="en-US" sz="800" dirty="0">
                <a:solidFill>
                  <a:srgbClr val="000000"/>
                </a:solidFill>
                <a:latin typeface="Arial" panose="020B0604020202020204" pitchFamily="34" charset="0"/>
              </a:rPr>
              <a:t>,</a:t>
            </a:r>
            <a:r>
              <a:rPr kumimoji="0" lang="en-US" sz="80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800" b="0" u="sng" strike="noStrike" kern="1200" cap="none" spc="0" normalizeH="0" baseline="0" noProof="0" dirty="0" err="1">
                <a:ln>
                  <a:noFill/>
                </a:ln>
                <a:solidFill>
                  <a:srgbClr val="1155CC"/>
                </a:solidFill>
                <a:effectLst/>
                <a:uLnTx/>
                <a:uFillTx/>
                <a:latin typeface="Arial" panose="020B0604020202020204" pitchFamily="34" charset="0"/>
                <a:ea typeface="+mn-ea"/>
                <a:cs typeface="+mn-cs"/>
                <a:hlinkClick r:id="rId15"/>
              </a:rPr>
              <a:t>Moltex</a:t>
            </a:r>
            <a:r>
              <a:rPr kumimoji="0" lang="en-US" sz="800" b="0" u="sng" strike="noStrike" kern="1200" cap="none" spc="0" normalizeH="0" baseline="0" noProof="0" dirty="0">
                <a:ln>
                  <a:noFill/>
                </a:ln>
                <a:solidFill>
                  <a:srgbClr val="1155CC"/>
                </a:solidFill>
                <a:effectLst/>
                <a:uLnTx/>
                <a:uFillTx/>
                <a:latin typeface="Arial" panose="020B0604020202020204" pitchFamily="34" charset="0"/>
                <a:ea typeface="+mn-ea"/>
                <a:cs typeface="+mn-cs"/>
                <a:hlinkClick r:id="rId15"/>
              </a:rPr>
              <a:t> demonstrates reactor’s unique capability to consume nuclear waste and close the fuel cycle</a:t>
            </a:r>
            <a:r>
              <a:rPr kumimoji="0" lang="en-US" sz="8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24)</a:t>
            </a:r>
            <a:r>
              <a:rPr lang="en-US" sz="800" dirty="0">
                <a:solidFill>
                  <a:srgbClr val="000000"/>
                </a:solidFill>
                <a:latin typeface="Arial"/>
              </a:rPr>
              <a:t>; WNA, </a:t>
            </a:r>
            <a:r>
              <a:rPr lang="en-US" sz="800" dirty="0">
                <a:solidFill>
                  <a:srgbClr val="000000"/>
                </a:solidFill>
                <a:latin typeface="Arial"/>
                <a:hlinkClick r:id="rId16"/>
              </a:rPr>
              <a:t>Nuclear Power Reactor Characteristics</a:t>
            </a:r>
            <a:r>
              <a:rPr lang="en-US" sz="800" dirty="0">
                <a:solidFill>
                  <a:srgbClr val="000000"/>
                </a:solidFill>
                <a:latin typeface="Arial"/>
              </a:rPr>
              <a:t> (2016).</a:t>
            </a:r>
            <a:br>
              <a:rPr kumimoji="0" lang="en-US" sz="800" b="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Hinako Arai, </a:t>
            </a:r>
            <a:r>
              <a:rPr kumimoji="0" lang="en-US" sz="800" b="0" i="0" u="none" strike="noStrike" kern="1200" cap="none" spc="0" normalizeH="0" baseline="0" noProof="0" dirty="0" err="1">
                <a:ln>
                  <a:noFill/>
                </a:ln>
                <a:solidFill>
                  <a:srgbClr val="000000"/>
                </a:solidFill>
                <a:effectLst/>
                <a:uLnTx/>
                <a:uFillTx/>
                <a:latin typeface="Arial"/>
                <a:ea typeface="+mn-ea"/>
                <a:cs typeface="+mn-cs"/>
              </a:rPr>
              <a:t>Vedan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Bhansali</a:t>
            </a:r>
            <a:r>
              <a:rPr kumimoji="0" lang="en-US" sz="800" b="0" i="0" u="none" strike="noStrike" kern="1200" cap="none" spc="0" normalizeH="0" baseline="0" noProof="0" dirty="0">
                <a:ln>
                  <a:noFill/>
                </a:ln>
                <a:solidFill>
                  <a:srgbClr val="000000"/>
                </a:solidFill>
                <a:effectLst/>
                <a:uLnTx/>
                <a:uFillTx/>
                <a:latin typeface="Arial"/>
                <a:ea typeface="+mn-ea"/>
                <a:cs typeface="+mn-cs"/>
              </a:rPr>
              <a: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cxnSp>
        <p:nvCxnSpPr>
          <p:cNvPr id="3" name="btfpColumnHeaderBoxLine223027">
            <a:extLst>
              <a:ext uri="{FF2B5EF4-FFF2-40B4-BE49-F238E27FC236}">
                <a16:creationId xmlns:a16="http://schemas.microsoft.com/office/drawing/2014/main" id="{BA8DEB60-A571-BDBD-6F6D-2F94CEB4BF67}"/>
              </a:ext>
            </a:extLst>
          </p:cNvPr>
          <p:cNvCxnSpPr/>
          <p:nvPr/>
        </p:nvCxnSpPr>
        <p:spPr bwMode="gray">
          <a:xfrm>
            <a:off x="379724" y="1682750"/>
            <a:ext cx="919737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8846F0B-7104-777F-9EEC-9D81AB3B5C7E}"/>
              </a:ext>
            </a:extLst>
          </p:cNvPr>
          <p:cNvSpPr txBox="1"/>
          <p:nvPr/>
        </p:nvSpPr>
        <p:spPr bwMode="gray">
          <a:xfrm>
            <a:off x="401638" y="1420813"/>
            <a:ext cx="9870122" cy="307777"/>
          </a:xfrm>
          <a:prstGeom prst="rect">
            <a:avLst/>
          </a:prstGeom>
          <a:noFill/>
        </p:spPr>
        <p:txBody>
          <a:bodyPr wrap="square" lIns="0" tIns="0" rIns="0" bIns="91440" rtlCol="0">
            <a:spAutoFit/>
          </a:bodyPr>
          <a:lstStyle/>
          <a:p>
            <a:pPr>
              <a:spcBef>
                <a:spcPts val="600"/>
              </a:spcBef>
              <a:spcAft>
                <a:spcPts val="600"/>
              </a:spcAft>
              <a:defRPr/>
            </a:pPr>
            <a:r>
              <a:rPr kumimoji="0" lang="en-US" sz="1400" b="1" i="0" u="none" strike="noStrike" kern="1200" cap="none" spc="0" normalizeH="0" baseline="0" noProof="0">
                <a:ln>
                  <a:noFill/>
                </a:ln>
                <a:solidFill>
                  <a:srgbClr val="000000"/>
                </a:solidFill>
                <a:effectLst/>
                <a:uLnTx/>
                <a:uFillTx/>
                <a:latin typeface="Arial (body)"/>
              </a:rPr>
              <a:t>Key </a:t>
            </a:r>
            <a:r>
              <a:rPr lang="en-US" sz="1400" b="1">
                <a:solidFill>
                  <a:srgbClr val="000000"/>
                </a:solidFill>
                <a:latin typeface="Arial (body)"/>
              </a:rPr>
              <a:t>m</a:t>
            </a:r>
            <a:r>
              <a:rPr kumimoji="0" lang="en-US" sz="1400" b="1" i="0" u="none" strike="noStrike" kern="1200" cap="none" spc="0" normalizeH="0" baseline="0" noProof="0" err="1">
                <a:ln>
                  <a:noFill/>
                </a:ln>
                <a:solidFill>
                  <a:srgbClr val="000000"/>
                </a:solidFill>
                <a:effectLst/>
                <a:uLnTx/>
                <a:uFillTx/>
                <a:latin typeface="Arial (body)"/>
              </a:rPr>
              <a:t>etrics</a:t>
            </a:r>
            <a:r>
              <a:rPr kumimoji="0" lang="en-US" sz="1400" b="1" i="0" u="none" strike="noStrike" kern="1200" cap="none" spc="0" normalizeH="0" baseline="0" noProof="0">
                <a:ln>
                  <a:noFill/>
                </a:ln>
                <a:solidFill>
                  <a:srgbClr val="000000"/>
                </a:solidFill>
                <a:effectLst/>
                <a:uLnTx/>
                <a:uFillTx/>
                <a:latin typeface="Arial (body)"/>
              </a:rPr>
              <a:t> comparing different types of nuclear reactors</a:t>
            </a:r>
          </a:p>
        </p:txBody>
      </p:sp>
      <p:sp>
        <p:nvSpPr>
          <p:cNvPr id="58" name="TextBox 57">
            <a:extLst>
              <a:ext uri="{FF2B5EF4-FFF2-40B4-BE49-F238E27FC236}">
                <a16:creationId xmlns:a16="http://schemas.microsoft.com/office/drawing/2014/main" id="{67F2F59C-DBF8-F1A0-AC1A-FCC9BEF67381}"/>
              </a:ext>
            </a:extLst>
          </p:cNvPr>
          <p:cNvSpPr txBox="1"/>
          <p:nvPr/>
        </p:nvSpPr>
        <p:spPr bwMode="gray">
          <a:xfrm>
            <a:off x="2019472" y="2222525"/>
            <a:ext cx="1800000"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solidFill>
                  <a:srgbClr val="000000"/>
                </a:solidFill>
                <a:latin typeface="Arial (body)"/>
                <a:cs typeface="Arial"/>
              </a:rPr>
              <a:t>Pressurized water reactor (PWR) </a:t>
            </a:r>
            <a:endParaRPr kumimoji="0" lang="en-US" sz="1050" b="0" i="0" u="none" strike="noStrike" kern="1200" cap="none" spc="0" normalizeH="0" baseline="0" noProof="0">
              <a:ln>
                <a:noFill/>
              </a:ln>
              <a:solidFill>
                <a:srgbClr val="000000"/>
              </a:solidFill>
              <a:effectLst/>
              <a:uLnTx/>
              <a:uFillTx/>
              <a:latin typeface="Arial (body)"/>
            </a:endParaRPr>
          </a:p>
        </p:txBody>
      </p:sp>
      <p:graphicFrame>
        <p:nvGraphicFramePr>
          <p:cNvPr id="57" name="Table 56">
            <a:extLst>
              <a:ext uri="{FF2B5EF4-FFF2-40B4-BE49-F238E27FC236}">
                <a16:creationId xmlns:a16="http://schemas.microsoft.com/office/drawing/2014/main" id="{4509C3FD-3CE2-1D37-B82A-7E9CAA15B794}"/>
              </a:ext>
            </a:extLst>
          </p:cNvPr>
          <p:cNvGraphicFramePr>
            <a:graphicFrameLocks noGrp="1"/>
          </p:cNvGraphicFramePr>
          <p:nvPr>
            <p:extLst>
              <p:ext uri="{D42A27DB-BD31-4B8C-83A1-F6EECF244321}">
                <p14:modId xmlns:p14="http://schemas.microsoft.com/office/powerpoint/2010/main" val="674551257"/>
              </p:ext>
            </p:extLst>
          </p:nvPr>
        </p:nvGraphicFramePr>
        <p:xfrm>
          <a:off x="1985577" y="3607754"/>
          <a:ext cx="9193870" cy="2180051"/>
        </p:xfrm>
        <a:graphic>
          <a:graphicData uri="http://schemas.openxmlformats.org/drawingml/2006/table">
            <a:tbl>
              <a:tblPr firstRow="1" bandRow="1">
                <a:tableStyleId>{2D5ABB26-0587-4C30-8999-92F81FD0307C}</a:tableStyleId>
              </a:tblPr>
              <a:tblGrid>
                <a:gridCol w="1838774">
                  <a:extLst>
                    <a:ext uri="{9D8B030D-6E8A-4147-A177-3AD203B41FA5}">
                      <a16:colId xmlns:a16="http://schemas.microsoft.com/office/drawing/2014/main" val="1017420688"/>
                    </a:ext>
                  </a:extLst>
                </a:gridCol>
                <a:gridCol w="1838774">
                  <a:extLst>
                    <a:ext uri="{9D8B030D-6E8A-4147-A177-3AD203B41FA5}">
                      <a16:colId xmlns:a16="http://schemas.microsoft.com/office/drawing/2014/main" val="418929515"/>
                    </a:ext>
                  </a:extLst>
                </a:gridCol>
                <a:gridCol w="1838774">
                  <a:extLst>
                    <a:ext uri="{9D8B030D-6E8A-4147-A177-3AD203B41FA5}">
                      <a16:colId xmlns:a16="http://schemas.microsoft.com/office/drawing/2014/main" val="1903206641"/>
                    </a:ext>
                  </a:extLst>
                </a:gridCol>
                <a:gridCol w="1838774">
                  <a:extLst>
                    <a:ext uri="{9D8B030D-6E8A-4147-A177-3AD203B41FA5}">
                      <a16:colId xmlns:a16="http://schemas.microsoft.com/office/drawing/2014/main" val="1564126064"/>
                    </a:ext>
                  </a:extLst>
                </a:gridCol>
                <a:gridCol w="1838774">
                  <a:extLst>
                    <a:ext uri="{9D8B030D-6E8A-4147-A177-3AD203B41FA5}">
                      <a16:colId xmlns:a16="http://schemas.microsoft.com/office/drawing/2014/main" val="2647771764"/>
                    </a:ext>
                  </a:extLst>
                </a:gridCol>
              </a:tblGrid>
              <a:tr h="42333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rial" panose="020B0604020202020204" pitchFamily="34" charset="0"/>
                          <a:cs typeface="Arial" panose="020B0604020202020204" pitchFamily="34" charset="0"/>
                        </a:rPr>
                        <a:t>Pressurized light wat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Light wat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Helium or CO₂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remains ga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00">
                          <a:latin typeface="Arial" panose="020B0604020202020204" pitchFamily="34" charset="0"/>
                          <a:cs typeface="Arial" panose="020B0604020202020204" pitchFamily="34" charset="0"/>
                        </a:rPr>
                        <a:t>Liquid sodium or lead, no moderato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00">
                          <a:latin typeface="Arial" panose="020B0604020202020204" pitchFamily="34" charset="0"/>
                          <a:cs typeface="Arial" panose="020B0604020202020204" pitchFamily="34" charset="0"/>
                        </a:rPr>
                        <a:t>Molten salt with dissolved fissile materia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09658238"/>
                  </a:ext>
                </a:extLst>
              </a:tr>
              <a:tr h="423331">
                <a:tc>
                  <a:txBody>
                    <a:bodyPr/>
                    <a:lstStyle/>
                    <a:p>
                      <a:pPr marL="0" indent="0" algn="ctr">
                        <a:buNone/>
                      </a:pPr>
                      <a:r>
                        <a:rPr lang="en-US" sz="1200">
                          <a:solidFill>
                            <a:schemeClr val="tx1"/>
                          </a:solidFill>
                          <a:latin typeface="Arial" panose="020B0604020202020204" pitchFamily="34" charset="0"/>
                          <a:cs typeface="Arial" panose="020B0604020202020204" pitchFamily="34" charset="0"/>
                        </a:rPr>
                        <a:t>33-3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indent="0" algn="ctr">
                        <a:buNone/>
                      </a:pPr>
                      <a:r>
                        <a:rPr lang="en-US" sz="1200" b="0">
                          <a:solidFill>
                            <a:schemeClr val="tx1"/>
                          </a:solidFill>
                          <a:latin typeface="Arial" panose="020B0604020202020204" pitchFamily="34" charset="0"/>
                          <a:cs typeface="Arial" panose="020B0604020202020204" pitchFamily="34" charset="0"/>
                        </a:rPr>
                        <a:t>3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indent="0" algn="ctr">
                        <a:buNone/>
                      </a:pPr>
                      <a:r>
                        <a:rPr lang="en-US" sz="1200" b="0">
                          <a:solidFill>
                            <a:schemeClr val="bg1"/>
                          </a:solidFill>
                          <a:latin typeface="Arial" panose="020B0604020202020204" pitchFamily="34" charset="0"/>
                          <a:cs typeface="Arial" panose="020B0604020202020204" pitchFamily="34" charset="0"/>
                        </a:rPr>
                        <a:t>~5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a:txBody>
                    <a:bodyPr/>
                    <a:lstStyle/>
                    <a:p>
                      <a:pPr marL="0" indent="0" algn="ctr" defTabSz="711200" rtl="0" eaLnBrk="1" latinLnBrk="0" hangingPunct="1">
                        <a:spcBef>
                          <a:spcPts val="1200"/>
                        </a:spcBef>
                        <a:buNone/>
                      </a:pPr>
                      <a:r>
                        <a:rPr lang="en-US" sz="1200" kern="1200">
                          <a:solidFill>
                            <a:schemeClr val="bg1"/>
                          </a:solidFill>
                          <a:latin typeface="Arial" panose="020B0604020202020204" pitchFamily="34" charset="0"/>
                          <a:ea typeface="+mn-ea"/>
                          <a:cs typeface="Arial" panose="020B0604020202020204" pitchFamily="34" charset="0"/>
                        </a:rPr>
                        <a:t>33-4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indent="0" algn="ctr" defTabSz="711200" rtl="0" eaLnBrk="1" latinLnBrk="0" hangingPunct="1">
                        <a:spcBef>
                          <a:spcPts val="1200"/>
                        </a:spcBef>
                        <a:buNone/>
                      </a:pPr>
                      <a:r>
                        <a:rPr lang="en-US" sz="1200" kern="1200" noProof="0">
                          <a:solidFill>
                            <a:schemeClr val="bg1"/>
                          </a:solidFill>
                          <a:latin typeface="Arial" panose="020B0604020202020204" pitchFamily="34" charset="0"/>
                          <a:ea typeface="+mn-ea"/>
                          <a:cs typeface="Arial" panose="020B0604020202020204" pitchFamily="34" charset="0"/>
                        </a:rPr>
                        <a:t>45-50%</a:t>
                      </a:r>
                      <a:endParaRPr lang="en-US" sz="1200" kern="1200">
                        <a:solidFill>
                          <a:schemeClr val="bg1"/>
                        </a:solidFill>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472463238"/>
                  </a:ext>
                </a:extLst>
              </a:tr>
              <a:tr h="385120">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00">
                          <a:solidFill>
                            <a:schemeClr val="bg1"/>
                          </a:solidFill>
                          <a:latin typeface="Arial" panose="020B0604020202020204" pitchFamily="34" charset="0"/>
                          <a:cs typeface="Arial" panose="020B0604020202020204" pitchFamily="34" charset="0"/>
                        </a:rPr>
                        <a:t>Active safet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indent="0" algn="ctr">
                        <a:buNone/>
                      </a:pPr>
                      <a:r>
                        <a:rPr lang="en-US" sz="1200">
                          <a:solidFill>
                            <a:schemeClr val="bg1"/>
                          </a:solidFill>
                          <a:latin typeface="Arial" panose="020B0604020202020204" pitchFamily="34" charset="0"/>
                          <a:cs typeface="Arial" panose="020B0604020202020204" pitchFamily="34" charset="0"/>
                        </a:rPr>
                        <a:t>Active safet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indent="0" algn="ctr">
                        <a:buNone/>
                      </a:pPr>
                      <a:r>
                        <a:rPr lang="en-US" sz="1200">
                          <a:solidFill>
                            <a:schemeClr val="bg1"/>
                          </a:solidFill>
                          <a:latin typeface="Arial" panose="020B0604020202020204" pitchFamily="34" charset="0"/>
                          <a:cs typeface="Arial" panose="020B0604020202020204" pitchFamily="34" charset="0"/>
                        </a:rPr>
                        <a:t>Passive safet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a:txBody>
                    <a:bodyPr/>
                    <a:lstStyle/>
                    <a:p>
                      <a:pPr marL="0" indent="0" algn="ctr">
                        <a:buNone/>
                      </a:pPr>
                      <a:r>
                        <a:rPr lang="en-US" sz="1200">
                          <a:solidFill>
                            <a:schemeClr val="bg1"/>
                          </a:solidFill>
                          <a:latin typeface="Arial" panose="020B0604020202020204" pitchFamily="34" charset="0"/>
                          <a:cs typeface="Arial" panose="020B0604020202020204" pitchFamily="34" charset="0"/>
                        </a:rPr>
                        <a:t>Passive safet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a:txBody>
                    <a:bodyPr/>
                    <a:lstStyle/>
                    <a:p>
                      <a:pPr marL="0" indent="0" algn="ctr">
                        <a:buNone/>
                      </a:pPr>
                      <a:r>
                        <a:rPr lang="en-US" sz="1200">
                          <a:solidFill>
                            <a:schemeClr val="bg1"/>
                          </a:solidFill>
                          <a:latin typeface="Arial" panose="020B0604020202020204" pitchFamily="34" charset="0"/>
                          <a:cs typeface="Arial" panose="020B0604020202020204" pitchFamily="34" charset="0"/>
                        </a:rPr>
                        <a:t>Passive safety, lower risk of explos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300937432"/>
                  </a:ext>
                </a:extLst>
              </a:tr>
              <a:tr h="385120">
                <a:tc>
                  <a:txBody>
                    <a:bodyPr/>
                    <a:lstStyle/>
                    <a:p>
                      <a:pPr marL="0" indent="0" algn="ctr">
                        <a:buNone/>
                      </a:pPr>
                      <a:r>
                        <a:rPr lang="en-US" sz="1200">
                          <a:solidFill>
                            <a:schemeClr val="tx1"/>
                          </a:solidFill>
                          <a:latin typeface="Arial" panose="020B0604020202020204" pitchFamily="34" charset="0"/>
                          <a:cs typeface="Arial" panose="020B0604020202020204" pitchFamily="34" charset="0"/>
                        </a:rPr>
                        <a:t>High</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indent="0" algn="ctr">
                        <a:buNone/>
                      </a:pPr>
                      <a:r>
                        <a:rPr lang="en-US" sz="1200">
                          <a:solidFill>
                            <a:sysClr val="windowText" lastClr="000000"/>
                          </a:solidFill>
                          <a:latin typeface="Arial" panose="020B0604020202020204" pitchFamily="34" charset="0"/>
                          <a:cs typeface="Arial" panose="020B0604020202020204" pitchFamily="34" charset="0"/>
                        </a:rPr>
                        <a:t>Higher than PW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indent="0" algn="ctr">
                        <a:buNone/>
                      </a:pPr>
                      <a:r>
                        <a:rPr lang="en-US" sz="1200">
                          <a:solidFill>
                            <a:schemeClr val="bg1"/>
                          </a:solidFill>
                          <a:latin typeface="Arial" panose="020B0604020202020204" pitchFamily="34" charset="0"/>
                          <a:cs typeface="Arial" panose="020B0604020202020204" pitchFamily="34" charset="0"/>
                        </a:rPr>
                        <a:t>Low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a:txBody>
                    <a:bodyPr/>
                    <a:lstStyle/>
                    <a:p>
                      <a:pPr marL="0" indent="0" algn="ctr">
                        <a:buNone/>
                      </a:pPr>
                      <a:r>
                        <a:rPr lang="en-US" sz="1200">
                          <a:solidFill>
                            <a:schemeClr val="bg1"/>
                          </a:solidFill>
                          <a:latin typeface="Arial" panose="020B0604020202020204" pitchFamily="34" charset="0"/>
                          <a:cs typeface="Arial" panose="020B0604020202020204" pitchFamily="34" charset="0"/>
                        </a:rPr>
                        <a:t>Low</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a:txBody>
                    <a:bodyPr/>
                    <a:lstStyle/>
                    <a:p>
                      <a:pPr marL="0" indent="0" algn="ctr">
                        <a:buNone/>
                      </a:pPr>
                      <a:r>
                        <a:rPr lang="en-US" sz="1200">
                          <a:solidFill>
                            <a:schemeClr val="bg1"/>
                          </a:solidFill>
                          <a:latin typeface="Arial" panose="020B0604020202020204" pitchFamily="34" charset="0"/>
                          <a:cs typeface="Arial" panose="020B0604020202020204" pitchFamily="34" charset="0"/>
                        </a:rPr>
                        <a:t>Low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342265300"/>
                  </a:ext>
                </a:extLst>
              </a:tr>
              <a:tr h="385120">
                <a:tc>
                  <a:txBody>
                    <a:bodyPr/>
                    <a:lstStyle/>
                    <a:p>
                      <a:pPr marL="0" marR="0" indent="0" algn="ctr" defTabSz="711200" rtl="0" eaLnBrk="1" fontAlgn="auto" latinLnBrk="0" hangingPunct="1">
                        <a:lnSpc>
                          <a:spcPct val="100000"/>
                        </a:lnSpc>
                        <a:spcBef>
                          <a:spcPts val="1200"/>
                        </a:spcBef>
                        <a:spcAft>
                          <a:spcPts val="0"/>
                        </a:spcAft>
                        <a:buClrTx/>
                        <a:buSzTx/>
                        <a:buFontTx/>
                        <a:buNone/>
                        <a:tabLst/>
                        <a:defRPr/>
                      </a:pPr>
                      <a:r>
                        <a:rPr lang="en-US" sz="1200">
                          <a:solidFill>
                            <a:schemeClr val="tx1"/>
                          </a:solidFill>
                          <a:latin typeface="Arial" panose="020B0604020202020204" pitchFamily="34" charset="0"/>
                          <a:cs typeface="Arial" panose="020B0604020202020204" pitchFamily="34" charset="0"/>
                        </a:rPr>
                        <a:t>About 315°C</a:t>
                      </a:r>
                      <a:r>
                        <a:rPr lang="en-US" sz="1200">
                          <a:latin typeface="Arial" panose="020B0604020202020204" pitchFamily="34" charset="0"/>
                          <a:cs typeface="Arial" panose="020B0604020202020204" pitchFamily="34" charset="0"/>
                        </a:rPr>
                        <a:t>, high pressure</a:t>
                      </a:r>
                      <a:endParaRPr lang="en-US" sz="120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711200" rtl="0" eaLnBrk="1" fontAlgn="auto" latinLnBrk="0" hangingPunct="1">
                        <a:lnSpc>
                          <a:spcPct val="100000"/>
                        </a:lnSpc>
                        <a:spcBef>
                          <a:spcPts val="1200"/>
                        </a:spcBef>
                        <a:spcAft>
                          <a:spcPts val="0"/>
                        </a:spcAft>
                        <a:buClrTx/>
                        <a:buSzTx/>
                        <a:buFontTx/>
                        <a:buNone/>
                        <a:tabLst/>
                        <a:defRPr/>
                      </a:pPr>
                      <a:r>
                        <a:rPr lang="en-US" sz="1200">
                          <a:solidFill>
                            <a:schemeClr val="bg1"/>
                          </a:solidFill>
                          <a:latin typeface="Arial" panose="020B0604020202020204" pitchFamily="34" charset="0"/>
                          <a:cs typeface="Arial" panose="020B0604020202020204" pitchFamily="34" charset="0"/>
                        </a:rPr>
                        <a:t>285°C, medium pressur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indent="0" algn="ctr">
                        <a:buNone/>
                      </a:pPr>
                      <a:r>
                        <a:rPr lang="en-US" sz="1200">
                          <a:solidFill>
                            <a:schemeClr val="bg1"/>
                          </a:solidFill>
                          <a:latin typeface="Arial" panose="020B0604020202020204" pitchFamily="34" charset="0"/>
                          <a:cs typeface="Arial" panose="020B0604020202020204" pitchFamily="34" charset="0"/>
                        </a:rPr>
                        <a:t>750-950</a:t>
                      </a:r>
                      <a:r>
                        <a:rPr lang="en-US" sz="1200" kern="1200" noProof="0">
                          <a:solidFill>
                            <a:schemeClr val="bg1"/>
                          </a:solidFill>
                          <a:latin typeface="Arial" panose="020B0604020202020204" pitchFamily="34" charset="0"/>
                          <a:ea typeface="+mn-ea"/>
                          <a:cs typeface="Arial" panose="020B0604020202020204" pitchFamily="34" charset="0"/>
                        </a:rPr>
                        <a:t>°C, low pressure</a:t>
                      </a:r>
                      <a:endParaRPr lang="en-US" sz="120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a:txBody>
                    <a:bodyPr/>
                    <a:lstStyle/>
                    <a:p>
                      <a:pPr marL="0" marR="0" indent="0" algn="ctr" defTabSz="711200" rtl="0" eaLnBrk="1" fontAlgn="auto" latinLnBrk="0" hangingPunct="1">
                        <a:lnSpc>
                          <a:spcPct val="100000"/>
                        </a:lnSpc>
                        <a:spcBef>
                          <a:spcPts val="1200"/>
                        </a:spcBef>
                        <a:spcAft>
                          <a:spcPts val="0"/>
                        </a:spcAft>
                        <a:buClrTx/>
                        <a:buSzTx/>
                        <a:buFontTx/>
                        <a:buNone/>
                        <a:tabLst/>
                        <a:defRPr/>
                      </a:pPr>
                      <a:r>
                        <a:rPr lang="en-US" sz="1200" kern="1200">
                          <a:solidFill>
                            <a:schemeClr val="bg1"/>
                          </a:solidFill>
                          <a:latin typeface="Arial" panose="020B0604020202020204" pitchFamily="34" charset="0"/>
                          <a:ea typeface="+mn-ea"/>
                          <a:cs typeface="Arial" panose="020B0604020202020204" pitchFamily="34" charset="0"/>
                        </a:rPr>
                        <a:t>480-550</a:t>
                      </a:r>
                      <a:r>
                        <a:rPr lang="en-US" sz="1200" kern="1200" noProof="0">
                          <a:solidFill>
                            <a:schemeClr val="bg1"/>
                          </a:solidFill>
                          <a:latin typeface="Arial" panose="020B0604020202020204" pitchFamily="34" charset="0"/>
                          <a:ea typeface="+mn-ea"/>
                          <a:cs typeface="Arial" panose="020B0604020202020204" pitchFamily="34" charset="0"/>
                        </a:rPr>
                        <a:t>°C, l</a:t>
                      </a:r>
                      <a:r>
                        <a:rPr lang="en-US" sz="1200" kern="1200">
                          <a:solidFill>
                            <a:schemeClr val="bg1"/>
                          </a:solidFill>
                          <a:latin typeface="Arial" panose="020B0604020202020204" pitchFamily="34" charset="0"/>
                          <a:ea typeface="+mn-ea"/>
                          <a:cs typeface="Arial" panose="020B0604020202020204" pitchFamily="34" charset="0"/>
                        </a:rPr>
                        <a:t>ow pressure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711200" rtl="0" eaLnBrk="1" fontAlgn="auto" latinLnBrk="0" hangingPunct="1">
                        <a:lnSpc>
                          <a:spcPct val="100000"/>
                        </a:lnSpc>
                        <a:spcBef>
                          <a:spcPts val="1200"/>
                        </a:spcBef>
                        <a:spcAft>
                          <a:spcPts val="0"/>
                        </a:spcAft>
                        <a:buClrTx/>
                        <a:buSzTx/>
                        <a:buFontTx/>
                        <a:buNone/>
                        <a:tabLst/>
                        <a:defRPr/>
                      </a:pPr>
                      <a:r>
                        <a:rPr lang="en-US" sz="1200">
                          <a:solidFill>
                            <a:schemeClr val="bg1"/>
                          </a:solidFill>
                          <a:latin typeface="Arial" panose="020B0604020202020204" pitchFamily="34" charset="0"/>
                          <a:cs typeface="Arial" panose="020B0604020202020204" pitchFamily="34" charset="0"/>
                        </a:rPr>
                        <a:t>~700</a:t>
                      </a:r>
                      <a:r>
                        <a:rPr lang="en-US" sz="1200" kern="1200" noProof="0">
                          <a:solidFill>
                            <a:schemeClr val="bg1"/>
                          </a:solidFill>
                          <a:latin typeface="Arial" panose="020B0604020202020204" pitchFamily="34" charset="0"/>
                          <a:ea typeface="+mn-ea"/>
                          <a:cs typeface="Arial" panose="020B0604020202020204" pitchFamily="34" charset="0"/>
                        </a:rPr>
                        <a:t>°C, low pressure</a:t>
                      </a:r>
                      <a:endParaRPr lang="en-US" sz="1200" kern="1200">
                        <a:solidFill>
                          <a:schemeClr val="bg1"/>
                        </a:solidFill>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3014853760"/>
                  </a:ext>
                </a:extLst>
              </a:tr>
            </a:tbl>
          </a:graphicData>
        </a:graphic>
      </p:graphicFrame>
      <p:sp>
        <p:nvSpPr>
          <p:cNvPr id="59" name="TextBox 58">
            <a:extLst>
              <a:ext uri="{FF2B5EF4-FFF2-40B4-BE49-F238E27FC236}">
                <a16:creationId xmlns:a16="http://schemas.microsoft.com/office/drawing/2014/main" id="{D8CEC27A-CF56-85B6-AD76-0F4668F7A5A4}"/>
              </a:ext>
            </a:extLst>
          </p:cNvPr>
          <p:cNvSpPr txBox="1"/>
          <p:nvPr/>
        </p:nvSpPr>
        <p:spPr bwMode="gray">
          <a:xfrm>
            <a:off x="5589445" y="1727198"/>
            <a:ext cx="1908681"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latin typeface="Arial (body)"/>
              </a:rPr>
              <a:t>High-temperature </a:t>
            </a:r>
            <a:r>
              <a:rPr lang="en-US" sz="1200">
                <a:solidFill>
                  <a:srgbClr val="000000"/>
                </a:solidFill>
                <a:latin typeface="Arial (body)"/>
              </a:rPr>
              <a:t>g</a:t>
            </a:r>
            <a:r>
              <a:rPr kumimoji="0" lang="en-US" sz="1200" i="0" u="none" strike="noStrike" kern="1200" cap="none" spc="0" normalizeH="0" baseline="0" noProof="0">
                <a:ln>
                  <a:noFill/>
                </a:ln>
                <a:solidFill>
                  <a:srgbClr val="000000"/>
                </a:solidFill>
                <a:effectLst/>
                <a:uLnTx/>
                <a:uFillTx/>
                <a:latin typeface="Arial (body)"/>
              </a:rPr>
              <a:t>as-cooled </a:t>
            </a:r>
            <a:r>
              <a:rPr lang="en-US" sz="1200">
                <a:solidFill>
                  <a:srgbClr val="000000"/>
                </a:solidFill>
                <a:latin typeface="Arial (body)"/>
              </a:rPr>
              <a:t>r</a:t>
            </a:r>
            <a:r>
              <a:rPr kumimoji="0" lang="en-US" sz="1200" i="0" u="none" strike="noStrike" kern="1200" cap="none" spc="0" normalizeH="0" baseline="0" noProof="0" err="1">
                <a:ln>
                  <a:noFill/>
                </a:ln>
                <a:solidFill>
                  <a:srgbClr val="000000"/>
                </a:solidFill>
                <a:effectLst/>
                <a:uLnTx/>
                <a:uFillTx/>
                <a:latin typeface="Arial (body)"/>
              </a:rPr>
              <a:t>eactor</a:t>
            </a:r>
            <a:r>
              <a:rPr kumimoji="0" lang="en-US" sz="1200" i="0" u="none" strike="noStrike" kern="1200" cap="none" spc="0" normalizeH="0" baseline="0" noProof="0">
                <a:ln>
                  <a:noFill/>
                </a:ln>
                <a:solidFill>
                  <a:srgbClr val="000000"/>
                </a:solidFill>
                <a:effectLst/>
                <a:uLnTx/>
                <a:uFillTx/>
                <a:latin typeface="Arial (body)"/>
              </a:rPr>
              <a:t> (HTGR)</a:t>
            </a:r>
          </a:p>
        </p:txBody>
      </p:sp>
      <p:sp>
        <p:nvSpPr>
          <p:cNvPr id="60" name="TextBox 59">
            <a:extLst>
              <a:ext uri="{FF2B5EF4-FFF2-40B4-BE49-F238E27FC236}">
                <a16:creationId xmlns:a16="http://schemas.microsoft.com/office/drawing/2014/main" id="{30B6A746-44E1-6850-7E03-64E0A1DC49E1}"/>
              </a:ext>
            </a:extLst>
          </p:cNvPr>
          <p:cNvSpPr txBox="1"/>
          <p:nvPr/>
        </p:nvSpPr>
        <p:spPr bwMode="gray">
          <a:xfrm>
            <a:off x="9308052" y="1737331"/>
            <a:ext cx="18000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Arial (body)"/>
                <a:cs typeface="Arial"/>
              </a:rPr>
              <a:t>Molten salt reactor (MSR)</a:t>
            </a:r>
            <a:endParaRPr kumimoji="0" lang="en-US" sz="1200" b="0" i="0" u="none" strike="noStrike" kern="1200" cap="none" spc="0" normalizeH="0" baseline="0" noProof="0">
              <a:ln>
                <a:noFill/>
              </a:ln>
              <a:solidFill>
                <a:srgbClr val="000000"/>
              </a:solidFill>
              <a:effectLst/>
              <a:uLnTx/>
              <a:uFillTx/>
              <a:latin typeface="Arial (body)"/>
            </a:endParaRPr>
          </a:p>
        </p:txBody>
      </p:sp>
      <p:sp>
        <p:nvSpPr>
          <p:cNvPr id="61" name="TextBox 60">
            <a:extLst>
              <a:ext uri="{FF2B5EF4-FFF2-40B4-BE49-F238E27FC236}">
                <a16:creationId xmlns:a16="http://schemas.microsoft.com/office/drawing/2014/main" id="{D6F5BE43-8B50-1623-FF11-529E2149092A}"/>
              </a:ext>
            </a:extLst>
          </p:cNvPr>
          <p:cNvSpPr txBox="1"/>
          <p:nvPr/>
        </p:nvSpPr>
        <p:spPr bwMode="gray">
          <a:xfrm>
            <a:off x="843683" y="4061649"/>
            <a:ext cx="906131" cy="46166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Arial (body)"/>
                <a:cs typeface="Arial"/>
              </a:rPr>
              <a:t>Thermal efficiency </a:t>
            </a:r>
            <a:endParaRPr kumimoji="0" lang="en-US" sz="1200" b="0" i="0" u="none" strike="noStrike" kern="1200" cap="none" spc="0" normalizeH="0" baseline="0" noProof="0">
              <a:ln>
                <a:noFill/>
              </a:ln>
              <a:solidFill>
                <a:srgbClr val="000000"/>
              </a:solidFill>
              <a:effectLst/>
              <a:uLnTx/>
              <a:uFillTx/>
              <a:latin typeface="Arial (body)"/>
            </a:endParaRPr>
          </a:p>
        </p:txBody>
      </p:sp>
      <p:sp>
        <p:nvSpPr>
          <p:cNvPr id="63" name="TextBox 62">
            <a:extLst>
              <a:ext uri="{FF2B5EF4-FFF2-40B4-BE49-F238E27FC236}">
                <a16:creationId xmlns:a16="http://schemas.microsoft.com/office/drawing/2014/main" id="{EBC1BCF6-DFBF-858E-2039-01A2C76A3E3E}"/>
              </a:ext>
            </a:extLst>
          </p:cNvPr>
          <p:cNvSpPr txBox="1"/>
          <p:nvPr/>
        </p:nvSpPr>
        <p:spPr bwMode="gray">
          <a:xfrm>
            <a:off x="755307" y="5321193"/>
            <a:ext cx="108288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Arial (body)"/>
                <a:cs typeface="Arial"/>
              </a:rPr>
              <a:t>Operating temperature</a:t>
            </a:r>
            <a:endParaRPr kumimoji="0" lang="en-US" sz="1200" b="0" i="0" u="none" strike="noStrike" kern="1200" cap="none" spc="0" normalizeH="0" baseline="0" noProof="0">
              <a:ln>
                <a:noFill/>
              </a:ln>
              <a:solidFill>
                <a:srgbClr val="000000"/>
              </a:solidFill>
              <a:effectLst/>
              <a:uLnTx/>
              <a:uFillTx/>
              <a:latin typeface="Arial (body)"/>
            </a:endParaRPr>
          </a:p>
        </p:txBody>
      </p:sp>
      <p:sp>
        <p:nvSpPr>
          <p:cNvPr id="65" name="TextBox 64">
            <a:extLst>
              <a:ext uri="{FF2B5EF4-FFF2-40B4-BE49-F238E27FC236}">
                <a16:creationId xmlns:a16="http://schemas.microsoft.com/office/drawing/2014/main" id="{23BEA421-E424-D295-96E2-6EFF653D8E20}"/>
              </a:ext>
            </a:extLst>
          </p:cNvPr>
          <p:cNvSpPr txBox="1"/>
          <p:nvPr/>
        </p:nvSpPr>
        <p:spPr bwMode="gray">
          <a:xfrm>
            <a:off x="843683" y="4583145"/>
            <a:ext cx="90613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Arial (body)"/>
              </a:rPr>
              <a:t>Safety</a:t>
            </a:r>
            <a:endParaRPr kumimoji="0" lang="en-US" sz="1200" b="0" i="0" u="none" strike="noStrike" kern="1200" cap="none" spc="0" normalizeH="0" baseline="0" noProof="0">
              <a:ln>
                <a:noFill/>
              </a:ln>
              <a:solidFill>
                <a:srgbClr val="000000"/>
              </a:solidFill>
              <a:effectLst/>
              <a:uLnTx/>
              <a:uFillTx/>
              <a:latin typeface="Arial (body)"/>
            </a:endParaRPr>
          </a:p>
        </p:txBody>
      </p:sp>
      <p:grpSp>
        <p:nvGrpSpPr>
          <p:cNvPr id="67" name="Group 66">
            <a:extLst>
              <a:ext uri="{FF2B5EF4-FFF2-40B4-BE49-F238E27FC236}">
                <a16:creationId xmlns:a16="http://schemas.microsoft.com/office/drawing/2014/main" id="{F243C1D0-E2AA-93CD-853D-44C4F422CD2C}"/>
              </a:ext>
            </a:extLst>
          </p:cNvPr>
          <p:cNvGrpSpPr/>
          <p:nvPr/>
        </p:nvGrpSpPr>
        <p:grpSpPr>
          <a:xfrm>
            <a:off x="315395" y="1836411"/>
            <a:ext cx="1343878" cy="590661"/>
            <a:chOff x="4204572" y="5255118"/>
            <a:chExt cx="1343878" cy="590661"/>
          </a:xfrm>
        </p:grpSpPr>
        <p:sp>
          <p:nvSpPr>
            <p:cNvPr id="68" name="Rectangle 67">
              <a:extLst>
                <a:ext uri="{FF2B5EF4-FFF2-40B4-BE49-F238E27FC236}">
                  <a16:creationId xmlns:a16="http://schemas.microsoft.com/office/drawing/2014/main" id="{AA3E63A0-4348-6303-457F-6D061D724E7B}"/>
                </a:ext>
              </a:extLst>
            </p:cNvPr>
            <p:cNvSpPr/>
            <p:nvPr/>
          </p:nvSpPr>
          <p:spPr bwMode="gray">
            <a:xfrm>
              <a:off x="4277077" y="5446058"/>
              <a:ext cx="396000" cy="21600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body)"/>
              </a:endParaRPr>
            </a:p>
          </p:txBody>
        </p:sp>
        <p:sp>
          <p:nvSpPr>
            <p:cNvPr id="69" name="Rectangle 68">
              <a:extLst>
                <a:ext uri="{FF2B5EF4-FFF2-40B4-BE49-F238E27FC236}">
                  <a16:creationId xmlns:a16="http://schemas.microsoft.com/office/drawing/2014/main" id="{27BCD1C6-E5CE-F646-9EF7-A8349F0FB4A8}"/>
                </a:ext>
              </a:extLst>
            </p:cNvPr>
            <p:cNvSpPr/>
            <p:nvPr/>
          </p:nvSpPr>
          <p:spPr bwMode="gray">
            <a:xfrm>
              <a:off x="4673557" y="5446058"/>
              <a:ext cx="396000" cy="216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body)"/>
              </a:endParaRPr>
            </a:p>
          </p:txBody>
        </p:sp>
        <p:sp>
          <p:nvSpPr>
            <p:cNvPr id="70" name="Rectangle 69">
              <a:extLst>
                <a:ext uri="{FF2B5EF4-FFF2-40B4-BE49-F238E27FC236}">
                  <a16:creationId xmlns:a16="http://schemas.microsoft.com/office/drawing/2014/main" id="{CE41D11F-0219-9E9D-CEAC-9B37FA7EB7B0}"/>
                </a:ext>
              </a:extLst>
            </p:cNvPr>
            <p:cNvSpPr/>
            <p:nvPr/>
          </p:nvSpPr>
          <p:spPr bwMode="gray">
            <a:xfrm>
              <a:off x="5070038" y="5446058"/>
              <a:ext cx="396000" cy="2160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body)"/>
              </a:endParaRPr>
            </a:p>
          </p:txBody>
        </p:sp>
        <p:sp>
          <p:nvSpPr>
            <p:cNvPr id="71" name="TextBox 70">
              <a:extLst>
                <a:ext uri="{FF2B5EF4-FFF2-40B4-BE49-F238E27FC236}">
                  <a16:creationId xmlns:a16="http://schemas.microsoft.com/office/drawing/2014/main" id="{E3152412-66FC-740A-3D21-A1298C3A4FFF}"/>
                </a:ext>
              </a:extLst>
            </p:cNvPr>
            <p:cNvSpPr txBox="1"/>
            <p:nvPr/>
          </p:nvSpPr>
          <p:spPr bwMode="gray">
            <a:xfrm>
              <a:off x="4204572" y="5638054"/>
              <a:ext cx="530904" cy="20005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body)"/>
                  <a:cs typeface="Arial"/>
                </a:rPr>
                <a:t>Low</a:t>
              </a:r>
              <a:endParaRPr kumimoji="0" lang="en-US" sz="700" b="0" i="0" u="none" strike="noStrike" kern="1200" cap="none" spc="0" normalizeH="0" baseline="0" noProof="0">
                <a:ln>
                  <a:noFill/>
                </a:ln>
                <a:solidFill>
                  <a:srgbClr val="000000"/>
                </a:solidFill>
                <a:effectLst/>
                <a:uLnTx/>
                <a:uFillTx/>
                <a:latin typeface="Arial (body)"/>
              </a:endParaRPr>
            </a:p>
          </p:txBody>
        </p:sp>
        <p:sp>
          <p:nvSpPr>
            <p:cNvPr id="73" name="TextBox 72">
              <a:extLst>
                <a:ext uri="{FF2B5EF4-FFF2-40B4-BE49-F238E27FC236}">
                  <a16:creationId xmlns:a16="http://schemas.microsoft.com/office/drawing/2014/main" id="{6A2532BE-F03A-0C1E-B497-F1ACA549BED1}"/>
                </a:ext>
              </a:extLst>
            </p:cNvPr>
            <p:cNvSpPr txBox="1"/>
            <p:nvPr/>
          </p:nvSpPr>
          <p:spPr bwMode="gray">
            <a:xfrm>
              <a:off x="4549408" y="5638717"/>
              <a:ext cx="645204" cy="20005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body)"/>
                  <a:cs typeface="Arial"/>
                </a:rPr>
                <a:t>Moderate</a:t>
              </a:r>
              <a:endParaRPr kumimoji="0" lang="en-US" sz="700" b="0" i="0" u="none" strike="noStrike" kern="1200" cap="none" spc="0" normalizeH="0" baseline="0" noProof="0">
                <a:ln>
                  <a:noFill/>
                </a:ln>
                <a:solidFill>
                  <a:srgbClr val="000000"/>
                </a:solidFill>
                <a:effectLst/>
                <a:uLnTx/>
                <a:uFillTx/>
                <a:latin typeface="Arial (body)"/>
              </a:endParaRPr>
            </a:p>
          </p:txBody>
        </p:sp>
        <p:sp>
          <p:nvSpPr>
            <p:cNvPr id="74" name="TextBox 73">
              <a:extLst>
                <a:ext uri="{FF2B5EF4-FFF2-40B4-BE49-F238E27FC236}">
                  <a16:creationId xmlns:a16="http://schemas.microsoft.com/office/drawing/2014/main" id="{C763881F-CAB4-DE56-4E77-544EBF15C486}"/>
                </a:ext>
              </a:extLst>
            </p:cNvPr>
            <p:cNvSpPr txBox="1"/>
            <p:nvPr/>
          </p:nvSpPr>
          <p:spPr bwMode="gray">
            <a:xfrm>
              <a:off x="5017546" y="5645724"/>
              <a:ext cx="530904" cy="20005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body)"/>
                  <a:cs typeface="Arial"/>
                </a:rPr>
                <a:t>High</a:t>
              </a:r>
              <a:endParaRPr kumimoji="0" lang="en-US" sz="700" b="0" i="0" u="none" strike="noStrike" kern="1200" cap="none" spc="0" normalizeH="0" baseline="0" noProof="0">
                <a:ln>
                  <a:noFill/>
                </a:ln>
                <a:solidFill>
                  <a:srgbClr val="000000"/>
                </a:solidFill>
                <a:effectLst/>
                <a:uLnTx/>
                <a:uFillTx/>
                <a:latin typeface="Arial (body)"/>
              </a:endParaRPr>
            </a:p>
          </p:txBody>
        </p:sp>
        <p:sp>
          <p:nvSpPr>
            <p:cNvPr id="75" name="TextBox 74">
              <a:extLst>
                <a:ext uri="{FF2B5EF4-FFF2-40B4-BE49-F238E27FC236}">
                  <a16:creationId xmlns:a16="http://schemas.microsoft.com/office/drawing/2014/main" id="{78612084-9420-642A-0E3A-8F48C0B29F0C}"/>
                </a:ext>
              </a:extLst>
            </p:cNvPr>
            <p:cNvSpPr txBox="1"/>
            <p:nvPr/>
          </p:nvSpPr>
          <p:spPr bwMode="gray">
            <a:xfrm>
              <a:off x="4464523" y="5255118"/>
              <a:ext cx="828643" cy="20005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body)"/>
                  <a:cs typeface="Arial"/>
                </a:rPr>
                <a:t>Performance</a:t>
              </a:r>
              <a:endParaRPr kumimoji="0" lang="en-US" sz="700" b="0" i="0" u="none" strike="noStrike" kern="1200" cap="none" spc="0" normalizeH="0" baseline="0" noProof="0">
                <a:ln>
                  <a:noFill/>
                </a:ln>
                <a:solidFill>
                  <a:srgbClr val="000000"/>
                </a:solidFill>
                <a:effectLst/>
                <a:uLnTx/>
                <a:uFillTx/>
                <a:latin typeface="Arial (body)"/>
              </a:endParaRPr>
            </a:p>
          </p:txBody>
        </p:sp>
      </p:grpSp>
      <p:sp>
        <p:nvSpPr>
          <p:cNvPr id="82" name="TextBox 81">
            <a:extLst>
              <a:ext uri="{FF2B5EF4-FFF2-40B4-BE49-F238E27FC236}">
                <a16:creationId xmlns:a16="http://schemas.microsoft.com/office/drawing/2014/main" id="{2AC80CA3-B5E0-BE7C-986A-2EB39B608E60}"/>
              </a:ext>
            </a:extLst>
          </p:cNvPr>
          <p:cNvSpPr txBox="1"/>
          <p:nvPr/>
        </p:nvSpPr>
        <p:spPr bwMode="gray">
          <a:xfrm>
            <a:off x="695111" y="5008155"/>
            <a:ext cx="1203275"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Arial (body)"/>
              </a:rPr>
              <a:t>Waste volume</a:t>
            </a:r>
            <a:endParaRPr kumimoji="0" lang="en-US" sz="1200" b="0" i="0" u="none" strike="noStrike" kern="1200" cap="none" spc="0" normalizeH="0" baseline="0" noProof="0">
              <a:ln>
                <a:noFill/>
              </a:ln>
              <a:solidFill>
                <a:srgbClr val="000000"/>
              </a:solidFill>
              <a:effectLst/>
              <a:uLnTx/>
              <a:uFillTx/>
              <a:latin typeface="Arial (body)"/>
            </a:endParaRPr>
          </a:p>
        </p:txBody>
      </p:sp>
      <p:grpSp>
        <p:nvGrpSpPr>
          <p:cNvPr id="5" name="Group 4">
            <a:extLst>
              <a:ext uri="{FF2B5EF4-FFF2-40B4-BE49-F238E27FC236}">
                <a16:creationId xmlns:a16="http://schemas.microsoft.com/office/drawing/2014/main" id="{4D6AACB4-A9CC-345E-3405-80EBA02DC35A}"/>
              </a:ext>
            </a:extLst>
          </p:cNvPr>
          <p:cNvGrpSpPr>
            <a:grpSpLocks noChangeAspect="1"/>
          </p:cNvGrpSpPr>
          <p:nvPr/>
        </p:nvGrpSpPr>
        <p:grpSpPr>
          <a:xfrm>
            <a:off x="2573722" y="2698210"/>
            <a:ext cx="797450" cy="900000"/>
            <a:chOff x="330200" y="1856252"/>
            <a:chExt cx="2737200" cy="4272073"/>
          </a:xfrm>
        </p:grpSpPr>
        <p:grpSp>
          <p:nvGrpSpPr>
            <p:cNvPr id="6" name="Group 5">
              <a:extLst>
                <a:ext uri="{FF2B5EF4-FFF2-40B4-BE49-F238E27FC236}">
                  <a16:creationId xmlns:a16="http://schemas.microsoft.com/office/drawing/2014/main" id="{4A8674FD-B06B-58C7-B3D2-007E49F00F28}"/>
                </a:ext>
              </a:extLst>
            </p:cNvPr>
            <p:cNvGrpSpPr/>
            <p:nvPr/>
          </p:nvGrpSpPr>
          <p:grpSpPr>
            <a:xfrm>
              <a:off x="776191" y="2307816"/>
              <a:ext cx="1087452" cy="1823514"/>
              <a:chOff x="-6339016" y="3773545"/>
              <a:chExt cx="1087452" cy="1823514"/>
            </a:xfrm>
          </p:grpSpPr>
          <p:sp>
            <p:nvSpPr>
              <p:cNvPr id="44" name="Rounded Rectangle 3">
                <a:extLst>
                  <a:ext uri="{FF2B5EF4-FFF2-40B4-BE49-F238E27FC236}">
                    <a16:creationId xmlns:a16="http://schemas.microsoft.com/office/drawing/2014/main" id="{D9C5A219-EC96-F841-CCE8-135A5879B735}"/>
                  </a:ext>
                </a:extLst>
              </p:cNvPr>
              <p:cNvSpPr/>
              <p:nvPr/>
            </p:nvSpPr>
            <p:spPr>
              <a:xfrm>
                <a:off x="-6339016" y="3773545"/>
                <a:ext cx="1087451" cy="1786996"/>
              </a:xfrm>
              <a:prstGeom prst="roundRect">
                <a:avLst/>
              </a:prstGeom>
              <a:solidFill>
                <a:srgbClr val="FBAE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45" name="Rounded Rectangle 4">
                <a:extLst>
                  <a:ext uri="{FF2B5EF4-FFF2-40B4-BE49-F238E27FC236}">
                    <a16:creationId xmlns:a16="http://schemas.microsoft.com/office/drawing/2014/main" id="{11F2B913-1F49-52D2-0DA3-767E6314F6DA}"/>
                  </a:ext>
                </a:extLst>
              </p:cNvPr>
              <p:cNvSpPr/>
              <p:nvPr/>
            </p:nvSpPr>
            <p:spPr>
              <a:xfrm>
                <a:off x="-6339016" y="4373647"/>
                <a:ext cx="1087451" cy="1223412"/>
              </a:xfrm>
              <a:prstGeom prst="roundRect">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51" name="Rectangle 50">
                <a:extLst>
                  <a:ext uri="{FF2B5EF4-FFF2-40B4-BE49-F238E27FC236}">
                    <a16:creationId xmlns:a16="http://schemas.microsoft.com/office/drawing/2014/main" id="{90653BB2-6EDF-FA52-C7A1-4323AC726B9D}"/>
                  </a:ext>
                </a:extLst>
              </p:cNvPr>
              <p:cNvSpPr/>
              <p:nvPr/>
            </p:nvSpPr>
            <p:spPr>
              <a:xfrm>
                <a:off x="-6339016" y="4328001"/>
                <a:ext cx="1087452" cy="256358"/>
              </a:xfrm>
              <a:prstGeom prst="rect">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grpSp>
          <p:nvGrpSpPr>
            <p:cNvPr id="7" name="Group 6">
              <a:extLst>
                <a:ext uri="{FF2B5EF4-FFF2-40B4-BE49-F238E27FC236}">
                  <a16:creationId xmlns:a16="http://schemas.microsoft.com/office/drawing/2014/main" id="{297F24E5-051E-60B9-43C3-68F04872308F}"/>
                </a:ext>
              </a:extLst>
            </p:cNvPr>
            <p:cNvGrpSpPr/>
            <p:nvPr/>
          </p:nvGrpSpPr>
          <p:grpSpPr>
            <a:xfrm>
              <a:off x="1007399" y="1856252"/>
              <a:ext cx="625034" cy="1786987"/>
              <a:chOff x="-6088872" y="3577423"/>
              <a:chExt cx="625034" cy="1279302"/>
            </a:xfrm>
          </p:grpSpPr>
          <p:sp>
            <p:nvSpPr>
              <p:cNvPr id="40" name="Rounded Rectangle 7">
                <a:extLst>
                  <a:ext uri="{FF2B5EF4-FFF2-40B4-BE49-F238E27FC236}">
                    <a16:creationId xmlns:a16="http://schemas.microsoft.com/office/drawing/2014/main" id="{A66FCE20-1C91-7EAF-D95B-1A4ADAEC0054}"/>
                  </a:ext>
                </a:extLst>
              </p:cNvPr>
              <p:cNvSpPr/>
              <p:nvPr/>
            </p:nvSpPr>
            <p:spPr>
              <a:xfrm>
                <a:off x="-6088872"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0" name="Rounded Rectangle 8">
                <a:extLst>
                  <a:ext uri="{FF2B5EF4-FFF2-40B4-BE49-F238E27FC236}">
                    <a16:creationId xmlns:a16="http://schemas.microsoft.com/office/drawing/2014/main" id="{ACF397AE-9B47-B083-4674-CFBEC7E4F54D}"/>
                  </a:ext>
                </a:extLst>
              </p:cNvPr>
              <p:cNvSpPr/>
              <p:nvPr/>
            </p:nvSpPr>
            <p:spPr>
              <a:xfrm>
                <a:off x="-5909696"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6" name="Rounded Rectangle 9">
                <a:extLst>
                  <a:ext uri="{FF2B5EF4-FFF2-40B4-BE49-F238E27FC236}">
                    <a16:creationId xmlns:a16="http://schemas.microsoft.com/office/drawing/2014/main" id="{8B00BBC2-A3D2-7DDF-9C8E-DC085124734D}"/>
                  </a:ext>
                </a:extLst>
              </p:cNvPr>
              <p:cNvSpPr/>
              <p:nvPr/>
            </p:nvSpPr>
            <p:spPr>
              <a:xfrm>
                <a:off x="-5729928"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43" name="Rounded Rectangle 10">
                <a:extLst>
                  <a:ext uri="{FF2B5EF4-FFF2-40B4-BE49-F238E27FC236}">
                    <a16:creationId xmlns:a16="http://schemas.microsoft.com/office/drawing/2014/main" id="{C74A4BF8-B2AD-1664-F22E-A4BEA48F1DEA}"/>
                  </a:ext>
                </a:extLst>
              </p:cNvPr>
              <p:cNvSpPr/>
              <p:nvPr/>
            </p:nvSpPr>
            <p:spPr>
              <a:xfrm>
                <a:off x="-5544796"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sp>
          <p:nvSpPr>
            <p:cNvPr id="8" name="Rounded Rectangle 11">
              <a:extLst>
                <a:ext uri="{FF2B5EF4-FFF2-40B4-BE49-F238E27FC236}">
                  <a16:creationId xmlns:a16="http://schemas.microsoft.com/office/drawing/2014/main" id="{212D9664-47E9-F3A8-915E-B94B306DC99C}"/>
                </a:ext>
              </a:extLst>
            </p:cNvPr>
            <p:cNvSpPr/>
            <p:nvPr/>
          </p:nvSpPr>
          <p:spPr>
            <a:xfrm>
              <a:off x="336881" y="2657912"/>
              <a:ext cx="616103"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1" name="Rounded Rectangle 12">
              <a:extLst>
                <a:ext uri="{FF2B5EF4-FFF2-40B4-BE49-F238E27FC236}">
                  <a16:creationId xmlns:a16="http://schemas.microsoft.com/office/drawing/2014/main" id="{774EFD35-6243-254A-8969-90F24151A2D5}"/>
                </a:ext>
              </a:extLst>
            </p:cNvPr>
            <p:cNvSpPr/>
            <p:nvPr/>
          </p:nvSpPr>
          <p:spPr>
            <a:xfrm rot="16200000">
              <a:off x="-1178560" y="4194104"/>
              <a:ext cx="3108960"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3" name="Rounded Rectangle 13">
              <a:extLst>
                <a:ext uri="{FF2B5EF4-FFF2-40B4-BE49-F238E27FC236}">
                  <a16:creationId xmlns:a16="http://schemas.microsoft.com/office/drawing/2014/main" id="{C4BDB754-7B64-ABB2-6498-8927ACFE38E0}"/>
                </a:ext>
              </a:extLst>
            </p:cNvPr>
            <p:cNvSpPr/>
            <p:nvPr/>
          </p:nvSpPr>
          <p:spPr>
            <a:xfrm>
              <a:off x="336881" y="5702864"/>
              <a:ext cx="616103"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5" name="Round Same Side Corner Rectangle 14">
              <a:extLst>
                <a:ext uri="{FF2B5EF4-FFF2-40B4-BE49-F238E27FC236}">
                  <a16:creationId xmlns:a16="http://schemas.microsoft.com/office/drawing/2014/main" id="{0F24D588-BBC0-A76C-A701-8A4883E71B8F}"/>
                </a:ext>
              </a:extLst>
            </p:cNvPr>
            <p:cNvSpPr/>
            <p:nvPr/>
          </p:nvSpPr>
          <p:spPr>
            <a:xfrm rot="5400000">
              <a:off x="740960" y="5418742"/>
              <a:ext cx="711858" cy="641396"/>
            </a:xfrm>
            <a:prstGeom prst="round2SameRect">
              <a:avLst>
                <a:gd name="adj1" fmla="val 38052"/>
                <a:gd name="adj2" fmla="val 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9" name="Rounded Rectangle 15">
              <a:extLst>
                <a:ext uri="{FF2B5EF4-FFF2-40B4-BE49-F238E27FC236}">
                  <a16:creationId xmlns:a16="http://schemas.microsoft.com/office/drawing/2014/main" id="{36378C29-62A4-A4C9-94C6-2C116D97FCED}"/>
                </a:ext>
              </a:extLst>
            </p:cNvPr>
            <p:cNvSpPr/>
            <p:nvPr/>
          </p:nvSpPr>
          <p:spPr>
            <a:xfrm>
              <a:off x="1045325" y="5693720"/>
              <a:ext cx="1371600"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28" name="Trapezoid 27">
              <a:extLst>
                <a:ext uri="{FF2B5EF4-FFF2-40B4-BE49-F238E27FC236}">
                  <a16:creationId xmlns:a16="http://schemas.microsoft.com/office/drawing/2014/main" id="{79BB1495-618A-651E-3BD1-BBE56F881922}"/>
                </a:ext>
              </a:extLst>
            </p:cNvPr>
            <p:cNvSpPr/>
            <p:nvPr/>
          </p:nvSpPr>
          <p:spPr>
            <a:xfrm rot="16200000">
              <a:off x="1621459" y="5401197"/>
              <a:ext cx="548640" cy="676487"/>
            </a:xfrm>
            <a:prstGeom prst="trapezoid">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29" name="Rounded Rectangle 17">
              <a:extLst>
                <a:ext uri="{FF2B5EF4-FFF2-40B4-BE49-F238E27FC236}">
                  <a16:creationId xmlns:a16="http://schemas.microsoft.com/office/drawing/2014/main" id="{E55B7CEA-357D-78FD-07A0-73004F3A1E2C}"/>
                </a:ext>
              </a:extLst>
            </p:cNvPr>
            <p:cNvSpPr/>
            <p:nvPr/>
          </p:nvSpPr>
          <p:spPr>
            <a:xfrm>
              <a:off x="2326736" y="5372668"/>
              <a:ext cx="740664" cy="755657"/>
            </a:xfrm>
            <a:prstGeom prst="roundRect">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30" name="Rounded Rectangle 18">
              <a:extLst>
                <a:ext uri="{FF2B5EF4-FFF2-40B4-BE49-F238E27FC236}">
                  <a16:creationId xmlns:a16="http://schemas.microsoft.com/office/drawing/2014/main" id="{9E2BB7C0-DB4E-D42E-A03A-6AD2B648AC59}"/>
                </a:ext>
              </a:extLst>
            </p:cNvPr>
            <p:cNvSpPr/>
            <p:nvPr/>
          </p:nvSpPr>
          <p:spPr>
            <a:xfrm rot="5400000">
              <a:off x="1048870" y="4247305"/>
              <a:ext cx="616103" cy="91440"/>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31" name="Rounded Rectangle 19">
              <a:extLst>
                <a:ext uri="{FF2B5EF4-FFF2-40B4-BE49-F238E27FC236}">
                  <a16:creationId xmlns:a16="http://schemas.microsoft.com/office/drawing/2014/main" id="{26E463B3-4CC8-05D2-DC23-A3D4764FA8E9}"/>
                </a:ext>
              </a:extLst>
            </p:cNvPr>
            <p:cNvSpPr/>
            <p:nvPr/>
          </p:nvSpPr>
          <p:spPr>
            <a:xfrm>
              <a:off x="1315095" y="4532259"/>
              <a:ext cx="1280160" cy="91440"/>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32" name="Rounded Rectangle 20">
              <a:extLst>
                <a:ext uri="{FF2B5EF4-FFF2-40B4-BE49-F238E27FC236}">
                  <a16:creationId xmlns:a16="http://schemas.microsoft.com/office/drawing/2014/main" id="{AD1F6190-2E9F-6ED6-860E-42FBA967070D}"/>
                </a:ext>
              </a:extLst>
            </p:cNvPr>
            <p:cNvSpPr/>
            <p:nvPr/>
          </p:nvSpPr>
          <p:spPr>
            <a:xfrm>
              <a:off x="1311201" y="5030515"/>
              <a:ext cx="1280160" cy="91440"/>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36" name="Rounded Rectangle 21">
              <a:extLst>
                <a:ext uri="{FF2B5EF4-FFF2-40B4-BE49-F238E27FC236}">
                  <a16:creationId xmlns:a16="http://schemas.microsoft.com/office/drawing/2014/main" id="{03D2913D-16FA-99DA-6D39-ED6A7E554E00}"/>
                </a:ext>
              </a:extLst>
            </p:cNvPr>
            <p:cNvSpPr/>
            <p:nvPr/>
          </p:nvSpPr>
          <p:spPr>
            <a:xfrm rot="5400000">
              <a:off x="1045624" y="4756193"/>
              <a:ext cx="616103" cy="91440"/>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39" name="Rounded Rectangle 22">
              <a:extLst>
                <a:ext uri="{FF2B5EF4-FFF2-40B4-BE49-F238E27FC236}">
                  <a16:creationId xmlns:a16="http://schemas.microsoft.com/office/drawing/2014/main" id="{BC153783-EAE9-DEBC-8A2C-85C368AF8DF3}"/>
                </a:ext>
              </a:extLst>
            </p:cNvPr>
            <p:cNvSpPr/>
            <p:nvPr/>
          </p:nvSpPr>
          <p:spPr>
            <a:xfrm rot="5400000">
              <a:off x="2273347" y="4780906"/>
              <a:ext cx="548640" cy="91440"/>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grpSp>
        <p:nvGrpSpPr>
          <p:cNvPr id="19" name="Group 18">
            <a:extLst>
              <a:ext uri="{FF2B5EF4-FFF2-40B4-BE49-F238E27FC236}">
                <a16:creationId xmlns:a16="http://schemas.microsoft.com/office/drawing/2014/main" id="{C62AEB95-C50B-B96B-94E6-CA5533068EF0}"/>
              </a:ext>
            </a:extLst>
          </p:cNvPr>
          <p:cNvGrpSpPr>
            <a:grpSpLocks noChangeAspect="1"/>
          </p:cNvGrpSpPr>
          <p:nvPr/>
        </p:nvGrpSpPr>
        <p:grpSpPr>
          <a:xfrm>
            <a:off x="6222131" y="2614233"/>
            <a:ext cx="724949" cy="900000"/>
            <a:chOff x="3332305" y="1856253"/>
            <a:chExt cx="2737200" cy="4272072"/>
          </a:xfrm>
        </p:grpSpPr>
        <p:grpSp>
          <p:nvGrpSpPr>
            <p:cNvPr id="24" name="Group 23">
              <a:extLst>
                <a:ext uri="{FF2B5EF4-FFF2-40B4-BE49-F238E27FC236}">
                  <a16:creationId xmlns:a16="http://schemas.microsoft.com/office/drawing/2014/main" id="{CBF252E9-903D-B681-4D1F-02778957C2FD}"/>
                </a:ext>
              </a:extLst>
            </p:cNvPr>
            <p:cNvGrpSpPr/>
            <p:nvPr/>
          </p:nvGrpSpPr>
          <p:grpSpPr>
            <a:xfrm>
              <a:off x="3778295" y="2307816"/>
              <a:ext cx="1087452" cy="1823514"/>
              <a:chOff x="-6339017" y="3773545"/>
              <a:chExt cx="1087452" cy="1823514"/>
            </a:xfrm>
          </p:grpSpPr>
          <p:sp>
            <p:nvSpPr>
              <p:cNvPr id="80" name="Rounded Rectangle 79">
                <a:extLst>
                  <a:ext uri="{FF2B5EF4-FFF2-40B4-BE49-F238E27FC236}">
                    <a16:creationId xmlns:a16="http://schemas.microsoft.com/office/drawing/2014/main" id="{3664C53A-8FCB-CD61-744F-992E77474D0A}"/>
                  </a:ext>
                </a:extLst>
              </p:cNvPr>
              <p:cNvSpPr/>
              <p:nvPr/>
            </p:nvSpPr>
            <p:spPr>
              <a:xfrm>
                <a:off x="-6339016" y="3773545"/>
                <a:ext cx="1087451" cy="1786996"/>
              </a:xfrm>
              <a:prstGeom prst="roundRect">
                <a:avLst/>
              </a:prstGeom>
              <a:solidFill>
                <a:srgbClr val="BEBE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81" name="Rounded Rectangle 80">
                <a:extLst>
                  <a:ext uri="{FF2B5EF4-FFF2-40B4-BE49-F238E27FC236}">
                    <a16:creationId xmlns:a16="http://schemas.microsoft.com/office/drawing/2014/main" id="{89F9B454-8BAC-95B0-F56B-33F93081FD83}"/>
                  </a:ext>
                </a:extLst>
              </p:cNvPr>
              <p:cNvSpPr/>
              <p:nvPr/>
            </p:nvSpPr>
            <p:spPr>
              <a:xfrm>
                <a:off x="-6339016" y="4845915"/>
                <a:ext cx="1087451" cy="751144"/>
              </a:xfrm>
              <a:prstGeom prst="roundRect">
                <a:avLst/>
              </a:prstGeom>
              <a:solidFill>
                <a:srgbClr val="FBAE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83" name="Rectangle 82">
                <a:extLst>
                  <a:ext uri="{FF2B5EF4-FFF2-40B4-BE49-F238E27FC236}">
                    <a16:creationId xmlns:a16="http://schemas.microsoft.com/office/drawing/2014/main" id="{1D6013AA-2B95-19BF-7D26-FAF3AAFD5F2F}"/>
                  </a:ext>
                </a:extLst>
              </p:cNvPr>
              <p:cNvSpPr/>
              <p:nvPr/>
            </p:nvSpPr>
            <p:spPr>
              <a:xfrm>
                <a:off x="-6339017" y="4775509"/>
                <a:ext cx="1087452" cy="256358"/>
              </a:xfrm>
              <a:prstGeom prst="rect">
                <a:avLst/>
              </a:prstGeom>
              <a:solidFill>
                <a:srgbClr val="FBAE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grpSp>
          <p:nvGrpSpPr>
            <p:cNvPr id="25" name="Group 24">
              <a:extLst>
                <a:ext uri="{FF2B5EF4-FFF2-40B4-BE49-F238E27FC236}">
                  <a16:creationId xmlns:a16="http://schemas.microsoft.com/office/drawing/2014/main" id="{4F5A430D-C675-9C36-91E7-7411B91B3BE5}"/>
                </a:ext>
              </a:extLst>
            </p:cNvPr>
            <p:cNvGrpSpPr/>
            <p:nvPr/>
          </p:nvGrpSpPr>
          <p:grpSpPr>
            <a:xfrm>
              <a:off x="4009504" y="1856253"/>
              <a:ext cx="625034" cy="1242548"/>
              <a:chOff x="-6088872" y="3577423"/>
              <a:chExt cx="625034" cy="1279302"/>
            </a:xfrm>
          </p:grpSpPr>
          <p:sp>
            <p:nvSpPr>
              <p:cNvPr id="76" name="Rounded Rectangle 75">
                <a:extLst>
                  <a:ext uri="{FF2B5EF4-FFF2-40B4-BE49-F238E27FC236}">
                    <a16:creationId xmlns:a16="http://schemas.microsoft.com/office/drawing/2014/main" id="{69295797-B5BA-7ED0-E22D-51C49A6548FC}"/>
                  </a:ext>
                </a:extLst>
              </p:cNvPr>
              <p:cNvSpPr/>
              <p:nvPr/>
            </p:nvSpPr>
            <p:spPr>
              <a:xfrm>
                <a:off x="-6088872"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77" name="Rounded Rectangle 76">
                <a:extLst>
                  <a:ext uri="{FF2B5EF4-FFF2-40B4-BE49-F238E27FC236}">
                    <a16:creationId xmlns:a16="http://schemas.microsoft.com/office/drawing/2014/main" id="{A207CF02-B8B0-4046-D2B2-C3030E352585}"/>
                  </a:ext>
                </a:extLst>
              </p:cNvPr>
              <p:cNvSpPr/>
              <p:nvPr/>
            </p:nvSpPr>
            <p:spPr>
              <a:xfrm>
                <a:off x="-5909696"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78" name="Rounded Rectangle 77">
                <a:extLst>
                  <a:ext uri="{FF2B5EF4-FFF2-40B4-BE49-F238E27FC236}">
                    <a16:creationId xmlns:a16="http://schemas.microsoft.com/office/drawing/2014/main" id="{73BC14D5-5282-C148-B04A-BEC6AD8AF1A3}"/>
                  </a:ext>
                </a:extLst>
              </p:cNvPr>
              <p:cNvSpPr/>
              <p:nvPr/>
            </p:nvSpPr>
            <p:spPr>
              <a:xfrm>
                <a:off x="-5729928"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79" name="Rounded Rectangle 78">
                <a:extLst>
                  <a:ext uri="{FF2B5EF4-FFF2-40B4-BE49-F238E27FC236}">
                    <a16:creationId xmlns:a16="http://schemas.microsoft.com/office/drawing/2014/main" id="{D1E29159-A28E-C93C-AD93-6574D0D0E65C}"/>
                  </a:ext>
                </a:extLst>
              </p:cNvPr>
              <p:cNvSpPr/>
              <p:nvPr/>
            </p:nvSpPr>
            <p:spPr>
              <a:xfrm>
                <a:off x="-5544796"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sp>
          <p:nvSpPr>
            <p:cNvPr id="34" name="Rounded Rectangle 33">
              <a:extLst>
                <a:ext uri="{FF2B5EF4-FFF2-40B4-BE49-F238E27FC236}">
                  <a16:creationId xmlns:a16="http://schemas.microsoft.com/office/drawing/2014/main" id="{831AD3ED-71D1-8C7D-534A-E080D93585C8}"/>
                </a:ext>
              </a:extLst>
            </p:cNvPr>
            <p:cNvSpPr/>
            <p:nvPr/>
          </p:nvSpPr>
          <p:spPr>
            <a:xfrm>
              <a:off x="3338986" y="2657912"/>
              <a:ext cx="616103"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35" name="Rounded Rectangle 34">
              <a:extLst>
                <a:ext uri="{FF2B5EF4-FFF2-40B4-BE49-F238E27FC236}">
                  <a16:creationId xmlns:a16="http://schemas.microsoft.com/office/drawing/2014/main" id="{9342C18A-3BAD-C51D-EFB9-0DB570727E8E}"/>
                </a:ext>
              </a:extLst>
            </p:cNvPr>
            <p:cNvSpPr/>
            <p:nvPr/>
          </p:nvSpPr>
          <p:spPr>
            <a:xfrm rot="16200000">
              <a:off x="1823545" y="4194104"/>
              <a:ext cx="3108960"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37" name="Rounded Rectangle 36">
              <a:extLst>
                <a:ext uri="{FF2B5EF4-FFF2-40B4-BE49-F238E27FC236}">
                  <a16:creationId xmlns:a16="http://schemas.microsoft.com/office/drawing/2014/main" id="{12EC9D70-0AF1-3599-7474-ABD8373D092D}"/>
                </a:ext>
              </a:extLst>
            </p:cNvPr>
            <p:cNvSpPr/>
            <p:nvPr/>
          </p:nvSpPr>
          <p:spPr>
            <a:xfrm>
              <a:off x="3338986" y="5702864"/>
              <a:ext cx="616103"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38" name="Round Same Side Corner Rectangle 37">
              <a:extLst>
                <a:ext uri="{FF2B5EF4-FFF2-40B4-BE49-F238E27FC236}">
                  <a16:creationId xmlns:a16="http://schemas.microsoft.com/office/drawing/2014/main" id="{AD8BE7DD-E300-19FF-431C-5B1CBB2C6676}"/>
                </a:ext>
              </a:extLst>
            </p:cNvPr>
            <p:cNvSpPr/>
            <p:nvPr/>
          </p:nvSpPr>
          <p:spPr>
            <a:xfrm rot="5400000">
              <a:off x="3743065" y="5418742"/>
              <a:ext cx="711858" cy="641396"/>
            </a:xfrm>
            <a:prstGeom prst="round2SameRect">
              <a:avLst>
                <a:gd name="adj1" fmla="val 38052"/>
                <a:gd name="adj2" fmla="val 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47" name="Rounded Rectangle 46">
              <a:extLst>
                <a:ext uri="{FF2B5EF4-FFF2-40B4-BE49-F238E27FC236}">
                  <a16:creationId xmlns:a16="http://schemas.microsoft.com/office/drawing/2014/main" id="{2CE72446-D62B-E412-89D0-C286BB4ADE4B}"/>
                </a:ext>
              </a:extLst>
            </p:cNvPr>
            <p:cNvSpPr/>
            <p:nvPr/>
          </p:nvSpPr>
          <p:spPr>
            <a:xfrm>
              <a:off x="4047430" y="5693720"/>
              <a:ext cx="1371600"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48" name="Trapezoid 47">
              <a:extLst>
                <a:ext uri="{FF2B5EF4-FFF2-40B4-BE49-F238E27FC236}">
                  <a16:creationId xmlns:a16="http://schemas.microsoft.com/office/drawing/2014/main" id="{E4F343EE-A4AE-6D8B-511D-BE46EDDFECF5}"/>
                </a:ext>
              </a:extLst>
            </p:cNvPr>
            <p:cNvSpPr/>
            <p:nvPr/>
          </p:nvSpPr>
          <p:spPr>
            <a:xfrm rot="16200000">
              <a:off x="4623564" y="5401197"/>
              <a:ext cx="548640" cy="676487"/>
            </a:xfrm>
            <a:prstGeom prst="trapezoid">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49" name="Rounded Rectangle 48">
              <a:extLst>
                <a:ext uri="{FF2B5EF4-FFF2-40B4-BE49-F238E27FC236}">
                  <a16:creationId xmlns:a16="http://schemas.microsoft.com/office/drawing/2014/main" id="{03B2C16F-8BC0-BB41-5FBA-966E3B282D0A}"/>
                </a:ext>
              </a:extLst>
            </p:cNvPr>
            <p:cNvSpPr/>
            <p:nvPr/>
          </p:nvSpPr>
          <p:spPr>
            <a:xfrm>
              <a:off x="5328841" y="5372668"/>
              <a:ext cx="740664" cy="755657"/>
            </a:xfrm>
            <a:prstGeom prst="roundRect">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50" name="Rounded Rectangle 49">
              <a:extLst>
                <a:ext uri="{FF2B5EF4-FFF2-40B4-BE49-F238E27FC236}">
                  <a16:creationId xmlns:a16="http://schemas.microsoft.com/office/drawing/2014/main" id="{55D641C0-CE6D-5683-E265-9C134FF2826A}"/>
                </a:ext>
              </a:extLst>
            </p:cNvPr>
            <p:cNvSpPr/>
            <p:nvPr/>
          </p:nvSpPr>
          <p:spPr>
            <a:xfrm rot="5400000">
              <a:off x="4050975" y="4247305"/>
              <a:ext cx="616103" cy="91440"/>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52" name="Rounded Rectangle 51">
              <a:extLst>
                <a:ext uri="{FF2B5EF4-FFF2-40B4-BE49-F238E27FC236}">
                  <a16:creationId xmlns:a16="http://schemas.microsoft.com/office/drawing/2014/main" id="{B099B005-B647-DCA5-2195-B475205D3A1B}"/>
                </a:ext>
              </a:extLst>
            </p:cNvPr>
            <p:cNvSpPr/>
            <p:nvPr/>
          </p:nvSpPr>
          <p:spPr>
            <a:xfrm>
              <a:off x="4672677" y="2664644"/>
              <a:ext cx="457200" cy="91440"/>
            </a:xfrm>
            <a:prstGeom prst="roundRect">
              <a:avLst>
                <a:gd name="adj" fmla="val 50000"/>
              </a:avLst>
            </a:prstGeom>
            <a:solidFill>
              <a:srgbClr val="BEBE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53" name="Rounded Rectangle 52">
              <a:extLst>
                <a:ext uri="{FF2B5EF4-FFF2-40B4-BE49-F238E27FC236}">
                  <a16:creationId xmlns:a16="http://schemas.microsoft.com/office/drawing/2014/main" id="{EE6C2984-94C9-2F41-E69B-61E6DEF5801C}"/>
                </a:ext>
              </a:extLst>
            </p:cNvPr>
            <p:cNvSpPr/>
            <p:nvPr/>
          </p:nvSpPr>
          <p:spPr>
            <a:xfrm>
              <a:off x="4313306" y="5030515"/>
              <a:ext cx="1280160" cy="91440"/>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54" name="Rounded Rectangle 53">
              <a:extLst>
                <a:ext uri="{FF2B5EF4-FFF2-40B4-BE49-F238E27FC236}">
                  <a16:creationId xmlns:a16="http://schemas.microsoft.com/office/drawing/2014/main" id="{CFD265E8-93E4-CA79-87CD-FDB281C5C926}"/>
                </a:ext>
              </a:extLst>
            </p:cNvPr>
            <p:cNvSpPr/>
            <p:nvPr/>
          </p:nvSpPr>
          <p:spPr>
            <a:xfrm rot="5400000">
              <a:off x="4047729" y="4756193"/>
              <a:ext cx="616103" cy="91440"/>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55" name="Rounded Rectangle 54">
              <a:extLst>
                <a:ext uri="{FF2B5EF4-FFF2-40B4-BE49-F238E27FC236}">
                  <a16:creationId xmlns:a16="http://schemas.microsoft.com/office/drawing/2014/main" id="{BA3D5986-458D-EBCC-715E-FF966FB3444B}"/>
                </a:ext>
              </a:extLst>
            </p:cNvPr>
            <p:cNvSpPr/>
            <p:nvPr/>
          </p:nvSpPr>
          <p:spPr>
            <a:xfrm rot="5400000">
              <a:off x="3891883" y="3824115"/>
              <a:ext cx="2391430" cy="82539"/>
            </a:xfrm>
            <a:prstGeom prst="roundRect">
              <a:avLst>
                <a:gd name="adj" fmla="val 50000"/>
              </a:avLst>
            </a:prstGeom>
            <a:solidFill>
              <a:srgbClr val="BEBE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56" name="Rounded Rectangle 55">
              <a:extLst>
                <a:ext uri="{FF2B5EF4-FFF2-40B4-BE49-F238E27FC236}">
                  <a16:creationId xmlns:a16="http://schemas.microsoft.com/office/drawing/2014/main" id="{7119DFD5-AEFD-863D-A4E0-6163CF2D79DC}"/>
                </a:ext>
              </a:extLst>
            </p:cNvPr>
            <p:cNvSpPr/>
            <p:nvPr/>
          </p:nvSpPr>
          <p:spPr>
            <a:xfrm>
              <a:off x="4896043" y="2438659"/>
              <a:ext cx="432798" cy="431542"/>
            </a:xfrm>
            <a:prstGeom prst="roundRect">
              <a:avLst/>
            </a:prstGeom>
            <a:solidFill>
              <a:srgbClr val="BEBE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62" name="Rounded Rectangle 61">
              <a:extLst>
                <a:ext uri="{FF2B5EF4-FFF2-40B4-BE49-F238E27FC236}">
                  <a16:creationId xmlns:a16="http://schemas.microsoft.com/office/drawing/2014/main" id="{376E0AD5-33DE-0AA0-EF94-4D4E1A5E465F}"/>
                </a:ext>
              </a:extLst>
            </p:cNvPr>
            <p:cNvSpPr/>
            <p:nvPr/>
          </p:nvSpPr>
          <p:spPr>
            <a:xfrm>
              <a:off x="4871199" y="4450115"/>
              <a:ext cx="432798" cy="900705"/>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grpSp>
        <p:nvGrpSpPr>
          <p:cNvPr id="85" name="Group 84">
            <a:extLst>
              <a:ext uri="{FF2B5EF4-FFF2-40B4-BE49-F238E27FC236}">
                <a16:creationId xmlns:a16="http://schemas.microsoft.com/office/drawing/2014/main" id="{2300AD18-0AEE-91C2-81D7-1CEFCECFBFDA}"/>
              </a:ext>
            </a:extLst>
          </p:cNvPr>
          <p:cNvGrpSpPr>
            <a:grpSpLocks noChangeAspect="1"/>
          </p:cNvGrpSpPr>
          <p:nvPr/>
        </p:nvGrpSpPr>
        <p:grpSpPr>
          <a:xfrm>
            <a:off x="8163179" y="2614233"/>
            <a:ext cx="724950" cy="900000"/>
            <a:chOff x="6452695" y="1941617"/>
            <a:chExt cx="2737200" cy="4186708"/>
          </a:xfrm>
        </p:grpSpPr>
        <p:sp>
          <p:nvSpPr>
            <p:cNvPr id="88" name="Rounded Rectangle 87">
              <a:extLst>
                <a:ext uri="{FF2B5EF4-FFF2-40B4-BE49-F238E27FC236}">
                  <a16:creationId xmlns:a16="http://schemas.microsoft.com/office/drawing/2014/main" id="{640896EB-1B1B-DA51-8C77-31D0AFC72093}"/>
                </a:ext>
              </a:extLst>
            </p:cNvPr>
            <p:cNvSpPr/>
            <p:nvPr/>
          </p:nvSpPr>
          <p:spPr>
            <a:xfrm>
              <a:off x="6459376" y="5702864"/>
              <a:ext cx="616103"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nvGrpSpPr>
            <p:cNvPr id="89" name="Group 88">
              <a:extLst>
                <a:ext uri="{FF2B5EF4-FFF2-40B4-BE49-F238E27FC236}">
                  <a16:creationId xmlns:a16="http://schemas.microsoft.com/office/drawing/2014/main" id="{0AE54A9A-EFB4-D044-0EFD-EBE087543BC2}"/>
                </a:ext>
              </a:extLst>
            </p:cNvPr>
            <p:cNvGrpSpPr/>
            <p:nvPr/>
          </p:nvGrpSpPr>
          <p:grpSpPr>
            <a:xfrm>
              <a:off x="6452695" y="1941617"/>
              <a:ext cx="2737200" cy="4186708"/>
              <a:chOff x="6452695" y="1941617"/>
              <a:chExt cx="2737200" cy="4186708"/>
            </a:xfrm>
          </p:grpSpPr>
          <p:sp>
            <p:nvSpPr>
              <p:cNvPr id="90" name="Rounded Rectangle 89">
                <a:extLst>
                  <a:ext uri="{FF2B5EF4-FFF2-40B4-BE49-F238E27FC236}">
                    <a16:creationId xmlns:a16="http://schemas.microsoft.com/office/drawing/2014/main" id="{10EC536E-BA45-4011-EDFB-02478E30B21F}"/>
                  </a:ext>
                </a:extLst>
              </p:cNvPr>
              <p:cNvSpPr/>
              <p:nvPr/>
            </p:nvSpPr>
            <p:spPr>
              <a:xfrm>
                <a:off x="6459376" y="2657912"/>
                <a:ext cx="616103"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nvGrpSpPr>
              <p:cNvPr id="91" name="Group 90">
                <a:extLst>
                  <a:ext uri="{FF2B5EF4-FFF2-40B4-BE49-F238E27FC236}">
                    <a16:creationId xmlns:a16="http://schemas.microsoft.com/office/drawing/2014/main" id="{B4547D90-E067-363F-D968-2615935FA48E}"/>
                  </a:ext>
                </a:extLst>
              </p:cNvPr>
              <p:cNvGrpSpPr/>
              <p:nvPr/>
            </p:nvGrpSpPr>
            <p:grpSpPr>
              <a:xfrm>
                <a:off x="6452695" y="1941617"/>
                <a:ext cx="2737200" cy="4186708"/>
                <a:chOff x="6452695" y="1941617"/>
                <a:chExt cx="2737200" cy="4186708"/>
              </a:xfrm>
            </p:grpSpPr>
            <p:sp>
              <p:nvSpPr>
                <p:cNvPr id="92" name="Rounded Rectangle 91">
                  <a:extLst>
                    <a:ext uri="{FF2B5EF4-FFF2-40B4-BE49-F238E27FC236}">
                      <a16:creationId xmlns:a16="http://schemas.microsoft.com/office/drawing/2014/main" id="{66F5C200-593F-B8E5-45D6-1683AC6FA1D9}"/>
                    </a:ext>
                  </a:extLst>
                </p:cNvPr>
                <p:cNvSpPr/>
                <p:nvPr/>
              </p:nvSpPr>
              <p:spPr>
                <a:xfrm>
                  <a:off x="6898686" y="2307816"/>
                  <a:ext cx="1087451" cy="1786996"/>
                </a:xfrm>
                <a:prstGeom prst="roundRect">
                  <a:avLst/>
                </a:prstGeom>
                <a:solidFill>
                  <a:srgbClr val="FBAE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93" name="Rounded Rectangle 92">
                  <a:extLst>
                    <a:ext uri="{FF2B5EF4-FFF2-40B4-BE49-F238E27FC236}">
                      <a16:creationId xmlns:a16="http://schemas.microsoft.com/office/drawing/2014/main" id="{BBBC3D46-2D5A-0E3C-B239-71B244CEDBCE}"/>
                    </a:ext>
                  </a:extLst>
                </p:cNvPr>
                <p:cNvSpPr/>
                <p:nvPr/>
              </p:nvSpPr>
              <p:spPr>
                <a:xfrm rot="16200000">
                  <a:off x="4943935" y="4194104"/>
                  <a:ext cx="3108960"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94" name="Round Same Side Corner Rectangle 93">
                  <a:extLst>
                    <a:ext uri="{FF2B5EF4-FFF2-40B4-BE49-F238E27FC236}">
                      <a16:creationId xmlns:a16="http://schemas.microsoft.com/office/drawing/2014/main" id="{410CCD22-C351-6789-7EEA-AB87C1CF339C}"/>
                    </a:ext>
                  </a:extLst>
                </p:cNvPr>
                <p:cNvSpPr/>
                <p:nvPr/>
              </p:nvSpPr>
              <p:spPr>
                <a:xfrm rot="5400000">
                  <a:off x="6863455" y="5418742"/>
                  <a:ext cx="711858" cy="641396"/>
                </a:xfrm>
                <a:prstGeom prst="round2SameRect">
                  <a:avLst>
                    <a:gd name="adj1" fmla="val 38052"/>
                    <a:gd name="adj2" fmla="val 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95" name="Rounded Rectangle 94">
                  <a:extLst>
                    <a:ext uri="{FF2B5EF4-FFF2-40B4-BE49-F238E27FC236}">
                      <a16:creationId xmlns:a16="http://schemas.microsoft.com/office/drawing/2014/main" id="{8D6A717E-C1AD-E339-3E9B-220C17EA28EE}"/>
                    </a:ext>
                  </a:extLst>
                </p:cNvPr>
                <p:cNvSpPr/>
                <p:nvPr/>
              </p:nvSpPr>
              <p:spPr>
                <a:xfrm>
                  <a:off x="7167820" y="5693720"/>
                  <a:ext cx="1371600"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96" name="Trapezoid 95">
                  <a:extLst>
                    <a:ext uri="{FF2B5EF4-FFF2-40B4-BE49-F238E27FC236}">
                      <a16:creationId xmlns:a16="http://schemas.microsoft.com/office/drawing/2014/main" id="{C13E76A3-30C9-7A38-7848-CD16F0B1BBE2}"/>
                    </a:ext>
                  </a:extLst>
                </p:cNvPr>
                <p:cNvSpPr/>
                <p:nvPr/>
              </p:nvSpPr>
              <p:spPr>
                <a:xfrm rot="16200000">
                  <a:off x="7743954" y="5401197"/>
                  <a:ext cx="548640" cy="676487"/>
                </a:xfrm>
                <a:prstGeom prst="trapezoid">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97" name="Rounded Rectangle 96">
                  <a:extLst>
                    <a:ext uri="{FF2B5EF4-FFF2-40B4-BE49-F238E27FC236}">
                      <a16:creationId xmlns:a16="http://schemas.microsoft.com/office/drawing/2014/main" id="{206B72F0-9D55-F929-7A55-116D64426326}"/>
                    </a:ext>
                  </a:extLst>
                </p:cNvPr>
                <p:cNvSpPr/>
                <p:nvPr/>
              </p:nvSpPr>
              <p:spPr>
                <a:xfrm>
                  <a:off x="8449231" y="5372668"/>
                  <a:ext cx="740664" cy="755657"/>
                </a:xfrm>
                <a:prstGeom prst="roundRect">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98" name="Rounded Rectangle 97">
                  <a:extLst>
                    <a:ext uri="{FF2B5EF4-FFF2-40B4-BE49-F238E27FC236}">
                      <a16:creationId xmlns:a16="http://schemas.microsoft.com/office/drawing/2014/main" id="{35F86DBE-9C53-78EB-85D1-0BAE0FEEC6A7}"/>
                    </a:ext>
                  </a:extLst>
                </p:cNvPr>
                <p:cNvSpPr/>
                <p:nvPr/>
              </p:nvSpPr>
              <p:spPr>
                <a:xfrm>
                  <a:off x="6738309" y="3815315"/>
                  <a:ext cx="1280160"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99" name="Rounded Rectangle 98">
                  <a:extLst>
                    <a:ext uri="{FF2B5EF4-FFF2-40B4-BE49-F238E27FC236}">
                      <a16:creationId xmlns:a16="http://schemas.microsoft.com/office/drawing/2014/main" id="{BC9960C1-AB42-8654-4DAB-C5788CFE97FF}"/>
                    </a:ext>
                  </a:extLst>
                </p:cNvPr>
                <p:cNvSpPr/>
                <p:nvPr/>
              </p:nvSpPr>
              <p:spPr>
                <a:xfrm>
                  <a:off x="6751450" y="4339979"/>
                  <a:ext cx="1280160"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00" name="Rounded Rectangle 99">
                  <a:extLst>
                    <a:ext uri="{FF2B5EF4-FFF2-40B4-BE49-F238E27FC236}">
                      <a16:creationId xmlns:a16="http://schemas.microsoft.com/office/drawing/2014/main" id="{75C14B1D-AF1D-D157-80AF-1BC395EE2BD9}"/>
                    </a:ext>
                  </a:extLst>
                </p:cNvPr>
                <p:cNvSpPr/>
                <p:nvPr/>
              </p:nvSpPr>
              <p:spPr>
                <a:xfrm rot="5400000">
                  <a:off x="6474682" y="4077647"/>
                  <a:ext cx="616103"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01" name="Rounded Rectangle 100">
                  <a:extLst>
                    <a:ext uri="{FF2B5EF4-FFF2-40B4-BE49-F238E27FC236}">
                      <a16:creationId xmlns:a16="http://schemas.microsoft.com/office/drawing/2014/main" id="{1F3A39BE-4229-270B-C145-CBB734E31A98}"/>
                    </a:ext>
                  </a:extLst>
                </p:cNvPr>
                <p:cNvSpPr/>
                <p:nvPr/>
              </p:nvSpPr>
              <p:spPr>
                <a:xfrm rot="5400000">
                  <a:off x="7711570" y="4049890"/>
                  <a:ext cx="548640"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02" name="Rounded Rectangle 101">
                  <a:extLst>
                    <a:ext uri="{FF2B5EF4-FFF2-40B4-BE49-F238E27FC236}">
                      <a16:creationId xmlns:a16="http://schemas.microsoft.com/office/drawing/2014/main" id="{851FD434-EDEF-8A10-4A09-2AFD87979D31}"/>
                    </a:ext>
                  </a:extLst>
                </p:cNvPr>
                <p:cNvSpPr/>
                <p:nvPr/>
              </p:nvSpPr>
              <p:spPr>
                <a:xfrm>
                  <a:off x="7886984" y="2575754"/>
                  <a:ext cx="400540" cy="73150"/>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03" name="Rounded Rectangle 102">
                  <a:extLst>
                    <a:ext uri="{FF2B5EF4-FFF2-40B4-BE49-F238E27FC236}">
                      <a16:creationId xmlns:a16="http://schemas.microsoft.com/office/drawing/2014/main" id="{D56BE4D2-C891-CDC2-000B-B99FA5BE830D}"/>
                    </a:ext>
                  </a:extLst>
                </p:cNvPr>
                <p:cNvSpPr/>
                <p:nvPr/>
              </p:nvSpPr>
              <p:spPr>
                <a:xfrm rot="5400000">
                  <a:off x="7327599" y="3423817"/>
                  <a:ext cx="1913083" cy="91440"/>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04" name="Rounded Rectangle 103">
                  <a:extLst>
                    <a:ext uri="{FF2B5EF4-FFF2-40B4-BE49-F238E27FC236}">
                      <a16:creationId xmlns:a16="http://schemas.microsoft.com/office/drawing/2014/main" id="{EDB68ABA-D246-5CF6-2D14-4A7150072AF1}"/>
                    </a:ext>
                  </a:extLst>
                </p:cNvPr>
                <p:cNvSpPr/>
                <p:nvPr/>
              </p:nvSpPr>
              <p:spPr>
                <a:xfrm>
                  <a:off x="8110350" y="2349769"/>
                  <a:ext cx="379162" cy="345222"/>
                </a:xfrm>
                <a:prstGeom prst="roundRect">
                  <a:avLst/>
                </a:prstGeom>
                <a:solidFill>
                  <a:srgbClr val="BEBE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05" name="Rounded Rectangle 104">
                  <a:extLst>
                    <a:ext uri="{FF2B5EF4-FFF2-40B4-BE49-F238E27FC236}">
                      <a16:creationId xmlns:a16="http://schemas.microsoft.com/office/drawing/2014/main" id="{820A6616-3854-F179-D1BF-F75D0F0A7F06}"/>
                    </a:ext>
                  </a:extLst>
                </p:cNvPr>
                <p:cNvSpPr/>
                <p:nvPr/>
              </p:nvSpPr>
              <p:spPr>
                <a:xfrm>
                  <a:off x="7946438" y="4345005"/>
                  <a:ext cx="365760" cy="91440"/>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nvGrpSpPr>
                <p:cNvPr id="106" name="Group 105">
                  <a:extLst>
                    <a:ext uri="{FF2B5EF4-FFF2-40B4-BE49-F238E27FC236}">
                      <a16:creationId xmlns:a16="http://schemas.microsoft.com/office/drawing/2014/main" id="{24029307-1FD0-72F5-9713-5AC4D7F3F46B}"/>
                    </a:ext>
                  </a:extLst>
                </p:cNvPr>
                <p:cNvGrpSpPr/>
                <p:nvPr/>
              </p:nvGrpSpPr>
              <p:grpSpPr>
                <a:xfrm>
                  <a:off x="7135809" y="1941617"/>
                  <a:ext cx="625034" cy="1242548"/>
                  <a:chOff x="-6088872" y="3577423"/>
                  <a:chExt cx="625034" cy="1279302"/>
                </a:xfrm>
              </p:grpSpPr>
              <p:sp>
                <p:nvSpPr>
                  <p:cNvPr id="107" name="Rounded Rectangle 106">
                    <a:extLst>
                      <a:ext uri="{FF2B5EF4-FFF2-40B4-BE49-F238E27FC236}">
                        <a16:creationId xmlns:a16="http://schemas.microsoft.com/office/drawing/2014/main" id="{93BBDD3E-9EFC-727D-46A7-2AE13A90462C}"/>
                      </a:ext>
                    </a:extLst>
                  </p:cNvPr>
                  <p:cNvSpPr/>
                  <p:nvPr/>
                </p:nvSpPr>
                <p:spPr>
                  <a:xfrm>
                    <a:off x="-6088872"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08" name="Rounded Rectangle 107">
                    <a:extLst>
                      <a:ext uri="{FF2B5EF4-FFF2-40B4-BE49-F238E27FC236}">
                        <a16:creationId xmlns:a16="http://schemas.microsoft.com/office/drawing/2014/main" id="{BFFE94D2-E8BB-CD72-24CF-894456A04D12}"/>
                      </a:ext>
                    </a:extLst>
                  </p:cNvPr>
                  <p:cNvSpPr/>
                  <p:nvPr/>
                </p:nvSpPr>
                <p:spPr>
                  <a:xfrm>
                    <a:off x="-5909696"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09" name="Rounded Rectangle 108">
                    <a:extLst>
                      <a:ext uri="{FF2B5EF4-FFF2-40B4-BE49-F238E27FC236}">
                        <a16:creationId xmlns:a16="http://schemas.microsoft.com/office/drawing/2014/main" id="{E9AE7917-FA6A-4F01-6E3B-187F845AEEA4}"/>
                      </a:ext>
                    </a:extLst>
                  </p:cNvPr>
                  <p:cNvSpPr/>
                  <p:nvPr/>
                </p:nvSpPr>
                <p:spPr>
                  <a:xfrm>
                    <a:off x="-5729928"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10" name="Rounded Rectangle 109">
                    <a:extLst>
                      <a:ext uri="{FF2B5EF4-FFF2-40B4-BE49-F238E27FC236}">
                        <a16:creationId xmlns:a16="http://schemas.microsoft.com/office/drawing/2014/main" id="{504A36A4-5E24-28D1-E078-E9699FCC8E55}"/>
                      </a:ext>
                    </a:extLst>
                  </p:cNvPr>
                  <p:cNvSpPr/>
                  <p:nvPr/>
                </p:nvSpPr>
                <p:spPr>
                  <a:xfrm>
                    <a:off x="-5544796"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grpSp>
        </p:grpSp>
      </p:grpSp>
      <p:grpSp>
        <p:nvGrpSpPr>
          <p:cNvPr id="112" name="Group 111">
            <a:extLst>
              <a:ext uri="{FF2B5EF4-FFF2-40B4-BE49-F238E27FC236}">
                <a16:creationId xmlns:a16="http://schemas.microsoft.com/office/drawing/2014/main" id="{916445A9-CB16-A8FE-B279-8DD148AEFF34}"/>
              </a:ext>
            </a:extLst>
          </p:cNvPr>
          <p:cNvGrpSpPr>
            <a:grpSpLocks noChangeAspect="1"/>
          </p:cNvGrpSpPr>
          <p:nvPr/>
        </p:nvGrpSpPr>
        <p:grpSpPr>
          <a:xfrm>
            <a:off x="9837621" y="2614233"/>
            <a:ext cx="724950" cy="900000"/>
            <a:chOff x="9454800" y="1897660"/>
            <a:chExt cx="2737200" cy="4230665"/>
          </a:xfrm>
        </p:grpSpPr>
        <p:sp>
          <p:nvSpPr>
            <p:cNvPr id="115" name="Rounded Rectangle 114">
              <a:extLst>
                <a:ext uri="{FF2B5EF4-FFF2-40B4-BE49-F238E27FC236}">
                  <a16:creationId xmlns:a16="http://schemas.microsoft.com/office/drawing/2014/main" id="{338D935B-D642-5B36-25F5-EF9BB33404A5}"/>
                </a:ext>
              </a:extLst>
            </p:cNvPr>
            <p:cNvSpPr/>
            <p:nvPr/>
          </p:nvSpPr>
          <p:spPr>
            <a:xfrm>
              <a:off x="9461481" y="2657912"/>
              <a:ext cx="616103"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16" name="Rounded Rectangle 115">
              <a:extLst>
                <a:ext uri="{FF2B5EF4-FFF2-40B4-BE49-F238E27FC236}">
                  <a16:creationId xmlns:a16="http://schemas.microsoft.com/office/drawing/2014/main" id="{9DBF7259-D862-C591-5E5E-248CABFFF939}"/>
                </a:ext>
              </a:extLst>
            </p:cNvPr>
            <p:cNvSpPr/>
            <p:nvPr/>
          </p:nvSpPr>
          <p:spPr>
            <a:xfrm>
              <a:off x="9461481" y="5702864"/>
              <a:ext cx="616103"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nvGrpSpPr>
            <p:cNvPr id="117" name="Group 116">
              <a:extLst>
                <a:ext uri="{FF2B5EF4-FFF2-40B4-BE49-F238E27FC236}">
                  <a16:creationId xmlns:a16="http://schemas.microsoft.com/office/drawing/2014/main" id="{198CD6B2-3E7F-8821-C525-8CBB9503A9B0}"/>
                </a:ext>
              </a:extLst>
            </p:cNvPr>
            <p:cNvGrpSpPr/>
            <p:nvPr/>
          </p:nvGrpSpPr>
          <p:grpSpPr>
            <a:xfrm>
              <a:off x="9454800" y="1897660"/>
              <a:ext cx="2737200" cy="4230665"/>
              <a:chOff x="9454800" y="1897660"/>
              <a:chExt cx="2737200" cy="4230665"/>
            </a:xfrm>
          </p:grpSpPr>
          <p:sp>
            <p:nvSpPr>
              <p:cNvPr id="118" name="Rounded Rectangle 117">
                <a:extLst>
                  <a:ext uri="{FF2B5EF4-FFF2-40B4-BE49-F238E27FC236}">
                    <a16:creationId xmlns:a16="http://schemas.microsoft.com/office/drawing/2014/main" id="{19B237A2-616B-FCC2-2D76-7F889BC53D47}"/>
                  </a:ext>
                </a:extLst>
              </p:cNvPr>
              <p:cNvSpPr/>
              <p:nvPr/>
            </p:nvSpPr>
            <p:spPr>
              <a:xfrm rot="16200000">
                <a:off x="7946040" y="4194104"/>
                <a:ext cx="3108960"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nvGrpSpPr>
              <p:cNvPr id="119" name="Group 118">
                <a:extLst>
                  <a:ext uri="{FF2B5EF4-FFF2-40B4-BE49-F238E27FC236}">
                    <a16:creationId xmlns:a16="http://schemas.microsoft.com/office/drawing/2014/main" id="{4957E7E8-A814-8540-06F8-9988DF46B408}"/>
                  </a:ext>
                </a:extLst>
              </p:cNvPr>
              <p:cNvGrpSpPr/>
              <p:nvPr/>
            </p:nvGrpSpPr>
            <p:grpSpPr>
              <a:xfrm>
                <a:off x="9900791" y="1897660"/>
                <a:ext cx="2291209" cy="4230665"/>
                <a:chOff x="9900791" y="1897660"/>
                <a:chExt cx="2291209" cy="4230665"/>
              </a:xfrm>
            </p:grpSpPr>
            <p:grpSp>
              <p:nvGrpSpPr>
                <p:cNvPr id="120" name="Group 119">
                  <a:extLst>
                    <a:ext uri="{FF2B5EF4-FFF2-40B4-BE49-F238E27FC236}">
                      <a16:creationId xmlns:a16="http://schemas.microsoft.com/office/drawing/2014/main" id="{8AD89980-2C8E-BF30-61FD-D669ABE17637}"/>
                    </a:ext>
                  </a:extLst>
                </p:cNvPr>
                <p:cNvGrpSpPr/>
                <p:nvPr/>
              </p:nvGrpSpPr>
              <p:grpSpPr>
                <a:xfrm>
                  <a:off x="9900791" y="2307816"/>
                  <a:ext cx="1087452" cy="1823513"/>
                  <a:chOff x="-6339016" y="3773545"/>
                  <a:chExt cx="1087452" cy="1823513"/>
                </a:xfrm>
              </p:grpSpPr>
              <p:sp>
                <p:nvSpPr>
                  <p:cNvPr id="140" name="Rounded Rectangle 139">
                    <a:extLst>
                      <a:ext uri="{FF2B5EF4-FFF2-40B4-BE49-F238E27FC236}">
                        <a16:creationId xmlns:a16="http://schemas.microsoft.com/office/drawing/2014/main" id="{C8818F0A-A562-03EF-E6DD-E717159398EB}"/>
                      </a:ext>
                    </a:extLst>
                  </p:cNvPr>
                  <p:cNvSpPr/>
                  <p:nvPr/>
                </p:nvSpPr>
                <p:spPr>
                  <a:xfrm>
                    <a:off x="-6339016" y="3773545"/>
                    <a:ext cx="1087451" cy="1786996"/>
                  </a:xfrm>
                  <a:prstGeom prst="roundRect">
                    <a:avLst/>
                  </a:prstGeom>
                  <a:solidFill>
                    <a:srgbClr val="FBAE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41" name="Rounded Rectangle 140">
                    <a:extLst>
                      <a:ext uri="{FF2B5EF4-FFF2-40B4-BE49-F238E27FC236}">
                        <a16:creationId xmlns:a16="http://schemas.microsoft.com/office/drawing/2014/main" id="{32B27F02-6A1F-DF57-F5BB-7F36972D419F}"/>
                      </a:ext>
                    </a:extLst>
                  </p:cNvPr>
                  <p:cNvSpPr/>
                  <p:nvPr/>
                </p:nvSpPr>
                <p:spPr>
                  <a:xfrm>
                    <a:off x="-6339016" y="4758943"/>
                    <a:ext cx="1087451" cy="838115"/>
                  </a:xfrm>
                  <a:prstGeom prst="roundRect">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42" name="Rectangle 141">
                    <a:extLst>
                      <a:ext uri="{FF2B5EF4-FFF2-40B4-BE49-F238E27FC236}">
                        <a16:creationId xmlns:a16="http://schemas.microsoft.com/office/drawing/2014/main" id="{628FC8C5-4ECB-87B5-19E4-791568B0A74F}"/>
                      </a:ext>
                    </a:extLst>
                  </p:cNvPr>
                  <p:cNvSpPr/>
                  <p:nvPr/>
                </p:nvSpPr>
                <p:spPr>
                  <a:xfrm>
                    <a:off x="-6339016" y="4682644"/>
                    <a:ext cx="1087452" cy="256358"/>
                  </a:xfrm>
                  <a:prstGeom prst="rect">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sp>
              <p:nvSpPr>
                <p:cNvPr id="121" name="Round Same Side Corner Rectangle 120">
                  <a:extLst>
                    <a:ext uri="{FF2B5EF4-FFF2-40B4-BE49-F238E27FC236}">
                      <a16:creationId xmlns:a16="http://schemas.microsoft.com/office/drawing/2014/main" id="{4B2AE148-61E9-69A1-CA28-6E359A120177}"/>
                    </a:ext>
                  </a:extLst>
                </p:cNvPr>
                <p:cNvSpPr/>
                <p:nvPr/>
              </p:nvSpPr>
              <p:spPr>
                <a:xfrm rot="5400000">
                  <a:off x="9865560" y="5418742"/>
                  <a:ext cx="711858" cy="641396"/>
                </a:xfrm>
                <a:prstGeom prst="round2SameRect">
                  <a:avLst>
                    <a:gd name="adj1" fmla="val 38052"/>
                    <a:gd name="adj2" fmla="val 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22" name="Rounded Rectangle 121">
                  <a:extLst>
                    <a:ext uri="{FF2B5EF4-FFF2-40B4-BE49-F238E27FC236}">
                      <a16:creationId xmlns:a16="http://schemas.microsoft.com/office/drawing/2014/main" id="{26131012-E699-FA24-D2ED-82A8E3DC743D}"/>
                    </a:ext>
                  </a:extLst>
                </p:cNvPr>
                <p:cNvSpPr/>
                <p:nvPr/>
              </p:nvSpPr>
              <p:spPr>
                <a:xfrm>
                  <a:off x="10169925" y="5693720"/>
                  <a:ext cx="1371600" cy="91440"/>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23" name="Trapezoid 122">
                  <a:extLst>
                    <a:ext uri="{FF2B5EF4-FFF2-40B4-BE49-F238E27FC236}">
                      <a16:creationId xmlns:a16="http://schemas.microsoft.com/office/drawing/2014/main" id="{1C6E6F37-CC01-C43F-DA84-A3B0D15E807C}"/>
                    </a:ext>
                  </a:extLst>
                </p:cNvPr>
                <p:cNvSpPr/>
                <p:nvPr/>
              </p:nvSpPr>
              <p:spPr>
                <a:xfrm rot="16200000">
                  <a:off x="10746059" y="5401197"/>
                  <a:ext cx="548640" cy="676487"/>
                </a:xfrm>
                <a:prstGeom prst="trapezoid">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24" name="Rounded Rectangle 123">
                  <a:extLst>
                    <a:ext uri="{FF2B5EF4-FFF2-40B4-BE49-F238E27FC236}">
                      <a16:creationId xmlns:a16="http://schemas.microsoft.com/office/drawing/2014/main" id="{9A9D49BA-0354-4B13-953B-EFF6ECA1647B}"/>
                    </a:ext>
                  </a:extLst>
                </p:cNvPr>
                <p:cNvSpPr/>
                <p:nvPr/>
              </p:nvSpPr>
              <p:spPr>
                <a:xfrm>
                  <a:off x="11451336" y="5372668"/>
                  <a:ext cx="740664" cy="755657"/>
                </a:xfrm>
                <a:prstGeom prst="roundRect">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25" name="Rounded Rectangle 124">
                  <a:extLst>
                    <a:ext uri="{FF2B5EF4-FFF2-40B4-BE49-F238E27FC236}">
                      <a16:creationId xmlns:a16="http://schemas.microsoft.com/office/drawing/2014/main" id="{BCCB81DB-273D-7C44-454A-66BAE285BE3D}"/>
                    </a:ext>
                  </a:extLst>
                </p:cNvPr>
                <p:cNvSpPr/>
                <p:nvPr/>
              </p:nvSpPr>
              <p:spPr>
                <a:xfrm rot="5400000">
                  <a:off x="10173470" y="4247305"/>
                  <a:ext cx="616103" cy="91440"/>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26" name="Rounded Rectangle 125">
                  <a:extLst>
                    <a:ext uri="{FF2B5EF4-FFF2-40B4-BE49-F238E27FC236}">
                      <a16:creationId xmlns:a16="http://schemas.microsoft.com/office/drawing/2014/main" id="{A85DC1BC-7D63-4238-854E-10DD66CBBE8E}"/>
                    </a:ext>
                  </a:extLst>
                </p:cNvPr>
                <p:cNvSpPr/>
                <p:nvPr/>
              </p:nvSpPr>
              <p:spPr>
                <a:xfrm>
                  <a:off x="10439695" y="4532259"/>
                  <a:ext cx="1280160" cy="91440"/>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27" name="Rounded Rectangle 126">
                  <a:extLst>
                    <a:ext uri="{FF2B5EF4-FFF2-40B4-BE49-F238E27FC236}">
                      <a16:creationId xmlns:a16="http://schemas.microsoft.com/office/drawing/2014/main" id="{2CD53B47-BE53-1301-2E2A-E74546959C9E}"/>
                    </a:ext>
                  </a:extLst>
                </p:cNvPr>
                <p:cNvSpPr/>
                <p:nvPr/>
              </p:nvSpPr>
              <p:spPr>
                <a:xfrm>
                  <a:off x="10435801" y="5030515"/>
                  <a:ext cx="1280160" cy="91440"/>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28" name="Rounded Rectangle 127">
                  <a:extLst>
                    <a:ext uri="{FF2B5EF4-FFF2-40B4-BE49-F238E27FC236}">
                      <a16:creationId xmlns:a16="http://schemas.microsoft.com/office/drawing/2014/main" id="{31A30B31-6D58-396A-DDBA-B97AD3666711}"/>
                    </a:ext>
                  </a:extLst>
                </p:cNvPr>
                <p:cNvSpPr/>
                <p:nvPr/>
              </p:nvSpPr>
              <p:spPr>
                <a:xfrm rot="5400000">
                  <a:off x="10170224" y="4756193"/>
                  <a:ext cx="616103" cy="91440"/>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29" name="Rounded Rectangle 128">
                  <a:extLst>
                    <a:ext uri="{FF2B5EF4-FFF2-40B4-BE49-F238E27FC236}">
                      <a16:creationId xmlns:a16="http://schemas.microsoft.com/office/drawing/2014/main" id="{8F9BA835-5870-0454-7AB5-DBCCC7BA6BE8}"/>
                    </a:ext>
                  </a:extLst>
                </p:cNvPr>
                <p:cNvSpPr/>
                <p:nvPr/>
              </p:nvSpPr>
              <p:spPr>
                <a:xfrm rot="5400000">
                  <a:off x="11397947" y="4780906"/>
                  <a:ext cx="548640" cy="91440"/>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30" name="Rounded Rectangle 129">
                  <a:extLst>
                    <a:ext uri="{FF2B5EF4-FFF2-40B4-BE49-F238E27FC236}">
                      <a16:creationId xmlns:a16="http://schemas.microsoft.com/office/drawing/2014/main" id="{AC5C7929-126C-2EC7-258C-7B0366499D57}"/>
                    </a:ext>
                  </a:extLst>
                </p:cNvPr>
                <p:cNvSpPr/>
                <p:nvPr/>
              </p:nvSpPr>
              <p:spPr>
                <a:xfrm>
                  <a:off x="10261876" y="4346033"/>
                  <a:ext cx="432798" cy="900705"/>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31" name="Rounded Rectangle 130">
                  <a:extLst>
                    <a:ext uri="{FF2B5EF4-FFF2-40B4-BE49-F238E27FC236}">
                      <a16:creationId xmlns:a16="http://schemas.microsoft.com/office/drawing/2014/main" id="{0E8EC3F8-ECB7-93B8-7ACA-4A6038A1E0C4}"/>
                    </a:ext>
                  </a:extLst>
                </p:cNvPr>
                <p:cNvSpPr/>
                <p:nvPr/>
              </p:nvSpPr>
              <p:spPr>
                <a:xfrm>
                  <a:off x="10865239" y="2648300"/>
                  <a:ext cx="400540" cy="73150"/>
                </a:xfrm>
                <a:prstGeom prst="roundRect">
                  <a:avLst>
                    <a:gd name="adj" fmla="val 50000"/>
                  </a:avLst>
                </a:prstGeom>
                <a:solidFill>
                  <a:srgbClr val="FBAE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32" name="Rounded Rectangle 131">
                  <a:extLst>
                    <a:ext uri="{FF2B5EF4-FFF2-40B4-BE49-F238E27FC236}">
                      <a16:creationId xmlns:a16="http://schemas.microsoft.com/office/drawing/2014/main" id="{45B4F8C5-8C94-34F0-6350-AE80598CDD09}"/>
                    </a:ext>
                  </a:extLst>
                </p:cNvPr>
                <p:cNvSpPr/>
                <p:nvPr/>
              </p:nvSpPr>
              <p:spPr>
                <a:xfrm rot="5400000">
                  <a:off x="10145048" y="3695988"/>
                  <a:ext cx="2286000" cy="91440"/>
                </a:xfrm>
                <a:prstGeom prst="roundRect">
                  <a:avLst>
                    <a:gd name="adj" fmla="val 50000"/>
                  </a:avLst>
                </a:prstGeom>
                <a:solidFill>
                  <a:srgbClr val="FBAE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33" name="Rounded Rectangle 132">
                  <a:extLst>
                    <a:ext uri="{FF2B5EF4-FFF2-40B4-BE49-F238E27FC236}">
                      <a16:creationId xmlns:a16="http://schemas.microsoft.com/office/drawing/2014/main" id="{78EDEC97-2267-DC5F-96E7-1E95C24ADD83}"/>
                    </a:ext>
                  </a:extLst>
                </p:cNvPr>
                <p:cNvSpPr/>
                <p:nvPr/>
              </p:nvSpPr>
              <p:spPr>
                <a:xfrm>
                  <a:off x="11088605" y="2422315"/>
                  <a:ext cx="379162" cy="345222"/>
                </a:xfrm>
                <a:prstGeom prst="roundRect">
                  <a:avLst/>
                </a:prstGeom>
                <a:solidFill>
                  <a:srgbClr val="BEBE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34" name="Rounded Rectangle 133">
                  <a:extLst>
                    <a:ext uri="{FF2B5EF4-FFF2-40B4-BE49-F238E27FC236}">
                      <a16:creationId xmlns:a16="http://schemas.microsoft.com/office/drawing/2014/main" id="{3A32325E-9B8A-F664-BE84-BB7C0117AFE3}"/>
                    </a:ext>
                  </a:extLst>
                </p:cNvPr>
                <p:cNvSpPr/>
                <p:nvPr/>
              </p:nvSpPr>
              <p:spPr>
                <a:xfrm>
                  <a:off x="10597133" y="4796385"/>
                  <a:ext cx="731520" cy="91440"/>
                </a:xfrm>
                <a:prstGeom prst="roundRect">
                  <a:avLst>
                    <a:gd name="adj" fmla="val 50000"/>
                  </a:avLst>
                </a:prstGeom>
                <a:solidFill>
                  <a:srgbClr val="FBAE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nvGrpSpPr>
                <p:cNvPr id="135" name="Group 134">
                  <a:extLst>
                    <a:ext uri="{FF2B5EF4-FFF2-40B4-BE49-F238E27FC236}">
                      <a16:creationId xmlns:a16="http://schemas.microsoft.com/office/drawing/2014/main" id="{05D60738-70A4-1FD7-6701-FF44240BBBF0}"/>
                    </a:ext>
                  </a:extLst>
                </p:cNvPr>
                <p:cNvGrpSpPr/>
                <p:nvPr/>
              </p:nvGrpSpPr>
              <p:grpSpPr>
                <a:xfrm>
                  <a:off x="10127178" y="1897660"/>
                  <a:ext cx="625034" cy="1242548"/>
                  <a:chOff x="-6088872" y="3577423"/>
                  <a:chExt cx="625034" cy="1279302"/>
                </a:xfrm>
              </p:grpSpPr>
              <p:sp>
                <p:nvSpPr>
                  <p:cNvPr id="136" name="Rounded Rectangle 135">
                    <a:extLst>
                      <a:ext uri="{FF2B5EF4-FFF2-40B4-BE49-F238E27FC236}">
                        <a16:creationId xmlns:a16="http://schemas.microsoft.com/office/drawing/2014/main" id="{D805A44C-1BDD-3B8E-D224-7DEEB281B48B}"/>
                      </a:ext>
                    </a:extLst>
                  </p:cNvPr>
                  <p:cNvSpPr/>
                  <p:nvPr/>
                </p:nvSpPr>
                <p:spPr>
                  <a:xfrm>
                    <a:off x="-6088872"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37" name="Rounded Rectangle 136">
                    <a:extLst>
                      <a:ext uri="{FF2B5EF4-FFF2-40B4-BE49-F238E27FC236}">
                        <a16:creationId xmlns:a16="http://schemas.microsoft.com/office/drawing/2014/main" id="{27BF7103-B3CA-9786-597C-AF83A44EC58E}"/>
                      </a:ext>
                    </a:extLst>
                  </p:cNvPr>
                  <p:cNvSpPr/>
                  <p:nvPr/>
                </p:nvSpPr>
                <p:spPr>
                  <a:xfrm>
                    <a:off x="-5909696"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38" name="Rounded Rectangle 137">
                    <a:extLst>
                      <a:ext uri="{FF2B5EF4-FFF2-40B4-BE49-F238E27FC236}">
                        <a16:creationId xmlns:a16="http://schemas.microsoft.com/office/drawing/2014/main" id="{F0C912EC-FDD6-CCDF-71E1-A206895BC56F}"/>
                      </a:ext>
                    </a:extLst>
                  </p:cNvPr>
                  <p:cNvSpPr/>
                  <p:nvPr/>
                </p:nvSpPr>
                <p:spPr>
                  <a:xfrm>
                    <a:off x="-5729928"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39" name="Rounded Rectangle 138">
                    <a:extLst>
                      <a:ext uri="{FF2B5EF4-FFF2-40B4-BE49-F238E27FC236}">
                        <a16:creationId xmlns:a16="http://schemas.microsoft.com/office/drawing/2014/main" id="{CD351C67-591E-0A7D-78CA-A7981CEF3B86}"/>
                      </a:ext>
                    </a:extLst>
                  </p:cNvPr>
                  <p:cNvSpPr/>
                  <p:nvPr/>
                </p:nvSpPr>
                <p:spPr>
                  <a:xfrm>
                    <a:off x="-5544796"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grpSp>
        </p:grpSp>
      </p:grpSp>
      <p:sp>
        <p:nvSpPr>
          <p:cNvPr id="143" name="TextBox 142">
            <a:extLst>
              <a:ext uri="{FF2B5EF4-FFF2-40B4-BE49-F238E27FC236}">
                <a16:creationId xmlns:a16="http://schemas.microsoft.com/office/drawing/2014/main" id="{D534CE22-ADAC-EB6D-2FE8-A1EFAE7A4F76}"/>
              </a:ext>
            </a:extLst>
          </p:cNvPr>
          <p:cNvSpPr txBox="1"/>
          <p:nvPr/>
        </p:nvSpPr>
        <p:spPr bwMode="gray">
          <a:xfrm>
            <a:off x="7485907" y="1737331"/>
            <a:ext cx="18000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latin typeface="Arial (body)"/>
              </a:rPr>
              <a:t>Liquid metal </a:t>
            </a:r>
            <a:r>
              <a:rPr lang="en-US" sz="1200">
                <a:solidFill>
                  <a:srgbClr val="000000"/>
                </a:solidFill>
                <a:latin typeface="Arial (body)"/>
              </a:rPr>
              <a:t>r</a:t>
            </a:r>
            <a:r>
              <a:rPr kumimoji="0" lang="en-US" sz="1200" i="0" u="none" strike="noStrike" kern="1200" cap="none" spc="0" normalizeH="0" baseline="0" noProof="0" err="1">
                <a:ln>
                  <a:noFill/>
                </a:ln>
                <a:solidFill>
                  <a:srgbClr val="000000"/>
                </a:solidFill>
                <a:effectLst/>
                <a:uLnTx/>
                <a:uFillTx/>
                <a:latin typeface="Arial (body)"/>
              </a:rPr>
              <a:t>eactor</a:t>
            </a:r>
            <a:r>
              <a:rPr kumimoji="0" lang="en-US" sz="1200" i="0" u="none" strike="noStrike" kern="1200" cap="none" spc="0" normalizeH="0" baseline="0" noProof="0">
                <a:ln>
                  <a:noFill/>
                </a:ln>
                <a:solidFill>
                  <a:srgbClr val="000000"/>
                </a:solidFill>
                <a:effectLst/>
                <a:uLnTx/>
                <a:uFillTx/>
                <a:latin typeface="Arial (body)"/>
              </a:rPr>
              <a:t> (LMR)</a:t>
            </a:r>
          </a:p>
        </p:txBody>
      </p:sp>
      <p:sp>
        <p:nvSpPr>
          <p:cNvPr id="144" name="TextBox 143">
            <a:extLst>
              <a:ext uri="{FF2B5EF4-FFF2-40B4-BE49-F238E27FC236}">
                <a16:creationId xmlns:a16="http://schemas.microsoft.com/office/drawing/2014/main" id="{AA595BDC-EBBD-D2EA-B647-F168F6C9BFE1}"/>
              </a:ext>
            </a:extLst>
          </p:cNvPr>
          <p:cNvSpPr txBox="1"/>
          <p:nvPr/>
        </p:nvSpPr>
        <p:spPr bwMode="gray">
          <a:xfrm>
            <a:off x="843683" y="3692625"/>
            <a:ext cx="906131" cy="276999"/>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Arial (body)"/>
                <a:cs typeface="Arial"/>
              </a:rPr>
              <a:t>Coolant</a:t>
            </a:r>
            <a:endParaRPr kumimoji="0" lang="en-US" sz="1200" b="0" i="0" u="none" strike="noStrike" kern="1200" cap="none" spc="0" normalizeH="0" baseline="0" noProof="0">
              <a:ln>
                <a:noFill/>
              </a:ln>
              <a:solidFill>
                <a:srgbClr val="000000"/>
              </a:solidFill>
              <a:effectLst/>
              <a:uLnTx/>
              <a:uFillTx/>
              <a:latin typeface="Arial (body)"/>
            </a:endParaRPr>
          </a:p>
        </p:txBody>
      </p:sp>
      <p:sp>
        <p:nvSpPr>
          <p:cNvPr id="151" name="TextBox 150">
            <a:extLst>
              <a:ext uri="{FF2B5EF4-FFF2-40B4-BE49-F238E27FC236}">
                <a16:creationId xmlns:a16="http://schemas.microsoft.com/office/drawing/2014/main" id="{B4CFEE8B-6731-DBA1-8CD1-5E5E8EC78ECC}"/>
              </a:ext>
            </a:extLst>
          </p:cNvPr>
          <p:cNvSpPr txBox="1"/>
          <p:nvPr/>
        </p:nvSpPr>
        <p:spPr bwMode="gray">
          <a:xfrm>
            <a:off x="3841617" y="2222525"/>
            <a:ext cx="1800000"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a:ln>
                  <a:noFill/>
                </a:ln>
                <a:solidFill>
                  <a:srgbClr val="000000"/>
                </a:solidFill>
                <a:effectLst/>
                <a:uLnTx/>
                <a:uFillTx/>
                <a:latin typeface="Arial (body)"/>
              </a:rPr>
              <a:t>Boiled water </a:t>
            </a:r>
            <a:r>
              <a:rPr lang="en-US" sz="1050">
                <a:solidFill>
                  <a:srgbClr val="000000"/>
                </a:solidFill>
                <a:latin typeface="Arial (body)"/>
              </a:rPr>
              <a:t>r</a:t>
            </a:r>
            <a:r>
              <a:rPr kumimoji="0" lang="en-US" sz="1050" i="0" u="none" strike="noStrike" kern="1200" cap="none" spc="0" normalizeH="0" baseline="0" noProof="0" err="1">
                <a:ln>
                  <a:noFill/>
                </a:ln>
                <a:solidFill>
                  <a:srgbClr val="000000"/>
                </a:solidFill>
                <a:effectLst/>
                <a:uLnTx/>
                <a:uFillTx/>
                <a:latin typeface="Arial (body)"/>
              </a:rPr>
              <a:t>eactor</a:t>
            </a:r>
            <a:r>
              <a:rPr kumimoji="0" lang="en-US" sz="1050" i="0" u="none" strike="noStrike" kern="1200" cap="none" spc="0" normalizeH="0" baseline="0" noProof="0">
                <a:ln>
                  <a:noFill/>
                </a:ln>
                <a:solidFill>
                  <a:srgbClr val="000000"/>
                </a:solidFill>
                <a:effectLst/>
                <a:uLnTx/>
                <a:uFillTx/>
                <a:latin typeface="Arial (body)"/>
              </a:rPr>
              <a:t> (BWR)</a:t>
            </a:r>
          </a:p>
        </p:txBody>
      </p:sp>
      <p:sp>
        <p:nvSpPr>
          <p:cNvPr id="153" name="TextBox 152">
            <a:extLst>
              <a:ext uri="{FF2B5EF4-FFF2-40B4-BE49-F238E27FC236}">
                <a16:creationId xmlns:a16="http://schemas.microsoft.com/office/drawing/2014/main" id="{063B2D55-0C6B-07C9-02F5-47D4CC88D704}"/>
              </a:ext>
            </a:extLst>
          </p:cNvPr>
          <p:cNvSpPr txBox="1"/>
          <p:nvPr/>
        </p:nvSpPr>
        <p:spPr bwMode="gray">
          <a:xfrm>
            <a:off x="2608264" y="1759467"/>
            <a:ext cx="2613478"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latin typeface="Arial (body)"/>
              </a:rPr>
              <a:t>Water-cooled </a:t>
            </a:r>
            <a:r>
              <a:rPr lang="en-US" sz="1200">
                <a:solidFill>
                  <a:srgbClr val="000000"/>
                </a:solidFill>
                <a:latin typeface="Arial (body)"/>
              </a:rPr>
              <a:t>r</a:t>
            </a:r>
            <a:r>
              <a:rPr kumimoji="0" lang="en-US" sz="1200" i="0" u="none" strike="noStrike" kern="1200" cap="none" spc="0" normalizeH="0" baseline="0" noProof="0" err="1">
                <a:ln>
                  <a:noFill/>
                </a:ln>
                <a:solidFill>
                  <a:srgbClr val="000000"/>
                </a:solidFill>
                <a:effectLst/>
                <a:uLnTx/>
                <a:uFillTx/>
                <a:latin typeface="Arial (body)"/>
              </a:rPr>
              <a:t>eactor</a:t>
            </a:r>
            <a:endParaRPr kumimoji="0" lang="en-US" sz="1200" i="0" u="none" strike="noStrike" kern="1200" cap="none" spc="0" normalizeH="0" baseline="0" noProof="0">
              <a:ln>
                <a:noFill/>
              </a:ln>
              <a:solidFill>
                <a:srgbClr val="000000"/>
              </a:solidFill>
              <a:effectLst/>
              <a:uLnTx/>
              <a:uFillTx/>
              <a:latin typeface="Arial (body)"/>
            </a:endParaRPr>
          </a:p>
        </p:txBody>
      </p:sp>
      <p:cxnSp>
        <p:nvCxnSpPr>
          <p:cNvPr id="155" name="Straight Connector 154">
            <a:extLst>
              <a:ext uri="{FF2B5EF4-FFF2-40B4-BE49-F238E27FC236}">
                <a16:creationId xmlns:a16="http://schemas.microsoft.com/office/drawing/2014/main" id="{994F9CB4-5B0B-9D53-8297-66305EE1C5F2}"/>
              </a:ext>
            </a:extLst>
          </p:cNvPr>
          <p:cNvCxnSpPr/>
          <p:nvPr/>
        </p:nvCxnSpPr>
        <p:spPr bwMode="gray">
          <a:xfrm>
            <a:off x="2299399" y="2109754"/>
            <a:ext cx="3237722" cy="0"/>
          </a:xfrm>
          <a:prstGeom prst="line">
            <a:avLst/>
          </a:prstGeom>
          <a:ln w="19050">
            <a:solidFill>
              <a:schemeClr val="bg1">
                <a:lumMod val="85000"/>
              </a:schemeClr>
            </a:solidFill>
            <a:tailEnd type="none" w="med" len="lg"/>
          </a:ln>
        </p:spPr>
        <p:style>
          <a:lnRef idx="1">
            <a:schemeClr val="dk1"/>
          </a:lnRef>
          <a:fillRef idx="0">
            <a:schemeClr val="dk1"/>
          </a:fillRef>
          <a:effectRef idx="0">
            <a:schemeClr val="dk1"/>
          </a:effectRef>
          <a:fontRef idx="minor">
            <a:schemeClr val="tx1"/>
          </a:fontRef>
        </p:style>
      </p:cxnSp>
      <p:grpSp>
        <p:nvGrpSpPr>
          <p:cNvPr id="18" name="Group 17">
            <a:extLst>
              <a:ext uri="{FF2B5EF4-FFF2-40B4-BE49-F238E27FC236}">
                <a16:creationId xmlns:a16="http://schemas.microsoft.com/office/drawing/2014/main" id="{599AAD65-AE40-FD48-EB4C-7AD0CFD43862}"/>
              </a:ext>
            </a:extLst>
          </p:cNvPr>
          <p:cNvGrpSpPr/>
          <p:nvPr/>
        </p:nvGrpSpPr>
        <p:grpSpPr>
          <a:xfrm>
            <a:off x="4536424" y="2644616"/>
            <a:ext cx="511610" cy="968300"/>
            <a:chOff x="4579282" y="1748286"/>
            <a:chExt cx="1743833" cy="3300471"/>
          </a:xfrm>
        </p:grpSpPr>
        <p:sp>
          <p:nvSpPr>
            <p:cNvPr id="22" name="Rounded Rectangle 11">
              <a:extLst>
                <a:ext uri="{FF2B5EF4-FFF2-40B4-BE49-F238E27FC236}">
                  <a16:creationId xmlns:a16="http://schemas.microsoft.com/office/drawing/2014/main" id="{3453092C-B509-8946-3DBD-93D04F05CD23}"/>
                </a:ext>
              </a:extLst>
            </p:cNvPr>
            <p:cNvSpPr/>
            <p:nvPr/>
          </p:nvSpPr>
          <p:spPr>
            <a:xfrm>
              <a:off x="4579282" y="2217343"/>
              <a:ext cx="365760" cy="70293"/>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23" name="Rounded Rectangle 12">
              <a:extLst>
                <a:ext uri="{FF2B5EF4-FFF2-40B4-BE49-F238E27FC236}">
                  <a16:creationId xmlns:a16="http://schemas.microsoft.com/office/drawing/2014/main" id="{0A526639-2F19-2858-15CF-04EF26D97DC0}"/>
                </a:ext>
              </a:extLst>
            </p:cNvPr>
            <p:cNvSpPr/>
            <p:nvPr/>
          </p:nvSpPr>
          <p:spPr>
            <a:xfrm rot="16200000">
              <a:off x="3420869" y="3376072"/>
              <a:ext cx="2389978" cy="73152"/>
            </a:xfrm>
            <a:prstGeom prst="roundRect">
              <a:avLst>
                <a:gd name="adj" fmla="val 50000"/>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41" name="Rounded Rectangle 18">
              <a:extLst>
                <a:ext uri="{FF2B5EF4-FFF2-40B4-BE49-F238E27FC236}">
                  <a16:creationId xmlns:a16="http://schemas.microsoft.com/office/drawing/2014/main" id="{924FE18A-2FF9-EB95-9231-B77BC9233FFE}"/>
                </a:ext>
              </a:extLst>
            </p:cNvPr>
            <p:cNvSpPr/>
            <p:nvPr/>
          </p:nvSpPr>
          <p:spPr>
            <a:xfrm rot="5400000">
              <a:off x="4382781" y="3996345"/>
              <a:ext cx="2011680" cy="73152"/>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64" name="Rounded Rectangle 18">
              <a:extLst>
                <a:ext uri="{FF2B5EF4-FFF2-40B4-BE49-F238E27FC236}">
                  <a16:creationId xmlns:a16="http://schemas.microsoft.com/office/drawing/2014/main" id="{8B6DCC9B-D2CC-5329-FEFD-197ABEA85092}"/>
                </a:ext>
              </a:extLst>
            </p:cNvPr>
            <p:cNvSpPr/>
            <p:nvPr/>
          </p:nvSpPr>
          <p:spPr>
            <a:xfrm>
              <a:off x="4584642" y="4975605"/>
              <a:ext cx="822960" cy="73152"/>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66" name="Rounded Rectangle 18">
              <a:extLst>
                <a:ext uri="{FF2B5EF4-FFF2-40B4-BE49-F238E27FC236}">
                  <a16:creationId xmlns:a16="http://schemas.microsoft.com/office/drawing/2014/main" id="{636E2A43-BF46-AA5D-7DEC-36344C5CD57C}"/>
                </a:ext>
              </a:extLst>
            </p:cNvPr>
            <p:cNvSpPr/>
            <p:nvPr/>
          </p:nvSpPr>
          <p:spPr>
            <a:xfrm rot="5400000">
              <a:off x="4254866" y="4646421"/>
              <a:ext cx="731520" cy="73152"/>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84" name="Rounded Rectangle 18">
              <a:extLst>
                <a:ext uri="{FF2B5EF4-FFF2-40B4-BE49-F238E27FC236}">
                  <a16:creationId xmlns:a16="http://schemas.microsoft.com/office/drawing/2014/main" id="{FEC66FF9-252F-C959-F801-F78ACC0478C6}"/>
                </a:ext>
              </a:extLst>
            </p:cNvPr>
            <p:cNvSpPr/>
            <p:nvPr/>
          </p:nvSpPr>
          <p:spPr>
            <a:xfrm>
              <a:off x="4587942" y="4302696"/>
              <a:ext cx="1188720" cy="73152"/>
            </a:xfrm>
            <a:prstGeom prst="roundRect">
              <a:avLst>
                <a:gd name="adj" fmla="val 50000"/>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nvGrpSpPr>
            <p:cNvPr id="86" name="Group 85">
              <a:extLst>
                <a:ext uri="{FF2B5EF4-FFF2-40B4-BE49-F238E27FC236}">
                  <a16:creationId xmlns:a16="http://schemas.microsoft.com/office/drawing/2014/main" id="{170E1DBA-4084-7CB2-9A78-4595BBE4F654}"/>
                </a:ext>
              </a:extLst>
            </p:cNvPr>
            <p:cNvGrpSpPr/>
            <p:nvPr/>
          </p:nvGrpSpPr>
          <p:grpSpPr>
            <a:xfrm>
              <a:off x="4805593" y="1748286"/>
              <a:ext cx="1112260" cy="1401806"/>
              <a:chOff x="-6339016" y="3773546"/>
              <a:chExt cx="1087452" cy="1823513"/>
            </a:xfrm>
          </p:grpSpPr>
          <p:sp>
            <p:nvSpPr>
              <p:cNvPr id="147" name="Rounded Rectangle 3">
                <a:extLst>
                  <a:ext uri="{FF2B5EF4-FFF2-40B4-BE49-F238E27FC236}">
                    <a16:creationId xmlns:a16="http://schemas.microsoft.com/office/drawing/2014/main" id="{846F5796-16F6-12B3-F5FE-833EA3FF0021}"/>
                  </a:ext>
                </a:extLst>
              </p:cNvPr>
              <p:cNvSpPr/>
              <p:nvPr/>
            </p:nvSpPr>
            <p:spPr>
              <a:xfrm>
                <a:off x="-6339016" y="3773546"/>
                <a:ext cx="1087451" cy="1786996"/>
              </a:xfrm>
              <a:prstGeom prst="roundRect">
                <a:avLst/>
              </a:prstGeom>
              <a:solidFill>
                <a:srgbClr val="FBAE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48" name="Rounded Rectangle 4">
                <a:extLst>
                  <a:ext uri="{FF2B5EF4-FFF2-40B4-BE49-F238E27FC236}">
                    <a16:creationId xmlns:a16="http://schemas.microsoft.com/office/drawing/2014/main" id="{7D05CB5A-190E-A312-EF2B-A5CA56009E65}"/>
                  </a:ext>
                </a:extLst>
              </p:cNvPr>
              <p:cNvSpPr/>
              <p:nvPr/>
            </p:nvSpPr>
            <p:spPr>
              <a:xfrm>
                <a:off x="-6339016" y="4373647"/>
                <a:ext cx="1087451" cy="1223412"/>
              </a:xfrm>
              <a:prstGeom prst="roundRect">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49" name="Rectangle 148">
                <a:extLst>
                  <a:ext uri="{FF2B5EF4-FFF2-40B4-BE49-F238E27FC236}">
                    <a16:creationId xmlns:a16="http://schemas.microsoft.com/office/drawing/2014/main" id="{3DF27D2D-D5B0-6EA8-1152-E4E4D2D5D0C1}"/>
                  </a:ext>
                </a:extLst>
              </p:cNvPr>
              <p:cNvSpPr/>
              <p:nvPr/>
            </p:nvSpPr>
            <p:spPr>
              <a:xfrm>
                <a:off x="-6339016" y="4328001"/>
                <a:ext cx="1087452" cy="256358"/>
              </a:xfrm>
              <a:prstGeom prst="rect">
                <a:avLst/>
              </a:prstGeom>
              <a:solidFill>
                <a:srgbClr val="27A6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grpSp>
          <p:nvGrpSpPr>
            <p:cNvPr id="87" name="Group 86">
              <a:extLst>
                <a:ext uri="{FF2B5EF4-FFF2-40B4-BE49-F238E27FC236}">
                  <a16:creationId xmlns:a16="http://schemas.microsoft.com/office/drawing/2014/main" id="{1D59775C-E1D0-9752-99DB-7DDEF5F1E400}"/>
                </a:ext>
              </a:extLst>
            </p:cNvPr>
            <p:cNvGrpSpPr/>
            <p:nvPr/>
          </p:nvGrpSpPr>
          <p:grpSpPr>
            <a:xfrm>
              <a:off x="5042077" y="1987022"/>
              <a:ext cx="639293" cy="880604"/>
              <a:chOff x="-6088872" y="3577423"/>
              <a:chExt cx="625034" cy="1279302"/>
            </a:xfrm>
          </p:grpSpPr>
          <p:sp>
            <p:nvSpPr>
              <p:cNvPr id="113" name="Rounded Rectangle 7">
                <a:extLst>
                  <a:ext uri="{FF2B5EF4-FFF2-40B4-BE49-F238E27FC236}">
                    <a16:creationId xmlns:a16="http://schemas.microsoft.com/office/drawing/2014/main" id="{AA8C4B03-E2C2-E078-1F1B-47A87410B030}"/>
                  </a:ext>
                </a:extLst>
              </p:cNvPr>
              <p:cNvSpPr/>
              <p:nvPr/>
            </p:nvSpPr>
            <p:spPr>
              <a:xfrm>
                <a:off x="-6088872"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14" name="Rounded Rectangle 8">
                <a:extLst>
                  <a:ext uri="{FF2B5EF4-FFF2-40B4-BE49-F238E27FC236}">
                    <a16:creationId xmlns:a16="http://schemas.microsoft.com/office/drawing/2014/main" id="{5EA55F62-E09E-1157-BCA1-D141C2EFAD38}"/>
                  </a:ext>
                </a:extLst>
              </p:cNvPr>
              <p:cNvSpPr/>
              <p:nvPr/>
            </p:nvSpPr>
            <p:spPr>
              <a:xfrm>
                <a:off x="-5909696"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45" name="Rounded Rectangle 9">
                <a:extLst>
                  <a:ext uri="{FF2B5EF4-FFF2-40B4-BE49-F238E27FC236}">
                    <a16:creationId xmlns:a16="http://schemas.microsoft.com/office/drawing/2014/main" id="{616BAC26-61D0-B5E3-D810-9494ECAC8CD7}"/>
                  </a:ext>
                </a:extLst>
              </p:cNvPr>
              <p:cNvSpPr/>
              <p:nvPr/>
            </p:nvSpPr>
            <p:spPr>
              <a:xfrm>
                <a:off x="-5729928"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sp>
            <p:nvSpPr>
              <p:cNvPr id="146" name="Rounded Rectangle 10">
                <a:extLst>
                  <a:ext uri="{FF2B5EF4-FFF2-40B4-BE49-F238E27FC236}">
                    <a16:creationId xmlns:a16="http://schemas.microsoft.com/office/drawing/2014/main" id="{1D7D96C7-1F10-DC5A-3BC4-43FC6F7A3DFF}"/>
                  </a:ext>
                </a:extLst>
              </p:cNvPr>
              <p:cNvSpPr/>
              <p:nvPr/>
            </p:nvSpPr>
            <p:spPr>
              <a:xfrm>
                <a:off x="-5544796" y="3577423"/>
                <a:ext cx="80958" cy="1279302"/>
              </a:xfrm>
              <a:prstGeom prst="roundRect">
                <a:avLst>
                  <a:gd name="adj" fmla="val 50000"/>
                </a:avLst>
              </a:prstGeom>
              <a:solidFill>
                <a:srgbClr val="E666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sp>
          <p:nvSpPr>
            <p:cNvPr id="111" name="Trapezoid 110">
              <a:extLst>
                <a:ext uri="{FF2B5EF4-FFF2-40B4-BE49-F238E27FC236}">
                  <a16:creationId xmlns:a16="http://schemas.microsoft.com/office/drawing/2014/main" id="{5B0BBB07-DD5F-1E17-177B-49785A9DDD04}"/>
                </a:ext>
              </a:extLst>
            </p:cNvPr>
            <p:cNvSpPr/>
            <p:nvPr/>
          </p:nvSpPr>
          <p:spPr>
            <a:xfrm rot="16200000">
              <a:off x="5766274" y="3984801"/>
              <a:ext cx="421761" cy="691920"/>
            </a:xfrm>
            <a:prstGeom prst="trapezoid">
              <a:avLst/>
            </a:prstGeom>
            <a:solidFill>
              <a:srgbClr val="6F78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body)"/>
              </a:endParaRPr>
            </a:p>
          </p:txBody>
        </p:sp>
      </p:grpSp>
      <p:sp>
        <p:nvSpPr>
          <p:cNvPr id="14" name="Rectangle 13">
            <a:extLst>
              <a:ext uri="{FF2B5EF4-FFF2-40B4-BE49-F238E27FC236}">
                <a16:creationId xmlns:a16="http://schemas.microsoft.com/office/drawing/2014/main" id="{054C796A-AAB8-F615-0096-69740EBF45E7}"/>
              </a:ext>
            </a:extLst>
          </p:cNvPr>
          <p:cNvSpPr/>
          <p:nvPr/>
        </p:nvSpPr>
        <p:spPr bwMode="gray">
          <a:xfrm>
            <a:off x="0" y="0"/>
            <a:ext cx="2926080" cy="382208"/>
          </a:xfrm>
          <a:prstGeom prst="rect">
            <a:avLst/>
          </a:prstGeom>
          <a:solidFill>
            <a:srgbClr val="8BDD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latin typeface="Arial (body)"/>
              </a:rPr>
              <a:t>Deep dive: MSRs and HTGRs</a:t>
            </a:r>
          </a:p>
        </p:txBody>
      </p:sp>
    </p:spTree>
    <p:extLst>
      <p:ext uri="{BB962C8B-B14F-4D97-AF65-F5344CB8AC3E}">
        <p14:creationId xmlns:p14="http://schemas.microsoft.com/office/powerpoint/2010/main" val="12553391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023CA-622B-F415-837E-6682C4BCDB6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248908-6FF9-A4BF-1BB2-AE6E8B12A752}"/>
              </a:ext>
            </a:extLst>
          </p:cNvPr>
          <p:cNvGraphicFramePr>
            <a:graphicFrameLocks/>
          </p:cNvGraphicFramePr>
          <p:nvPr>
            <p:custDataLst>
              <p:tags r:id="rId2"/>
            </p:custDataLst>
            <p:extLst>
              <p:ext uri="{D42A27DB-BD31-4B8C-83A1-F6EECF244321}">
                <p14:modId xmlns:p14="http://schemas.microsoft.com/office/powerpoint/2010/main" val="385722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592" imgH="591" progId="TCLayout.ActiveDocument.1">
                  <p:embed/>
                </p:oleObj>
              </mc:Choice>
              <mc:Fallback>
                <p:oleObj name="think-cell Slide" r:id="rId29" imgW="592" imgH="591" progId="TCLayout.ActiveDocument.1">
                  <p:embed/>
                  <p:pic>
                    <p:nvPicPr>
                      <p:cNvPr id="7" name="think-cell data - do not delete" hidden="1">
                        <a:extLst>
                          <a:ext uri="{FF2B5EF4-FFF2-40B4-BE49-F238E27FC236}">
                            <a16:creationId xmlns:a16="http://schemas.microsoft.com/office/drawing/2014/main" id="{609D9713-C0FE-1CB8-3B30-B672BD90C3CA}"/>
                          </a:ext>
                        </a:extLst>
                      </p:cNvPr>
                      <p:cNvPicPr/>
                      <p:nvPr/>
                    </p:nvPicPr>
                    <p:blipFill>
                      <a:blip/>
                      <a:stretch>
                        <a:fillRect/>
                      </a:stretch>
                    </p:blipFill>
                    <p:spPr>
                      <a:xfrm>
                        <a:off x="1588" y="1588"/>
                        <a:ext cx="1588" cy="1588"/>
                      </a:xfrm>
                      <a:prstGeom prst="rect">
                        <a:avLst/>
                      </a:prstGeom>
                    </p:spPr>
                  </p:pic>
                </p:oleObj>
              </mc:Fallback>
            </mc:AlternateContent>
          </a:graphicData>
        </a:graphic>
      </p:graphicFrame>
      <p:graphicFrame>
        <p:nvGraphicFramePr>
          <p:cNvPr id="3" name="Table 2">
            <a:extLst>
              <a:ext uri="{FF2B5EF4-FFF2-40B4-BE49-F238E27FC236}">
                <a16:creationId xmlns:a16="http://schemas.microsoft.com/office/drawing/2014/main" id="{EE7658DA-0DDE-7A16-5B4B-A07AEF018CDB}"/>
              </a:ext>
            </a:extLst>
          </p:cNvPr>
          <p:cNvGraphicFramePr>
            <a:graphicFrameLocks noGrp="1"/>
          </p:cNvGraphicFramePr>
          <p:nvPr>
            <p:extLst>
              <p:ext uri="{D42A27DB-BD31-4B8C-83A1-F6EECF244321}">
                <p14:modId xmlns:p14="http://schemas.microsoft.com/office/powerpoint/2010/main" val="1537923708"/>
              </p:ext>
            </p:extLst>
          </p:nvPr>
        </p:nvGraphicFramePr>
        <p:xfrm>
          <a:off x="468630" y="1712976"/>
          <a:ext cx="11659332" cy="4116426"/>
        </p:xfrm>
        <a:graphic>
          <a:graphicData uri="http://schemas.openxmlformats.org/drawingml/2006/table">
            <a:tbl>
              <a:tblPr firstRow="1" bandRow="1">
                <a:tableStyleId>{91EBBBCC-DAD2-459C-BE2E-F6DE35CF9A28}</a:tableStyleId>
              </a:tblPr>
              <a:tblGrid>
                <a:gridCol w="1228075">
                  <a:extLst>
                    <a:ext uri="{9D8B030D-6E8A-4147-A177-3AD203B41FA5}">
                      <a16:colId xmlns:a16="http://schemas.microsoft.com/office/drawing/2014/main" val="1424924656"/>
                    </a:ext>
                  </a:extLst>
                </a:gridCol>
                <a:gridCol w="1657165">
                  <a:extLst>
                    <a:ext uri="{9D8B030D-6E8A-4147-A177-3AD203B41FA5}">
                      <a16:colId xmlns:a16="http://schemas.microsoft.com/office/drawing/2014/main" val="1666824073"/>
                    </a:ext>
                  </a:extLst>
                </a:gridCol>
                <a:gridCol w="2752074">
                  <a:extLst>
                    <a:ext uri="{9D8B030D-6E8A-4147-A177-3AD203B41FA5}">
                      <a16:colId xmlns:a16="http://schemas.microsoft.com/office/drawing/2014/main" val="3621319273"/>
                    </a:ext>
                  </a:extLst>
                </a:gridCol>
                <a:gridCol w="2648504">
                  <a:extLst>
                    <a:ext uri="{9D8B030D-6E8A-4147-A177-3AD203B41FA5}">
                      <a16:colId xmlns:a16="http://schemas.microsoft.com/office/drawing/2014/main" val="268294915"/>
                    </a:ext>
                  </a:extLst>
                </a:gridCol>
                <a:gridCol w="3373514">
                  <a:extLst>
                    <a:ext uri="{9D8B030D-6E8A-4147-A177-3AD203B41FA5}">
                      <a16:colId xmlns:a16="http://schemas.microsoft.com/office/drawing/2014/main" val="1785694791"/>
                    </a:ext>
                  </a:extLst>
                </a:gridCol>
              </a:tblGrid>
              <a:tr h="369902">
                <a:tc>
                  <a:txBody>
                    <a:bodyPr/>
                    <a:lstStyle/>
                    <a:p>
                      <a:pPr algn="ctr"/>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679749"/>
                  </a:ext>
                </a:extLst>
              </a:tr>
              <a:tr h="370840">
                <a:tc>
                  <a:txBody>
                    <a:bodyPr/>
                    <a:lstStyle/>
                    <a:p>
                      <a:pPr lvl="0" algn="l">
                        <a:buNone/>
                      </a:pPr>
                      <a:r>
                        <a:rPr lang="en-US" sz="1000" dirty="0">
                          <a:latin typeface="Arial" panose="020B0604020202020204" pitchFamily="34" charset="0"/>
                          <a:cs typeface="Arial" panose="020B0604020202020204" pitchFamily="34" charset="0"/>
                        </a:rPr>
                        <a:t>Descrip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vl="0" algn="ctr">
                        <a:lnSpc>
                          <a:spcPct val="100000"/>
                        </a:lnSpc>
                        <a:spcBef>
                          <a:spcPts val="0"/>
                        </a:spcBef>
                        <a:spcAft>
                          <a:spcPts val="0"/>
                        </a:spcAft>
                        <a:buNone/>
                      </a:pPr>
                      <a:r>
                        <a:rPr lang="en-US" sz="1000" u="none" strike="noStrike" noProof="0" dirty="0">
                          <a:solidFill>
                            <a:srgbClr val="000000"/>
                          </a:solidFill>
                          <a:latin typeface="Arial" panose="020B0604020202020204" pitchFamily="34" charset="0"/>
                          <a:cs typeface="Arial" panose="020B0604020202020204" pitchFamily="34" charset="0"/>
                        </a:rPr>
                        <a:t>Early reactor protype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vl="0" algn="ctr">
                        <a:lnSpc>
                          <a:spcPct val="100000"/>
                        </a:lnSpc>
                        <a:spcBef>
                          <a:spcPts val="0"/>
                        </a:spcBef>
                        <a:spcAft>
                          <a:spcPts val="0"/>
                        </a:spcAft>
                        <a:buNone/>
                      </a:pPr>
                      <a:r>
                        <a:rPr lang="en-US" sz="1000" u="none" strike="noStrike" noProof="0" dirty="0">
                          <a:solidFill>
                            <a:srgbClr val="000000"/>
                          </a:solidFill>
                          <a:latin typeface="Arial" panose="020B0604020202020204" pitchFamily="34" charset="0"/>
                          <a:cs typeface="Arial" panose="020B0604020202020204" pitchFamily="34" charset="0"/>
                        </a:rPr>
                        <a:t>Commercial power reactors, usually LW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vl="0" algn="ctr">
                        <a:lnSpc>
                          <a:spcPct val="100000"/>
                        </a:lnSpc>
                        <a:spcBef>
                          <a:spcPts val="0"/>
                        </a:spcBef>
                        <a:spcAft>
                          <a:spcPts val="0"/>
                        </a:spcAft>
                        <a:buNone/>
                      </a:pPr>
                      <a:r>
                        <a:rPr lang="en-US" sz="1000" u="none" strike="noStrike" noProof="0" dirty="0">
                          <a:solidFill>
                            <a:srgbClr val="000000"/>
                          </a:solidFill>
                          <a:latin typeface="Arial" panose="020B0604020202020204" pitchFamily="34" charset="0"/>
                          <a:cs typeface="Arial" panose="020B0604020202020204" pitchFamily="34" charset="0"/>
                        </a:rPr>
                        <a:t>Advanced light water reacto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vl="0" algn="ctr">
                        <a:lnSpc>
                          <a:spcPct val="100000"/>
                        </a:lnSpc>
                        <a:spcBef>
                          <a:spcPts val="0"/>
                        </a:spcBef>
                        <a:spcAft>
                          <a:spcPts val="0"/>
                        </a:spcAft>
                        <a:buNone/>
                      </a:pPr>
                      <a:r>
                        <a:rPr lang="en-US" sz="1000" u="none" strike="noStrike" noProof="0" dirty="0">
                          <a:solidFill>
                            <a:srgbClr val="000000"/>
                          </a:solidFill>
                          <a:latin typeface="Arial" panose="020B0604020202020204" pitchFamily="34" charset="0"/>
                          <a:cs typeface="Arial" panose="020B0604020202020204" pitchFamily="34" charset="0"/>
                        </a:rPr>
                        <a:t>Advanced reacto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517716263"/>
                  </a:ext>
                </a:extLst>
              </a:tr>
              <a:tr h="370840">
                <a:tc>
                  <a:txBody>
                    <a:bodyPr/>
                    <a:lstStyle/>
                    <a:p>
                      <a:pPr algn="l"/>
                      <a:r>
                        <a:rPr lang="en-US" sz="1000" dirty="0">
                          <a:latin typeface="Arial" panose="020B0604020202020204" pitchFamily="34" charset="0"/>
                          <a:cs typeface="Arial" panose="020B0604020202020204" pitchFamily="34" charset="0"/>
                        </a:rPr>
                        <a:t>Efficienc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latin typeface="Arial" panose="020B0604020202020204" pitchFamily="34" charset="0"/>
                          <a:cs typeface="Arial" panose="020B0604020202020204" pitchFamily="34" charset="0"/>
                        </a:rPr>
                        <a:t>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latin typeface="Arial" panose="020B0604020202020204" pitchFamily="34" charset="0"/>
                          <a:cs typeface="Arial" panose="020B0604020202020204" pitchFamily="34" charset="0"/>
                        </a:rPr>
                        <a:t>3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latin typeface="Arial" panose="020B0604020202020204" pitchFamily="34" charset="0"/>
                          <a:cs typeface="Arial" panose="020B0604020202020204" pitchFamily="34" charset="0"/>
                        </a:rPr>
                        <a:t>3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latin typeface="Arial" panose="020B0604020202020204" pitchFamily="34" charset="0"/>
                          <a:cs typeface="Arial" panose="020B0604020202020204" pitchFamily="34" charset="0"/>
                        </a:rPr>
                        <a:t>4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5779688"/>
                  </a:ext>
                </a:extLst>
              </a:tr>
              <a:tr h="370840">
                <a:tc>
                  <a:txBody>
                    <a:bodyPr/>
                    <a:lstStyle/>
                    <a:p>
                      <a:pPr algn="l"/>
                      <a:r>
                        <a:rPr lang="en-US" sz="1000" dirty="0">
                          <a:latin typeface="Arial" panose="020B0604020202020204" pitchFamily="34" charset="0"/>
                          <a:cs typeface="Arial" panose="020B0604020202020204" pitchFamily="34" charset="0"/>
                        </a:rPr>
                        <a:t>Fu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vl="0" algn="ctr">
                        <a:lnSpc>
                          <a:spcPct val="100000"/>
                        </a:lnSpc>
                        <a:spcBef>
                          <a:spcPts val="0"/>
                        </a:spcBef>
                        <a:spcAft>
                          <a:spcPts val="0"/>
                        </a:spcAft>
                        <a:buNone/>
                      </a:pPr>
                      <a:r>
                        <a:rPr lang="en-US" sz="1000" u="none" strike="noStrike" noProof="0" dirty="0">
                          <a:solidFill>
                            <a:srgbClr val="000000"/>
                          </a:solidFill>
                          <a:latin typeface="Arial" panose="020B0604020202020204" pitchFamily="34" charset="0"/>
                          <a:cs typeface="Arial" panose="020B0604020202020204" pitchFamily="34" charset="0"/>
                        </a:rPr>
                        <a:t>Low-enriched uranium (LEU) (2-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vl="0" algn="ctr">
                        <a:lnSpc>
                          <a:spcPct val="100000"/>
                        </a:lnSpc>
                        <a:spcBef>
                          <a:spcPts val="0"/>
                        </a:spcBef>
                        <a:spcAft>
                          <a:spcPts val="0"/>
                        </a:spcAft>
                        <a:buNone/>
                      </a:pPr>
                      <a:r>
                        <a:rPr lang="en-US" sz="1000" u="none" strike="noStrike" noProof="0" dirty="0">
                          <a:solidFill>
                            <a:srgbClr val="000000"/>
                          </a:solidFill>
                          <a:latin typeface="Arial" panose="020B0604020202020204" pitchFamily="34" charset="0"/>
                          <a:cs typeface="Arial" panose="020B0604020202020204" pitchFamily="34" charset="0"/>
                        </a:rPr>
                        <a:t>LEU (3-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vl="0" algn="ctr">
                        <a:lnSpc>
                          <a:spcPct val="100000"/>
                        </a:lnSpc>
                        <a:spcBef>
                          <a:spcPts val="0"/>
                        </a:spcBef>
                        <a:spcAft>
                          <a:spcPts val="0"/>
                        </a:spcAft>
                        <a:buNone/>
                      </a:pPr>
                      <a:r>
                        <a:rPr lang="en-US" sz="1000" u="none" strike="noStrike" noProof="0">
                          <a:solidFill>
                            <a:srgbClr val="000000"/>
                          </a:solidFill>
                          <a:latin typeface="Arial" panose="020B0604020202020204" pitchFamily="34" charset="0"/>
                          <a:cs typeface="Arial" panose="020B0604020202020204" pitchFamily="34" charset="0"/>
                        </a:rPr>
                        <a:t>LEU (4-5%) and mixed oxide (MOX) fu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vl="0" algn="ctr">
                        <a:lnSpc>
                          <a:spcPct val="100000"/>
                        </a:lnSpc>
                        <a:spcBef>
                          <a:spcPts val="0"/>
                        </a:spcBef>
                        <a:spcAft>
                          <a:spcPts val="0"/>
                        </a:spcAft>
                        <a:buNone/>
                      </a:pPr>
                      <a:r>
                        <a:rPr lang="en-US" sz="1000" u="none" strike="noStrike" noProof="0">
                          <a:solidFill>
                            <a:srgbClr val="000000"/>
                          </a:solidFill>
                          <a:latin typeface="Arial" panose="020B0604020202020204" pitchFamily="34" charset="0"/>
                          <a:cs typeface="Arial" panose="020B0604020202020204" pitchFamily="34" charset="0"/>
                        </a:rPr>
                        <a:t>HALEU (&gt;5%), thorium, MOX, recycled fuels, and refueling cycles between 30 months and 30 yea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083273384"/>
                  </a:ext>
                </a:extLst>
              </a:tr>
              <a:tr h="591844">
                <a:tc>
                  <a:txBody>
                    <a:bodyPr/>
                    <a:lstStyle/>
                    <a:p>
                      <a:pPr lvl="0" algn="l">
                        <a:buNone/>
                      </a:pPr>
                      <a:r>
                        <a:rPr lang="en-US" sz="1000" u="none" strike="noStrike" noProof="0" dirty="0">
                          <a:solidFill>
                            <a:srgbClr val="000000"/>
                          </a:solidFill>
                          <a:latin typeface="Arial" panose="020B0604020202020204" pitchFamily="34" charset="0"/>
                          <a:cs typeface="Arial" panose="020B0604020202020204" pitchFamily="34" charset="0"/>
                        </a:rPr>
                        <a:t>Status of commercial reactors</a:t>
                      </a:r>
                      <a:endParaRPr lang="en-US" sz="100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4297807"/>
                  </a:ext>
                </a:extLst>
              </a:tr>
              <a:tr h="370840">
                <a:tc>
                  <a:txBody>
                    <a:bodyPr/>
                    <a:lstStyle/>
                    <a:p>
                      <a:pPr algn="l"/>
                      <a:r>
                        <a:rPr lang="en-US" sz="1000" dirty="0">
                          <a:latin typeface="Arial" panose="020B0604020202020204" pitchFamily="34" charset="0"/>
                          <a:cs typeface="Arial" panose="020B0604020202020204" pitchFamily="34" charset="0"/>
                        </a:rPr>
                        <a:t>Global installed capac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a:latin typeface="Arial" panose="020B0604020202020204" pitchFamily="34" charset="0"/>
                          <a:cs typeface="Arial" panose="020B0604020202020204" pitchFamily="34" charset="0"/>
                        </a:rPr>
                        <a:t>0 G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dirty="0">
                          <a:latin typeface="Arial" panose="020B0604020202020204" pitchFamily="34" charset="0"/>
                          <a:cs typeface="Arial" panose="020B0604020202020204" pitchFamily="34" charset="0"/>
                        </a:rPr>
                        <a:t>271-348 G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a:latin typeface="Arial" panose="020B0604020202020204" pitchFamily="34" charset="0"/>
                          <a:cs typeface="Arial" panose="020B0604020202020204" pitchFamily="34" charset="0"/>
                        </a:rPr>
                        <a:t>48 – 125 G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dirty="0">
                          <a:latin typeface="Arial" panose="020B0604020202020204" pitchFamily="34" charset="0"/>
                          <a:cs typeface="Arial" panose="020B0604020202020204" pitchFamily="34" charset="0"/>
                        </a:rPr>
                        <a:t>~0.2 G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32567257"/>
                  </a:ext>
                </a:extLst>
              </a:tr>
              <a:tr h="370840">
                <a:tc>
                  <a:txBody>
                    <a:bodyPr/>
                    <a:lstStyle/>
                    <a:p>
                      <a:pPr algn="l"/>
                      <a:r>
                        <a:rPr lang="en-US" sz="1000" dirty="0">
                          <a:latin typeface="Arial" panose="020B0604020202020204" pitchFamily="34" charset="0"/>
                          <a:cs typeface="Arial" panose="020B0604020202020204" pitchFamily="34" charset="0"/>
                        </a:rPr>
                        <a:t>Ratio in U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latin typeface="Arial" panose="020B0604020202020204" pitchFamily="34" charset="0"/>
                          <a:cs typeface="Arial" panose="020B0604020202020204" pitchFamily="34" charset="0"/>
                        </a:rPr>
                        <a:t>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latin typeface="Arial" panose="020B0604020202020204" pitchFamily="34" charset="0"/>
                          <a:cs typeface="Arial" panose="020B0604020202020204" pitchFamily="34" charset="0"/>
                        </a:rPr>
                        <a:t>97.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latin typeface="Arial" panose="020B0604020202020204" pitchFamily="34" charset="0"/>
                          <a:cs typeface="Arial" panose="020B0604020202020204" pitchFamily="34" charset="0"/>
                        </a:rPr>
                        <a:t>2.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latin typeface="Arial" panose="020B0604020202020204" pitchFamily="34" charset="0"/>
                          <a:cs typeface="Arial" panose="020B0604020202020204" pitchFamily="34" charset="0"/>
                        </a:rPr>
                        <a:t>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9289843"/>
                  </a:ext>
                </a:extLst>
              </a:tr>
              <a:tr h="458679">
                <a:tc>
                  <a:txBody>
                    <a:bodyPr/>
                    <a:lstStyle/>
                    <a:p>
                      <a:pPr algn="l"/>
                      <a:r>
                        <a:rPr lang="en-US" sz="1000" dirty="0">
                          <a:latin typeface="Arial" panose="020B0604020202020204" pitchFamily="34" charset="0"/>
                          <a:cs typeface="Arial" panose="020B0604020202020204" pitchFamily="34" charset="0"/>
                        </a:rPr>
                        <a:t>Pro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vl="0" algn="ctr">
                        <a:lnSpc>
                          <a:spcPct val="100000"/>
                        </a:lnSpc>
                        <a:spcBef>
                          <a:spcPts val="0"/>
                        </a:spcBef>
                        <a:spcAft>
                          <a:spcPts val="0"/>
                        </a:spcAft>
                        <a:buNone/>
                      </a:pPr>
                      <a:r>
                        <a:rPr lang="en-US" sz="1000" u="none" strike="noStrike" noProof="0" dirty="0">
                          <a:solidFill>
                            <a:srgbClr val="000000"/>
                          </a:solidFill>
                          <a:latin typeface="Arial" panose="020B0604020202020204" pitchFamily="34" charset="0"/>
                          <a:cs typeface="Arial" panose="020B0604020202020204" pitchFamily="34" charset="0"/>
                        </a:rPr>
                        <a:t>Demonstrated the civil use of nuclear fiss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vl="0" algn="ctr">
                        <a:lnSpc>
                          <a:spcPct val="100000"/>
                        </a:lnSpc>
                        <a:spcBef>
                          <a:spcPts val="0"/>
                        </a:spcBef>
                        <a:spcAft>
                          <a:spcPts val="0"/>
                        </a:spcAft>
                        <a:buNone/>
                      </a:pPr>
                      <a:r>
                        <a:rPr lang="en-US" sz="1000" u="none" strike="noStrike" noProof="0">
                          <a:solidFill>
                            <a:srgbClr val="000000"/>
                          </a:solidFill>
                          <a:latin typeface="Arial" panose="020B0604020202020204" pitchFamily="34" charset="0"/>
                          <a:cs typeface="Arial" panose="020B0604020202020204" pitchFamily="34" charset="0"/>
                        </a:rPr>
                        <a:t>Used for large, commercial-scale power generation; relies on active safety systems; based on a set of design principles; has prolonged lifetim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vl="0" algn="ctr">
                        <a:lnSpc>
                          <a:spcPct val="100000"/>
                        </a:lnSpc>
                        <a:spcBef>
                          <a:spcPts val="0"/>
                        </a:spcBef>
                        <a:spcAft>
                          <a:spcPts val="0"/>
                        </a:spcAft>
                        <a:buNone/>
                      </a:pPr>
                      <a:r>
                        <a:rPr lang="en-US" sz="1000" u="none" strike="noStrike" noProof="0" dirty="0">
                          <a:solidFill>
                            <a:srgbClr val="000000"/>
                          </a:solidFill>
                          <a:latin typeface="Arial" panose="020B0604020202020204" pitchFamily="34" charset="0"/>
                          <a:cs typeface="Arial" panose="020B0604020202020204" pitchFamily="34" charset="0"/>
                        </a:rPr>
                        <a:t>Improved design and economic; streamlined licensing from standardized designs and mass-produced parts; enhanced safe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vl="0" algn="ctr">
                        <a:lnSpc>
                          <a:spcPct val="100000"/>
                        </a:lnSpc>
                        <a:spcBef>
                          <a:spcPts val="0"/>
                        </a:spcBef>
                        <a:spcAft>
                          <a:spcPts val="0"/>
                        </a:spcAft>
                        <a:buNone/>
                      </a:pPr>
                      <a:r>
                        <a:rPr lang="en-US" sz="1000" u="none" strike="noStrike" noProof="0">
                          <a:solidFill>
                            <a:srgbClr val="000000"/>
                          </a:solidFill>
                          <a:latin typeface="Arial" panose="020B0604020202020204" pitchFamily="34" charset="0"/>
                          <a:cs typeface="Arial" panose="020B0604020202020204" pitchFamily="34" charset="0"/>
                        </a:rPr>
                        <a:t>Improved safety; reduced waste and </a:t>
                      </a:r>
                      <a:r>
                        <a:rPr lang="en-US" sz="1000" u="none" strike="noStrike" noProof="0" err="1">
                          <a:solidFill>
                            <a:srgbClr val="000000"/>
                          </a:solidFill>
                          <a:latin typeface="Arial" panose="020B0604020202020204" pitchFamily="34" charset="0"/>
                          <a:cs typeface="Arial" panose="020B0604020202020204" pitchFamily="34" charset="0"/>
                        </a:rPr>
                        <a:t>OpEx</a:t>
                      </a:r>
                      <a:r>
                        <a:rPr lang="en-US" sz="1000" u="none" strike="noStrike" noProof="0">
                          <a:solidFill>
                            <a:srgbClr val="000000"/>
                          </a:solidFill>
                          <a:latin typeface="Arial" panose="020B0604020202020204" pitchFamily="34" charset="0"/>
                          <a:cs typeface="Arial" panose="020B0604020202020204" pitchFamily="34" charset="0"/>
                        </a:rPr>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1456944"/>
                  </a:ext>
                </a:extLst>
              </a:tr>
              <a:tr h="547456">
                <a:tc>
                  <a:txBody>
                    <a:bodyPr/>
                    <a:lstStyle/>
                    <a:p>
                      <a:pPr lvl="0" algn="l">
                        <a:buNone/>
                      </a:pPr>
                      <a:r>
                        <a:rPr lang="en-US" sz="1000" dirty="0">
                          <a:latin typeface="Arial" panose="020B0604020202020204" pitchFamily="34" charset="0"/>
                          <a:cs typeface="Arial" panose="020B0604020202020204" pitchFamily="34" charset="0"/>
                        </a:rPr>
                        <a:t>C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lnSpc>
                          <a:spcPct val="100000"/>
                        </a:lnSpc>
                        <a:spcBef>
                          <a:spcPts val="0"/>
                        </a:spcBef>
                        <a:spcAft>
                          <a:spcPts val="0"/>
                        </a:spcAft>
                        <a:buNone/>
                      </a:pPr>
                      <a:r>
                        <a:rPr lang="en-US" sz="1000" u="none" strike="noStrike" noProof="0">
                          <a:solidFill>
                            <a:srgbClr val="000000"/>
                          </a:solidFill>
                          <a:latin typeface="Arial" panose="020B0604020202020204" pitchFamily="34" charset="0"/>
                          <a:cs typeface="Arial" panose="020B0604020202020204" pitchFamily="34" charset="0"/>
                        </a:rPr>
                        <a:t>Short lifespan (20 to 30 years); no standardized designs; small capac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lnSpc>
                          <a:spcPct val="100000"/>
                        </a:lnSpc>
                        <a:spcBef>
                          <a:spcPts val="0"/>
                        </a:spcBef>
                        <a:spcAft>
                          <a:spcPts val="0"/>
                        </a:spcAft>
                        <a:buNone/>
                      </a:pPr>
                      <a:r>
                        <a:rPr lang="en-US" sz="1000" u="none" strike="noStrike" noProof="0">
                          <a:solidFill>
                            <a:srgbClr val="000000"/>
                          </a:solidFill>
                          <a:latin typeface="Arial" panose="020B0604020202020204" pitchFamily="34" charset="0"/>
                          <a:cs typeface="Arial" panose="020B0604020202020204" pitchFamily="34" charset="0"/>
                        </a:rPr>
                        <a:t>Expensive and time consuming to buil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lnSpc>
                          <a:spcPct val="100000"/>
                        </a:lnSpc>
                        <a:spcBef>
                          <a:spcPts val="0"/>
                        </a:spcBef>
                        <a:spcAft>
                          <a:spcPts val="0"/>
                        </a:spcAft>
                        <a:buNone/>
                      </a:pPr>
                      <a:r>
                        <a:rPr lang="en-US" sz="1000" u="none" strike="noStrike" noProof="0" dirty="0">
                          <a:solidFill>
                            <a:srgbClr val="000000"/>
                          </a:solidFill>
                          <a:latin typeface="Arial" panose="020B0604020202020204" pitchFamily="34" charset="0"/>
                          <a:cs typeface="Arial" panose="020B0604020202020204" pitchFamily="34" charset="0"/>
                        </a:rPr>
                        <a:t>Construction delays and cost overru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lnSpc>
                          <a:spcPct val="100000"/>
                        </a:lnSpc>
                        <a:spcBef>
                          <a:spcPts val="0"/>
                        </a:spcBef>
                        <a:spcAft>
                          <a:spcPts val="0"/>
                        </a:spcAft>
                        <a:buNone/>
                      </a:pPr>
                      <a:r>
                        <a:rPr lang="en-US" sz="1000" u="none" strike="noStrike" noProof="0" dirty="0">
                          <a:solidFill>
                            <a:srgbClr val="000000"/>
                          </a:solidFill>
                          <a:latin typeface="Arial" panose="020B0604020202020204" pitchFamily="34" charset="0"/>
                          <a:cs typeface="Arial" panose="020B0604020202020204" pitchFamily="34" charset="0"/>
                        </a:rPr>
                        <a:t>High R&amp;D costs; regulatory hurdles; requires new fuel cycle infrastructure</a:t>
                      </a:r>
                    </a:p>
                    <a:p>
                      <a:pPr lvl="0" algn="ctr">
                        <a:buNone/>
                      </a:pPr>
                      <a:endParaRPr lang="en-US" sz="100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753039"/>
                  </a:ext>
                </a:extLst>
              </a:tr>
            </a:tbl>
          </a:graphicData>
        </a:graphic>
      </p:graphicFrame>
      <p:sp>
        <p:nvSpPr>
          <p:cNvPr id="6" name="Title 5">
            <a:extLst>
              <a:ext uri="{FF2B5EF4-FFF2-40B4-BE49-F238E27FC236}">
                <a16:creationId xmlns:a16="http://schemas.microsoft.com/office/drawing/2014/main" id="{3226F456-43C8-7522-DE9B-E01D94C47CCD}"/>
              </a:ext>
            </a:extLst>
          </p:cNvPr>
          <p:cNvSpPr>
            <a:spLocks noGrp="1"/>
          </p:cNvSpPr>
          <p:nvPr>
            <p:ph type="title"/>
          </p:nvPr>
        </p:nvSpPr>
        <p:spPr>
          <a:xfrm>
            <a:off x="330200" y="521208"/>
            <a:ext cx="11531600" cy="882788"/>
          </a:xfrm>
        </p:spPr>
        <p:txBody>
          <a:bodyPr vert="horz" rIns="91440">
            <a:noAutofit/>
          </a:bodyPr>
          <a:lstStyle/>
          <a:p>
            <a:r>
              <a:rPr lang="en-US" b="1" dirty="0">
                <a:latin typeface="Arial (body)"/>
                <a:cs typeface="Arial" panose="020B0604020202020204" pitchFamily="34" charset="0"/>
              </a:rPr>
              <a:t>Water-cooled reactors have evolved significantly over time to become safer, standardized, more efficient, and more modular</a:t>
            </a:r>
          </a:p>
        </p:txBody>
      </p:sp>
      <p:sp>
        <p:nvSpPr>
          <p:cNvPr id="32" name="btfpNotesBox368131">
            <a:hlinkClick r:id="rId30"/>
            <a:extLst>
              <a:ext uri="{FF2B5EF4-FFF2-40B4-BE49-F238E27FC236}">
                <a16:creationId xmlns:a16="http://schemas.microsoft.com/office/drawing/2014/main" id="{269727D1-CDD4-A15D-C7AF-C4EFE1A32327}"/>
              </a:ext>
            </a:extLst>
          </p:cNvPr>
          <p:cNvSpPr txBox="1"/>
          <p:nvPr>
            <p:custDataLst>
              <p:tags r:id="rId3"/>
            </p:custDataLst>
          </p:nvPr>
        </p:nvSpPr>
        <p:spPr bwMode="gray">
          <a:xfrm>
            <a:off x="455795" y="6234112"/>
            <a:ext cx="9047868" cy="615553"/>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cs typeface="Arial"/>
              </a:rPr>
              <a:t>Sources: Global Energy Monitor, </a:t>
            </a:r>
            <a:r>
              <a:rPr kumimoji="0" lang="en-US" sz="800" b="0" i="0" u="none" strike="noStrike" kern="1200" cap="none" spc="0" normalizeH="0" baseline="0" noProof="0" dirty="0">
                <a:ln>
                  <a:noFill/>
                </a:ln>
                <a:solidFill>
                  <a:srgbClr val="000000"/>
                </a:solidFill>
                <a:effectLst/>
                <a:uLnTx/>
                <a:uFillTx/>
                <a:latin typeface="Arial"/>
                <a:cs typeface="Arial"/>
                <a:hlinkClick r:id="rId31"/>
              </a:rPr>
              <a:t>Global Nuclear Power Tracker</a:t>
            </a:r>
            <a:r>
              <a:rPr kumimoji="0" lang="en-US" sz="800" b="0" i="0" u="none" strike="noStrike" kern="1200" cap="none" spc="0" normalizeH="0" baseline="0" noProof="0" dirty="0">
                <a:ln>
                  <a:noFill/>
                </a:ln>
                <a:solidFill>
                  <a:srgbClr val="000000"/>
                </a:solidFill>
                <a:effectLst/>
                <a:uLnTx/>
                <a:uFillTx/>
                <a:latin typeface="Arial"/>
                <a:cs typeface="Arial"/>
              </a:rPr>
              <a:t> (2024); </a:t>
            </a:r>
            <a:r>
              <a:rPr lang="en-US" sz="800" i="0" dirty="0">
                <a:solidFill>
                  <a:srgbClr val="000000"/>
                </a:solidFill>
                <a:latin typeface="Arial"/>
                <a:cs typeface="Arial"/>
              </a:rPr>
              <a:t>WNA,</a:t>
            </a:r>
            <a:r>
              <a:rPr kumimoji="0" lang="en-US" sz="800" b="0" u="none" strike="noStrike" kern="1200" cap="none" spc="0" normalizeH="0" baseline="0" noProof="0" dirty="0">
                <a:ln>
                  <a:noFill/>
                </a:ln>
                <a:solidFill>
                  <a:srgbClr val="000000"/>
                </a:solidFill>
                <a:effectLst/>
                <a:uLnTx/>
                <a:uFillTx/>
                <a:latin typeface="Arial"/>
                <a:cs typeface="Arial"/>
              </a:rPr>
              <a:t> </a:t>
            </a:r>
            <a:r>
              <a:rPr kumimoji="0" lang="en-US" sz="800" b="0" u="sng" strike="noStrike" kern="1200" cap="none" spc="0" normalizeH="0" baseline="0" noProof="0" dirty="0">
                <a:ln>
                  <a:noFill/>
                </a:ln>
                <a:solidFill>
                  <a:srgbClr val="1155CC"/>
                </a:solidFill>
                <a:effectLst/>
                <a:uLnTx/>
                <a:uFillTx/>
                <a:latin typeface="Arial"/>
                <a:cs typeface="Arial"/>
                <a:hlinkClick r:id="rId32"/>
              </a:rPr>
              <a:t>Economics of nuclear power</a:t>
            </a:r>
            <a:r>
              <a:rPr kumimoji="0" lang="en-US" sz="800" b="0" u="none" strike="noStrike" kern="1200" cap="none" spc="0" normalizeH="0" baseline="0" noProof="0" dirty="0">
                <a:ln>
                  <a:noFill/>
                </a:ln>
                <a:solidFill>
                  <a:srgbClr val="000000"/>
                </a:solidFill>
                <a:effectLst/>
                <a:uLnTx/>
                <a:uFillTx/>
                <a:latin typeface="Arial"/>
                <a:cs typeface="Arial"/>
              </a:rPr>
              <a:t> (2023); WNA, </a:t>
            </a:r>
            <a:r>
              <a:rPr kumimoji="0" lang="en-US" sz="800" b="0" u="none" strike="noStrike" kern="1200" cap="none" spc="0" normalizeH="0" baseline="0" noProof="0" dirty="0">
                <a:ln>
                  <a:noFill/>
                </a:ln>
                <a:solidFill>
                  <a:srgbClr val="000000"/>
                </a:solidFill>
                <a:effectLst/>
                <a:uLnTx/>
                <a:uFillTx/>
                <a:latin typeface="Arial"/>
                <a:cs typeface="Arial"/>
                <a:hlinkClick r:id="rId33"/>
              </a:rPr>
              <a:t>Advanced Nuclear Power Reactors</a:t>
            </a:r>
            <a:r>
              <a:rPr kumimoji="0" lang="en-US" sz="800" b="0" u="none" strike="noStrike" kern="1200" cap="none" spc="0" normalizeH="0" baseline="0" noProof="0" dirty="0">
                <a:ln>
                  <a:noFill/>
                </a:ln>
                <a:solidFill>
                  <a:srgbClr val="000000"/>
                </a:solidFill>
                <a:effectLst/>
                <a:uLnTx/>
                <a:uFillTx/>
                <a:latin typeface="Arial"/>
                <a:cs typeface="Arial"/>
              </a:rPr>
              <a:t> (2021); </a:t>
            </a:r>
            <a:r>
              <a:rPr kumimoji="0" lang="en-US" sz="800" u="none" strike="noStrike" kern="1200" cap="none" spc="0" normalizeH="0" baseline="0" noProof="0" dirty="0">
                <a:ln>
                  <a:noFill/>
                </a:ln>
                <a:solidFill>
                  <a:srgbClr val="000000"/>
                </a:solidFill>
                <a:effectLst/>
                <a:uLnTx/>
                <a:uFillTx/>
                <a:latin typeface="Arial"/>
                <a:cs typeface="Arial"/>
              </a:rPr>
              <a:t>Columbia University Center on Global Energy Policy</a:t>
            </a:r>
            <a:r>
              <a:rPr lang="en-US" sz="800" dirty="0">
                <a:solidFill>
                  <a:srgbClr val="000000"/>
                </a:solidFill>
                <a:latin typeface="Arial"/>
                <a:cs typeface="Arial"/>
              </a:rPr>
              <a:t>,</a:t>
            </a:r>
            <a:r>
              <a:rPr kumimoji="0" lang="en-US" sz="800" u="none" strike="noStrike" kern="1200" cap="none" spc="0" normalizeH="0" baseline="0" noProof="0" dirty="0">
                <a:ln>
                  <a:noFill/>
                </a:ln>
                <a:solidFill>
                  <a:srgbClr val="000000"/>
                </a:solidFill>
                <a:effectLst/>
                <a:uLnTx/>
                <a:uFillTx/>
                <a:latin typeface="Arial"/>
                <a:cs typeface="Arial"/>
              </a:rPr>
              <a:t> </a:t>
            </a:r>
            <a:r>
              <a:rPr kumimoji="0" lang="en-US" sz="800" u="none" strike="noStrike" kern="1200" cap="none" spc="0" normalizeH="0" baseline="0" noProof="0" dirty="0">
                <a:ln>
                  <a:noFill/>
                </a:ln>
                <a:solidFill>
                  <a:srgbClr val="000000"/>
                </a:solidFill>
                <a:effectLst/>
                <a:uLnTx/>
                <a:uFillTx/>
                <a:latin typeface="Arial"/>
                <a:cs typeface="Arial"/>
                <a:hlinkClick r:id="rId34"/>
              </a:rPr>
              <a:t>The Uncertain Costs of New Nuclear Reactors</a:t>
            </a:r>
            <a:r>
              <a:rPr kumimoji="0" lang="en-US" sz="800" u="none" strike="noStrike" kern="1200" cap="none" spc="0" normalizeH="0" baseline="0" noProof="0" dirty="0">
                <a:ln>
                  <a:noFill/>
                </a:ln>
                <a:solidFill>
                  <a:srgbClr val="000000"/>
                </a:solidFill>
                <a:effectLst/>
                <a:uLnTx/>
                <a:uFillTx/>
                <a:latin typeface="Arial"/>
                <a:cs typeface="Arial"/>
              </a:rPr>
              <a:t> </a:t>
            </a:r>
            <a:r>
              <a:rPr kumimoji="0" lang="en-US" sz="800" b="0" u="none" strike="noStrike" kern="1200" cap="none" spc="0" normalizeH="0" baseline="0" noProof="0" dirty="0">
                <a:ln>
                  <a:noFill/>
                </a:ln>
                <a:solidFill>
                  <a:srgbClr val="000000"/>
                </a:solidFill>
                <a:effectLst/>
                <a:uLnTx/>
                <a:uFillTx/>
                <a:latin typeface="Arial"/>
                <a:cs typeface="Arial"/>
              </a:rPr>
              <a:t>(2023); </a:t>
            </a:r>
            <a:r>
              <a:rPr kumimoji="0" lang="en-US" sz="800" u="none" strike="noStrike" kern="1200" cap="none" spc="0" normalizeH="0" baseline="0" noProof="0" dirty="0">
                <a:ln>
                  <a:noFill/>
                </a:ln>
                <a:solidFill>
                  <a:srgbClr val="000000"/>
                </a:solidFill>
                <a:effectLst/>
                <a:uLnTx/>
                <a:uFillTx/>
                <a:latin typeface="Arial"/>
                <a:cs typeface="Arial"/>
              </a:rPr>
              <a:t>U.S. DOE</a:t>
            </a:r>
            <a:r>
              <a:rPr lang="en-US" sz="800" dirty="0">
                <a:solidFill>
                  <a:srgbClr val="000000"/>
                </a:solidFill>
                <a:latin typeface="Arial"/>
                <a:cs typeface="Arial"/>
                <a:hlinkClick r:id="rId35"/>
              </a:rPr>
              <a:t>, Pathways to Commercial Liftoff: Advanced Nuclear</a:t>
            </a:r>
            <a:r>
              <a:rPr lang="en-US" sz="800" dirty="0">
                <a:solidFill>
                  <a:srgbClr val="000000"/>
                </a:solidFill>
                <a:latin typeface="Arial"/>
                <a:cs typeface="Arial"/>
              </a:rPr>
              <a:t> </a:t>
            </a:r>
            <a:r>
              <a:rPr kumimoji="0" lang="en-US" sz="800" b="0" u="none" strike="noStrike" kern="1200" cap="none" spc="0" normalizeH="0" baseline="0" noProof="0" dirty="0">
                <a:ln>
                  <a:noFill/>
                </a:ln>
                <a:solidFill>
                  <a:srgbClr val="000000"/>
                </a:solidFill>
                <a:effectLst/>
                <a:uLnTx/>
                <a:uFillTx/>
                <a:latin typeface="Arial"/>
                <a:cs typeface="Arial"/>
              </a:rPr>
              <a:t>(2023); </a:t>
            </a:r>
            <a:r>
              <a:rPr kumimoji="0" lang="en-US" sz="800" b="0" u="none" strike="noStrike" kern="1200" cap="none" spc="0" normalizeH="0" baseline="0" noProof="0" dirty="0" err="1">
                <a:ln>
                  <a:noFill/>
                </a:ln>
                <a:solidFill>
                  <a:srgbClr val="000000"/>
                </a:solidFill>
                <a:effectLst/>
                <a:uLnTx/>
                <a:uFillTx/>
                <a:latin typeface="Arial"/>
                <a:cs typeface="Arial"/>
              </a:rPr>
              <a:t>Cleantech</a:t>
            </a:r>
            <a:r>
              <a:rPr kumimoji="0" lang="en-US" sz="800" b="0" u="none" strike="noStrike" kern="1200" cap="none" spc="0" normalizeH="0" baseline="0" noProof="0" dirty="0">
                <a:ln>
                  <a:noFill/>
                </a:ln>
                <a:solidFill>
                  <a:srgbClr val="000000"/>
                </a:solidFill>
                <a:effectLst/>
                <a:uLnTx/>
                <a:uFillTx/>
                <a:latin typeface="Arial"/>
                <a:cs typeface="Arial"/>
              </a:rPr>
              <a:t> Group, </a:t>
            </a:r>
            <a:r>
              <a:rPr kumimoji="0" lang="en-US" sz="800" b="0" u="none" strike="noStrike" kern="1200" cap="none" spc="0" normalizeH="0" baseline="0" noProof="0" dirty="0">
                <a:ln>
                  <a:noFill/>
                </a:ln>
                <a:solidFill>
                  <a:srgbClr val="000000"/>
                </a:solidFill>
                <a:effectLst/>
                <a:uLnTx/>
                <a:uFillTx/>
                <a:latin typeface="Arial"/>
                <a:cs typeface="Arial"/>
                <a:hlinkClick r:id="rId36"/>
              </a:rPr>
              <a:t>Advanced Nuclear Fission’s Role in the Energy Transition</a:t>
            </a:r>
            <a:r>
              <a:rPr kumimoji="0" lang="en-US" sz="800" b="0" u="none" strike="noStrike" kern="1200" cap="none" spc="0" normalizeH="0" baseline="0" noProof="0" dirty="0">
                <a:ln>
                  <a:noFill/>
                </a:ln>
                <a:solidFill>
                  <a:srgbClr val="000000"/>
                </a:solidFill>
                <a:effectLst/>
                <a:uLnTx/>
                <a:uFillTx/>
                <a:latin typeface="Arial"/>
                <a:cs typeface="Arial"/>
              </a:rPr>
              <a:t> (2020); Reuters, </a:t>
            </a:r>
            <a:r>
              <a:rPr kumimoji="0" lang="en-US" sz="800" b="0" u="none" strike="noStrike" kern="1200" cap="none" spc="0" normalizeH="0" baseline="0" noProof="0" dirty="0">
                <a:ln>
                  <a:noFill/>
                </a:ln>
                <a:solidFill>
                  <a:srgbClr val="000000"/>
                </a:solidFill>
                <a:effectLst/>
                <a:uLnTx/>
                <a:uFillTx/>
                <a:latin typeface="Arial"/>
                <a:cs typeface="Arial"/>
                <a:hlinkClick r:id="rId37"/>
              </a:rPr>
              <a:t>China starts up world's first fourth-generation nuclear reactor</a:t>
            </a:r>
            <a:r>
              <a:rPr kumimoji="0" lang="en-US" sz="800" b="0" u="none" strike="noStrike" kern="1200" cap="none" spc="0" normalizeH="0" baseline="0" noProof="0" dirty="0">
                <a:ln>
                  <a:noFill/>
                </a:ln>
                <a:solidFill>
                  <a:srgbClr val="000000"/>
                </a:solidFill>
                <a:effectLst/>
                <a:uLnTx/>
                <a:uFillTx/>
                <a:latin typeface="Arial"/>
                <a:cs typeface="Arial"/>
              </a:rPr>
              <a:t> (2023); Center for Advanced Nuclear Energy Systems, </a:t>
            </a:r>
            <a:r>
              <a:rPr kumimoji="0" lang="en-US" sz="800" b="0" u="none" strike="noStrike" kern="1200" cap="none" spc="0" normalizeH="0" baseline="0" noProof="0" dirty="0">
                <a:ln>
                  <a:noFill/>
                </a:ln>
                <a:solidFill>
                  <a:srgbClr val="000000"/>
                </a:solidFill>
                <a:effectLst/>
                <a:uLnTx/>
                <a:uFillTx/>
                <a:latin typeface="Arial"/>
                <a:cs typeface="Arial"/>
                <a:hlinkClick r:id="rId38"/>
              </a:rPr>
              <a:t>2024 Total Cost Projection of Next AP1000</a:t>
            </a:r>
            <a:r>
              <a:rPr kumimoji="0" lang="en-US" sz="800" b="0" u="none" strike="noStrike" kern="1200" cap="none" spc="0" normalizeH="0" baseline="0" noProof="0" dirty="0">
                <a:ln>
                  <a:noFill/>
                </a:ln>
                <a:solidFill>
                  <a:srgbClr val="000000"/>
                </a:solidFill>
                <a:effectLst/>
                <a:uLnTx/>
                <a:uFillTx/>
                <a:latin typeface="Arial"/>
                <a:cs typeface="Arial"/>
              </a:rPr>
              <a:t> (2024); </a:t>
            </a:r>
            <a:r>
              <a:rPr kumimoji="0" lang="en-US" sz="800" b="0" u="none" strike="noStrike" kern="1200" cap="none" spc="0" normalizeH="0" baseline="0" noProof="0" dirty="0" err="1">
                <a:ln>
                  <a:noFill/>
                </a:ln>
                <a:solidFill>
                  <a:srgbClr val="000000"/>
                </a:solidFill>
                <a:effectLst/>
                <a:uLnTx/>
                <a:uFillTx/>
                <a:latin typeface="Arial"/>
                <a:cs typeface="Arial"/>
              </a:rPr>
              <a:t>Reinberger</a:t>
            </a:r>
            <a:r>
              <a:rPr kumimoji="0" lang="en-US" sz="800" b="0" u="none" strike="noStrike" kern="1200" cap="none" spc="0" normalizeH="0" baseline="0" noProof="0" dirty="0">
                <a:ln>
                  <a:noFill/>
                </a:ln>
                <a:solidFill>
                  <a:srgbClr val="000000"/>
                </a:solidFill>
                <a:effectLst/>
                <a:uLnTx/>
                <a:uFillTx/>
                <a:latin typeface="Arial"/>
                <a:cs typeface="Arial"/>
              </a:rPr>
              <a:t> et al., </a:t>
            </a:r>
            <a:r>
              <a:rPr kumimoji="0" lang="en-US" sz="800" b="0" u="none" strike="noStrike" kern="1200" cap="none" spc="0" normalizeH="0" baseline="0" noProof="0" dirty="0">
                <a:ln>
                  <a:noFill/>
                </a:ln>
                <a:solidFill>
                  <a:srgbClr val="000000"/>
                </a:solidFill>
                <a:effectLst/>
                <a:uLnTx/>
                <a:uFillTx/>
                <a:latin typeface="Arial"/>
                <a:cs typeface="Arial"/>
                <a:hlinkClick r:id="rId39"/>
              </a:rPr>
              <a:t>The Technological Development of Different Generations and Reactor Concepts</a:t>
            </a:r>
            <a:r>
              <a:rPr kumimoji="0" lang="en-US" sz="800" b="0" u="none" strike="noStrike" kern="1200" cap="none" spc="0" normalizeH="0" baseline="0" noProof="0" dirty="0">
                <a:ln>
                  <a:noFill/>
                </a:ln>
                <a:solidFill>
                  <a:srgbClr val="000000"/>
                </a:solidFill>
                <a:effectLst/>
                <a:uLnTx/>
                <a:uFillTx/>
                <a:latin typeface="Arial"/>
                <a:cs typeface="Arial"/>
              </a:rPr>
              <a:t> (2019).</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cs typeface="Arial"/>
              </a:rPr>
              <a:t>Credit: Hinako Arai, </a:t>
            </a:r>
            <a:r>
              <a:rPr kumimoji="0" lang="en-US" sz="800" b="0" i="0" u="none" strike="noStrike" kern="1200" cap="none" spc="0" normalizeH="0" baseline="0" noProof="0" dirty="0" err="1">
                <a:ln>
                  <a:noFill/>
                </a:ln>
                <a:solidFill>
                  <a:srgbClr val="000000"/>
                </a:solidFill>
                <a:effectLst/>
                <a:uLnTx/>
                <a:uFillTx/>
                <a:latin typeface="Arial"/>
                <a:cs typeface="Arial"/>
              </a:rPr>
              <a:t>Vedant</a:t>
            </a:r>
            <a:r>
              <a:rPr kumimoji="0" lang="en-US" sz="800" b="0" i="0" u="none" strike="noStrike" kern="1200" cap="none" spc="0" normalizeH="0" baseline="0" noProof="0" dirty="0">
                <a:ln>
                  <a:noFill/>
                </a:ln>
                <a:solidFill>
                  <a:srgbClr val="000000"/>
                </a:solidFill>
                <a:effectLst/>
                <a:uLnTx/>
                <a:uFillTx/>
                <a:latin typeface="Arial"/>
                <a:cs typeface="Arial"/>
              </a:rPr>
              <a:t> </a:t>
            </a:r>
            <a:r>
              <a:rPr kumimoji="0" lang="en-US" sz="800" b="0" i="0" u="none" strike="noStrike" kern="1200" cap="none" spc="0" normalizeH="0" baseline="0" noProof="0" dirty="0" err="1">
                <a:ln>
                  <a:noFill/>
                </a:ln>
                <a:solidFill>
                  <a:srgbClr val="000000"/>
                </a:solidFill>
                <a:effectLst/>
                <a:uLnTx/>
                <a:uFillTx/>
                <a:latin typeface="Arial"/>
                <a:cs typeface="Arial"/>
              </a:rPr>
              <a:t>Bhansali</a:t>
            </a:r>
            <a:r>
              <a:rPr kumimoji="0" lang="en-US" sz="800" b="0" i="0" u="none" strike="noStrike" kern="1200" cap="none" spc="0" normalizeH="0" baseline="0" noProof="0" dirty="0">
                <a:ln>
                  <a:noFill/>
                </a:ln>
                <a:solidFill>
                  <a:srgbClr val="000000"/>
                </a:solidFill>
                <a:effectLst/>
                <a:uLnTx/>
                <a:uFillTx/>
                <a:latin typeface="Arial"/>
                <a:cs typeface="Arial"/>
              </a:rPr>
              <a:t>, Brenda Rain, Quint </a:t>
            </a:r>
            <a:r>
              <a:rPr kumimoji="0" lang="en-US" sz="800" b="0" i="0" u="none" strike="noStrike" kern="1200" cap="none" spc="0" normalizeH="0" baseline="0" noProof="0" dirty="0" err="1">
                <a:ln>
                  <a:noFill/>
                </a:ln>
                <a:solidFill>
                  <a:srgbClr val="000000"/>
                </a:solidFill>
                <a:effectLst/>
                <a:uLnTx/>
                <a:uFillTx/>
                <a:latin typeface="Arial"/>
                <a:cs typeface="Arial"/>
              </a:rPr>
              <a:t>Houwink</a:t>
            </a:r>
            <a:r>
              <a:rPr kumimoji="0" lang="en-US" sz="800" b="0" i="0" u="none" strike="noStrike" kern="1200" cap="none" spc="0" normalizeH="0" baseline="0" noProof="0" dirty="0">
                <a:ln>
                  <a:noFill/>
                </a:ln>
                <a:solidFill>
                  <a:srgbClr val="000000"/>
                </a:solidFill>
                <a:effectLst/>
                <a:uLnTx/>
                <a:uFillTx/>
                <a:latin typeface="Arial"/>
                <a:cs typeface="Arial"/>
              </a:rPr>
              <a:t>, and </a:t>
            </a:r>
            <a:r>
              <a:rPr kumimoji="0" lang="en-US" sz="800" b="0" i="0" u="none" strike="noStrike" kern="1200" cap="none" spc="0" normalizeH="0" baseline="0" noProof="0" dirty="0">
                <a:ln>
                  <a:noFill/>
                </a:ln>
                <a:solidFill>
                  <a:srgbClr val="000000"/>
                </a:solidFill>
                <a:effectLst/>
                <a:uLnTx/>
                <a:uFillTx/>
                <a:latin typeface="Arial"/>
                <a:cs typeface="Arial"/>
                <a:hlinkClick r:id="rId40"/>
              </a:rPr>
              <a:t>Gernot Wagner</a:t>
            </a:r>
            <a:r>
              <a:rPr kumimoji="0" lang="en-US" sz="800" b="0" i="0" u="none" strike="noStrike" kern="1200" cap="none" spc="0" normalizeH="0" baseline="0" noProof="0" dirty="0">
                <a:ln>
                  <a:noFill/>
                </a:ln>
                <a:solidFill>
                  <a:srgbClr val="000000"/>
                </a:solidFill>
                <a:effectLst/>
                <a:uLnTx/>
                <a:uFillTx/>
                <a:latin typeface="Arial"/>
                <a:cs typeface="Arial"/>
              </a:rPr>
              <a:t>. Share with </a:t>
            </a:r>
            <a:r>
              <a:rPr kumimoji="0" lang="en-US" sz="800" b="0" i="0" u="none" strike="noStrike" kern="1200" cap="none" spc="0" normalizeH="0" baseline="0" noProof="0" dirty="0">
                <a:ln>
                  <a:noFill/>
                </a:ln>
                <a:solidFill>
                  <a:srgbClr val="000000"/>
                </a:solidFill>
                <a:effectLst/>
                <a:uLnTx/>
                <a:uFillTx/>
                <a:latin typeface="Arial"/>
                <a:cs typeface="Arial"/>
                <a:hlinkClick r:id="rId41"/>
              </a:rPr>
              <a:t>attribution</a:t>
            </a:r>
            <a:r>
              <a:rPr kumimoji="0" lang="en-US" sz="800" b="0" i="0" u="none" strike="noStrike" kern="1200" cap="none" spc="0" normalizeH="0" baseline="0" noProof="0" dirty="0">
                <a:ln>
                  <a:noFill/>
                </a:ln>
                <a:solidFill>
                  <a:srgbClr val="000000"/>
                </a:solidFill>
                <a:effectLst/>
                <a:uLnTx/>
                <a:uFillTx/>
                <a:latin typeface="Arial"/>
                <a:cs typeface="Arial"/>
              </a:rPr>
              <a:t>: </a:t>
            </a:r>
            <a:r>
              <a:rPr kumimoji="0" lang="en-US" sz="800" b="0" u="none" strike="noStrike" kern="1200" cap="none" spc="0" normalizeH="0" baseline="0" noProof="0" dirty="0" err="1">
                <a:ln>
                  <a:noFill/>
                </a:ln>
                <a:solidFill>
                  <a:srgbClr val="000000"/>
                </a:solidFill>
                <a:effectLst/>
                <a:uLnTx/>
                <a:uFillTx/>
                <a:latin typeface="Arial"/>
                <a:cs typeface="Arial"/>
              </a:rPr>
              <a:t>Houwink</a:t>
            </a:r>
            <a:r>
              <a:rPr kumimoji="0" lang="en-US" sz="800" b="0" u="none" strike="noStrike" kern="1200" cap="none" spc="0" normalizeH="0" baseline="0" noProof="0" dirty="0">
                <a:ln>
                  <a:noFill/>
                </a:ln>
                <a:solidFill>
                  <a:srgbClr val="000000"/>
                </a:solidFill>
                <a:effectLst/>
                <a:uLnTx/>
                <a:uFillTx/>
                <a:latin typeface="Arial"/>
                <a:cs typeface="Arial"/>
              </a:rPr>
              <a:t> et al., </a:t>
            </a:r>
            <a:r>
              <a:rPr kumimoji="0" lang="en-US" sz="800" b="0" i="0" u="none" strike="noStrike" kern="1200" cap="none" spc="0" normalizeH="0" baseline="0" noProof="0" dirty="0">
                <a:ln>
                  <a:noFill/>
                </a:ln>
                <a:solidFill>
                  <a:srgbClr val="000000"/>
                </a:solidFill>
                <a:effectLst/>
                <a:uLnTx/>
                <a:uFillTx/>
                <a:latin typeface="Arial"/>
                <a:cs typeface="Arial"/>
              </a:rPr>
              <a:t>"Reenergizing Nuclear" (23 September 2025).</a:t>
            </a:r>
          </a:p>
        </p:txBody>
      </p:sp>
      <p:sp>
        <p:nvSpPr>
          <p:cNvPr id="1052" name="TextBox 1051">
            <a:extLst>
              <a:ext uri="{FF2B5EF4-FFF2-40B4-BE49-F238E27FC236}">
                <a16:creationId xmlns:a16="http://schemas.microsoft.com/office/drawing/2014/main" id="{A9F53704-0E58-348E-FFF9-8CEF9BA94C95}"/>
              </a:ext>
            </a:extLst>
          </p:cNvPr>
          <p:cNvSpPr txBox="1"/>
          <p:nvPr>
            <p:custDataLst>
              <p:tags r:id="rId4"/>
            </p:custDataLst>
          </p:nvPr>
        </p:nvSpPr>
        <p:spPr>
          <a:xfrm>
            <a:off x="414337" y="1382653"/>
            <a:ext cx="5373688" cy="306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cs typeface="Arial"/>
              </a:rPr>
              <a:t>Key differences in reactors by generation </a:t>
            </a:r>
          </a:p>
        </p:txBody>
      </p:sp>
      <p:sp>
        <p:nvSpPr>
          <p:cNvPr id="1086" name="TextBox 1085">
            <a:extLst>
              <a:ext uri="{FF2B5EF4-FFF2-40B4-BE49-F238E27FC236}">
                <a16:creationId xmlns:a16="http://schemas.microsoft.com/office/drawing/2014/main" id="{55F62AF3-CA7D-EBF0-BABF-D7FF4C5550E0}"/>
              </a:ext>
            </a:extLst>
          </p:cNvPr>
          <p:cNvSpPr txBox="1"/>
          <p:nvPr>
            <p:custDataLst>
              <p:tags r:id="rId5"/>
            </p:custDataLst>
          </p:nvPr>
        </p:nvSpPr>
        <p:spPr bwMode="gray">
          <a:xfrm>
            <a:off x="6183613" y="2310428"/>
            <a:ext cx="1700213" cy="123111"/>
          </a:xfrm>
          <a:prstGeom prst="rect">
            <a:avLst/>
          </a:prstGeom>
          <a:noFill/>
        </p:spPr>
        <p:txBody>
          <a:bodyPr wrap="square" lIns="0" tIns="0" rIns="0" bIns="0" rtlCol="0">
            <a:spAutoFit/>
          </a:bodyPr>
          <a:lstStyle/>
          <a:p>
            <a:pPr marL="0" marR="0" lvl="1" defTabSz="711200" rtl="0" eaLnBrk="1" fontAlgn="auto" latinLnBrk="0" hangingPunct="1">
              <a:lnSpc>
                <a:spcPct val="100000"/>
              </a:lnSpc>
              <a:spcBef>
                <a:spcPts val="300"/>
              </a:spcBef>
              <a:spcAft>
                <a:spcPts val="0"/>
              </a:spcAft>
              <a:buClrTx/>
              <a:buSzTx/>
              <a:tabLst/>
              <a:defRPr/>
            </a:pPr>
            <a:r>
              <a:rPr lang="en-US" sz="800" dirty="0">
                <a:latin typeface="Arial"/>
                <a:cs typeface="Arial"/>
              </a:rPr>
              <a:t>Advanced reactors</a:t>
            </a:r>
          </a:p>
        </p:txBody>
      </p:sp>
      <p:sp>
        <p:nvSpPr>
          <p:cNvPr id="2" name="Rectangle 1">
            <a:extLst>
              <a:ext uri="{FF2B5EF4-FFF2-40B4-BE49-F238E27FC236}">
                <a16:creationId xmlns:a16="http://schemas.microsoft.com/office/drawing/2014/main" id="{9774D0F1-8220-4A59-6B94-1555D1110F47}"/>
              </a:ext>
            </a:extLst>
          </p:cNvPr>
          <p:cNvSpPr/>
          <p:nvPr/>
        </p:nvSpPr>
        <p:spPr bwMode="gray">
          <a:xfrm>
            <a:off x="0" y="0"/>
            <a:ext cx="2926080" cy="382208"/>
          </a:xfrm>
          <a:prstGeom prst="rect">
            <a:avLst/>
          </a:prstGeom>
          <a:solidFill>
            <a:srgbClr val="8BDD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latin typeface="Arial (body)"/>
              </a:rPr>
              <a:t>Deep dive: Traditional reactors</a:t>
            </a:r>
          </a:p>
        </p:txBody>
      </p:sp>
      <p:sp>
        <p:nvSpPr>
          <p:cNvPr id="1349" name="Rectangle 1348">
            <a:extLst>
              <a:ext uri="{FF2B5EF4-FFF2-40B4-BE49-F238E27FC236}">
                <a16:creationId xmlns:a16="http://schemas.microsoft.com/office/drawing/2014/main" id="{22AB60BF-35E7-8C11-E388-6F84F7429EE7}"/>
              </a:ext>
            </a:extLst>
          </p:cNvPr>
          <p:cNvSpPr/>
          <p:nvPr>
            <p:custDataLst>
              <p:tags r:id="rId6"/>
            </p:custDataLst>
          </p:nvPr>
        </p:nvSpPr>
        <p:spPr bwMode="auto">
          <a:xfrm>
            <a:off x="8609013" y="1500188"/>
            <a:ext cx="142875" cy="106363"/>
          </a:xfrm>
          <a:prstGeom prst="rect">
            <a:avLst/>
          </a:prstGeom>
          <a:solidFill>
            <a:srgbClr val="D1227D"/>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a:cs typeface="Arial"/>
            </a:endParaRPr>
          </a:p>
        </p:txBody>
      </p:sp>
      <p:sp>
        <p:nvSpPr>
          <p:cNvPr id="1350" name="Rectangle 1349">
            <a:extLst>
              <a:ext uri="{FF2B5EF4-FFF2-40B4-BE49-F238E27FC236}">
                <a16:creationId xmlns:a16="http://schemas.microsoft.com/office/drawing/2014/main" id="{9E277061-B7BC-4092-F917-FAA2BF3171D9}"/>
              </a:ext>
            </a:extLst>
          </p:cNvPr>
          <p:cNvSpPr/>
          <p:nvPr>
            <p:custDataLst>
              <p:tags r:id="rId7"/>
            </p:custDataLst>
          </p:nvPr>
        </p:nvSpPr>
        <p:spPr bwMode="auto">
          <a:xfrm>
            <a:off x="9675813" y="1500188"/>
            <a:ext cx="142875" cy="106363"/>
          </a:xfrm>
          <a:prstGeom prst="rect">
            <a:avLst/>
          </a:prstGeom>
          <a:solidFill>
            <a:schemeClr val="tx2"/>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a:cs typeface="Arial"/>
            </a:endParaRPr>
          </a:p>
        </p:txBody>
      </p:sp>
      <p:sp>
        <p:nvSpPr>
          <p:cNvPr id="1351" name="Rectangle 1350">
            <a:extLst>
              <a:ext uri="{FF2B5EF4-FFF2-40B4-BE49-F238E27FC236}">
                <a16:creationId xmlns:a16="http://schemas.microsoft.com/office/drawing/2014/main" id="{455AB7AB-4095-E83B-039F-204C8BE76048}"/>
              </a:ext>
            </a:extLst>
          </p:cNvPr>
          <p:cNvSpPr/>
          <p:nvPr>
            <p:custDataLst>
              <p:tags r:id="rId8"/>
            </p:custDataLst>
          </p:nvPr>
        </p:nvSpPr>
        <p:spPr bwMode="auto">
          <a:xfrm>
            <a:off x="10636250" y="1500188"/>
            <a:ext cx="142875" cy="106363"/>
          </a:xfrm>
          <a:prstGeom prst="rect">
            <a:avLst/>
          </a:prstGeom>
          <a:solidFill>
            <a:schemeClr val="accent4"/>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a:cs typeface="Arial"/>
            </a:endParaRPr>
          </a:p>
        </p:txBody>
      </p:sp>
      <p:sp>
        <p:nvSpPr>
          <p:cNvPr id="1379" name="Rectangle 1378">
            <a:extLst>
              <a:ext uri="{FF2B5EF4-FFF2-40B4-BE49-F238E27FC236}">
                <a16:creationId xmlns:a16="http://schemas.microsoft.com/office/drawing/2014/main" id="{7D5DEFF3-7D6F-FE3C-DF34-5FC2BFDE1F3E}"/>
              </a:ext>
            </a:extLst>
          </p:cNvPr>
          <p:cNvSpPr/>
          <p:nvPr>
            <p:custDataLst>
              <p:tags r:id="rId9"/>
            </p:custDataLst>
          </p:nvPr>
        </p:nvSpPr>
        <p:spPr bwMode="auto">
          <a:xfrm>
            <a:off x="11460163" y="1500188"/>
            <a:ext cx="142875" cy="106363"/>
          </a:xfrm>
          <a:prstGeom prst="rect">
            <a:avLst/>
          </a:prstGeom>
          <a:solidFill>
            <a:schemeClr val="accent5"/>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a:cs typeface="Arial"/>
            </a:endParaRPr>
          </a:p>
        </p:txBody>
      </p:sp>
      <p:sp>
        <p:nvSpPr>
          <p:cNvPr id="1344" name="Text Placeholder 2">
            <a:extLst>
              <a:ext uri="{FF2B5EF4-FFF2-40B4-BE49-F238E27FC236}">
                <a16:creationId xmlns:a16="http://schemas.microsoft.com/office/drawing/2014/main" id="{F2E4A661-28E2-1F70-1897-19AF08D500FB}"/>
              </a:ext>
            </a:extLst>
          </p:cNvPr>
          <p:cNvSpPr>
            <a:spLocks/>
          </p:cNvSpPr>
          <p:nvPr>
            <p:custDataLst>
              <p:tags r:id="rId10"/>
            </p:custDataLst>
          </p:nvPr>
        </p:nvSpPr>
        <p:spPr bwMode="auto">
          <a:xfrm>
            <a:off x="8802688" y="1504950"/>
            <a:ext cx="7715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CBBEB40-F7A4-4772-A211-3F82CE8092BE}" type="datetime'Pr''''''''''e''''- c''o''''''''nst''''r''''uc''ti''on'''''">
              <a:rPr lang="en-US" altLang="en-US" sz="800" smtClean="0">
                <a:latin typeface="Arial" panose="020B0604020202020204" pitchFamily="34" charset="0"/>
                <a:cs typeface="Arial" panose="020B0604020202020204" pitchFamily="34" charset="0"/>
                <a:sym typeface="Arial" panose="020B0604020202020204" pitchFamily="34" charset="0"/>
              </a:rPr>
              <a:pPr marL="0" lvl="0" indent="0" algn="r">
                <a:spcBef>
                  <a:spcPct val="0"/>
                </a:spcBef>
                <a:spcAft>
                  <a:spcPct val="0"/>
                </a:spcAft>
                <a:buNone/>
              </a:pPr>
              <a:t>Pre- construction</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346" name="Text Placeholder 2">
            <a:extLst>
              <a:ext uri="{FF2B5EF4-FFF2-40B4-BE49-F238E27FC236}">
                <a16:creationId xmlns:a16="http://schemas.microsoft.com/office/drawing/2014/main" id="{4EC7A79F-ED95-22C5-FA56-21C913003698}"/>
              </a:ext>
            </a:extLst>
          </p:cNvPr>
          <p:cNvSpPr>
            <a:spLocks/>
          </p:cNvSpPr>
          <p:nvPr>
            <p:custDataLst>
              <p:tags r:id="rId11"/>
            </p:custDataLst>
          </p:nvPr>
        </p:nvSpPr>
        <p:spPr bwMode="auto">
          <a:xfrm>
            <a:off x="9869488" y="1504950"/>
            <a:ext cx="6651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3D9EE8D-A3F9-47FE-939A-9214D772C48A}" type="datetime'In'''' ''''c''o''''''''''ns''''t''ru''''''ct''''''''''i''''on'">
              <a:rPr lang="en-US" altLang="en-US" sz="800" smtClean="0">
                <a:latin typeface="Arial" panose="020B0604020202020204" pitchFamily="34" charset="0"/>
                <a:cs typeface="Arial" panose="020B0604020202020204" pitchFamily="34" charset="0"/>
                <a:sym typeface="Arial" panose="020B0604020202020204" pitchFamily="34" charset="0"/>
              </a:rPr>
              <a:pPr marL="0" lvl="0" indent="0" algn="r">
                <a:spcBef>
                  <a:spcPct val="0"/>
                </a:spcBef>
                <a:spcAft>
                  <a:spcPct val="0"/>
                </a:spcAft>
                <a:buNone/>
              </a:pPr>
              <a:t>In construction</a:t>
            </a:fld>
            <a:endParaRPr lang="en-US" sz="800" dirty="0">
              <a:latin typeface="Arial" panose="020B0604020202020204" pitchFamily="34" charset="0"/>
              <a:cs typeface="Arial" panose="020B0604020202020204" pitchFamily="34" charset="0"/>
              <a:sym typeface="Arial" panose="020B0604020202020204" pitchFamily="34" charset="0"/>
            </a:endParaRPr>
          </a:p>
        </p:txBody>
      </p:sp>
      <p:sp>
        <p:nvSpPr>
          <p:cNvPr id="1347" name="Text Placeholder 2">
            <a:extLst>
              <a:ext uri="{FF2B5EF4-FFF2-40B4-BE49-F238E27FC236}">
                <a16:creationId xmlns:a16="http://schemas.microsoft.com/office/drawing/2014/main" id="{D8777EA8-2AC1-227F-7F21-1DB146200A05}"/>
              </a:ext>
            </a:extLst>
          </p:cNvPr>
          <p:cNvSpPr>
            <a:spLocks/>
          </p:cNvSpPr>
          <p:nvPr>
            <p:custDataLst>
              <p:tags r:id="rId12"/>
            </p:custDataLst>
          </p:nvPr>
        </p:nvSpPr>
        <p:spPr bwMode="auto">
          <a:xfrm>
            <a:off x="10829925" y="1504950"/>
            <a:ext cx="5286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8926F7E-70DC-462E-A881-0220ABFCE8E9}" type="datetime'''O''''p''''''er''''atio''''''''n''''''''a''''''''''''''''l'">
              <a:rPr lang="en-US" altLang="en-US" sz="800" smtClean="0">
                <a:latin typeface="Arial" panose="020B0604020202020204" pitchFamily="34" charset="0"/>
                <a:cs typeface="Arial" panose="020B0604020202020204" pitchFamily="34" charset="0"/>
                <a:sym typeface="Arial" panose="020B0604020202020204" pitchFamily="34" charset="0"/>
              </a:rPr>
              <a:pPr marL="0" lvl="0" indent="0" algn="r">
                <a:spcBef>
                  <a:spcPct val="0"/>
                </a:spcBef>
                <a:spcAft>
                  <a:spcPct val="0"/>
                </a:spcAft>
                <a:buNone/>
              </a:pPr>
              <a:t>Operational</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375" name="Text Placeholder 2">
            <a:extLst>
              <a:ext uri="{FF2B5EF4-FFF2-40B4-BE49-F238E27FC236}">
                <a16:creationId xmlns:a16="http://schemas.microsoft.com/office/drawing/2014/main" id="{7A190E72-B257-9FD4-0343-64EFF4C1A377}"/>
              </a:ext>
            </a:extLst>
          </p:cNvPr>
          <p:cNvSpPr>
            <a:spLocks/>
          </p:cNvSpPr>
          <p:nvPr>
            <p:custDataLst>
              <p:tags r:id="rId13"/>
            </p:custDataLst>
          </p:nvPr>
        </p:nvSpPr>
        <p:spPr bwMode="auto">
          <a:xfrm>
            <a:off x="11653838" y="1504950"/>
            <a:ext cx="32861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CB3254E-BF2E-42EC-BFA8-C326BA036443}" type="datetime'Ret''''''''i''''''''''''''''''''r''''''e''''''''''''''''d'">
              <a:rPr lang="en-US" altLang="en-US" sz="800" smtClean="0">
                <a:latin typeface="Arial" panose="020B0604020202020204" pitchFamily="34" charset="0"/>
                <a:cs typeface="Arial" panose="020B0604020202020204" pitchFamily="34" charset="0"/>
                <a:sym typeface="Arial" panose="020B0604020202020204" pitchFamily="34" charset="0"/>
              </a:rPr>
              <a:pPr marL="0" lvl="0" indent="0" algn="r">
                <a:spcBef>
                  <a:spcPct val="0"/>
                </a:spcBef>
                <a:spcAft>
                  <a:spcPct val="0"/>
                </a:spcAft>
                <a:buNone/>
              </a:pPr>
              <a:t>Retired</a:t>
            </a:fld>
            <a:endParaRPr lang="en-US" sz="800">
              <a:latin typeface="Arial" panose="020B0604020202020204" pitchFamily="34" charset="0"/>
              <a:cs typeface="Arial" panose="020B0604020202020204" pitchFamily="34" charset="0"/>
              <a:sym typeface="Arial" panose="020B0604020202020204" pitchFamily="34" charset="0"/>
            </a:endParaRPr>
          </a:p>
        </p:txBody>
      </p:sp>
      <p:cxnSp>
        <p:nvCxnSpPr>
          <p:cNvPr id="1042" name="Straight Connector 1041">
            <a:extLst>
              <a:ext uri="{FF2B5EF4-FFF2-40B4-BE49-F238E27FC236}">
                <a16:creationId xmlns:a16="http://schemas.microsoft.com/office/drawing/2014/main" id="{04C0FC70-5F70-71B2-A86E-36D53EF52320}"/>
              </a:ext>
            </a:extLst>
          </p:cNvPr>
          <p:cNvCxnSpPr>
            <a:cxnSpLocks/>
          </p:cNvCxnSpPr>
          <p:nvPr/>
        </p:nvCxnSpPr>
        <p:spPr bwMode="gray">
          <a:xfrm>
            <a:off x="751138" y="5917791"/>
            <a:ext cx="0" cy="133869"/>
          </a:xfrm>
          <a:prstGeom prst="line">
            <a:avLst/>
          </a:prstGeom>
          <a:ln w="19050">
            <a:tailEnd type="none" w="med" len="lg"/>
          </a:ln>
        </p:spPr>
        <p:style>
          <a:lnRef idx="1">
            <a:schemeClr val="accent1"/>
          </a:lnRef>
          <a:fillRef idx="0">
            <a:schemeClr val="accent1"/>
          </a:fillRef>
          <a:effectRef idx="0">
            <a:schemeClr val="accent1"/>
          </a:effectRef>
          <a:fontRef idx="minor">
            <a:schemeClr val="tx1"/>
          </a:fontRef>
        </p:style>
      </p:cxnSp>
      <p:sp>
        <p:nvSpPr>
          <p:cNvPr id="1045" name="TextBox 1044">
            <a:extLst>
              <a:ext uri="{FF2B5EF4-FFF2-40B4-BE49-F238E27FC236}">
                <a16:creationId xmlns:a16="http://schemas.microsoft.com/office/drawing/2014/main" id="{73282747-ACA7-561C-444A-389010578726}"/>
              </a:ext>
            </a:extLst>
          </p:cNvPr>
          <p:cNvSpPr txBox="1"/>
          <p:nvPr/>
        </p:nvSpPr>
        <p:spPr bwMode="gray">
          <a:xfrm>
            <a:off x="513133" y="6097925"/>
            <a:ext cx="476002" cy="130805"/>
          </a:xfrm>
          <a:prstGeom prst="rect">
            <a:avLst/>
          </a:prstGeom>
          <a:noFill/>
        </p:spPr>
        <p:txBody>
          <a:bodyPr wrap="square" lIns="0" tIns="0" rIns="0" bIns="0" rtlCol="0">
            <a:spAutoFit/>
          </a:bodyPr>
          <a:lstStyle/>
          <a:p>
            <a:pPr marL="0" marR="0" lvl="1" algn="ctr" defTabSz="711200" rtl="0" eaLnBrk="1" fontAlgn="auto" latinLnBrk="0" hangingPunct="1">
              <a:lnSpc>
                <a:spcPct val="100000"/>
              </a:lnSpc>
              <a:spcBef>
                <a:spcPts val="300"/>
              </a:spcBef>
              <a:spcAft>
                <a:spcPts val="0"/>
              </a:spcAft>
              <a:buClrTx/>
              <a:buSzTx/>
              <a:tabLst/>
              <a:defRPr/>
            </a:pPr>
            <a:r>
              <a:rPr lang="en-US" sz="850">
                <a:latin typeface="Arial"/>
                <a:cs typeface="Arial"/>
              </a:rPr>
              <a:t>1950</a:t>
            </a:r>
          </a:p>
        </p:txBody>
      </p:sp>
      <p:sp>
        <p:nvSpPr>
          <p:cNvPr id="1046" name="TextBox 1045">
            <a:extLst>
              <a:ext uri="{FF2B5EF4-FFF2-40B4-BE49-F238E27FC236}">
                <a16:creationId xmlns:a16="http://schemas.microsoft.com/office/drawing/2014/main" id="{D2AB5030-2947-58C0-34B2-C38F37858325}"/>
              </a:ext>
            </a:extLst>
          </p:cNvPr>
          <p:cNvSpPr txBox="1"/>
          <p:nvPr/>
        </p:nvSpPr>
        <p:spPr bwMode="gray">
          <a:xfrm>
            <a:off x="1613529" y="6097921"/>
            <a:ext cx="476002" cy="130805"/>
          </a:xfrm>
          <a:prstGeom prst="rect">
            <a:avLst/>
          </a:prstGeom>
          <a:noFill/>
        </p:spPr>
        <p:txBody>
          <a:bodyPr wrap="square" lIns="0" tIns="0" rIns="0" bIns="0" rtlCol="0">
            <a:spAutoFit/>
          </a:bodyPr>
          <a:lstStyle/>
          <a:p>
            <a:pPr marL="0" marR="0" lvl="1" algn="ctr" defTabSz="711200" rtl="0" eaLnBrk="1" fontAlgn="auto" latinLnBrk="0" hangingPunct="1">
              <a:lnSpc>
                <a:spcPct val="100000"/>
              </a:lnSpc>
              <a:spcBef>
                <a:spcPts val="300"/>
              </a:spcBef>
              <a:spcAft>
                <a:spcPts val="0"/>
              </a:spcAft>
              <a:buClrTx/>
              <a:buSzTx/>
              <a:tabLst/>
              <a:defRPr/>
            </a:pPr>
            <a:r>
              <a:rPr lang="en-US" sz="850">
                <a:latin typeface="Arial"/>
                <a:cs typeface="Arial"/>
              </a:rPr>
              <a:t>1960</a:t>
            </a:r>
          </a:p>
        </p:txBody>
      </p:sp>
      <p:sp>
        <p:nvSpPr>
          <p:cNvPr id="1047" name="TextBox 1046">
            <a:extLst>
              <a:ext uri="{FF2B5EF4-FFF2-40B4-BE49-F238E27FC236}">
                <a16:creationId xmlns:a16="http://schemas.microsoft.com/office/drawing/2014/main" id="{5D7417FD-D567-5CCA-37E5-BBC488C3CD02}"/>
              </a:ext>
            </a:extLst>
          </p:cNvPr>
          <p:cNvSpPr txBox="1"/>
          <p:nvPr/>
        </p:nvSpPr>
        <p:spPr bwMode="gray">
          <a:xfrm>
            <a:off x="2713926" y="6097921"/>
            <a:ext cx="476002" cy="130805"/>
          </a:xfrm>
          <a:prstGeom prst="rect">
            <a:avLst/>
          </a:prstGeom>
          <a:noFill/>
        </p:spPr>
        <p:txBody>
          <a:bodyPr wrap="square" lIns="0" tIns="0" rIns="0" bIns="0" rtlCol="0">
            <a:spAutoFit/>
          </a:bodyPr>
          <a:lstStyle/>
          <a:p>
            <a:pPr marL="0" marR="0" lvl="1" algn="ctr" defTabSz="711200" rtl="0" eaLnBrk="1" fontAlgn="auto" latinLnBrk="0" hangingPunct="1">
              <a:lnSpc>
                <a:spcPct val="100000"/>
              </a:lnSpc>
              <a:spcBef>
                <a:spcPts val="300"/>
              </a:spcBef>
              <a:spcAft>
                <a:spcPts val="0"/>
              </a:spcAft>
              <a:buClrTx/>
              <a:buSzTx/>
              <a:tabLst/>
              <a:defRPr/>
            </a:pPr>
            <a:r>
              <a:rPr lang="en-US" sz="850">
                <a:latin typeface="Arial"/>
                <a:cs typeface="Arial"/>
              </a:rPr>
              <a:t>1970</a:t>
            </a:r>
          </a:p>
        </p:txBody>
      </p:sp>
      <p:sp>
        <p:nvSpPr>
          <p:cNvPr id="1048" name="TextBox 1047">
            <a:extLst>
              <a:ext uri="{FF2B5EF4-FFF2-40B4-BE49-F238E27FC236}">
                <a16:creationId xmlns:a16="http://schemas.microsoft.com/office/drawing/2014/main" id="{695F74CB-DCDB-0ACD-1EDD-BCF2EBA5065C}"/>
              </a:ext>
            </a:extLst>
          </p:cNvPr>
          <p:cNvSpPr txBox="1"/>
          <p:nvPr/>
        </p:nvSpPr>
        <p:spPr bwMode="gray">
          <a:xfrm>
            <a:off x="3814323" y="6097921"/>
            <a:ext cx="476002" cy="130805"/>
          </a:xfrm>
          <a:prstGeom prst="rect">
            <a:avLst/>
          </a:prstGeom>
          <a:noFill/>
        </p:spPr>
        <p:txBody>
          <a:bodyPr wrap="square" lIns="0" tIns="0" rIns="0" bIns="0" rtlCol="0">
            <a:spAutoFit/>
          </a:bodyPr>
          <a:lstStyle/>
          <a:p>
            <a:pPr marL="0" marR="0" lvl="1" algn="ctr" defTabSz="711200" rtl="0" eaLnBrk="1" fontAlgn="auto" latinLnBrk="0" hangingPunct="1">
              <a:lnSpc>
                <a:spcPct val="100000"/>
              </a:lnSpc>
              <a:spcBef>
                <a:spcPts val="300"/>
              </a:spcBef>
              <a:spcAft>
                <a:spcPts val="0"/>
              </a:spcAft>
              <a:buClrTx/>
              <a:buSzTx/>
              <a:tabLst/>
              <a:defRPr/>
            </a:pPr>
            <a:r>
              <a:rPr lang="en-US" sz="850">
                <a:latin typeface="Arial"/>
                <a:cs typeface="Arial"/>
              </a:rPr>
              <a:t>1980</a:t>
            </a:r>
          </a:p>
        </p:txBody>
      </p:sp>
      <p:sp>
        <p:nvSpPr>
          <p:cNvPr id="1049" name="TextBox 1048">
            <a:extLst>
              <a:ext uri="{FF2B5EF4-FFF2-40B4-BE49-F238E27FC236}">
                <a16:creationId xmlns:a16="http://schemas.microsoft.com/office/drawing/2014/main" id="{97D2CA68-2B48-E9BF-01DF-E16CE1987E5A}"/>
              </a:ext>
            </a:extLst>
          </p:cNvPr>
          <p:cNvSpPr txBox="1"/>
          <p:nvPr/>
        </p:nvSpPr>
        <p:spPr bwMode="gray">
          <a:xfrm>
            <a:off x="4914720" y="6097921"/>
            <a:ext cx="476002" cy="130805"/>
          </a:xfrm>
          <a:prstGeom prst="rect">
            <a:avLst/>
          </a:prstGeom>
          <a:noFill/>
        </p:spPr>
        <p:txBody>
          <a:bodyPr wrap="square" lIns="0" tIns="0" rIns="0" bIns="0" rtlCol="0">
            <a:spAutoFit/>
          </a:bodyPr>
          <a:lstStyle/>
          <a:p>
            <a:pPr marL="0" marR="0" lvl="1" algn="ctr" defTabSz="711200" rtl="0" eaLnBrk="1" fontAlgn="auto" latinLnBrk="0" hangingPunct="1">
              <a:lnSpc>
                <a:spcPct val="100000"/>
              </a:lnSpc>
              <a:spcBef>
                <a:spcPts val="300"/>
              </a:spcBef>
              <a:spcAft>
                <a:spcPts val="0"/>
              </a:spcAft>
              <a:buClrTx/>
              <a:buSzTx/>
              <a:tabLst/>
              <a:defRPr/>
            </a:pPr>
            <a:r>
              <a:rPr lang="en-US" sz="850">
                <a:latin typeface="Arial"/>
                <a:cs typeface="Arial"/>
              </a:rPr>
              <a:t>1990</a:t>
            </a:r>
          </a:p>
        </p:txBody>
      </p:sp>
      <p:sp>
        <p:nvSpPr>
          <p:cNvPr id="1050" name="TextBox 1049">
            <a:extLst>
              <a:ext uri="{FF2B5EF4-FFF2-40B4-BE49-F238E27FC236}">
                <a16:creationId xmlns:a16="http://schemas.microsoft.com/office/drawing/2014/main" id="{9AE0C9A9-438F-F8FF-A4B2-413A046F9600}"/>
              </a:ext>
            </a:extLst>
          </p:cNvPr>
          <p:cNvSpPr txBox="1"/>
          <p:nvPr/>
        </p:nvSpPr>
        <p:spPr bwMode="gray">
          <a:xfrm>
            <a:off x="6015117" y="6097921"/>
            <a:ext cx="476002" cy="130805"/>
          </a:xfrm>
          <a:prstGeom prst="rect">
            <a:avLst/>
          </a:prstGeom>
          <a:noFill/>
        </p:spPr>
        <p:txBody>
          <a:bodyPr wrap="square" lIns="0" tIns="0" rIns="0" bIns="0" rtlCol="0">
            <a:spAutoFit/>
          </a:bodyPr>
          <a:lstStyle/>
          <a:p>
            <a:pPr marL="0" marR="0" lvl="1" algn="ctr" defTabSz="711200" rtl="0" eaLnBrk="1" fontAlgn="auto" latinLnBrk="0" hangingPunct="1">
              <a:lnSpc>
                <a:spcPct val="100000"/>
              </a:lnSpc>
              <a:spcBef>
                <a:spcPts val="300"/>
              </a:spcBef>
              <a:spcAft>
                <a:spcPts val="0"/>
              </a:spcAft>
              <a:buClrTx/>
              <a:buSzTx/>
              <a:tabLst/>
              <a:defRPr/>
            </a:pPr>
            <a:r>
              <a:rPr lang="en-US" sz="850">
                <a:latin typeface="Arial"/>
                <a:cs typeface="Arial"/>
              </a:rPr>
              <a:t>2000</a:t>
            </a:r>
          </a:p>
        </p:txBody>
      </p:sp>
      <p:sp>
        <p:nvSpPr>
          <p:cNvPr id="1051" name="TextBox 1050">
            <a:extLst>
              <a:ext uri="{FF2B5EF4-FFF2-40B4-BE49-F238E27FC236}">
                <a16:creationId xmlns:a16="http://schemas.microsoft.com/office/drawing/2014/main" id="{3457EEB7-801B-37E0-594A-53D14377454D}"/>
              </a:ext>
            </a:extLst>
          </p:cNvPr>
          <p:cNvSpPr txBox="1"/>
          <p:nvPr/>
        </p:nvSpPr>
        <p:spPr bwMode="gray">
          <a:xfrm>
            <a:off x="7115513" y="6097921"/>
            <a:ext cx="476002" cy="130805"/>
          </a:xfrm>
          <a:prstGeom prst="rect">
            <a:avLst/>
          </a:prstGeom>
          <a:noFill/>
        </p:spPr>
        <p:txBody>
          <a:bodyPr wrap="square" lIns="0" tIns="0" rIns="0" bIns="0" rtlCol="0">
            <a:spAutoFit/>
          </a:bodyPr>
          <a:lstStyle/>
          <a:p>
            <a:pPr marL="0" marR="0" lvl="1" algn="ctr" defTabSz="711200" rtl="0" eaLnBrk="1" fontAlgn="auto" latinLnBrk="0" hangingPunct="1">
              <a:lnSpc>
                <a:spcPct val="100000"/>
              </a:lnSpc>
              <a:spcBef>
                <a:spcPts val="300"/>
              </a:spcBef>
              <a:spcAft>
                <a:spcPts val="0"/>
              </a:spcAft>
              <a:buClrTx/>
              <a:buSzTx/>
              <a:tabLst/>
              <a:defRPr/>
            </a:pPr>
            <a:r>
              <a:rPr lang="en-US" sz="850">
                <a:latin typeface="Arial"/>
                <a:cs typeface="Arial"/>
              </a:rPr>
              <a:t>2010</a:t>
            </a:r>
          </a:p>
        </p:txBody>
      </p:sp>
      <p:sp>
        <p:nvSpPr>
          <p:cNvPr id="1053" name="TextBox 1052">
            <a:extLst>
              <a:ext uri="{FF2B5EF4-FFF2-40B4-BE49-F238E27FC236}">
                <a16:creationId xmlns:a16="http://schemas.microsoft.com/office/drawing/2014/main" id="{B8BA9F5A-E677-783C-12FB-D0CE25CC0735}"/>
              </a:ext>
            </a:extLst>
          </p:cNvPr>
          <p:cNvSpPr txBox="1"/>
          <p:nvPr/>
        </p:nvSpPr>
        <p:spPr bwMode="gray">
          <a:xfrm>
            <a:off x="8215909" y="6097921"/>
            <a:ext cx="476002" cy="130805"/>
          </a:xfrm>
          <a:prstGeom prst="rect">
            <a:avLst/>
          </a:prstGeom>
          <a:noFill/>
        </p:spPr>
        <p:txBody>
          <a:bodyPr wrap="square" lIns="0" tIns="0" rIns="0" bIns="0" rtlCol="0">
            <a:spAutoFit/>
          </a:bodyPr>
          <a:lstStyle/>
          <a:p>
            <a:pPr marL="0" marR="0" lvl="1" algn="ctr" defTabSz="711200" rtl="0" eaLnBrk="1" fontAlgn="auto" latinLnBrk="0" hangingPunct="1">
              <a:lnSpc>
                <a:spcPct val="100000"/>
              </a:lnSpc>
              <a:spcBef>
                <a:spcPts val="300"/>
              </a:spcBef>
              <a:spcAft>
                <a:spcPts val="0"/>
              </a:spcAft>
              <a:buClrTx/>
              <a:buSzTx/>
              <a:tabLst/>
              <a:defRPr/>
            </a:pPr>
            <a:r>
              <a:rPr lang="en-US" sz="850">
                <a:latin typeface="Arial"/>
                <a:cs typeface="Arial"/>
              </a:rPr>
              <a:t>2020</a:t>
            </a:r>
          </a:p>
        </p:txBody>
      </p:sp>
      <p:sp>
        <p:nvSpPr>
          <p:cNvPr id="1054" name="TextBox 1053">
            <a:extLst>
              <a:ext uri="{FF2B5EF4-FFF2-40B4-BE49-F238E27FC236}">
                <a16:creationId xmlns:a16="http://schemas.microsoft.com/office/drawing/2014/main" id="{CFFE223C-BF3F-A68F-D3C8-A4AD3A8F11C8}"/>
              </a:ext>
            </a:extLst>
          </p:cNvPr>
          <p:cNvSpPr txBox="1"/>
          <p:nvPr/>
        </p:nvSpPr>
        <p:spPr bwMode="gray">
          <a:xfrm>
            <a:off x="9316307" y="6097921"/>
            <a:ext cx="476002" cy="130805"/>
          </a:xfrm>
          <a:prstGeom prst="rect">
            <a:avLst/>
          </a:prstGeom>
          <a:noFill/>
        </p:spPr>
        <p:txBody>
          <a:bodyPr wrap="square" lIns="0" tIns="0" rIns="0" bIns="0" rtlCol="0">
            <a:spAutoFit/>
          </a:bodyPr>
          <a:lstStyle/>
          <a:p>
            <a:pPr marL="0" marR="0" lvl="1" algn="ctr" defTabSz="711200" rtl="0" eaLnBrk="1" fontAlgn="auto" latinLnBrk="0" hangingPunct="1">
              <a:lnSpc>
                <a:spcPct val="100000"/>
              </a:lnSpc>
              <a:spcBef>
                <a:spcPts val="300"/>
              </a:spcBef>
              <a:spcAft>
                <a:spcPts val="0"/>
              </a:spcAft>
              <a:buClrTx/>
              <a:buSzTx/>
              <a:tabLst/>
              <a:defRPr/>
            </a:pPr>
            <a:r>
              <a:rPr lang="en-US" sz="850">
                <a:latin typeface="Arial"/>
                <a:cs typeface="Arial"/>
              </a:rPr>
              <a:t>2030</a:t>
            </a:r>
          </a:p>
        </p:txBody>
      </p:sp>
      <p:cxnSp>
        <p:nvCxnSpPr>
          <p:cNvPr id="1056" name="Straight Arrow Connector 1055">
            <a:extLst>
              <a:ext uri="{FF2B5EF4-FFF2-40B4-BE49-F238E27FC236}">
                <a16:creationId xmlns:a16="http://schemas.microsoft.com/office/drawing/2014/main" id="{2D8ABBAC-1E28-0407-B9FB-53CD44EEDDB5}"/>
              </a:ext>
            </a:extLst>
          </p:cNvPr>
          <p:cNvCxnSpPr>
            <a:cxnSpLocks/>
          </p:cNvCxnSpPr>
          <p:nvPr/>
        </p:nvCxnSpPr>
        <p:spPr bwMode="gray">
          <a:xfrm>
            <a:off x="466725" y="5917784"/>
            <a:ext cx="11653044" cy="1788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58" name="Straight Connector 1057">
            <a:extLst>
              <a:ext uri="{FF2B5EF4-FFF2-40B4-BE49-F238E27FC236}">
                <a16:creationId xmlns:a16="http://schemas.microsoft.com/office/drawing/2014/main" id="{8DC45DE4-0C3C-C87A-3337-8E65BF86EE31}"/>
              </a:ext>
            </a:extLst>
          </p:cNvPr>
          <p:cNvCxnSpPr>
            <a:cxnSpLocks/>
          </p:cNvCxnSpPr>
          <p:nvPr/>
        </p:nvCxnSpPr>
        <p:spPr bwMode="gray">
          <a:xfrm>
            <a:off x="9554307" y="5917790"/>
            <a:ext cx="0" cy="133869"/>
          </a:xfrm>
          <a:prstGeom prst="line">
            <a:avLst/>
          </a:prstGeom>
          <a:ln w="19050">
            <a:tailEnd type="none" w="med" len="lg"/>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A17B95B0-5278-8D6A-747F-37D55D6D4C37}"/>
              </a:ext>
            </a:extLst>
          </p:cNvPr>
          <p:cNvCxnSpPr>
            <a:cxnSpLocks/>
          </p:cNvCxnSpPr>
          <p:nvPr/>
        </p:nvCxnSpPr>
        <p:spPr bwMode="gray">
          <a:xfrm>
            <a:off x="8453910" y="5917790"/>
            <a:ext cx="0" cy="133869"/>
          </a:xfrm>
          <a:prstGeom prst="line">
            <a:avLst/>
          </a:prstGeom>
          <a:ln w="19050">
            <a:tailEnd type="none" w="med" len="lg"/>
          </a:ln>
        </p:spPr>
        <p:style>
          <a:lnRef idx="1">
            <a:schemeClr val="accent1"/>
          </a:lnRef>
          <a:fillRef idx="0">
            <a:schemeClr val="accent1"/>
          </a:fillRef>
          <a:effectRef idx="0">
            <a:schemeClr val="accent1"/>
          </a:effectRef>
          <a:fontRef idx="minor">
            <a:schemeClr val="tx1"/>
          </a:fontRef>
        </p:style>
      </p:cxnSp>
      <p:cxnSp>
        <p:nvCxnSpPr>
          <p:cNvPr id="1060" name="Straight Connector 1059">
            <a:extLst>
              <a:ext uri="{FF2B5EF4-FFF2-40B4-BE49-F238E27FC236}">
                <a16:creationId xmlns:a16="http://schemas.microsoft.com/office/drawing/2014/main" id="{8FD0BF0A-7B9E-EF56-FF0B-5D77EF60B5AE}"/>
              </a:ext>
            </a:extLst>
          </p:cNvPr>
          <p:cNvCxnSpPr>
            <a:cxnSpLocks/>
          </p:cNvCxnSpPr>
          <p:nvPr/>
        </p:nvCxnSpPr>
        <p:spPr bwMode="gray">
          <a:xfrm>
            <a:off x="7353514" y="5917790"/>
            <a:ext cx="0" cy="133869"/>
          </a:xfrm>
          <a:prstGeom prst="line">
            <a:avLst/>
          </a:prstGeom>
          <a:ln w="19050">
            <a:tailEnd type="none" w="med" len="lg"/>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8E435DFA-E8E6-2BB5-8505-37DF41489B22}"/>
              </a:ext>
            </a:extLst>
          </p:cNvPr>
          <p:cNvCxnSpPr>
            <a:cxnSpLocks/>
          </p:cNvCxnSpPr>
          <p:nvPr/>
        </p:nvCxnSpPr>
        <p:spPr bwMode="gray">
          <a:xfrm>
            <a:off x="6253117" y="5917790"/>
            <a:ext cx="0" cy="133869"/>
          </a:xfrm>
          <a:prstGeom prst="line">
            <a:avLst/>
          </a:prstGeom>
          <a:ln w="19050">
            <a:tailEnd type="none" w="med" len="lg"/>
          </a:ln>
        </p:spPr>
        <p:style>
          <a:lnRef idx="1">
            <a:schemeClr val="accent1"/>
          </a:lnRef>
          <a:fillRef idx="0">
            <a:schemeClr val="accent1"/>
          </a:fillRef>
          <a:effectRef idx="0">
            <a:schemeClr val="accent1"/>
          </a:effectRef>
          <a:fontRef idx="minor">
            <a:schemeClr val="tx1"/>
          </a:fontRef>
        </p:style>
      </p:cxnSp>
      <p:cxnSp>
        <p:nvCxnSpPr>
          <p:cNvPr id="1062" name="Straight Connector 1061">
            <a:extLst>
              <a:ext uri="{FF2B5EF4-FFF2-40B4-BE49-F238E27FC236}">
                <a16:creationId xmlns:a16="http://schemas.microsoft.com/office/drawing/2014/main" id="{80F36559-D0D0-E0A8-DDD3-D041B9391D4B}"/>
              </a:ext>
            </a:extLst>
          </p:cNvPr>
          <p:cNvCxnSpPr>
            <a:cxnSpLocks/>
          </p:cNvCxnSpPr>
          <p:nvPr/>
        </p:nvCxnSpPr>
        <p:spPr bwMode="gray">
          <a:xfrm>
            <a:off x="5152720" y="5917790"/>
            <a:ext cx="0" cy="133869"/>
          </a:xfrm>
          <a:prstGeom prst="line">
            <a:avLst/>
          </a:prstGeom>
          <a:ln w="19050">
            <a:tailEnd type="none" w="med" len="lg"/>
          </a:ln>
        </p:spPr>
        <p:style>
          <a:lnRef idx="1">
            <a:schemeClr val="accent1"/>
          </a:lnRef>
          <a:fillRef idx="0">
            <a:schemeClr val="accent1"/>
          </a:fillRef>
          <a:effectRef idx="0">
            <a:schemeClr val="accent1"/>
          </a:effectRef>
          <a:fontRef idx="minor">
            <a:schemeClr val="tx1"/>
          </a:fontRef>
        </p:style>
      </p:cxnSp>
      <p:cxnSp>
        <p:nvCxnSpPr>
          <p:cNvPr id="1063" name="Straight Connector 1062">
            <a:extLst>
              <a:ext uri="{FF2B5EF4-FFF2-40B4-BE49-F238E27FC236}">
                <a16:creationId xmlns:a16="http://schemas.microsoft.com/office/drawing/2014/main" id="{3AB75EA7-26F1-49A4-9823-9860310D36FF}"/>
              </a:ext>
            </a:extLst>
          </p:cNvPr>
          <p:cNvCxnSpPr>
            <a:cxnSpLocks/>
          </p:cNvCxnSpPr>
          <p:nvPr/>
        </p:nvCxnSpPr>
        <p:spPr bwMode="gray">
          <a:xfrm>
            <a:off x="4052323" y="5917790"/>
            <a:ext cx="0" cy="133869"/>
          </a:xfrm>
          <a:prstGeom prst="line">
            <a:avLst/>
          </a:prstGeom>
          <a:ln w="19050">
            <a:tailEnd type="none" w="med" len="lg"/>
          </a:ln>
        </p:spPr>
        <p:style>
          <a:lnRef idx="1">
            <a:schemeClr val="accent1"/>
          </a:lnRef>
          <a:fillRef idx="0">
            <a:schemeClr val="accent1"/>
          </a:fillRef>
          <a:effectRef idx="0">
            <a:schemeClr val="accent1"/>
          </a:effectRef>
          <a:fontRef idx="minor">
            <a:schemeClr val="tx1"/>
          </a:fontRef>
        </p:style>
      </p:cxnSp>
      <p:cxnSp>
        <p:nvCxnSpPr>
          <p:cNvPr id="1064" name="Straight Connector 1063">
            <a:extLst>
              <a:ext uri="{FF2B5EF4-FFF2-40B4-BE49-F238E27FC236}">
                <a16:creationId xmlns:a16="http://schemas.microsoft.com/office/drawing/2014/main" id="{830E6A70-04FE-B799-561C-019FEE1E73B7}"/>
              </a:ext>
            </a:extLst>
          </p:cNvPr>
          <p:cNvCxnSpPr>
            <a:cxnSpLocks/>
          </p:cNvCxnSpPr>
          <p:nvPr/>
        </p:nvCxnSpPr>
        <p:spPr bwMode="gray">
          <a:xfrm>
            <a:off x="2951928" y="5917790"/>
            <a:ext cx="0" cy="133869"/>
          </a:xfrm>
          <a:prstGeom prst="line">
            <a:avLst/>
          </a:prstGeom>
          <a:ln w="19050">
            <a:tailEnd type="none" w="med" len="lg"/>
          </a:ln>
        </p:spPr>
        <p:style>
          <a:lnRef idx="1">
            <a:schemeClr val="accent1"/>
          </a:lnRef>
          <a:fillRef idx="0">
            <a:schemeClr val="accent1"/>
          </a:fillRef>
          <a:effectRef idx="0">
            <a:schemeClr val="accent1"/>
          </a:effectRef>
          <a:fontRef idx="minor">
            <a:schemeClr val="tx1"/>
          </a:fontRef>
        </p:style>
      </p:cxnSp>
      <p:cxnSp>
        <p:nvCxnSpPr>
          <p:cNvPr id="1065" name="Straight Connector 1064">
            <a:extLst>
              <a:ext uri="{FF2B5EF4-FFF2-40B4-BE49-F238E27FC236}">
                <a16:creationId xmlns:a16="http://schemas.microsoft.com/office/drawing/2014/main" id="{FEDF686E-9B9F-8ED7-612E-C4B244618BC6}"/>
              </a:ext>
            </a:extLst>
          </p:cNvPr>
          <p:cNvCxnSpPr>
            <a:cxnSpLocks/>
          </p:cNvCxnSpPr>
          <p:nvPr/>
        </p:nvCxnSpPr>
        <p:spPr bwMode="gray">
          <a:xfrm>
            <a:off x="1851531" y="5917790"/>
            <a:ext cx="0" cy="133869"/>
          </a:xfrm>
          <a:prstGeom prst="line">
            <a:avLst/>
          </a:prstGeom>
          <a:ln w="19050">
            <a:tailEnd type="none" w="med" len="lg"/>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2549618E-4D67-5449-D004-B16FF8A48919}"/>
              </a:ext>
            </a:extLst>
          </p:cNvPr>
          <p:cNvSpPr txBox="1"/>
          <p:nvPr/>
        </p:nvSpPr>
        <p:spPr bwMode="gray">
          <a:xfrm>
            <a:off x="10304403" y="6097925"/>
            <a:ext cx="476002" cy="130805"/>
          </a:xfrm>
          <a:prstGeom prst="rect">
            <a:avLst/>
          </a:prstGeom>
          <a:noFill/>
        </p:spPr>
        <p:txBody>
          <a:bodyPr wrap="square" lIns="0" tIns="0" rIns="0" bIns="0" rtlCol="0">
            <a:spAutoFit/>
          </a:bodyPr>
          <a:lstStyle/>
          <a:p>
            <a:pPr marL="0" marR="0" lvl="1" algn="ctr" defTabSz="711200" rtl="0" eaLnBrk="1" fontAlgn="auto" latinLnBrk="0" hangingPunct="1">
              <a:lnSpc>
                <a:spcPct val="100000"/>
              </a:lnSpc>
              <a:spcBef>
                <a:spcPts val="300"/>
              </a:spcBef>
              <a:spcAft>
                <a:spcPts val="0"/>
              </a:spcAft>
              <a:buClrTx/>
              <a:buSzTx/>
              <a:tabLst/>
              <a:defRPr/>
            </a:pPr>
            <a:r>
              <a:rPr lang="en-US" sz="850">
                <a:latin typeface="Arial"/>
                <a:cs typeface="Arial"/>
              </a:rPr>
              <a:t>2035</a:t>
            </a:r>
          </a:p>
        </p:txBody>
      </p:sp>
      <p:cxnSp>
        <p:nvCxnSpPr>
          <p:cNvPr id="30" name="Straight Connector 29">
            <a:extLst>
              <a:ext uri="{FF2B5EF4-FFF2-40B4-BE49-F238E27FC236}">
                <a16:creationId xmlns:a16="http://schemas.microsoft.com/office/drawing/2014/main" id="{361FECF9-4834-DFCC-B5FD-9A52D4CAE282}"/>
              </a:ext>
            </a:extLst>
          </p:cNvPr>
          <p:cNvCxnSpPr>
            <a:cxnSpLocks/>
          </p:cNvCxnSpPr>
          <p:nvPr/>
        </p:nvCxnSpPr>
        <p:spPr bwMode="gray">
          <a:xfrm>
            <a:off x="10542404" y="5917790"/>
            <a:ext cx="0" cy="133869"/>
          </a:xfrm>
          <a:prstGeom prst="line">
            <a:avLst/>
          </a:prstGeom>
          <a:ln w="19050">
            <a:tailEnd type="none" w="med" len="lg"/>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225ADF31-9A22-C2EB-3564-47DE5C2E766E}"/>
              </a:ext>
            </a:extLst>
          </p:cNvPr>
          <p:cNvSpPr txBox="1"/>
          <p:nvPr>
            <p:custDataLst>
              <p:tags r:id="rId14"/>
            </p:custDataLst>
          </p:nvPr>
        </p:nvSpPr>
        <p:spPr>
          <a:xfrm>
            <a:off x="395679" y="5722866"/>
            <a:ext cx="2571747" cy="223138"/>
          </a:xfrm>
          <a:prstGeom prst="rect">
            <a:avLst/>
          </a:prstGeom>
          <a:noFill/>
        </p:spPr>
        <p:txBody>
          <a:bodyPr wrap="square" rtlCol="0">
            <a:spAutoFit/>
          </a:bodyPr>
          <a:lstStyle/>
          <a:p>
            <a:pPr lvl="0">
              <a:defRPr/>
            </a:pPr>
            <a:r>
              <a:rPr lang="en-US" sz="800" dirty="0">
                <a:latin typeface="Arial" panose="020B0604020202020204" pitchFamily="34" charset="0"/>
                <a:cs typeface="Arial" panose="020B0604020202020204" pitchFamily="34" charset="0"/>
              </a:rPr>
              <a:t>Period of reactor development</a:t>
            </a:r>
            <a:r>
              <a:rPr kumimoji="0" lang="en-US" sz="80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p>
        </p:txBody>
      </p:sp>
      <p:sp>
        <p:nvSpPr>
          <p:cNvPr id="10" name="Rectangle 9">
            <a:extLst>
              <a:ext uri="{FF2B5EF4-FFF2-40B4-BE49-F238E27FC236}">
                <a16:creationId xmlns:a16="http://schemas.microsoft.com/office/drawing/2014/main" id="{C89132BB-8236-DA9A-4BC0-4AE255123899}"/>
              </a:ext>
            </a:extLst>
          </p:cNvPr>
          <p:cNvSpPr/>
          <p:nvPr>
            <p:custDataLst>
              <p:tags r:id="rId15"/>
            </p:custDataLst>
          </p:nvPr>
        </p:nvSpPr>
        <p:spPr bwMode="gray">
          <a:xfrm>
            <a:off x="1695449" y="1706624"/>
            <a:ext cx="1671206" cy="362731"/>
          </a:xfrm>
          <a:prstGeom prst="rect">
            <a:avLst/>
          </a:prstGeom>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dirty="0">
                <a:solidFill>
                  <a:schemeClr val="bg1"/>
                </a:solidFill>
                <a:latin typeface="Arial"/>
                <a:cs typeface="Arial"/>
              </a:rPr>
              <a:t>Gen I</a:t>
            </a:r>
          </a:p>
        </p:txBody>
      </p:sp>
      <p:sp>
        <p:nvSpPr>
          <p:cNvPr id="12" name="Rectangle 11">
            <a:extLst>
              <a:ext uri="{FF2B5EF4-FFF2-40B4-BE49-F238E27FC236}">
                <a16:creationId xmlns:a16="http://schemas.microsoft.com/office/drawing/2014/main" id="{0222857F-35DB-FDCF-3F60-16F206FF6960}"/>
              </a:ext>
            </a:extLst>
          </p:cNvPr>
          <p:cNvSpPr/>
          <p:nvPr>
            <p:custDataLst>
              <p:tags r:id="rId16"/>
            </p:custDataLst>
          </p:nvPr>
        </p:nvSpPr>
        <p:spPr bwMode="gray">
          <a:xfrm>
            <a:off x="3358785" y="1706625"/>
            <a:ext cx="2753952" cy="362731"/>
          </a:xfrm>
          <a:prstGeom prst="rect">
            <a:avLst/>
          </a:prstGeom>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a:solidFill>
                  <a:schemeClr val="bg1"/>
                </a:solidFill>
                <a:latin typeface="Arial"/>
                <a:cs typeface="Arial"/>
              </a:rPr>
              <a:t>Gen II</a:t>
            </a:r>
          </a:p>
        </p:txBody>
      </p:sp>
      <p:sp>
        <p:nvSpPr>
          <p:cNvPr id="15" name="Rectangle 14">
            <a:extLst>
              <a:ext uri="{FF2B5EF4-FFF2-40B4-BE49-F238E27FC236}">
                <a16:creationId xmlns:a16="http://schemas.microsoft.com/office/drawing/2014/main" id="{E676C934-9AE2-C3CA-9C8E-1A51EA4BF32D}"/>
              </a:ext>
            </a:extLst>
          </p:cNvPr>
          <p:cNvSpPr/>
          <p:nvPr>
            <p:custDataLst>
              <p:tags r:id="rId17"/>
            </p:custDataLst>
          </p:nvPr>
        </p:nvSpPr>
        <p:spPr bwMode="gray">
          <a:xfrm>
            <a:off x="6104867" y="1706625"/>
            <a:ext cx="1326618" cy="362730"/>
          </a:xfrm>
          <a:prstGeom prst="rect">
            <a:avLst/>
          </a:prstGeom>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dirty="0">
                <a:solidFill>
                  <a:schemeClr val="bg1"/>
                </a:solidFill>
                <a:latin typeface="Arial"/>
                <a:cs typeface="Arial"/>
              </a:rPr>
              <a:t>Gen III</a:t>
            </a:r>
          </a:p>
        </p:txBody>
      </p:sp>
      <p:graphicFrame>
        <p:nvGraphicFramePr>
          <p:cNvPr id="9" name="Chart 8">
            <a:extLst>
              <a:ext uri="{FF2B5EF4-FFF2-40B4-BE49-F238E27FC236}">
                <a16:creationId xmlns:a16="http://schemas.microsoft.com/office/drawing/2014/main" id="{1F74398E-A224-AFCA-FA2C-A249114157B8}"/>
              </a:ext>
            </a:extLst>
          </p:cNvPr>
          <p:cNvGraphicFramePr/>
          <p:nvPr>
            <p:custDataLst>
              <p:tags r:id="rId18"/>
            </p:custDataLst>
            <p:extLst>
              <p:ext uri="{D42A27DB-BD31-4B8C-83A1-F6EECF244321}">
                <p14:modId xmlns:p14="http://schemas.microsoft.com/office/powerpoint/2010/main" val="4111491515"/>
              </p:ext>
            </p:extLst>
          </p:nvPr>
        </p:nvGraphicFramePr>
        <p:xfrm>
          <a:off x="1738313" y="3140075"/>
          <a:ext cx="1309687" cy="817563"/>
        </p:xfrm>
        <a:graphic>
          <a:graphicData uri="http://schemas.openxmlformats.org/drawingml/2006/chart">
            <c:chart xmlns:c="http://schemas.openxmlformats.org/drawingml/2006/chart" xmlns:r="http://schemas.openxmlformats.org/officeDocument/2006/relationships" r:id="rId42"/>
          </a:graphicData>
        </a:graphic>
      </p:graphicFrame>
      <p:sp>
        <p:nvSpPr>
          <p:cNvPr id="38" name="Rectangle 37">
            <a:extLst>
              <a:ext uri="{FF2B5EF4-FFF2-40B4-BE49-F238E27FC236}">
                <a16:creationId xmlns:a16="http://schemas.microsoft.com/office/drawing/2014/main" id="{42636CD6-8CA4-EC01-3281-462FC6085473}"/>
              </a:ext>
            </a:extLst>
          </p:cNvPr>
          <p:cNvSpPr/>
          <p:nvPr>
            <p:custDataLst>
              <p:tags r:id="rId19"/>
            </p:custDataLst>
          </p:nvPr>
        </p:nvSpPr>
        <p:spPr bwMode="gray">
          <a:xfrm>
            <a:off x="8742363" y="1706625"/>
            <a:ext cx="3377406" cy="362730"/>
          </a:xfrm>
          <a:prstGeom prst="rect">
            <a:avLst/>
          </a:prstGeom>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dirty="0">
                <a:solidFill>
                  <a:schemeClr val="bg1"/>
                </a:solidFill>
                <a:latin typeface="Arial"/>
                <a:cs typeface="Arial"/>
              </a:rPr>
              <a:t>Gen IV</a:t>
            </a:r>
          </a:p>
        </p:txBody>
      </p:sp>
      <p:sp>
        <p:nvSpPr>
          <p:cNvPr id="50" name="Speech Bubble: Rectangle 49">
            <a:extLst>
              <a:ext uri="{FF2B5EF4-FFF2-40B4-BE49-F238E27FC236}">
                <a16:creationId xmlns:a16="http://schemas.microsoft.com/office/drawing/2014/main" id="{2D856F98-B6A8-D85A-3DA0-5706B4FC8949}"/>
              </a:ext>
            </a:extLst>
          </p:cNvPr>
          <p:cNvSpPr/>
          <p:nvPr>
            <p:custDataLst>
              <p:tags r:id="rId20"/>
            </p:custDataLst>
          </p:nvPr>
        </p:nvSpPr>
        <p:spPr>
          <a:xfrm>
            <a:off x="1738312" y="3307202"/>
            <a:ext cx="1412875" cy="266700"/>
          </a:xfrm>
          <a:prstGeom prst="wedgeRectCallout">
            <a:avLst>
              <a:gd name="adj1" fmla="val -2735"/>
              <a:gd name="adj2" fmla="val 89975"/>
            </a:avLst>
          </a:prstGeom>
          <a:solidFill>
            <a:schemeClr val="accent1">
              <a:lumMod val="20000"/>
              <a:lumOff val="8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800" dirty="0">
                <a:solidFill>
                  <a:srgbClr val="000000"/>
                </a:solidFill>
                <a:latin typeface="Arial"/>
                <a:cs typeface="Arial"/>
              </a:rPr>
              <a:t>The last Gen I shutdown in 2015 in the U.K. </a:t>
            </a:r>
          </a:p>
        </p:txBody>
      </p:sp>
      <p:graphicFrame>
        <p:nvGraphicFramePr>
          <p:cNvPr id="29" name="Chart 28">
            <a:extLst>
              <a:ext uri="{FF2B5EF4-FFF2-40B4-BE49-F238E27FC236}">
                <a16:creationId xmlns:a16="http://schemas.microsoft.com/office/drawing/2014/main" id="{A094599D-548A-8E76-997A-2AEFB988E7E3}"/>
              </a:ext>
            </a:extLst>
          </p:cNvPr>
          <p:cNvGraphicFramePr/>
          <p:nvPr>
            <p:custDataLst>
              <p:tags r:id="rId21"/>
            </p:custDataLst>
            <p:extLst>
              <p:ext uri="{D42A27DB-BD31-4B8C-83A1-F6EECF244321}">
                <p14:modId xmlns:p14="http://schemas.microsoft.com/office/powerpoint/2010/main" val="2666479210"/>
              </p:ext>
            </p:extLst>
          </p:nvPr>
        </p:nvGraphicFramePr>
        <p:xfrm>
          <a:off x="3897313" y="3108325"/>
          <a:ext cx="1595437" cy="849313"/>
        </p:xfrm>
        <a:graphic>
          <a:graphicData uri="http://schemas.openxmlformats.org/drawingml/2006/chart">
            <c:chart xmlns:c="http://schemas.openxmlformats.org/drawingml/2006/chart" xmlns:r="http://schemas.openxmlformats.org/officeDocument/2006/relationships" r:id="rId43"/>
          </a:graphicData>
        </a:graphic>
      </p:graphicFrame>
      <p:graphicFrame>
        <p:nvGraphicFramePr>
          <p:cNvPr id="36" name="Chart 35">
            <a:extLst>
              <a:ext uri="{FF2B5EF4-FFF2-40B4-BE49-F238E27FC236}">
                <a16:creationId xmlns:a16="http://schemas.microsoft.com/office/drawing/2014/main" id="{06C76982-BDF8-CEDA-FCB7-5E39AE9318C2}"/>
              </a:ext>
            </a:extLst>
          </p:cNvPr>
          <p:cNvGraphicFramePr/>
          <p:nvPr>
            <p:custDataLst>
              <p:tags r:id="rId22"/>
            </p:custDataLst>
            <p:extLst>
              <p:ext uri="{D42A27DB-BD31-4B8C-83A1-F6EECF244321}">
                <p14:modId xmlns:p14="http://schemas.microsoft.com/office/powerpoint/2010/main" val="1963348384"/>
              </p:ext>
            </p:extLst>
          </p:nvPr>
        </p:nvGraphicFramePr>
        <p:xfrm>
          <a:off x="6057900" y="3140075"/>
          <a:ext cx="1309688" cy="817563"/>
        </p:xfrm>
        <a:graphic>
          <a:graphicData uri="http://schemas.openxmlformats.org/drawingml/2006/chart">
            <c:chart xmlns:c="http://schemas.openxmlformats.org/drawingml/2006/chart" xmlns:r="http://schemas.openxmlformats.org/officeDocument/2006/relationships" r:id="rId44"/>
          </a:graphicData>
        </a:graphic>
      </p:graphicFrame>
      <p:graphicFrame>
        <p:nvGraphicFramePr>
          <p:cNvPr id="41" name="Chart 40">
            <a:extLst>
              <a:ext uri="{FF2B5EF4-FFF2-40B4-BE49-F238E27FC236}">
                <a16:creationId xmlns:a16="http://schemas.microsoft.com/office/drawing/2014/main" id="{540E7021-7446-B440-FD2D-BD083190379B}"/>
              </a:ext>
            </a:extLst>
          </p:cNvPr>
          <p:cNvGraphicFramePr/>
          <p:nvPr>
            <p:custDataLst>
              <p:tags r:id="rId23"/>
            </p:custDataLst>
            <p:extLst>
              <p:ext uri="{D42A27DB-BD31-4B8C-83A1-F6EECF244321}">
                <p14:modId xmlns:p14="http://schemas.microsoft.com/office/powerpoint/2010/main" val="638140526"/>
              </p:ext>
            </p:extLst>
          </p:nvPr>
        </p:nvGraphicFramePr>
        <p:xfrm>
          <a:off x="7242175" y="3159125"/>
          <a:ext cx="1309688" cy="798513"/>
        </p:xfrm>
        <a:graphic>
          <a:graphicData uri="http://schemas.openxmlformats.org/drawingml/2006/chart">
            <c:chart xmlns:c="http://schemas.openxmlformats.org/drawingml/2006/chart" xmlns:r="http://schemas.openxmlformats.org/officeDocument/2006/relationships" r:id="rId45"/>
          </a:graphicData>
        </a:graphic>
      </p:graphicFrame>
      <p:graphicFrame>
        <p:nvGraphicFramePr>
          <p:cNvPr id="27" name="Chart 26">
            <a:extLst>
              <a:ext uri="{FF2B5EF4-FFF2-40B4-BE49-F238E27FC236}">
                <a16:creationId xmlns:a16="http://schemas.microsoft.com/office/drawing/2014/main" id="{0E8971D4-020E-1F7F-B3F4-FECD581F265E}"/>
              </a:ext>
            </a:extLst>
          </p:cNvPr>
          <p:cNvGraphicFramePr/>
          <p:nvPr>
            <p:custDataLst>
              <p:tags r:id="rId24"/>
            </p:custDataLst>
            <p:extLst>
              <p:ext uri="{D42A27DB-BD31-4B8C-83A1-F6EECF244321}">
                <p14:modId xmlns:p14="http://schemas.microsoft.com/office/powerpoint/2010/main" val="503737503"/>
              </p:ext>
            </p:extLst>
          </p:nvPr>
        </p:nvGraphicFramePr>
        <p:xfrm>
          <a:off x="8863013" y="3140075"/>
          <a:ext cx="1023937" cy="817563"/>
        </p:xfrm>
        <a:graphic>
          <a:graphicData uri="http://schemas.openxmlformats.org/drawingml/2006/chart">
            <c:chart xmlns:c="http://schemas.openxmlformats.org/drawingml/2006/chart" xmlns:r="http://schemas.openxmlformats.org/officeDocument/2006/relationships" r:id="rId46"/>
          </a:graphicData>
        </a:graphic>
      </p:graphicFrame>
      <p:sp>
        <p:nvSpPr>
          <p:cNvPr id="1357" name="Speech Bubble: Rectangle 1356">
            <a:extLst>
              <a:ext uri="{FF2B5EF4-FFF2-40B4-BE49-F238E27FC236}">
                <a16:creationId xmlns:a16="http://schemas.microsoft.com/office/drawing/2014/main" id="{6845E13A-4F32-618E-475F-C59CB9851923}"/>
              </a:ext>
            </a:extLst>
          </p:cNvPr>
          <p:cNvSpPr/>
          <p:nvPr>
            <p:custDataLst>
              <p:tags r:id="rId25"/>
            </p:custDataLst>
          </p:nvPr>
        </p:nvSpPr>
        <p:spPr>
          <a:xfrm>
            <a:off x="9990137" y="3264189"/>
            <a:ext cx="2129632" cy="484027"/>
          </a:xfrm>
          <a:prstGeom prst="wedgeRectCallout">
            <a:avLst>
              <a:gd name="adj1" fmla="val -61672"/>
              <a:gd name="adj2" fmla="val 20124"/>
            </a:avLst>
          </a:prstGeom>
          <a:solidFill>
            <a:schemeClr val="accent1">
              <a:lumMod val="20000"/>
              <a:lumOff val="8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800" dirty="0">
                <a:solidFill>
                  <a:srgbClr val="000000"/>
                </a:solidFill>
                <a:latin typeface="Arial"/>
              </a:rPr>
              <a:t>The first Gen IV reactors started commercial operation in 2023 in China, </a:t>
            </a:r>
            <a:r>
              <a:rPr lang="en-US" sz="800" b="1" dirty="0">
                <a:solidFill>
                  <a:srgbClr val="000000"/>
                </a:solidFill>
                <a:latin typeface="Arial"/>
              </a:rPr>
              <a:t>highlighting the economic uncertainty about these models.</a:t>
            </a:r>
            <a:r>
              <a:rPr lang="en-US" sz="800" dirty="0">
                <a:solidFill>
                  <a:srgbClr val="000000"/>
                </a:solidFill>
                <a:latin typeface="Arial"/>
                <a:ea typeface="Arial"/>
                <a:cs typeface="Arial"/>
              </a:rPr>
              <a:t>​</a:t>
            </a:r>
            <a:endParaRPr lang="en-US" sz="800" dirty="0">
              <a:solidFill>
                <a:srgbClr val="000000"/>
              </a:solidFill>
            </a:endParaRPr>
          </a:p>
        </p:txBody>
      </p:sp>
      <p:sp>
        <p:nvSpPr>
          <p:cNvPr id="44" name="Rectangle 43">
            <a:extLst>
              <a:ext uri="{FF2B5EF4-FFF2-40B4-BE49-F238E27FC236}">
                <a16:creationId xmlns:a16="http://schemas.microsoft.com/office/drawing/2014/main" id="{0CC4412B-C3F3-112B-4756-1B6BF3D80114}"/>
              </a:ext>
            </a:extLst>
          </p:cNvPr>
          <p:cNvSpPr/>
          <p:nvPr>
            <p:custDataLst>
              <p:tags r:id="rId26"/>
            </p:custDataLst>
          </p:nvPr>
        </p:nvSpPr>
        <p:spPr bwMode="gray">
          <a:xfrm>
            <a:off x="7423615" y="1706625"/>
            <a:ext cx="1326618" cy="362730"/>
          </a:xfrm>
          <a:prstGeom prst="rect">
            <a:avLst/>
          </a:prstGeom>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b="1" dirty="0">
                <a:solidFill>
                  <a:schemeClr val="bg1"/>
                </a:solidFill>
                <a:latin typeface="Arial"/>
                <a:cs typeface="Arial"/>
              </a:rPr>
              <a:t>Gen III+</a:t>
            </a:r>
          </a:p>
        </p:txBody>
      </p:sp>
      <p:grpSp>
        <p:nvGrpSpPr>
          <p:cNvPr id="51" name="Group 50">
            <a:extLst>
              <a:ext uri="{FF2B5EF4-FFF2-40B4-BE49-F238E27FC236}">
                <a16:creationId xmlns:a16="http://schemas.microsoft.com/office/drawing/2014/main" id="{BF2B1F5E-9A26-C195-7F27-C74F4D8B0466}"/>
              </a:ext>
            </a:extLst>
          </p:cNvPr>
          <p:cNvGrpSpPr/>
          <p:nvPr/>
        </p:nvGrpSpPr>
        <p:grpSpPr>
          <a:xfrm>
            <a:off x="6151924" y="2358710"/>
            <a:ext cx="6007032" cy="177129"/>
            <a:chOff x="6112737" y="1535847"/>
            <a:chExt cx="6007032" cy="177129"/>
          </a:xfrm>
        </p:grpSpPr>
        <p:cxnSp>
          <p:nvCxnSpPr>
            <p:cNvPr id="47" name="Straight Arrow Connector 46">
              <a:extLst>
                <a:ext uri="{FF2B5EF4-FFF2-40B4-BE49-F238E27FC236}">
                  <a16:creationId xmlns:a16="http://schemas.microsoft.com/office/drawing/2014/main" id="{1D7BA36D-661A-5DC2-1802-7A888FAB649D}"/>
                </a:ext>
              </a:extLst>
            </p:cNvPr>
            <p:cNvCxnSpPr/>
            <p:nvPr/>
          </p:nvCxnSpPr>
          <p:spPr>
            <a:xfrm>
              <a:off x="6112737" y="1622936"/>
              <a:ext cx="6007032"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9" name="Straight Connector 48">
              <a:extLst>
                <a:ext uri="{FF2B5EF4-FFF2-40B4-BE49-F238E27FC236}">
                  <a16:creationId xmlns:a16="http://schemas.microsoft.com/office/drawing/2014/main" id="{F53BB55F-E714-831B-6EB5-8817A1BFA715}"/>
                </a:ext>
              </a:extLst>
            </p:cNvPr>
            <p:cNvCxnSpPr/>
            <p:nvPr/>
          </p:nvCxnSpPr>
          <p:spPr>
            <a:xfrm>
              <a:off x="6112737" y="1535847"/>
              <a:ext cx="0" cy="177129"/>
            </a:xfrm>
            <a:prstGeom prst="line">
              <a:avLst/>
            </a:prstGeom>
          </p:spPr>
          <p:style>
            <a:lnRef idx="2">
              <a:schemeClr val="dk1"/>
            </a:lnRef>
            <a:fillRef idx="0">
              <a:schemeClr val="dk1"/>
            </a:fillRef>
            <a:effectRef idx="1">
              <a:schemeClr val="dk1"/>
            </a:effectRef>
            <a:fontRef idx="minor">
              <a:schemeClr val="tx1"/>
            </a:fontRef>
          </p:style>
        </p:cxnSp>
      </p:grpSp>
      <p:cxnSp>
        <p:nvCxnSpPr>
          <p:cNvPr id="53" name="Straight Connector 52">
            <a:extLst>
              <a:ext uri="{FF2B5EF4-FFF2-40B4-BE49-F238E27FC236}">
                <a16:creationId xmlns:a16="http://schemas.microsoft.com/office/drawing/2014/main" id="{9F9F239D-7B13-11A4-E78C-8010F1511535}"/>
              </a:ext>
            </a:extLst>
          </p:cNvPr>
          <p:cNvCxnSpPr/>
          <p:nvPr/>
        </p:nvCxnSpPr>
        <p:spPr>
          <a:xfrm flipV="1">
            <a:off x="414337" y="1646837"/>
            <a:ext cx="11705432" cy="23935"/>
          </a:xfrm>
          <a:prstGeom prst="line">
            <a:avLst/>
          </a:prstGeom>
          <a:ln w="12700"/>
        </p:spPr>
        <p:style>
          <a:lnRef idx="2">
            <a:schemeClr val="dk1"/>
          </a:lnRef>
          <a:fillRef idx="0">
            <a:schemeClr val="dk1"/>
          </a:fillRef>
          <a:effectRef idx="1">
            <a:schemeClr val="dk1"/>
          </a:effectRef>
          <a:fontRef idx="minor">
            <a:schemeClr val="tx1"/>
          </a:fontRef>
        </p:style>
      </p:cxnSp>
    </p:spTree>
    <p:custDataLst>
      <p:tags r:id="rId1"/>
    </p:custDataLst>
    <p:extLst>
      <p:ext uri="{BB962C8B-B14F-4D97-AF65-F5344CB8AC3E}">
        <p14:creationId xmlns:p14="http://schemas.microsoft.com/office/powerpoint/2010/main" val="40891262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8D9CFB5-87CA-F812-1001-3D2A3CAFC8C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9" imgW="7772400" imgH="10058400" progId="TCLayout.ActiveDocument.1">
                  <p:embed/>
                </p:oleObj>
              </mc:Choice>
              <mc:Fallback>
                <p:oleObj name="think-cell Slide" r:id="rId39" imgW="7772400" imgH="10058400" progId="TCLayout.ActiveDocument.1">
                  <p:embed/>
                  <p:pic>
                    <p:nvPicPr>
                      <p:cNvPr id="24" name="think-cell data - do not delete" hidden="1">
                        <a:extLst>
                          <a:ext uri="{FF2B5EF4-FFF2-40B4-BE49-F238E27FC236}">
                            <a16:creationId xmlns:a16="http://schemas.microsoft.com/office/drawing/2014/main" id="{28D9CFB5-87CA-F812-1001-3D2A3CAFC8C7}"/>
                          </a:ext>
                        </a:extLst>
                      </p:cNvPr>
                      <p:cNvPicPr/>
                      <p:nvPr/>
                    </p:nvPicPr>
                    <p:blipFill>
                      <a:blip/>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3C8E63-3F1E-8C42-2604-2160FA347AB5}"/>
              </a:ext>
            </a:extLst>
          </p:cNvPr>
          <p:cNvSpPr>
            <a:spLocks noGrp="1"/>
          </p:cNvSpPr>
          <p:nvPr>
            <p:ph type="title"/>
          </p:nvPr>
        </p:nvSpPr>
        <p:spPr>
          <a:xfrm>
            <a:off x="330200" y="523317"/>
            <a:ext cx="11531600" cy="821295"/>
          </a:xfrm>
          <a:ln>
            <a:noFill/>
          </a:ln>
        </p:spPr>
        <p:style>
          <a:lnRef idx="2">
            <a:schemeClr val="accent2"/>
          </a:lnRef>
          <a:fillRef idx="1">
            <a:schemeClr val="lt1"/>
          </a:fillRef>
          <a:effectRef idx="0">
            <a:schemeClr val="accent2"/>
          </a:effectRef>
          <a:fontRef idx="minor">
            <a:schemeClr val="dk1"/>
          </a:fontRef>
        </p:style>
        <p:txBody>
          <a:bodyPr vert="horz">
            <a:noAutofit/>
          </a:bodyPr>
          <a:lstStyle/>
          <a:p>
            <a:r>
              <a:rPr lang="en-US" b="1">
                <a:solidFill>
                  <a:schemeClr val="tx1"/>
                </a:solidFill>
                <a:latin typeface="Arial (body)"/>
                <a:ea typeface="+mj-ea"/>
                <a:cs typeface="Arial" panose="020B0604020202020204" pitchFamily="34" charset="0"/>
              </a:rPr>
              <a:t>Nuclear-produced ‘pink’ hydrogen offers an emission-free, cost-competitive, and subsidized option; scaling remains a challenge</a:t>
            </a:r>
          </a:p>
        </p:txBody>
      </p:sp>
      <p:sp>
        <p:nvSpPr>
          <p:cNvPr id="13" name="btfpNotesBox368131">
            <a:hlinkClick r:id="rId40"/>
            <a:extLst>
              <a:ext uri="{FF2B5EF4-FFF2-40B4-BE49-F238E27FC236}">
                <a16:creationId xmlns:a16="http://schemas.microsoft.com/office/drawing/2014/main" id="{8E657366-FF82-B5B8-F2D6-E2065B0D03F6}"/>
              </a:ext>
            </a:extLst>
          </p:cNvPr>
          <p:cNvSpPr txBox="1"/>
          <p:nvPr>
            <p:custDataLst>
              <p:tags r:id="rId2"/>
            </p:custDataLst>
          </p:nvPr>
        </p:nvSpPr>
        <p:spPr bwMode="gray">
          <a:xfrm>
            <a:off x="329184" y="6203504"/>
            <a:ext cx="9175465" cy="61555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LCOH of pink hydrogen is from Lazard</a:t>
            </a:r>
            <a:r>
              <a:rPr lang="en-US" sz="800" dirty="0">
                <a:solidFill>
                  <a:srgbClr val="000000"/>
                </a:solidFill>
                <a:latin typeface="Arial"/>
              </a:rPr>
              <a:t>; o</a:t>
            </a:r>
            <a:r>
              <a:rPr kumimoji="0" lang="en-US" sz="800" b="0" i="0" u="none" strike="noStrike" kern="1200" cap="none" spc="0" normalizeH="0" baseline="0" noProof="0" dirty="0" err="1">
                <a:ln>
                  <a:noFill/>
                </a:ln>
                <a:solidFill>
                  <a:srgbClr val="000000"/>
                </a:solidFill>
                <a:effectLst/>
                <a:uLnTx/>
                <a:uFillTx/>
                <a:latin typeface="Arial"/>
                <a:ea typeface="+mn-ea"/>
                <a:cs typeface="+mn-cs"/>
              </a:rPr>
              <a:t>ther</a:t>
            </a:r>
            <a:r>
              <a:rPr kumimoji="0" lang="en-US" sz="800" b="0" i="0" u="none" strike="noStrike" kern="1200" cap="none" spc="0" normalizeH="0" baseline="0" noProof="0" dirty="0">
                <a:ln>
                  <a:noFill/>
                </a:ln>
                <a:solidFill>
                  <a:srgbClr val="000000"/>
                </a:solidFill>
                <a:effectLst/>
                <a:uLnTx/>
                <a:uFillTx/>
                <a:latin typeface="Arial"/>
                <a:ea typeface="+mn-ea"/>
                <a:cs typeface="+mn-cs"/>
              </a:rPr>
              <a:t> LCOH is from IEA. </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ational Grid, </a:t>
            </a:r>
            <a:r>
              <a:rPr kumimoji="0" lang="en-US" sz="800" b="0" i="0" u="sng" strike="noStrike" kern="1200" cap="none" spc="0" normalizeH="0" baseline="0" noProof="0" dirty="0">
                <a:ln>
                  <a:noFill/>
                </a:ln>
                <a:solidFill>
                  <a:srgbClr val="1155CC"/>
                </a:solidFill>
                <a:effectLst/>
                <a:uLnTx/>
                <a:uFillTx/>
                <a:latin typeface="Arial" panose="020B0604020202020204" pitchFamily="34" charset="0"/>
                <a:ea typeface="+mn-ea"/>
                <a:cs typeface="+mn-cs"/>
                <a:hlinkClick r:id="rId41"/>
              </a:rPr>
              <a:t>Hydrogen </a:t>
            </a:r>
            <a:r>
              <a:rPr kumimoji="0" lang="en-US" sz="800" b="0" i="0" u="sng" strike="noStrike" kern="1200" cap="none" spc="0" normalizeH="0" baseline="0" noProof="0" dirty="0" err="1">
                <a:ln>
                  <a:noFill/>
                </a:ln>
                <a:solidFill>
                  <a:srgbClr val="1155CC"/>
                </a:solidFill>
                <a:effectLst/>
                <a:uLnTx/>
                <a:uFillTx/>
                <a:latin typeface="Arial" panose="020B0604020202020204" pitchFamily="34" charset="0"/>
                <a:ea typeface="+mn-ea"/>
                <a:cs typeface="+mn-cs"/>
                <a:hlinkClick r:id="rId41"/>
              </a:rPr>
              <a:t>colour</a:t>
            </a:r>
            <a:r>
              <a:rPr kumimoji="0" lang="en-US" sz="800" b="0" i="0" u="sng" strike="noStrike" kern="1200" cap="none" spc="0" normalizeH="0" baseline="0" noProof="0" dirty="0">
                <a:ln>
                  <a:noFill/>
                </a:ln>
                <a:solidFill>
                  <a:srgbClr val="1155CC"/>
                </a:solidFill>
                <a:effectLst/>
                <a:uLnTx/>
                <a:uFillTx/>
                <a:latin typeface="Arial" panose="020B0604020202020204" pitchFamily="34" charset="0"/>
                <a:ea typeface="+mn-ea"/>
                <a:cs typeface="+mn-cs"/>
                <a:hlinkClick r:id="rId41"/>
              </a:rPr>
              <a:t> spectrum explained</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23); Hydrogen Insight, </a:t>
            </a:r>
            <a:r>
              <a:rPr kumimoji="0" lang="en-US" sz="800" b="0" i="0" u="sng" strike="noStrike" kern="1200" cap="none" spc="0" normalizeH="0" baseline="0" noProof="0" dirty="0">
                <a:ln>
                  <a:noFill/>
                </a:ln>
                <a:solidFill>
                  <a:srgbClr val="1155CC"/>
                </a:solidFill>
                <a:effectLst/>
                <a:uLnTx/>
                <a:uFillTx/>
                <a:latin typeface="Arial" panose="020B0604020202020204" pitchFamily="34" charset="0"/>
                <a:ea typeface="+mn-ea"/>
                <a:cs typeface="+mn-cs"/>
                <a:hlinkClick r:id="rId42"/>
              </a:rPr>
              <a:t>Nuclear hydrogen makes a lot of intellectual sense: U.S. energy loans head</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23); Harvard Kennedy School,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Belfer</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enter for Science and International Affairs, </a:t>
            </a:r>
            <a:r>
              <a:rPr kumimoji="0" lang="en-US" sz="800" b="0" i="0" u="sng" strike="noStrike" kern="1200" cap="none" spc="0" normalizeH="0" baseline="0" noProof="0" dirty="0">
                <a:ln>
                  <a:noFill/>
                </a:ln>
                <a:solidFill>
                  <a:srgbClr val="1155CC"/>
                </a:solidFill>
                <a:effectLst/>
                <a:uLnTx/>
                <a:uFillTx/>
                <a:latin typeface="Arial" panose="020B0604020202020204" pitchFamily="34" charset="0"/>
                <a:ea typeface="+mn-ea"/>
                <a:cs typeface="+mn-cs"/>
                <a:hlinkClick r:id="rId43"/>
              </a:rPr>
              <a:t>The colors of hydrogen</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24); WNA, </a:t>
            </a:r>
            <a:r>
              <a:rPr kumimoji="0" lang="en-US" sz="800" b="0" i="0" u="sng" strike="noStrike" kern="1200" cap="none" spc="0" normalizeH="0" baseline="0" noProof="0" dirty="0">
                <a:ln>
                  <a:noFill/>
                </a:ln>
                <a:solidFill>
                  <a:srgbClr val="1155CC"/>
                </a:solidFill>
                <a:effectLst/>
                <a:uLnTx/>
                <a:uFillTx/>
                <a:latin typeface="Arial" panose="020B0604020202020204" pitchFamily="34" charset="0"/>
                <a:ea typeface="+mn-ea"/>
                <a:cs typeface="+mn-cs"/>
                <a:hlinkClick r:id="rId44"/>
              </a:rPr>
              <a:t>Hydrogen production and uses</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24); U.S. DOE, </a:t>
            </a:r>
            <a:r>
              <a:rPr kumimoji="0" lang="en-US" sz="800" b="0" i="0" u="sng" strike="noStrike" kern="1200" cap="none" spc="0" normalizeH="0" baseline="0" noProof="0" dirty="0">
                <a:ln>
                  <a:noFill/>
                </a:ln>
                <a:solidFill>
                  <a:srgbClr val="1155CC"/>
                </a:solidFill>
                <a:effectLst/>
                <a:uLnTx/>
                <a:uFillTx/>
                <a:latin typeface="Arial" panose="020B0604020202020204" pitchFamily="34" charset="0"/>
                <a:ea typeface="+mn-ea"/>
                <a:cs typeface="+mn-cs"/>
                <a:hlinkClick r:id="rId45"/>
              </a:rPr>
              <a:t>Production cost of high-temperature electrolysi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20); IEA,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hlinkClick r:id="rId46"/>
              </a:rPr>
              <a:t>Global Hydrogen Review 2024</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24); CTVC,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hlinkClick r:id="rId47"/>
              </a:rPr>
              <a:t>Final Hydrogen Tax Credits Get Greenlight #228</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25); Lazard,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hlinkClick r:id="rId48"/>
              </a:rPr>
              <a:t>LCOE+</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24). </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Vedan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Bhansali</a:t>
            </a:r>
            <a:r>
              <a:rPr kumimoji="0" lang="en-US" sz="800" b="0" i="0" u="none" strike="noStrike" kern="1200" cap="none" spc="0" normalizeH="0" baseline="0" noProof="0" dirty="0">
                <a:ln>
                  <a:noFill/>
                </a:ln>
                <a:solidFill>
                  <a:srgbClr val="000000"/>
                </a:solidFill>
                <a:effectLst/>
                <a:uLnTx/>
                <a:uFillTx/>
                <a:latin typeface="Arial"/>
                <a:ea typeface="+mn-ea"/>
                <a:cs typeface="+mn-cs"/>
              </a:rPr>
              <a: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Brenda Rain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0"/>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cxnSp>
        <p:nvCxnSpPr>
          <p:cNvPr id="19" name="btfpColumnHeaderBoxLine223027">
            <a:extLst>
              <a:ext uri="{FF2B5EF4-FFF2-40B4-BE49-F238E27FC236}">
                <a16:creationId xmlns:a16="http://schemas.microsoft.com/office/drawing/2014/main" id="{0A5F11B9-E171-1B0E-3AF0-F297D4F7D25D}"/>
              </a:ext>
            </a:extLst>
          </p:cNvPr>
          <p:cNvCxnSpPr>
            <a:cxnSpLocks/>
          </p:cNvCxnSpPr>
          <p:nvPr/>
        </p:nvCxnSpPr>
        <p:spPr bwMode="gray">
          <a:xfrm>
            <a:off x="379724" y="1663125"/>
            <a:ext cx="1135190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EBF756D-D566-861A-9D2D-252E87D95AB8}"/>
              </a:ext>
            </a:extLst>
          </p:cNvPr>
          <p:cNvSpPr txBox="1"/>
          <p:nvPr/>
        </p:nvSpPr>
        <p:spPr bwMode="gray">
          <a:xfrm>
            <a:off x="401638" y="1420813"/>
            <a:ext cx="7370762" cy="307777"/>
          </a:xfrm>
          <a:prstGeom prst="rect">
            <a:avLst/>
          </a:prstGeom>
          <a:noFill/>
        </p:spPr>
        <p:txBody>
          <a:bodyPr wrap="square" lIns="0" tIns="0" rIns="0" bIns="9144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omparison by types of hydrogen production</a:t>
            </a:r>
          </a:p>
        </p:txBody>
      </p:sp>
      <p:sp>
        <p:nvSpPr>
          <p:cNvPr id="39" name="TextBox 38">
            <a:extLst>
              <a:ext uri="{FF2B5EF4-FFF2-40B4-BE49-F238E27FC236}">
                <a16:creationId xmlns:a16="http://schemas.microsoft.com/office/drawing/2014/main" id="{232D6A24-3D4F-7FDE-D3DE-9A09AB4A2F7F}"/>
              </a:ext>
            </a:extLst>
          </p:cNvPr>
          <p:cNvSpPr txBox="1"/>
          <p:nvPr>
            <p:custDataLst>
              <p:tags r:id="rId3"/>
            </p:custDataLst>
          </p:nvPr>
        </p:nvSpPr>
        <p:spPr bwMode="gray">
          <a:xfrm>
            <a:off x="4506913" y="1795463"/>
            <a:ext cx="3197225" cy="307975"/>
          </a:xfrm>
          <a:prstGeom prst="rect">
            <a:avLst/>
          </a:prstGeom>
          <a:noFill/>
        </p:spPr>
        <p:txBody>
          <a:bodyPr wrap="square" lIns="0" tIns="0" rIns="0" bIns="91440" rtlCol="0">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Levelized cost of hydrogen (2023) </a:t>
            </a:r>
          </a:p>
        </p:txBody>
      </p:sp>
      <p:sp>
        <p:nvSpPr>
          <p:cNvPr id="26" name="TextBox 25">
            <a:extLst>
              <a:ext uri="{FF2B5EF4-FFF2-40B4-BE49-F238E27FC236}">
                <a16:creationId xmlns:a16="http://schemas.microsoft.com/office/drawing/2014/main" id="{70D2A7D9-0998-1377-ABF6-008384E5901E}"/>
              </a:ext>
            </a:extLst>
          </p:cNvPr>
          <p:cNvSpPr txBox="1"/>
          <p:nvPr/>
        </p:nvSpPr>
        <p:spPr bwMode="gray">
          <a:xfrm>
            <a:off x="8320088" y="1795463"/>
            <a:ext cx="2946400" cy="307975"/>
          </a:xfrm>
          <a:prstGeom prst="rect">
            <a:avLst/>
          </a:prstGeom>
          <a:noFill/>
        </p:spPr>
        <p:txBody>
          <a:bodyPr wrap="square" lIns="0" tIns="0" rIns="0" bIns="91440" rtlCol="0">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Subsidy under IRA (Section 45V)</a:t>
            </a:r>
          </a:p>
        </p:txBody>
      </p:sp>
      <p:graphicFrame>
        <p:nvGraphicFramePr>
          <p:cNvPr id="28" name="Chart 27">
            <a:extLst>
              <a:ext uri="{FF2B5EF4-FFF2-40B4-BE49-F238E27FC236}">
                <a16:creationId xmlns:a16="http://schemas.microsoft.com/office/drawing/2014/main" id="{6309A870-44D7-D175-5AA2-3A33B060C1D3}"/>
              </a:ext>
            </a:extLst>
          </p:cNvPr>
          <p:cNvGraphicFramePr/>
          <p:nvPr>
            <p:custDataLst>
              <p:tags r:id="rId4"/>
            </p:custDataLst>
          </p:nvPr>
        </p:nvGraphicFramePr>
        <p:xfrm>
          <a:off x="4357688" y="2035175"/>
          <a:ext cx="3422650" cy="3503613"/>
        </p:xfrm>
        <a:graphic>
          <a:graphicData uri="http://schemas.openxmlformats.org/drawingml/2006/chart">
            <c:chart xmlns:c="http://schemas.openxmlformats.org/drawingml/2006/chart" xmlns:r="http://schemas.openxmlformats.org/officeDocument/2006/relationships" r:id="rId51"/>
          </a:graphicData>
        </a:graphic>
      </p:graphicFrame>
      <p:sp>
        <p:nvSpPr>
          <p:cNvPr id="322" name="Text Placeholder 2">
            <a:extLst>
              <a:ext uri="{FF2B5EF4-FFF2-40B4-BE49-F238E27FC236}">
                <a16:creationId xmlns:a16="http://schemas.microsoft.com/office/drawing/2014/main" id="{01EC5690-85C3-BD48-9587-336A39219D14}"/>
              </a:ext>
            </a:extLst>
          </p:cNvPr>
          <p:cNvSpPr txBox="1">
            <a:spLocks/>
          </p:cNvSpPr>
          <p:nvPr>
            <p:custDataLst>
              <p:tags r:id="rId5"/>
            </p:custDataLst>
          </p:nvPr>
        </p:nvSpPr>
        <p:spPr bwMode="auto">
          <a:xfrm>
            <a:off x="4257675" y="3532188"/>
            <a:ext cx="109538" cy="5095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USD/kg H2</a:t>
            </a:r>
          </a:p>
        </p:txBody>
      </p:sp>
      <p:sp>
        <p:nvSpPr>
          <p:cNvPr id="209" name="Text Placeholder 2">
            <a:extLst>
              <a:ext uri="{FF2B5EF4-FFF2-40B4-BE49-F238E27FC236}">
                <a16:creationId xmlns:a16="http://schemas.microsoft.com/office/drawing/2014/main" id="{B457A90B-7282-941D-E7E3-B96091495DED}"/>
              </a:ext>
            </a:extLst>
          </p:cNvPr>
          <p:cNvSpPr txBox="1">
            <a:spLocks/>
          </p:cNvSpPr>
          <p:nvPr>
            <p:custDataLst>
              <p:tags r:id="rId6"/>
            </p:custDataLst>
          </p:nvPr>
        </p:nvSpPr>
        <p:spPr bwMode="auto">
          <a:xfrm>
            <a:off x="4656138" y="5443538"/>
            <a:ext cx="6064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007F41A-D5A3-41F2-818B-23B60037EDEB}" type="datetime'Br''ow''''''n'' ''''''''''''''(''''''''C''o''a''''''l'''''')'">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Brown (Coal)</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224" name="Text Placeholder 2">
            <a:extLst>
              <a:ext uri="{FF2B5EF4-FFF2-40B4-BE49-F238E27FC236}">
                <a16:creationId xmlns:a16="http://schemas.microsoft.com/office/drawing/2014/main" id="{0FD5A0B1-6EE4-12F3-7ECF-AF6C3520A2D8}"/>
              </a:ext>
            </a:extLst>
          </p:cNvPr>
          <p:cNvSpPr txBox="1">
            <a:spLocks/>
          </p:cNvSpPr>
          <p:nvPr>
            <p:custDataLst>
              <p:tags r:id="rId7"/>
            </p:custDataLst>
          </p:nvPr>
        </p:nvSpPr>
        <p:spPr bwMode="auto">
          <a:xfrm>
            <a:off x="5380038" y="5443538"/>
            <a:ext cx="374650" cy="328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B653ACF-54C5-4F52-B0E8-31E4D0D08B38}" type="datetime'Gr''''a''''y (N''a''''''''t''''''ur''''al'''''' ''G''a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Gray (Natural Gas)</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227" name="Text Placeholder 2">
            <a:extLst>
              <a:ext uri="{FF2B5EF4-FFF2-40B4-BE49-F238E27FC236}">
                <a16:creationId xmlns:a16="http://schemas.microsoft.com/office/drawing/2014/main" id="{F9301842-0648-B12D-3310-F8F0307CBA9B}"/>
              </a:ext>
            </a:extLst>
          </p:cNvPr>
          <p:cNvSpPr txBox="1">
            <a:spLocks/>
          </p:cNvSpPr>
          <p:nvPr>
            <p:custDataLst>
              <p:tags r:id="rId8"/>
            </p:custDataLst>
          </p:nvPr>
        </p:nvSpPr>
        <p:spPr bwMode="auto">
          <a:xfrm>
            <a:off x="5851208" y="5443538"/>
            <a:ext cx="590550" cy="328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B8B25ED-197E-4565-BA0E-311AF531D78A}" type="datetime'B''l''ue'' (''Natu''''ra''l'' G''a''''s'' wi''''th CCU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Blue (Natural Gas with CCUS)</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230" name="Text Placeholder 2">
            <a:extLst>
              <a:ext uri="{FF2B5EF4-FFF2-40B4-BE49-F238E27FC236}">
                <a16:creationId xmlns:a16="http://schemas.microsoft.com/office/drawing/2014/main" id="{BBB1A94F-885E-6E18-655D-2263139563D0}"/>
              </a:ext>
            </a:extLst>
          </p:cNvPr>
          <p:cNvSpPr txBox="1">
            <a:spLocks/>
          </p:cNvSpPr>
          <p:nvPr>
            <p:custDataLst>
              <p:tags r:id="rId9"/>
            </p:custDataLst>
          </p:nvPr>
        </p:nvSpPr>
        <p:spPr bwMode="auto">
          <a:xfrm>
            <a:off x="6489700" y="5443538"/>
            <a:ext cx="590550"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18A3CEE-4B3E-4B2C-82A1-6AEBA6379FC6}" type="datetime'''''''''G''''re''en'''' ''''''(W''in''d ''or S''''olar P''V)'">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Green (Wind or Solar PV)</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233" name="Text Placeholder 2">
            <a:extLst>
              <a:ext uri="{FF2B5EF4-FFF2-40B4-BE49-F238E27FC236}">
                <a16:creationId xmlns:a16="http://schemas.microsoft.com/office/drawing/2014/main" id="{7D7BA67C-5775-A651-3136-E74917E10805}"/>
              </a:ext>
            </a:extLst>
          </p:cNvPr>
          <p:cNvSpPr txBox="1">
            <a:spLocks/>
          </p:cNvSpPr>
          <p:nvPr>
            <p:custDataLst>
              <p:tags r:id="rId10"/>
            </p:custDataLst>
          </p:nvPr>
        </p:nvSpPr>
        <p:spPr bwMode="auto">
          <a:xfrm>
            <a:off x="7267575" y="5443538"/>
            <a:ext cx="2508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E0AA0EC-9563-4CB3-B0E3-79B4E2A9B681}" type="datetime'''P''''''''''i''n''''''''''''''''''''''k'''''''''">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Pink</a:t>
            </a:fld>
            <a:r>
              <a:rPr kumimoji="0" lang="en-US" altLang="en-US" sz="800" b="0" i="0" u="none" strike="noStrike" kern="1200" cap="none" spc="0" normalizeH="0" baseline="0" noProof="0">
                <a:ln>
                  <a:noFill/>
                </a:ln>
                <a:solidFill>
                  <a:srgbClr val="000000"/>
                </a:solidFill>
                <a:effectLst/>
                <a:uLnTx/>
                <a:uFillTx/>
                <a:latin typeface="Arial"/>
                <a:ea typeface="+mn-ea"/>
                <a:cs typeface="+mn-cs"/>
              </a:rPr>
              <a:t>*</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8474A47A-6A40-9211-DBB1-6C8BB0423651}"/>
              </a:ext>
            </a:extLst>
          </p:cNvPr>
          <p:cNvGraphicFramePr/>
          <p:nvPr>
            <p:custDataLst>
              <p:tags r:id="rId11"/>
            </p:custDataLst>
          </p:nvPr>
        </p:nvGraphicFramePr>
        <p:xfrm>
          <a:off x="461963" y="2035175"/>
          <a:ext cx="3440112" cy="3503613"/>
        </p:xfrm>
        <a:graphic>
          <a:graphicData uri="http://schemas.openxmlformats.org/drawingml/2006/chart">
            <c:chart xmlns:c="http://schemas.openxmlformats.org/drawingml/2006/chart" xmlns:r="http://schemas.openxmlformats.org/officeDocument/2006/relationships" r:id="rId52"/>
          </a:graphicData>
        </a:graphic>
      </p:graphicFrame>
      <p:sp>
        <p:nvSpPr>
          <p:cNvPr id="439" name="Text Placeholder 2">
            <a:extLst>
              <a:ext uri="{FF2B5EF4-FFF2-40B4-BE49-F238E27FC236}">
                <a16:creationId xmlns:a16="http://schemas.microsoft.com/office/drawing/2014/main" id="{4A8AD5B9-F117-0EFE-31EB-DDF662D9C15A}"/>
              </a:ext>
            </a:extLst>
          </p:cNvPr>
          <p:cNvSpPr txBox="1">
            <a:spLocks/>
          </p:cNvSpPr>
          <p:nvPr>
            <p:custDataLst>
              <p:tags r:id="rId12"/>
            </p:custDataLst>
          </p:nvPr>
        </p:nvSpPr>
        <p:spPr bwMode="auto">
          <a:xfrm>
            <a:off x="361950" y="3365500"/>
            <a:ext cx="109538" cy="8413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lang="en-US" sz="800">
                <a:solidFill>
                  <a:srgbClr val="000000"/>
                </a:solidFill>
                <a:latin typeface="Arial"/>
              </a:rPr>
              <a:t>T</a:t>
            </a:r>
            <a:r>
              <a:rPr kumimoji="0" lang="en-US" sz="800" b="0" i="0" u="none" strike="noStrike" kern="1200" cap="none" spc="0" normalizeH="0" baseline="0" noProof="0" err="1">
                <a:ln>
                  <a:noFill/>
                </a:ln>
                <a:solidFill>
                  <a:srgbClr val="000000"/>
                </a:solidFill>
                <a:effectLst/>
                <a:uLnTx/>
                <a:uFillTx/>
                <a:latin typeface="Arial"/>
                <a:ea typeface="+mn-ea"/>
                <a:cs typeface="+mn-cs"/>
              </a:rPr>
              <a:t>ons</a:t>
            </a:r>
            <a:r>
              <a:rPr kumimoji="0" lang="en-US" sz="800" b="0" i="0" u="none" strike="noStrike" kern="1200" cap="none" spc="0" normalizeH="0" baseline="0" noProof="0">
                <a:ln>
                  <a:noFill/>
                </a:ln>
                <a:solidFill>
                  <a:srgbClr val="000000"/>
                </a:solidFill>
                <a:effectLst/>
                <a:uLnTx/>
                <a:uFillTx/>
                <a:latin typeface="Arial"/>
                <a:ea typeface="+mn-ea"/>
                <a:cs typeface="+mn-cs"/>
              </a:rPr>
              <a:t> of CO2/kg H2</a:t>
            </a:r>
          </a:p>
        </p:txBody>
      </p:sp>
      <p:sp>
        <p:nvSpPr>
          <p:cNvPr id="437" name="Text Placeholder 2">
            <a:extLst>
              <a:ext uri="{FF2B5EF4-FFF2-40B4-BE49-F238E27FC236}">
                <a16:creationId xmlns:a16="http://schemas.microsoft.com/office/drawing/2014/main" id="{521D1AC1-C523-B3D1-6C84-737C315E9CCF}"/>
              </a:ext>
            </a:extLst>
          </p:cNvPr>
          <p:cNvSpPr txBox="1">
            <a:spLocks/>
          </p:cNvSpPr>
          <p:nvPr>
            <p:custDataLst>
              <p:tags r:id="rId13"/>
            </p:custDataLst>
          </p:nvPr>
        </p:nvSpPr>
        <p:spPr bwMode="auto">
          <a:xfrm>
            <a:off x="762000" y="5443538"/>
            <a:ext cx="6064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CC84F48-8AEC-45AB-B816-C5025D3E55C0}" type="datetime'''''Br''ow''''n'' ''''''''(''''''C''o''''al'''''''''''')'''">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Brown (Coal)</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38" name="Text Placeholder 2">
            <a:extLst>
              <a:ext uri="{FF2B5EF4-FFF2-40B4-BE49-F238E27FC236}">
                <a16:creationId xmlns:a16="http://schemas.microsoft.com/office/drawing/2014/main" id="{19B961B2-5212-CED2-F9B9-B83EF88AE8B5}"/>
              </a:ext>
            </a:extLst>
          </p:cNvPr>
          <p:cNvSpPr txBox="1">
            <a:spLocks/>
          </p:cNvSpPr>
          <p:nvPr>
            <p:custDataLst>
              <p:tags r:id="rId14"/>
            </p:custDataLst>
          </p:nvPr>
        </p:nvSpPr>
        <p:spPr bwMode="auto">
          <a:xfrm>
            <a:off x="1489075" y="5443538"/>
            <a:ext cx="374650" cy="328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C28EED7-1CFD-4D0B-ABA5-88F6EB29FD4D}" type="datetime'''G''ra''''y ''''(''Na''tu''''r''''''''''al'''' ''G''a''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Gray (Natural Gas)</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42" name="Text Placeholder 2">
            <a:extLst>
              <a:ext uri="{FF2B5EF4-FFF2-40B4-BE49-F238E27FC236}">
                <a16:creationId xmlns:a16="http://schemas.microsoft.com/office/drawing/2014/main" id="{49AEE070-820F-EF8F-987D-F29237B149B6}"/>
              </a:ext>
            </a:extLst>
          </p:cNvPr>
          <p:cNvSpPr txBox="1">
            <a:spLocks/>
          </p:cNvSpPr>
          <p:nvPr>
            <p:custDataLst>
              <p:tags r:id="rId15"/>
            </p:custDataLst>
          </p:nvPr>
        </p:nvSpPr>
        <p:spPr bwMode="auto">
          <a:xfrm>
            <a:off x="1963420" y="5443538"/>
            <a:ext cx="590550" cy="328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1F9CCCA-AEC8-498F-BA1A-15F109ADF277}" type="datetime'''''B''l''ue'''' (Natural'''' G''as'''' ''''w''it''h CCU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Blue (Natural Gas with CCUS)</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40" name="Text Placeholder 2">
            <a:extLst>
              <a:ext uri="{FF2B5EF4-FFF2-40B4-BE49-F238E27FC236}">
                <a16:creationId xmlns:a16="http://schemas.microsoft.com/office/drawing/2014/main" id="{165ED7D2-2750-43C7-795D-4ADB7EA68199}"/>
              </a:ext>
            </a:extLst>
          </p:cNvPr>
          <p:cNvSpPr txBox="1">
            <a:spLocks/>
          </p:cNvSpPr>
          <p:nvPr>
            <p:custDataLst>
              <p:tags r:id="rId16"/>
            </p:custDataLst>
          </p:nvPr>
        </p:nvSpPr>
        <p:spPr bwMode="auto">
          <a:xfrm>
            <a:off x="2605088" y="5443538"/>
            <a:ext cx="590550"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07ACEAF-0BD0-46DF-AD45-3BA88772B005}" type="datetime'''G''''r''een (''''''Wi''''n''d'''' o''r ''Sola''r'' PV)'">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Green (Wind or Solar PV)</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41" name="Text Placeholder 2">
            <a:extLst>
              <a:ext uri="{FF2B5EF4-FFF2-40B4-BE49-F238E27FC236}">
                <a16:creationId xmlns:a16="http://schemas.microsoft.com/office/drawing/2014/main" id="{B9FA3DF0-7B9D-C2C1-1C8A-B195EF984C8D}"/>
              </a:ext>
            </a:extLst>
          </p:cNvPr>
          <p:cNvSpPr txBox="1">
            <a:spLocks/>
          </p:cNvSpPr>
          <p:nvPr>
            <p:custDataLst>
              <p:tags r:id="rId17"/>
            </p:custDataLst>
          </p:nvPr>
        </p:nvSpPr>
        <p:spPr bwMode="auto">
          <a:xfrm>
            <a:off x="3408363" y="5443538"/>
            <a:ext cx="2111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AC5C2CB-1B55-45E0-9091-BBC662C3FCC3}" type="datetime'''''''''''P''''i''''''''''''''''''''''''''''''''n''''k'">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Pink</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095" name="Text Placeholder 10">
            <a:extLst>
              <a:ext uri="{FF2B5EF4-FFF2-40B4-BE49-F238E27FC236}">
                <a16:creationId xmlns:a16="http://schemas.microsoft.com/office/drawing/2014/main" id="{FFDE69B4-C760-83D1-8249-1AC19442C5C8}"/>
              </a:ext>
            </a:extLst>
          </p:cNvPr>
          <p:cNvSpPr txBox="1">
            <a:spLocks/>
          </p:cNvSpPr>
          <p:nvPr>
            <p:custDataLst>
              <p:tags r:id="rId18"/>
            </p:custDataLst>
          </p:nvPr>
        </p:nvSpPr>
        <p:spPr bwMode="gray">
          <a:xfrm>
            <a:off x="2857500" y="5262563"/>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392EE4E-5106-4784-853A-4C521C30BC87}" type="datetime'''''''''''''0'''''''''''">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105" name="Text Placeholder 10">
            <a:extLst>
              <a:ext uri="{FF2B5EF4-FFF2-40B4-BE49-F238E27FC236}">
                <a16:creationId xmlns:a16="http://schemas.microsoft.com/office/drawing/2014/main" id="{BCA209A1-8C11-765C-0CCE-975ACFFB02BC}"/>
              </a:ext>
            </a:extLst>
          </p:cNvPr>
          <p:cNvSpPr txBox="1">
            <a:spLocks/>
          </p:cNvSpPr>
          <p:nvPr>
            <p:custDataLst>
              <p:tags r:id="rId19"/>
            </p:custDataLst>
          </p:nvPr>
        </p:nvSpPr>
        <p:spPr bwMode="gray">
          <a:xfrm>
            <a:off x="3470275" y="5262563"/>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1DD278A-DEAF-433D-9051-1DA95B77EF0D}" type="datetime'''''''''''''''''''''''''''''''''''''''0'''''">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35" name="Chart 34">
            <a:extLst>
              <a:ext uri="{FF2B5EF4-FFF2-40B4-BE49-F238E27FC236}">
                <a16:creationId xmlns:a16="http://schemas.microsoft.com/office/drawing/2014/main" id="{D509E96A-0FF1-2252-E947-1FC56F688BA6}"/>
              </a:ext>
            </a:extLst>
          </p:cNvPr>
          <p:cNvGraphicFramePr/>
          <p:nvPr>
            <p:custDataLst>
              <p:tags r:id="rId20"/>
            </p:custDataLst>
          </p:nvPr>
        </p:nvGraphicFramePr>
        <p:xfrm>
          <a:off x="8364538" y="2079625"/>
          <a:ext cx="3211512" cy="3413125"/>
        </p:xfrm>
        <a:graphic>
          <a:graphicData uri="http://schemas.openxmlformats.org/drawingml/2006/chart">
            <c:chart xmlns:c="http://schemas.openxmlformats.org/drawingml/2006/chart" xmlns:r="http://schemas.openxmlformats.org/officeDocument/2006/relationships" r:id="rId53"/>
          </a:graphicData>
        </a:graphic>
      </p:graphicFrame>
      <p:sp>
        <p:nvSpPr>
          <p:cNvPr id="937" name="Text Placeholder 10">
            <a:extLst>
              <a:ext uri="{FF2B5EF4-FFF2-40B4-BE49-F238E27FC236}">
                <a16:creationId xmlns:a16="http://schemas.microsoft.com/office/drawing/2014/main" id="{B8C8D8AC-D0C4-8D58-C9C1-9E4841AC1F4E}"/>
              </a:ext>
            </a:extLst>
          </p:cNvPr>
          <p:cNvSpPr txBox="1">
            <a:spLocks/>
          </p:cNvSpPr>
          <p:nvPr>
            <p:custDataLst>
              <p:tags r:id="rId21"/>
            </p:custDataLst>
          </p:nvPr>
        </p:nvSpPr>
        <p:spPr bwMode="gray">
          <a:xfrm>
            <a:off x="8293101" y="5359400"/>
            <a:ext cx="539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90000"/>
              </a:lnSpc>
              <a:spcBef>
                <a:spcPct val="0"/>
              </a:spcBef>
              <a:spcAft>
                <a:spcPct val="0"/>
              </a:spcAft>
              <a:buClrTx/>
              <a:buSzTx/>
              <a:buFont typeface="Arial" panose="020B0604020202020204" pitchFamily="34" charset="0"/>
              <a:buNone/>
              <a:tabLst/>
              <a:defRPr/>
            </a:pPr>
            <a:fld id="{0084FAD9-768E-430D-8278-A94666FA3B10}" type="datetime'''''''''''''''0'''''''''''''''''''''''''''''''">
              <a:rPr kumimoji="0" lang="en-US" altLang="en-US" sz="800" b="0" i="0" u="none" strike="noStrike" kern="1200" cap="none" spc="0" normalizeH="0" baseline="0" noProof="0">
                <a:ln>
                  <a:noFill/>
                </a:ln>
                <a:solidFill>
                  <a:srgbClr val="000000"/>
                </a:solidFill>
                <a:effectLst/>
                <a:uLnTx/>
                <a:uFillTx/>
                <a:latin typeface="Aptos" panose="02110004020202020204"/>
                <a:ea typeface="+mn-ea"/>
                <a:cs typeface="+mn-cs"/>
              </a:rPr>
              <a:pPr marL="0" marR="0" lvl="0" indent="0" algn="r" defTabSz="914354" rtl="0" eaLnBrk="1" fontAlgn="auto" latinLnBrk="0" hangingPunct="1">
                <a:lnSpc>
                  <a:spcPct val="90000"/>
                </a:lnSpc>
                <a:spcBef>
                  <a:spcPct val="0"/>
                </a:spcBef>
                <a:spcAft>
                  <a:spcPct val="0"/>
                </a:spcAft>
                <a:buClrTx/>
                <a:buSzTx/>
                <a:buFont typeface="Arial" panose="020B0604020202020204" pitchFamily="34" charset="0"/>
                <a:buNone/>
                <a:tabLst/>
                <a:defRPr/>
              </a:pPr>
              <a:t>0</a:t>
            </a:fld>
            <a:endParaRPr kumimoji="0" lang="en-US" sz="800" b="0" i="0" u="none" strike="noStrike" kern="1200" cap="none" spc="0" normalizeH="0" baseline="0" noProof="0">
              <a:ln>
                <a:noFill/>
              </a:ln>
              <a:solidFill>
                <a:srgbClr val="000000"/>
              </a:solidFill>
              <a:effectLst/>
              <a:uLnTx/>
              <a:uFillTx/>
              <a:latin typeface="Aptos" panose="02110004020202020204"/>
              <a:ea typeface="+mn-ea"/>
              <a:cs typeface="+mn-cs"/>
            </a:endParaRPr>
          </a:p>
        </p:txBody>
      </p:sp>
      <p:sp>
        <p:nvSpPr>
          <p:cNvPr id="939" name="Text Placeholder 10">
            <a:extLst>
              <a:ext uri="{FF2B5EF4-FFF2-40B4-BE49-F238E27FC236}">
                <a16:creationId xmlns:a16="http://schemas.microsoft.com/office/drawing/2014/main" id="{2DB26EE0-7D01-6A43-5A5E-76866306D72B}"/>
              </a:ext>
            </a:extLst>
          </p:cNvPr>
          <p:cNvSpPr txBox="1">
            <a:spLocks/>
          </p:cNvSpPr>
          <p:nvPr>
            <p:custDataLst>
              <p:tags r:id="rId22"/>
            </p:custDataLst>
          </p:nvPr>
        </p:nvSpPr>
        <p:spPr bwMode="gray">
          <a:xfrm>
            <a:off x="8239125" y="4051300"/>
            <a:ext cx="1079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37AA07B-E1DE-4B64-957D-3FE9F8FCA354}" type="datetime'''''''''''4''''''''''''''0'''''''''''''''''''''''''''''''''''">
              <a:rPr kumimoji="0" lang="en-US" altLang="en-US" sz="800" b="0" i="0" u="none" strike="noStrike" kern="1200" cap="none" spc="0" normalizeH="0" baseline="0" noProof="0" smtClean="0">
                <a:ln>
                  <a:noFill/>
                </a:ln>
                <a:solidFill>
                  <a:srgbClr val="000000"/>
                </a:solidFill>
                <a:effectLst/>
                <a:uLnTx/>
                <a:uFillTx/>
                <a:latin typeface="Aptos" panose="02110004020202020204"/>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800" b="0" i="0" u="none" strike="noStrike" kern="1200" cap="none" spc="0" normalizeH="0" baseline="0" noProof="0">
              <a:ln>
                <a:noFill/>
              </a:ln>
              <a:solidFill>
                <a:srgbClr val="000000"/>
              </a:solidFill>
              <a:effectLst/>
              <a:uLnTx/>
              <a:uFillTx/>
              <a:latin typeface="Aptos" panose="02110004020202020204"/>
              <a:ea typeface="+mn-ea"/>
              <a:cs typeface="+mn-cs"/>
            </a:endParaRPr>
          </a:p>
        </p:txBody>
      </p:sp>
      <p:sp>
        <p:nvSpPr>
          <p:cNvPr id="940" name="Text Placeholder 10">
            <a:extLst>
              <a:ext uri="{FF2B5EF4-FFF2-40B4-BE49-F238E27FC236}">
                <a16:creationId xmlns:a16="http://schemas.microsoft.com/office/drawing/2014/main" id="{EE97C4D1-6C5D-CC36-D40F-23DB96B1B906}"/>
              </a:ext>
            </a:extLst>
          </p:cNvPr>
          <p:cNvSpPr txBox="1">
            <a:spLocks/>
          </p:cNvSpPr>
          <p:nvPr>
            <p:custDataLst>
              <p:tags r:id="rId23"/>
            </p:custDataLst>
          </p:nvPr>
        </p:nvSpPr>
        <p:spPr bwMode="gray">
          <a:xfrm>
            <a:off x="8239125" y="3400425"/>
            <a:ext cx="1079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F5EE5CA-7107-4502-9B84-03306BCE9407}" type="datetime'''''''''''''''''6''''''''''0'''''''''''''''''''''''''''''''''">
              <a:rPr kumimoji="0" lang="en-US" altLang="en-US" sz="800" b="0" i="0" u="none" strike="noStrike" kern="1200" cap="none" spc="0" normalizeH="0" baseline="0" noProof="0" smtClean="0">
                <a:ln>
                  <a:noFill/>
                </a:ln>
                <a:solidFill>
                  <a:srgbClr val="000000"/>
                </a:solidFill>
                <a:effectLst/>
                <a:uLnTx/>
                <a:uFillTx/>
                <a:latin typeface="Aptos" panose="02110004020202020204"/>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800" b="0" i="0" u="none" strike="noStrike" kern="1200" cap="none" spc="0" normalizeH="0" baseline="0" noProof="0">
              <a:ln>
                <a:noFill/>
              </a:ln>
              <a:solidFill>
                <a:srgbClr val="000000"/>
              </a:solidFill>
              <a:effectLst/>
              <a:uLnTx/>
              <a:uFillTx/>
              <a:latin typeface="Aptos" panose="02110004020202020204"/>
              <a:ea typeface="+mn-ea"/>
              <a:cs typeface="+mn-cs"/>
            </a:endParaRPr>
          </a:p>
        </p:txBody>
      </p:sp>
      <p:sp>
        <p:nvSpPr>
          <p:cNvPr id="941" name="Text Placeholder 10">
            <a:extLst>
              <a:ext uri="{FF2B5EF4-FFF2-40B4-BE49-F238E27FC236}">
                <a16:creationId xmlns:a16="http://schemas.microsoft.com/office/drawing/2014/main" id="{5E7746DD-160F-99A6-51C6-1D3D27FC51B8}"/>
              </a:ext>
            </a:extLst>
          </p:cNvPr>
          <p:cNvSpPr txBox="1">
            <a:spLocks/>
          </p:cNvSpPr>
          <p:nvPr>
            <p:custDataLst>
              <p:tags r:id="rId24"/>
            </p:custDataLst>
          </p:nvPr>
        </p:nvSpPr>
        <p:spPr bwMode="gray">
          <a:xfrm>
            <a:off x="8239125" y="2751138"/>
            <a:ext cx="1079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76F0A11-0A6D-40A2-A4CE-12E9E6B2F640}" type="datetime'''''''''''''''8''0'''''''''''''''">
              <a:rPr kumimoji="0" lang="en-US" altLang="en-US" sz="800" b="0" i="0" u="none" strike="noStrike" kern="1200" cap="none" spc="0" normalizeH="0" baseline="0" noProof="0" smtClean="0">
                <a:ln>
                  <a:noFill/>
                </a:ln>
                <a:solidFill>
                  <a:srgbClr val="000000"/>
                </a:solidFill>
                <a:effectLst/>
                <a:uLnTx/>
                <a:uFillTx/>
                <a:latin typeface="Aptos" panose="02110004020202020204"/>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800" b="0" i="0" u="none" strike="noStrike" kern="1200" cap="none" spc="0" normalizeH="0" baseline="0" noProof="0">
              <a:ln>
                <a:noFill/>
              </a:ln>
              <a:solidFill>
                <a:srgbClr val="000000"/>
              </a:solidFill>
              <a:effectLst/>
              <a:uLnTx/>
              <a:uFillTx/>
              <a:latin typeface="Aptos" panose="02110004020202020204"/>
              <a:ea typeface="+mn-ea"/>
              <a:cs typeface="+mn-cs"/>
            </a:endParaRPr>
          </a:p>
        </p:txBody>
      </p:sp>
      <p:sp>
        <p:nvSpPr>
          <p:cNvPr id="942" name="Text Placeholder 10">
            <a:extLst>
              <a:ext uri="{FF2B5EF4-FFF2-40B4-BE49-F238E27FC236}">
                <a16:creationId xmlns:a16="http://schemas.microsoft.com/office/drawing/2014/main" id="{505A383D-6704-2392-20C0-AC40A819A645}"/>
              </a:ext>
            </a:extLst>
          </p:cNvPr>
          <p:cNvSpPr txBox="1">
            <a:spLocks/>
          </p:cNvSpPr>
          <p:nvPr>
            <p:custDataLst>
              <p:tags r:id="rId25"/>
            </p:custDataLst>
          </p:nvPr>
        </p:nvSpPr>
        <p:spPr bwMode="gray">
          <a:xfrm>
            <a:off x="8185151" y="2101850"/>
            <a:ext cx="1619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5C813B1-20BB-4BEE-AB6A-E7F27EEB73D4}" type="datetime'''''''''1''''''''''0''''''''''0'''''''''''">
              <a:rPr kumimoji="0" lang="en-US" altLang="en-US" sz="800" b="0" i="0" u="none" strike="noStrike" kern="1200" cap="none" spc="0" normalizeH="0" baseline="0" noProof="0" smtClean="0">
                <a:ln>
                  <a:noFill/>
                </a:ln>
                <a:solidFill>
                  <a:srgbClr val="000000"/>
                </a:solidFill>
                <a:effectLst/>
                <a:uLnTx/>
                <a:uFillTx/>
                <a:latin typeface="Aptos" panose="02110004020202020204"/>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800" b="0" i="0" u="none" strike="noStrike" kern="1200" cap="none" spc="0" normalizeH="0" baseline="0" noProof="0">
              <a:ln>
                <a:noFill/>
              </a:ln>
              <a:solidFill>
                <a:srgbClr val="000000"/>
              </a:solidFill>
              <a:effectLst/>
              <a:uLnTx/>
              <a:uFillTx/>
              <a:latin typeface="Aptos" panose="02110004020202020204"/>
              <a:ea typeface="+mn-ea"/>
              <a:cs typeface="+mn-cs"/>
            </a:endParaRPr>
          </a:p>
        </p:txBody>
      </p:sp>
      <p:sp>
        <p:nvSpPr>
          <p:cNvPr id="532" name="Text Placeholder 2">
            <a:extLst>
              <a:ext uri="{FF2B5EF4-FFF2-40B4-BE49-F238E27FC236}">
                <a16:creationId xmlns:a16="http://schemas.microsoft.com/office/drawing/2014/main" id="{A551A13E-6F85-58CC-1507-52E7F1A3B823}"/>
              </a:ext>
            </a:extLst>
          </p:cNvPr>
          <p:cNvSpPr txBox="1">
            <a:spLocks/>
          </p:cNvSpPr>
          <p:nvPr>
            <p:custDataLst>
              <p:tags r:id="rId26"/>
            </p:custDataLst>
          </p:nvPr>
        </p:nvSpPr>
        <p:spPr bwMode="auto">
          <a:xfrm>
            <a:off x="7933690" y="2941637"/>
            <a:ext cx="109538" cy="1689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Range of </a:t>
            </a:r>
            <a:r>
              <a:rPr lang="en-US" sz="800">
                <a:solidFill>
                  <a:srgbClr val="000000"/>
                </a:solidFill>
                <a:latin typeface="Arial"/>
              </a:rPr>
              <a:t>c</a:t>
            </a:r>
            <a:r>
              <a:rPr kumimoji="0" lang="en-US" sz="800" b="0" i="0" u="none" strike="noStrike" kern="1200" cap="none" spc="0" normalizeH="0" baseline="0" noProof="0" err="1">
                <a:ln>
                  <a:noFill/>
                </a:ln>
                <a:solidFill>
                  <a:srgbClr val="000000"/>
                </a:solidFill>
                <a:effectLst/>
                <a:uLnTx/>
                <a:uFillTx/>
                <a:latin typeface="Arial"/>
                <a:ea typeface="+mn-ea"/>
                <a:cs typeface="+mn-cs"/>
              </a:rPr>
              <a:t>arbon</a:t>
            </a:r>
            <a:r>
              <a:rPr lang="en-US" sz="800">
                <a:solidFill>
                  <a:srgbClr val="000000"/>
                </a:solidFill>
                <a:latin typeface="Arial"/>
              </a:rPr>
              <a:t>-c</a:t>
            </a:r>
            <a:r>
              <a:rPr kumimoji="0" lang="en-US" sz="800" b="0" i="0" u="none" strike="noStrike" kern="1200" cap="none" spc="0" normalizeH="0" baseline="0" noProof="0" err="1">
                <a:ln>
                  <a:noFill/>
                </a:ln>
                <a:solidFill>
                  <a:srgbClr val="000000"/>
                </a:solidFill>
                <a:effectLst/>
                <a:uLnTx/>
                <a:uFillTx/>
                <a:latin typeface="Arial"/>
                <a:ea typeface="+mn-ea"/>
                <a:cs typeface="+mn-cs"/>
              </a:rPr>
              <a:t>redi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latin typeface="Arial"/>
              </a:rPr>
              <a:t>e</a:t>
            </a:r>
            <a:r>
              <a:rPr kumimoji="0" lang="en-US" sz="800" b="0" i="0" u="none" strike="noStrike" kern="1200" cap="none" spc="0" normalizeH="0" baseline="0" noProof="0" err="1">
                <a:ln>
                  <a:noFill/>
                </a:ln>
                <a:solidFill>
                  <a:srgbClr val="000000"/>
                </a:solidFill>
                <a:effectLst/>
                <a:uLnTx/>
                <a:uFillTx/>
                <a:latin typeface="Arial"/>
                <a:ea typeface="+mn-ea"/>
                <a:cs typeface="+mn-cs"/>
              </a:rPr>
              <a:t>ligibility</a:t>
            </a:r>
            <a:r>
              <a:rPr kumimoji="0" lang="en-US" sz="800" b="0" i="0" u="none" strike="noStrike" kern="1200" cap="none" spc="0" normalizeH="0" baseline="0" noProof="0">
                <a:ln>
                  <a:noFill/>
                </a:ln>
                <a:solidFill>
                  <a:srgbClr val="000000"/>
                </a:solidFill>
                <a:effectLst/>
                <a:uLnTx/>
                <a:uFillTx/>
                <a:latin typeface="Arial"/>
                <a:ea typeface="+mn-ea"/>
                <a:cs typeface="+mn-cs"/>
              </a:rPr>
              <a:t> (%)</a:t>
            </a:r>
          </a:p>
        </p:txBody>
      </p:sp>
      <p:sp>
        <p:nvSpPr>
          <p:cNvPr id="530" name="Text Placeholder 2">
            <a:extLst>
              <a:ext uri="{FF2B5EF4-FFF2-40B4-BE49-F238E27FC236}">
                <a16:creationId xmlns:a16="http://schemas.microsoft.com/office/drawing/2014/main" id="{427922C9-9C0E-90C0-B3F4-05A655C5E65A}"/>
              </a:ext>
            </a:extLst>
          </p:cNvPr>
          <p:cNvSpPr txBox="1">
            <a:spLocks/>
          </p:cNvSpPr>
          <p:nvPr>
            <p:custDataLst>
              <p:tags r:id="rId27"/>
            </p:custDataLst>
          </p:nvPr>
        </p:nvSpPr>
        <p:spPr bwMode="auto">
          <a:xfrm>
            <a:off x="8448675" y="5443538"/>
            <a:ext cx="6064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3E2B1BA-6BCA-4930-BC66-23E0530D332E}" type="datetime'''B''''''''''r''o''''wn'' ''(''''Co''''''''''a''''''l'''')'''">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Brown (Coal)</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31" name="Text Placeholder 2">
            <a:extLst>
              <a:ext uri="{FF2B5EF4-FFF2-40B4-BE49-F238E27FC236}">
                <a16:creationId xmlns:a16="http://schemas.microsoft.com/office/drawing/2014/main" id="{211CC5E7-CECB-3300-0379-144881CC00F1}"/>
              </a:ext>
            </a:extLst>
          </p:cNvPr>
          <p:cNvSpPr txBox="1">
            <a:spLocks/>
          </p:cNvSpPr>
          <p:nvPr>
            <p:custDataLst>
              <p:tags r:id="rId28"/>
            </p:custDataLst>
          </p:nvPr>
        </p:nvSpPr>
        <p:spPr bwMode="auto">
          <a:xfrm>
            <a:off x="9174163" y="5443538"/>
            <a:ext cx="374650" cy="328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7581000-4892-4EE2-80C0-540CD6B1BEA6}" type="datetime'''''''G''''''ra''''y (Nat''''''ura''l'' ''''Ga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Gray (Natural Gas)</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35" name="Text Placeholder 2">
            <a:extLst>
              <a:ext uri="{FF2B5EF4-FFF2-40B4-BE49-F238E27FC236}">
                <a16:creationId xmlns:a16="http://schemas.microsoft.com/office/drawing/2014/main" id="{BE2DB671-20D8-52F3-72B0-170634CE3E12}"/>
              </a:ext>
            </a:extLst>
          </p:cNvPr>
          <p:cNvSpPr txBox="1">
            <a:spLocks/>
          </p:cNvSpPr>
          <p:nvPr>
            <p:custDataLst>
              <p:tags r:id="rId29"/>
            </p:custDataLst>
          </p:nvPr>
        </p:nvSpPr>
        <p:spPr bwMode="auto">
          <a:xfrm>
            <a:off x="9638665" y="5443538"/>
            <a:ext cx="590550" cy="328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3A267B1-C0ED-432D-9B02-4F7CA63CD2C1}" type="datetime'''''B''''''lue ''(''''Natur''a''''l Ga''s ''wi''th C''''CU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Blue (Natural Gas with CCUS)</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33" name="Text Placeholder 2">
            <a:extLst>
              <a:ext uri="{FF2B5EF4-FFF2-40B4-BE49-F238E27FC236}">
                <a16:creationId xmlns:a16="http://schemas.microsoft.com/office/drawing/2014/main" id="{8F9C841F-921D-3433-005B-673D131CC20F}"/>
              </a:ext>
            </a:extLst>
          </p:cNvPr>
          <p:cNvSpPr txBox="1">
            <a:spLocks/>
          </p:cNvSpPr>
          <p:nvPr>
            <p:custDataLst>
              <p:tags r:id="rId30"/>
            </p:custDataLst>
          </p:nvPr>
        </p:nvSpPr>
        <p:spPr bwMode="auto">
          <a:xfrm>
            <a:off x="10283825" y="5443538"/>
            <a:ext cx="590550"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81F17EA-7BA9-4DE7-A3A8-8C2F1256DE27}" type="datetime'''Gr''''een (W''i''n''d'''' ''o''r So''''''la''r ''P''V'')'">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Green (Wind or Solar PV)</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34" name="Text Placeholder 2">
            <a:extLst>
              <a:ext uri="{FF2B5EF4-FFF2-40B4-BE49-F238E27FC236}">
                <a16:creationId xmlns:a16="http://schemas.microsoft.com/office/drawing/2014/main" id="{9B6D192E-367E-916C-78A4-F905EFDC6F02}"/>
              </a:ext>
            </a:extLst>
          </p:cNvPr>
          <p:cNvSpPr txBox="1">
            <a:spLocks/>
          </p:cNvSpPr>
          <p:nvPr>
            <p:custDataLst>
              <p:tags r:id="rId31"/>
            </p:custDataLst>
          </p:nvPr>
        </p:nvSpPr>
        <p:spPr bwMode="auto">
          <a:xfrm>
            <a:off x="11083925" y="5443538"/>
            <a:ext cx="2111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04B667A-2232-4180-9283-3312A7F49E04}" type="datetime'''''''''''''P''''''''''i''''n''''''''''''k'''''''''''''''''''">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Pink</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728"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8710613" y="5262563"/>
            <a:ext cx="825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91E51FB-4673-4DF8-B7CF-2A04663733C6}" type="datetime'''''''''''''''''0'''''''''''''''''''''''">
              <a:rPr kumimoji="0" lang="en-US" altLang="en-US" sz="8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30" name="Text Placeholder 10">
            <a:extLst>
              <a:ext uri="{FF2B5EF4-FFF2-40B4-BE49-F238E27FC236}">
                <a16:creationId xmlns:a16="http://schemas.microsoft.com/office/drawing/2014/main" id="{8BBB5565-BC92-0990-5D71-58DA5970CC59}"/>
              </a:ext>
            </a:extLst>
          </p:cNvPr>
          <p:cNvSpPr>
            <a:spLocks noGrp="1"/>
          </p:cNvSpPr>
          <p:nvPr>
            <p:custDataLst>
              <p:tags r:id="rId33"/>
            </p:custDataLst>
          </p:nvPr>
        </p:nvSpPr>
        <p:spPr bwMode="gray">
          <a:xfrm>
            <a:off x="9320213" y="5262563"/>
            <a:ext cx="825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B380846-8169-4FAF-8C7E-43FEEC8FD682}" type="datetime'0'''''''''''''''''''''''''''''''''''''''''''''''''''''''''''''">
              <a:rPr kumimoji="0" lang="en-US" altLang="en-US" sz="8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92" name="TextBox 891">
            <a:extLst>
              <a:ext uri="{FF2B5EF4-FFF2-40B4-BE49-F238E27FC236}">
                <a16:creationId xmlns:a16="http://schemas.microsoft.com/office/drawing/2014/main" id="{3FABA7B6-6FE1-36B1-B8E7-BC58A1F2C453}"/>
              </a:ext>
            </a:extLst>
          </p:cNvPr>
          <p:cNvSpPr txBox="1"/>
          <p:nvPr/>
        </p:nvSpPr>
        <p:spPr bwMode="gray">
          <a:xfrm>
            <a:off x="11196637" y="1886883"/>
            <a:ext cx="914401" cy="415498"/>
          </a:xfrm>
          <a:prstGeom prst="rect">
            <a:avLst/>
          </a:prstGeom>
          <a:noFill/>
          <a:ln>
            <a:noFill/>
          </a:ln>
        </p:spPr>
        <p:txBody>
          <a:bodyPr wrap="square" lIns="137160" tIns="137160" rIns="0" bIns="13716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ptos" panose="02110004020202020204"/>
                <a:ea typeface="+mn-ea"/>
                <a:cs typeface="+mn-cs"/>
              </a:rPr>
              <a:t> ~$3</a:t>
            </a:r>
            <a:r>
              <a:rPr kumimoji="0" lang="en-US" sz="900" b="0" i="0" u="none" strike="noStrike" kern="1200" cap="none" spc="0" normalizeH="0" baseline="0" noProof="0">
                <a:ln>
                  <a:noFill/>
                </a:ln>
                <a:solidFill>
                  <a:srgbClr val="000000"/>
                </a:solidFill>
                <a:effectLst/>
                <a:uLnTx/>
                <a:uFillTx/>
                <a:latin typeface="Aptos" panose="02110004020202020204"/>
                <a:ea typeface="+mn-ea"/>
                <a:cs typeface="+mn-cs"/>
              </a:rPr>
              <a:t>/kg H</a:t>
            </a:r>
            <a:r>
              <a:rPr kumimoji="0" lang="en-US" sz="900" b="0" i="0" u="none" strike="noStrike" kern="1200" cap="none" spc="0" normalizeH="0" baseline="-25000" noProof="0">
                <a:ln>
                  <a:noFill/>
                </a:ln>
                <a:solidFill>
                  <a:srgbClr val="000000"/>
                </a:solidFill>
                <a:effectLst/>
                <a:uLnTx/>
                <a:uFillTx/>
                <a:latin typeface="Aptos" panose="02110004020202020204"/>
                <a:ea typeface="+mn-ea"/>
                <a:cs typeface="+mn-cs"/>
              </a:rPr>
              <a:t>2</a:t>
            </a:r>
            <a:endParaRPr kumimoji="0" lang="en-US" sz="900" b="1" i="0" u="none" strike="noStrike" kern="1200" cap="none" spc="0" normalizeH="0" baseline="0" noProof="0">
              <a:ln>
                <a:noFill/>
              </a:ln>
              <a:solidFill>
                <a:srgbClr val="000000"/>
              </a:solidFill>
              <a:effectLst/>
              <a:uLnTx/>
              <a:uFillTx/>
              <a:latin typeface="Arial"/>
              <a:ea typeface="+mn-ea"/>
              <a:cs typeface="Arial"/>
            </a:endParaRPr>
          </a:p>
        </p:txBody>
      </p:sp>
      <p:sp>
        <p:nvSpPr>
          <p:cNvPr id="934" name="TextBox 933">
            <a:extLst>
              <a:ext uri="{FF2B5EF4-FFF2-40B4-BE49-F238E27FC236}">
                <a16:creationId xmlns:a16="http://schemas.microsoft.com/office/drawing/2014/main" id="{6006017D-2DE9-F310-B549-E6D51604AD89}"/>
              </a:ext>
            </a:extLst>
          </p:cNvPr>
          <p:cNvSpPr txBox="1"/>
          <p:nvPr/>
        </p:nvSpPr>
        <p:spPr bwMode="gray">
          <a:xfrm>
            <a:off x="8054719" y="4576055"/>
            <a:ext cx="914726" cy="415622"/>
          </a:xfrm>
          <a:prstGeom prst="rect">
            <a:avLst/>
          </a:prstGeom>
          <a:noFill/>
          <a:ln>
            <a:noFill/>
          </a:ln>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Arial"/>
              </a:rPr>
              <a:t>20%</a:t>
            </a:r>
          </a:p>
        </p:txBody>
      </p:sp>
      <p:sp>
        <p:nvSpPr>
          <p:cNvPr id="935" name="TextBox 934">
            <a:extLst>
              <a:ext uri="{FF2B5EF4-FFF2-40B4-BE49-F238E27FC236}">
                <a16:creationId xmlns:a16="http://schemas.microsoft.com/office/drawing/2014/main" id="{E107392B-BE8B-0EEE-896D-BDC2649630BE}"/>
              </a:ext>
            </a:extLst>
          </p:cNvPr>
          <p:cNvSpPr txBox="1"/>
          <p:nvPr/>
        </p:nvSpPr>
        <p:spPr bwMode="gray">
          <a:xfrm>
            <a:off x="7965947" y="4096627"/>
            <a:ext cx="762255" cy="415622"/>
          </a:xfrm>
          <a:prstGeom prst="rect">
            <a:avLst/>
          </a:prstGeom>
          <a:noFill/>
          <a:ln>
            <a:noFill/>
          </a:ln>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Arial"/>
              </a:rPr>
              <a:t>33.4%</a:t>
            </a:r>
          </a:p>
        </p:txBody>
      </p:sp>
      <p:sp>
        <p:nvSpPr>
          <p:cNvPr id="993" name="TextBox 992">
            <a:extLst>
              <a:ext uri="{FF2B5EF4-FFF2-40B4-BE49-F238E27FC236}">
                <a16:creationId xmlns:a16="http://schemas.microsoft.com/office/drawing/2014/main" id="{164ED485-8562-CCAA-D6F7-14F7871EC06A}"/>
              </a:ext>
            </a:extLst>
          </p:cNvPr>
          <p:cNvSpPr txBox="1"/>
          <p:nvPr/>
        </p:nvSpPr>
        <p:spPr>
          <a:xfrm>
            <a:off x="8577263" y="2185988"/>
            <a:ext cx="1612900" cy="1631950"/>
          </a:xfrm>
          <a:prstGeom prst="rect">
            <a:avLst/>
          </a:prstGeom>
          <a:solidFill>
            <a:srgbClr val="E3E9EE"/>
          </a:solid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Hydrogen tax credits are tied to </a:t>
            </a:r>
            <a:r>
              <a:rPr kumimoji="0" lang="en-US" sz="1000" b="1" i="0" u="none" strike="noStrike" kern="1200" cap="none" spc="0" normalizeH="0" baseline="0" noProof="0">
                <a:ln>
                  <a:noFill/>
                </a:ln>
                <a:solidFill>
                  <a:srgbClr val="000000"/>
                </a:solidFill>
                <a:effectLst/>
                <a:uLnTx/>
                <a:uFillTx/>
                <a:latin typeface="Arial"/>
                <a:ea typeface="+mn-ea"/>
                <a:cs typeface="+mn-cs"/>
              </a:rPr>
              <a:t>lifecycle GHG emiss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With pink hydrogen’s high capital costs (~$5B+ per reactor) and limited infrastructure, tax incentives can support scaling adoption.</a:t>
            </a:r>
          </a:p>
        </p:txBody>
      </p:sp>
      <p:grpSp>
        <p:nvGrpSpPr>
          <p:cNvPr id="17" name="Group 16">
            <a:extLst>
              <a:ext uri="{FF2B5EF4-FFF2-40B4-BE49-F238E27FC236}">
                <a16:creationId xmlns:a16="http://schemas.microsoft.com/office/drawing/2014/main" id="{356C6052-0DE0-1BEE-32FF-83E81531E80E}"/>
              </a:ext>
            </a:extLst>
          </p:cNvPr>
          <p:cNvGrpSpPr/>
          <p:nvPr>
            <p:custDataLst>
              <p:tags r:id="rId34"/>
            </p:custDataLst>
          </p:nvPr>
        </p:nvGrpSpPr>
        <p:grpSpPr>
          <a:xfrm>
            <a:off x="857250" y="1795463"/>
            <a:ext cx="3030538" cy="2792052"/>
            <a:chOff x="4672013" y="1740694"/>
            <a:chExt cx="3031172" cy="2793701"/>
          </a:xfrm>
        </p:grpSpPr>
        <p:sp>
          <p:nvSpPr>
            <p:cNvPr id="41" name="TextBox 40">
              <a:extLst>
                <a:ext uri="{FF2B5EF4-FFF2-40B4-BE49-F238E27FC236}">
                  <a16:creationId xmlns:a16="http://schemas.microsoft.com/office/drawing/2014/main" id="{CB49F62E-114E-DBB2-8D6C-349B6E2E59D2}"/>
                </a:ext>
              </a:extLst>
            </p:cNvPr>
            <p:cNvSpPr txBox="1"/>
            <p:nvPr>
              <p:custDataLst>
                <p:tags r:id="rId36"/>
              </p:custDataLst>
            </p:nvPr>
          </p:nvSpPr>
          <p:spPr bwMode="gray">
            <a:xfrm>
              <a:off x="4672013" y="1740694"/>
              <a:ext cx="2746375" cy="307975"/>
            </a:xfrm>
            <a:prstGeom prst="rect">
              <a:avLst/>
            </a:prstGeom>
            <a:noFill/>
          </p:spPr>
          <p:txBody>
            <a:bodyPr wrap="square" lIns="0" tIns="0" rIns="0" bIns="91440" rtlCol="0">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arbon intensity (2024)</a:t>
              </a:r>
            </a:p>
          </p:txBody>
        </p:sp>
        <p:sp>
          <p:nvSpPr>
            <p:cNvPr id="1077" name="TextBox 1076">
              <a:extLst>
                <a:ext uri="{FF2B5EF4-FFF2-40B4-BE49-F238E27FC236}">
                  <a16:creationId xmlns:a16="http://schemas.microsoft.com/office/drawing/2014/main" id="{07909C3C-4918-85F6-C129-B638A224A933}"/>
                </a:ext>
              </a:extLst>
            </p:cNvPr>
            <p:cNvSpPr txBox="1"/>
            <p:nvPr/>
          </p:nvSpPr>
          <p:spPr>
            <a:xfrm>
              <a:off x="5906990" y="2132320"/>
              <a:ext cx="1796195" cy="2402075"/>
            </a:xfrm>
            <a:prstGeom prst="rect">
              <a:avLst/>
            </a:prstGeom>
            <a:solidFill>
              <a:srgbClr val="E3E9EE"/>
            </a:solid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99% of the current global hydrogen supply still comes from gray or brown hydrog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Issues associated with nuclear plants </a:t>
              </a:r>
              <a:r>
                <a:rPr kumimoji="0" lang="en-US" sz="1000" b="0" i="0" u="none" strike="noStrike" kern="1200" cap="none" spc="0" normalizeH="0" baseline="0" noProof="0">
                  <a:ln>
                    <a:noFill/>
                  </a:ln>
                  <a:solidFill>
                    <a:srgbClr val="000000"/>
                  </a:solidFill>
                  <a:effectLst/>
                  <a:uLnTx/>
                  <a:uFillTx/>
                  <a:latin typeface="Arial"/>
                  <a:ea typeface="+mn-ea"/>
                  <a:cs typeface="+mn-cs"/>
                </a:rPr>
                <a:t>– including nuclear waste, a long construction period, and high construction cost –</a:t>
              </a:r>
              <a:r>
                <a:rPr kumimoji="0" lang="en-US" sz="1000" b="1" i="0" u="none" strike="noStrike" kern="1200" cap="none" spc="0" normalizeH="0" baseline="0" noProof="0">
                  <a:ln>
                    <a:noFill/>
                  </a:ln>
                  <a:solidFill>
                    <a:srgbClr val="000000"/>
                  </a:solidFill>
                  <a:effectLst/>
                  <a:uLnTx/>
                  <a:uFillTx/>
                  <a:latin typeface="Arial"/>
                  <a:ea typeface="+mn-ea"/>
                  <a:cs typeface="+mn-cs"/>
                </a:rPr>
                <a:t> as well as difficulties in retrofitting existing plants to produce hydrogen</a:t>
              </a:r>
              <a:r>
                <a:rPr kumimoji="0" lang="en-US" sz="1000" b="0" i="0" u="none" strike="noStrike" kern="1200" cap="none" spc="0" normalizeH="0" baseline="0" noProof="0">
                  <a:ln>
                    <a:noFill/>
                  </a:ln>
                  <a:solidFill>
                    <a:srgbClr val="000000"/>
                  </a:solidFill>
                  <a:effectLst/>
                  <a:uLnTx/>
                  <a:uFillTx/>
                  <a:latin typeface="Arial"/>
                  <a:ea typeface="+mn-ea"/>
                  <a:cs typeface="+mn-cs"/>
                </a:rPr>
                <a:t> are hindering deployment</a:t>
              </a:r>
              <a:r>
                <a:rPr kumimoji="0" lang="en-US" sz="1000" b="1" i="0" u="none" strike="noStrike" kern="1200" cap="none" spc="0" normalizeH="0" baseline="0" noProof="0">
                  <a:ln>
                    <a:noFill/>
                  </a:ln>
                  <a:solidFill>
                    <a:srgbClr val="000000"/>
                  </a:solidFill>
                  <a:effectLst/>
                  <a:uLnTx/>
                  <a:uFillTx/>
                  <a:latin typeface="Arial"/>
                  <a:ea typeface="+mn-ea"/>
                  <a:cs typeface="+mn-cs"/>
                </a:rPr>
                <a:t>.</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grpSp>
      <p:sp>
        <p:nvSpPr>
          <p:cNvPr id="1078" name="TextBox 1077">
            <a:extLst>
              <a:ext uri="{FF2B5EF4-FFF2-40B4-BE49-F238E27FC236}">
                <a16:creationId xmlns:a16="http://schemas.microsoft.com/office/drawing/2014/main" id="{4A787DF4-2E19-CC18-1AFF-409ACAC94FCC}"/>
              </a:ext>
            </a:extLst>
          </p:cNvPr>
          <p:cNvSpPr txBox="1"/>
          <p:nvPr>
            <p:custDataLst>
              <p:tags r:id="rId35"/>
            </p:custDataLst>
          </p:nvPr>
        </p:nvSpPr>
        <p:spPr>
          <a:xfrm>
            <a:off x="4846638" y="2214563"/>
            <a:ext cx="1612900" cy="1169988"/>
          </a:xfrm>
          <a:prstGeom prst="rect">
            <a:avLst/>
          </a:prstGeom>
          <a:solidFill>
            <a:srgbClr val="E3E9EE"/>
          </a:solid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Pink hydrogen</a:t>
            </a:r>
            <a:r>
              <a:rPr kumimoji="0" lang="en-US" sz="1000" b="0" i="0" u="none" strike="noStrike" kern="1200" cap="none" spc="0" normalizeH="0" baseline="0" noProof="0">
                <a:ln>
                  <a:noFill/>
                </a:ln>
                <a:solidFill>
                  <a:srgbClr val="000000"/>
                </a:solidFill>
                <a:effectLst/>
                <a:uLnTx/>
                <a:uFillTx/>
                <a:latin typeface="Arial"/>
                <a:ea typeface="+mn-ea"/>
                <a:cs typeface="+mn-cs"/>
              </a:rPr>
              <a:t> uses </a:t>
            </a:r>
            <a:r>
              <a:rPr kumimoji="0" lang="en-US" sz="1000" b="1" i="0" u="none" strike="noStrike" kern="1200" cap="none" spc="0" normalizeH="0" baseline="0" noProof="0">
                <a:ln>
                  <a:noFill/>
                </a:ln>
                <a:solidFill>
                  <a:srgbClr val="000000"/>
                </a:solidFill>
                <a:effectLst/>
                <a:uLnTx/>
                <a:uFillTx/>
                <a:latin typeface="Arial"/>
                <a:ea typeface="+mn-ea"/>
                <a:cs typeface="+mn-cs"/>
              </a:rPr>
              <a:t>nuclear-powered electrolysis,</a:t>
            </a:r>
            <a:r>
              <a:rPr kumimoji="0" lang="en-US" sz="1000" b="0" i="0" u="none" strike="noStrike" kern="1200" cap="none" spc="0" normalizeH="0" baseline="0" noProof="0">
                <a:ln>
                  <a:noFill/>
                </a:ln>
                <a:solidFill>
                  <a:srgbClr val="000000"/>
                </a:solidFill>
                <a:effectLst/>
                <a:uLnTx/>
                <a:uFillTx/>
                <a:latin typeface="Arial"/>
                <a:ea typeface="+mn-ea"/>
                <a:cs typeface="+mn-cs"/>
              </a:rPr>
              <a:t> offering </a:t>
            </a:r>
            <a:r>
              <a:rPr kumimoji="0" lang="en-US" sz="1000" b="1" i="0" u="none" strike="noStrike" kern="1200" cap="none" spc="0" normalizeH="0" baseline="0" noProof="0">
                <a:ln>
                  <a:noFill/>
                </a:ln>
                <a:solidFill>
                  <a:srgbClr val="000000"/>
                </a:solidFill>
                <a:effectLst/>
                <a:uLnTx/>
                <a:uFillTx/>
                <a:latin typeface="Arial"/>
                <a:ea typeface="+mn-ea"/>
                <a:cs typeface="+mn-cs"/>
              </a:rPr>
              <a:t>24/7 reliability, </a:t>
            </a:r>
            <a:r>
              <a:rPr kumimoji="0" lang="en-US" sz="1000" b="0" i="0" u="none" strike="noStrike" kern="1200" cap="none" spc="0" normalizeH="0" baseline="0" noProof="0">
                <a:ln>
                  <a:noFill/>
                </a:ln>
                <a:solidFill>
                  <a:srgbClr val="000000"/>
                </a:solidFill>
                <a:effectLst/>
                <a:uLnTx/>
                <a:uFillTx/>
                <a:latin typeface="Arial"/>
                <a:ea typeface="+mn-ea"/>
                <a:cs typeface="+mn-cs"/>
              </a:rPr>
              <a:t> </a:t>
            </a:r>
            <a:r>
              <a:rPr kumimoji="0" lang="en-US" sz="1000" b="1" i="0" u="none" strike="noStrike" kern="1200" cap="none" spc="0" normalizeH="0" baseline="0" noProof="0">
                <a:ln>
                  <a:noFill/>
                </a:ln>
                <a:solidFill>
                  <a:srgbClr val="000000"/>
                </a:solidFill>
                <a:effectLst/>
                <a:uLnTx/>
                <a:uFillTx/>
                <a:latin typeface="Arial"/>
                <a:ea typeface="+mn-ea"/>
                <a:cs typeface="+mn-cs"/>
              </a:rPr>
              <a:t>lower cost, and emission-free production.</a:t>
            </a:r>
          </a:p>
        </p:txBody>
      </p:sp>
      <p:sp>
        <p:nvSpPr>
          <p:cNvPr id="912" name="Rectangle 911">
            <a:extLst>
              <a:ext uri="{FF2B5EF4-FFF2-40B4-BE49-F238E27FC236}">
                <a16:creationId xmlns:a16="http://schemas.microsoft.com/office/drawing/2014/main" id="{DBDF97D0-73E0-5F4B-34BF-274910F08CFA}"/>
              </a:ext>
            </a:extLst>
          </p:cNvPr>
          <p:cNvSpPr/>
          <p:nvPr/>
        </p:nvSpPr>
        <p:spPr bwMode="auto">
          <a:xfrm>
            <a:off x="4725185" y="5864223"/>
            <a:ext cx="250825" cy="187325"/>
          </a:xfrm>
          <a:prstGeom prst="rect">
            <a:avLst/>
          </a:prstGeom>
          <a:solidFill>
            <a:srgbClr val="D1227D"/>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13" name="Rectangle 912">
            <a:extLst>
              <a:ext uri="{FF2B5EF4-FFF2-40B4-BE49-F238E27FC236}">
                <a16:creationId xmlns:a16="http://schemas.microsoft.com/office/drawing/2014/main" id="{4E5361B7-E461-7D08-A31A-39EFA27E1AB6}"/>
              </a:ext>
            </a:extLst>
          </p:cNvPr>
          <p:cNvSpPr/>
          <p:nvPr/>
        </p:nvSpPr>
        <p:spPr bwMode="auto">
          <a:xfrm>
            <a:off x="6173140" y="5874467"/>
            <a:ext cx="250825" cy="187325"/>
          </a:xfrm>
          <a:prstGeom prst="rect">
            <a:avLst/>
          </a:prstGeom>
          <a:solidFill>
            <a:srgbClr val="359BDB"/>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14" name="Text Placeholder 2">
            <a:extLst>
              <a:ext uri="{FF2B5EF4-FFF2-40B4-BE49-F238E27FC236}">
                <a16:creationId xmlns:a16="http://schemas.microsoft.com/office/drawing/2014/main" id="{46C4E31F-0CF1-AE9C-0A7A-E37EB25A9D81}"/>
              </a:ext>
            </a:extLst>
          </p:cNvPr>
          <p:cNvSpPr txBox="1">
            <a:spLocks/>
          </p:cNvSpPr>
          <p:nvPr/>
        </p:nvSpPr>
        <p:spPr bwMode="auto">
          <a:xfrm>
            <a:off x="5032992" y="5875336"/>
            <a:ext cx="1236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ink </a:t>
            </a:r>
            <a:r>
              <a:rPr lang="en-US" altLang="en-US" sz="1000">
                <a:solidFill>
                  <a:prstClr val="black"/>
                </a:solidFill>
                <a:latin typeface="Arial" panose="020B0604020202020204" pitchFamily="34" charset="0"/>
                <a:cs typeface="Arial" panose="020B0604020202020204" pitchFamily="34" charset="0"/>
              </a:rPr>
              <a:t>h</a:t>
            </a:r>
            <a:r>
              <a:rPr kumimoji="0" lang="en-US" altLang="en-US" sz="10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ydrogen</a:t>
            </a:r>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5" name="Text Placeholder 2">
            <a:extLst>
              <a:ext uri="{FF2B5EF4-FFF2-40B4-BE49-F238E27FC236}">
                <a16:creationId xmlns:a16="http://schemas.microsoft.com/office/drawing/2014/main" id="{0282D232-C0B0-37B8-CF16-0E04F860500F}"/>
              </a:ext>
            </a:extLst>
          </p:cNvPr>
          <p:cNvSpPr txBox="1">
            <a:spLocks/>
          </p:cNvSpPr>
          <p:nvPr/>
        </p:nvSpPr>
        <p:spPr bwMode="auto">
          <a:xfrm>
            <a:off x="6472238" y="5885580"/>
            <a:ext cx="11922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ther hydrogen</a:t>
            </a:r>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555" name="Straight Connector 554">
            <a:extLst>
              <a:ext uri="{FF2B5EF4-FFF2-40B4-BE49-F238E27FC236}">
                <a16:creationId xmlns:a16="http://schemas.microsoft.com/office/drawing/2014/main" id="{19C5B244-F9E9-B75E-4788-EA81D0C534F9}"/>
              </a:ext>
            </a:extLst>
          </p:cNvPr>
          <p:cNvCxnSpPr>
            <a:cxnSpLocks/>
          </p:cNvCxnSpPr>
          <p:nvPr/>
        </p:nvCxnSpPr>
        <p:spPr bwMode="gray">
          <a:xfrm>
            <a:off x="8448675" y="4325510"/>
            <a:ext cx="2289562" cy="0"/>
          </a:xfrm>
          <a:prstGeom prst="line">
            <a:avLst/>
          </a:prstGeom>
          <a:ln w="9525"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57" name="Straight Connector 556">
            <a:extLst>
              <a:ext uri="{FF2B5EF4-FFF2-40B4-BE49-F238E27FC236}">
                <a16:creationId xmlns:a16="http://schemas.microsoft.com/office/drawing/2014/main" id="{1D69E724-73BC-FEE3-D89E-D011EDA8F476}"/>
              </a:ext>
            </a:extLst>
          </p:cNvPr>
          <p:cNvCxnSpPr>
            <a:cxnSpLocks/>
          </p:cNvCxnSpPr>
          <p:nvPr/>
        </p:nvCxnSpPr>
        <p:spPr bwMode="gray">
          <a:xfrm>
            <a:off x="8448675" y="4760182"/>
            <a:ext cx="1681287" cy="0"/>
          </a:xfrm>
          <a:prstGeom prst="line">
            <a:avLst/>
          </a:prstGeom>
          <a:ln w="9525"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23" name="TextBox 1122">
            <a:extLst>
              <a:ext uri="{FF2B5EF4-FFF2-40B4-BE49-F238E27FC236}">
                <a16:creationId xmlns:a16="http://schemas.microsoft.com/office/drawing/2014/main" id="{6F4308BB-9358-14D6-9BB4-6F85C43F117B}"/>
              </a:ext>
            </a:extLst>
          </p:cNvPr>
          <p:cNvSpPr txBox="1"/>
          <p:nvPr/>
        </p:nvSpPr>
        <p:spPr bwMode="gray">
          <a:xfrm>
            <a:off x="9694818" y="4019316"/>
            <a:ext cx="1079500" cy="415498"/>
          </a:xfrm>
          <a:prstGeom prst="rect">
            <a:avLst/>
          </a:prstGeom>
          <a:noFill/>
          <a:ln>
            <a:noFill/>
          </a:ln>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ptos" panose="02110004020202020204"/>
                <a:ea typeface="+mn-ea"/>
                <a:cs typeface="+mn-cs"/>
              </a:rPr>
              <a:t> </a:t>
            </a:r>
            <a:r>
              <a:rPr kumimoji="0" lang="en-US" sz="900" b="1" i="0" u="none" strike="noStrike" kern="1200" cap="none" spc="0" normalizeH="0" baseline="0" noProof="0">
                <a:ln>
                  <a:noFill/>
                </a:ln>
                <a:solidFill>
                  <a:srgbClr val="000000"/>
                </a:solidFill>
                <a:effectLst/>
                <a:uLnTx/>
                <a:uFillTx/>
                <a:latin typeface="Aptos" panose="02110004020202020204"/>
                <a:ea typeface="+mn-ea"/>
                <a:cs typeface="+mn-cs"/>
              </a:rPr>
              <a:t>~$1</a:t>
            </a:r>
            <a:r>
              <a:rPr kumimoji="0" lang="en-US" sz="900" b="0" i="0" u="none" strike="noStrike" kern="1200" cap="none" spc="0" normalizeH="0" baseline="0" noProof="0">
                <a:ln>
                  <a:noFill/>
                </a:ln>
                <a:solidFill>
                  <a:srgbClr val="000000"/>
                </a:solidFill>
                <a:effectLst/>
                <a:uLnTx/>
                <a:uFillTx/>
                <a:latin typeface="Aptos" panose="02110004020202020204"/>
                <a:ea typeface="+mn-ea"/>
                <a:cs typeface="+mn-cs"/>
              </a:rPr>
              <a:t>/kg H</a:t>
            </a:r>
            <a:r>
              <a:rPr kumimoji="0" lang="en-US" sz="900" b="0" i="0" u="none" strike="noStrike" kern="1200" cap="none" spc="0" normalizeH="0" baseline="-25000" noProof="0">
                <a:ln>
                  <a:noFill/>
                </a:ln>
                <a:solidFill>
                  <a:srgbClr val="000000"/>
                </a:solidFill>
                <a:effectLst/>
                <a:uLnTx/>
                <a:uFillTx/>
                <a:latin typeface="Aptos" panose="02110004020202020204"/>
                <a:ea typeface="+mn-ea"/>
                <a:cs typeface="+mn-cs"/>
              </a:rPr>
              <a:t>2</a:t>
            </a:r>
            <a:endParaRPr kumimoji="0" lang="en-US" sz="900" b="1" i="0" u="none" strike="noStrike" kern="1200" cap="none" spc="0" normalizeH="0" baseline="0" noProof="0">
              <a:ln>
                <a:noFill/>
              </a:ln>
              <a:solidFill>
                <a:srgbClr val="000000"/>
              </a:solidFill>
              <a:effectLst/>
              <a:uLnTx/>
              <a:uFillTx/>
              <a:latin typeface="Arial"/>
              <a:ea typeface="+mn-ea"/>
              <a:cs typeface="Arial"/>
            </a:endParaRPr>
          </a:p>
        </p:txBody>
      </p:sp>
      <p:sp>
        <p:nvSpPr>
          <p:cNvPr id="1136" name="TextBox 1135">
            <a:extLst>
              <a:ext uri="{FF2B5EF4-FFF2-40B4-BE49-F238E27FC236}">
                <a16:creationId xmlns:a16="http://schemas.microsoft.com/office/drawing/2014/main" id="{C85B1066-6B9E-3772-56B0-56EA9BABA983}"/>
              </a:ext>
            </a:extLst>
          </p:cNvPr>
          <p:cNvSpPr txBox="1"/>
          <p:nvPr/>
        </p:nvSpPr>
        <p:spPr bwMode="gray">
          <a:xfrm>
            <a:off x="9050462" y="4468664"/>
            <a:ext cx="1079500" cy="415498"/>
          </a:xfrm>
          <a:prstGeom prst="rect">
            <a:avLst/>
          </a:prstGeom>
          <a:noFill/>
          <a:ln>
            <a:noFill/>
          </a:ln>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ptos" panose="02110004020202020204"/>
                <a:ea typeface="+mn-ea"/>
                <a:cs typeface="+mn-cs"/>
              </a:rPr>
              <a:t> </a:t>
            </a:r>
            <a:r>
              <a:rPr kumimoji="0" lang="en-US" sz="900" b="1" i="0" u="none" strike="noStrike" kern="1200" cap="none" spc="0" normalizeH="0" baseline="0" noProof="0">
                <a:ln>
                  <a:noFill/>
                </a:ln>
                <a:solidFill>
                  <a:srgbClr val="000000"/>
                </a:solidFill>
                <a:effectLst/>
                <a:uLnTx/>
                <a:uFillTx/>
                <a:latin typeface="Aptos" panose="02110004020202020204"/>
                <a:ea typeface="+mn-ea"/>
                <a:cs typeface="+mn-cs"/>
              </a:rPr>
              <a:t>~$0.6</a:t>
            </a:r>
            <a:r>
              <a:rPr kumimoji="0" lang="en-US" sz="900" b="0" i="0" u="none" strike="noStrike" kern="1200" cap="none" spc="0" normalizeH="0" baseline="0" noProof="0">
                <a:ln>
                  <a:noFill/>
                </a:ln>
                <a:solidFill>
                  <a:srgbClr val="000000"/>
                </a:solidFill>
                <a:effectLst/>
                <a:uLnTx/>
                <a:uFillTx/>
                <a:latin typeface="Aptos" panose="02110004020202020204"/>
                <a:ea typeface="+mn-ea"/>
                <a:cs typeface="+mn-cs"/>
              </a:rPr>
              <a:t>/kg H</a:t>
            </a:r>
            <a:r>
              <a:rPr kumimoji="0" lang="en-US" sz="900" b="0" i="0" u="none" strike="noStrike" kern="1200" cap="none" spc="0" normalizeH="0" baseline="-25000" noProof="0">
                <a:ln>
                  <a:noFill/>
                </a:ln>
                <a:solidFill>
                  <a:srgbClr val="000000"/>
                </a:solidFill>
                <a:effectLst/>
                <a:uLnTx/>
                <a:uFillTx/>
                <a:latin typeface="Aptos" panose="02110004020202020204"/>
                <a:ea typeface="+mn-ea"/>
                <a:cs typeface="+mn-cs"/>
              </a:rPr>
              <a:t>2</a:t>
            </a:r>
            <a:endParaRPr kumimoji="0" lang="en-US" sz="900" b="1" i="0" u="none" strike="noStrike" kern="1200" cap="none" spc="0" normalizeH="0" baseline="0" noProof="0">
              <a:ln>
                <a:noFill/>
              </a:ln>
              <a:solidFill>
                <a:srgbClr val="000000"/>
              </a:solidFill>
              <a:effectLst/>
              <a:uLnTx/>
              <a:uFillTx/>
              <a:latin typeface="Arial"/>
              <a:ea typeface="+mn-ea"/>
              <a:cs typeface="Arial"/>
            </a:endParaRPr>
          </a:p>
        </p:txBody>
      </p:sp>
      <p:sp>
        <p:nvSpPr>
          <p:cNvPr id="1138" name="Rectangle 1137">
            <a:extLst>
              <a:ext uri="{FF2B5EF4-FFF2-40B4-BE49-F238E27FC236}">
                <a16:creationId xmlns:a16="http://schemas.microsoft.com/office/drawing/2014/main" id="{87E0398E-8F85-485F-2FA1-8C07E031DD30}"/>
              </a:ext>
            </a:extLst>
          </p:cNvPr>
          <p:cNvSpPr/>
          <p:nvPr/>
        </p:nvSpPr>
        <p:spPr bwMode="gray">
          <a:xfrm>
            <a:off x="9130260" y="5895817"/>
            <a:ext cx="276618" cy="181851"/>
          </a:xfrm>
          <a:prstGeom prst="rect">
            <a:avLst/>
          </a:prstGeom>
          <a:pattFill prst="ltDnDiag">
            <a:fgClr>
              <a:schemeClr val="tx1"/>
            </a:fgClr>
            <a:bgClr>
              <a:schemeClr val="bg1"/>
            </a:bgClr>
          </a:patt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139" name="TextBox 1138">
            <a:extLst>
              <a:ext uri="{FF2B5EF4-FFF2-40B4-BE49-F238E27FC236}">
                <a16:creationId xmlns:a16="http://schemas.microsoft.com/office/drawing/2014/main" id="{C62E6D43-6785-ED47-97FE-91D9901F5E53}"/>
              </a:ext>
            </a:extLst>
          </p:cNvPr>
          <p:cNvSpPr txBox="1"/>
          <p:nvPr/>
        </p:nvSpPr>
        <p:spPr bwMode="gray">
          <a:xfrm>
            <a:off x="9320214" y="5766419"/>
            <a:ext cx="2545590" cy="415498"/>
          </a:xfrm>
          <a:prstGeom prst="rect">
            <a:avLst/>
          </a:prstGeom>
          <a:noFill/>
          <a:ln>
            <a:noFill/>
          </a:ln>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xtra credit by low carbon </a:t>
            </a:r>
            <a:r>
              <a:rPr lang="en-US" sz="900">
                <a:solidFill>
                  <a:srgbClr val="000000"/>
                </a:solidFill>
                <a:latin typeface="Arial" panose="020B0604020202020204" pitchFamily="34" charset="0"/>
                <a:cs typeface="Arial" panose="020B0604020202020204" pitchFamily="34" charset="0"/>
              </a:rPr>
              <a:t>i</a:t>
            </a:r>
            <a:r>
              <a:rPr kumimoji="0" lang="en-US" sz="9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ntensity</a:t>
            </a: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p>
        </p:txBody>
      </p:sp>
      <p:cxnSp>
        <p:nvCxnSpPr>
          <p:cNvPr id="733" name="Straight Connector 732">
            <a:extLst>
              <a:ext uri="{FF2B5EF4-FFF2-40B4-BE49-F238E27FC236}">
                <a16:creationId xmlns:a16="http://schemas.microsoft.com/office/drawing/2014/main" id="{BF7C56F9-8AAE-96BC-E74C-1BACD413878C}"/>
              </a:ext>
            </a:extLst>
          </p:cNvPr>
          <p:cNvCxnSpPr>
            <a:cxnSpLocks/>
          </p:cNvCxnSpPr>
          <p:nvPr/>
        </p:nvCxnSpPr>
        <p:spPr bwMode="gray">
          <a:xfrm>
            <a:off x="8448675" y="2162969"/>
            <a:ext cx="2914189" cy="0"/>
          </a:xfrm>
          <a:prstGeom prst="line">
            <a:avLst/>
          </a:prstGeom>
          <a:ln w="9525"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BDFEBD29-CD4E-14AE-E8EF-C5187BFBF3F1}"/>
              </a:ext>
            </a:extLst>
          </p:cNvPr>
          <p:cNvSpPr/>
          <p:nvPr/>
        </p:nvSpPr>
        <p:spPr bwMode="gray">
          <a:xfrm>
            <a:off x="0" y="0"/>
            <a:ext cx="2926080" cy="382208"/>
          </a:xfrm>
          <a:prstGeom prst="rect">
            <a:avLst/>
          </a:prstGeom>
          <a:solidFill>
            <a:srgbClr val="F0D6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body)"/>
              </a:rPr>
              <a:t>Deep dive: Pink hydrogen </a:t>
            </a:r>
          </a:p>
        </p:txBody>
      </p:sp>
    </p:spTree>
    <p:extLst>
      <p:ext uri="{BB962C8B-B14F-4D97-AF65-F5344CB8AC3E}">
        <p14:creationId xmlns:p14="http://schemas.microsoft.com/office/powerpoint/2010/main" val="7711729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FFF6990-05CC-A98A-F87D-F4A91404678D}"/>
              </a:ext>
            </a:extLst>
          </p:cNvPr>
          <p:cNvGraphicFramePr>
            <a:graphicFrameLocks noChangeAspect="1"/>
          </p:cNvGraphicFramePr>
          <p:nvPr>
            <p:custDataLst>
              <p:tags r:id="rId1"/>
            </p:custDataLst>
            <p:extLst>
              <p:ext uri="{D42A27DB-BD31-4B8C-83A1-F6EECF244321}">
                <p14:modId xmlns:p14="http://schemas.microsoft.com/office/powerpoint/2010/main" val="2207940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5" imgH="405" progId="TCLayout.ActiveDocument.1">
                  <p:embed/>
                </p:oleObj>
              </mc:Choice>
              <mc:Fallback>
                <p:oleObj name="think-cell Slide" r:id="rId10" imgW="405" imgH="405"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078DD34-1D72-0E7B-DEF6-205B85DD66A5}"/>
              </a:ext>
            </a:extLst>
          </p:cNvPr>
          <p:cNvSpPr>
            <a:spLocks noGrp="1"/>
          </p:cNvSpPr>
          <p:nvPr>
            <p:ph type="title"/>
          </p:nvPr>
        </p:nvSpPr>
        <p:spPr>
          <a:xfrm>
            <a:off x="330200" y="523318"/>
            <a:ext cx="10459720" cy="882788"/>
          </a:xfrm>
        </p:spPr>
        <p:txBody>
          <a:bodyPr vert="horz">
            <a:noAutofit/>
          </a:bodyPr>
          <a:lstStyle/>
          <a:p>
            <a:r>
              <a:rPr lang="en-US" err="1"/>
              <a:t>TerraPower</a:t>
            </a:r>
            <a:r>
              <a:rPr lang="en-US"/>
              <a:t> leads in advanced reactors, breaking ground in 2024 for its 345 MW natrium reactor planned for 2030</a:t>
            </a:r>
          </a:p>
        </p:txBody>
      </p:sp>
      <p:sp>
        <p:nvSpPr>
          <p:cNvPr id="39" name="btfpNotesBox111697">
            <a:extLst>
              <a:ext uri="{FF2B5EF4-FFF2-40B4-BE49-F238E27FC236}">
                <a16:creationId xmlns:a16="http://schemas.microsoft.com/office/drawing/2014/main" id="{896F0650-D483-97AE-AA5E-84A4868164C1}"/>
              </a:ext>
            </a:extLst>
          </p:cNvPr>
          <p:cNvSpPr txBox="1"/>
          <p:nvPr/>
        </p:nvSpPr>
        <p:spPr bwMode="gray">
          <a:xfrm>
            <a:off x="330200" y="6309360"/>
            <a:ext cx="8905240" cy="492443"/>
          </a:xfrm>
          <a:prstGeom prst="rect">
            <a:avLst/>
          </a:prstGeom>
          <a:noFill/>
        </p:spPr>
        <p:txBody>
          <a:bodyPr vert="horz" wrap="square" lIns="0" tIns="0" rIns="0" bIns="0"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lgn="l" rtl="0" fontAlgn="base">
              <a:buNone/>
            </a:pPr>
            <a:r>
              <a:rPr lang="en-US" sz="800" b="0" i="0" u="none" strike="noStrike" dirty="0">
                <a:solidFill>
                  <a:srgbClr val="000000"/>
                </a:solidFill>
                <a:effectLst/>
                <a:latin typeface="Arial" panose="020B0604020202020204" pitchFamily="34" charset="0"/>
                <a:cs typeface="Arial" panose="020B0604020202020204" pitchFamily="34" charset="0"/>
              </a:rPr>
              <a:t>(*) Numbers represent rough estimate from CEO interviews.</a:t>
            </a:r>
            <a:br>
              <a:rPr lang="en-US" sz="800" b="0" i="0" u="none" strike="noStrike" dirty="0">
                <a:solidFill>
                  <a:srgbClr val="000000"/>
                </a:solidFill>
                <a:effectLst/>
                <a:latin typeface="Arial" panose="020B0604020202020204" pitchFamily="34" charset="0"/>
                <a:cs typeface="Arial" panose="020B0604020202020204" pitchFamily="34" charset="0"/>
              </a:rPr>
            </a:br>
            <a:r>
              <a:rPr lang="en-US" sz="800" b="0" i="0" u="none" strike="noStrike" dirty="0">
                <a:solidFill>
                  <a:srgbClr val="000000"/>
                </a:solidFill>
                <a:effectLst/>
                <a:latin typeface="Arial" panose="020B0604020202020204" pitchFamily="34" charset="0"/>
                <a:cs typeface="Arial" panose="020B0604020202020204" pitchFamily="34" charset="0"/>
              </a:rPr>
              <a:t>Sources</a:t>
            </a:r>
            <a:r>
              <a:rPr lang="en-US" sz="800" dirty="0">
                <a:solidFill>
                  <a:srgbClr val="000000"/>
                </a:solidFill>
                <a:latin typeface="Arial" panose="020B0604020202020204" pitchFamily="34" charset="0"/>
                <a:cs typeface="Arial" panose="020B0604020202020204" pitchFamily="34" charset="0"/>
              </a:rPr>
              <a:t>: </a:t>
            </a:r>
            <a:r>
              <a:rPr lang="en-US" sz="800" dirty="0" err="1">
                <a:solidFill>
                  <a:srgbClr val="000000"/>
                </a:solidFill>
                <a:latin typeface="Arial" panose="020B0604020202020204" pitchFamily="34" charset="0"/>
                <a:cs typeface="Arial" panose="020B0604020202020204" pitchFamily="34" charset="0"/>
              </a:rPr>
              <a:t>TerraPower</a:t>
            </a:r>
            <a:r>
              <a:rPr lang="en-US" sz="800" dirty="0">
                <a:solidFill>
                  <a:srgbClr val="000000"/>
                </a:solidFill>
                <a:latin typeface="Arial" panose="020B0604020202020204" pitchFamily="34" charset="0"/>
                <a:cs typeface="Arial" panose="020B0604020202020204" pitchFamily="34" charset="0"/>
              </a:rPr>
              <a:t>, </a:t>
            </a:r>
            <a:r>
              <a:rPr lang="en-US" sz="800" dirty="0">
                <a:solidFill>
                  <a:srgbClr val="000000"/>
                </a:solidFill>
                <a:latin typeface="Arial" panose="020B0604020202020204" pitchFamily="34" charset="0"/>
                <a:cs typeface="Arial" panose="020B0604020202020204" pitchFamily="34" charset="0"/>
                <a:hlinkClick r:id="rId12"/>
              </a:rPr>
              <a:t>About </a:t>
            </a:r>
            <a:r>
              <a:rPr lang="en-US" sz="800" dirty="0" err="1">
                <a:solidFill>
                  <a:srgbClr val="000000"/>
                </a:solidFill>
                <a:latin typeface="Arial" panose="020B0604020202020204" pitchFamily="34" charset="0"/>
                <a:cs typeface="Arial" panose="020B0604020202020204" pitchFamily="34" charset="0"/>
                <a:hlinkClick r:id="rId12"/>
              </a:rPr>
              <a:t>TerraPower</a:t>
            </a:r>
            <a:r>
              <a:rPr lang="en-US" sz="800" dirty="0">
                <a:solidFill>
                  <a:srgbClr val="000000"/>
                </a:solidFill>
                <a:latin typeface="Arial" panose="020B0604020202020204" pitchFamily="34" charset="0"/>
                <a:cs typeface="Arial" panose="020B0604020202020204" pitchFamily="34" charset="0"/>
              </a:rPr>
              <a:t> (2025); </a:t>
            </a:r>
            <a:r>
              <a:rPr lang="en-US" sz="800" dirty="0" err="1">
                <a:solidFill>
                  <a:srgbClr val="000000"/>
                </a:solidFill>
                <a:latin typeface="Arial" panose="020B0604020202020204" pitchFamily="34" charset="0"/>
                <a:cs typeface="Arial" panose="020B0604020202020204" pitchFamily="34" charset="0"/>
              </a:rPr>
              <a:t>Businesswire</a:t>
            </a:r>
            <a:r>
              <a:rPr lang="en-US" sz="800" dirty="0">
                <a:solidFill>
                  <a:srgbClr val="000000"/>
                </a:solidFill>
                <a:latin typeface="Arial" panose="020B0604020202020204" pitchFamily="34" charset="0"/>
                <a:cs typeface="Arial" panose="020B0604020202020204" pitchFamily="34" charset="0"/>
              </a:rPr>
              <a:t>, </a:t>
            </a:r>
            <a:r>
              <a:rPr lang="en-US" sz="800" dirty="0" err="1">
                <a:solidFill>
                  <a:srgbClr val="000000"/>
                </a:solidFill>
                <a:latin typeface="Arial" panose="020B0604020202020204" pitchFamily="34" charset="0"/>
                <a:cs typeface="Arial" panose="020B0604020202020204" pitchFamily="34" charset="0"/>
                <a:hlinkClick r:id="rId13"/>
              </a:rPr>
              <a:t>TerraPower</a:t>
            </a:r>
            <a:r>
              <a:rPr lang="en-US" sz="800" dirty="0">
                <a:solidFill>
                  <a:srgbClr val="000000"/>
                </a:solidFill>
                <a:latin typeface="Arial" panose="020B0604020202020204" pitchFamily="34" charset="0"/>
                <a:cs typeface="Arial" panose="020B0604020202020204" pitchFamily="34" charset="0"/>
                <a:hlinkClick r:id="rId13"/>
              </a:rPr>
              <a:t> Isotopes Brings Actinium-225 to Market</a:t>
            </a:r>
            <a:r>
              <a:rPr lang="en-US" sz="800" dirty="0">
                <a:solidFill>
                  <a:srgbClr val="000000"/>
                </a:solidFill>
                <a:latin typeface="Arial" panose="020B0604020202020204" pitchFamily="34" charset="0"/>
                <a:cs typeface="Arial" panose="020B0604020202020204" pitchFamily="34" charset="0"/>
              </a:rPr>
              <a:t> (2024); Reuters, </a:t>
            </a:r>
            <a:r>
              <a:rPr lang="en-US" sz="800" dirty="0">
                <a:solidFill>
                  <a:srgbClr val="000000"/>
                </a:solidFill>
                <a:latin typeface="Arial" panose="020B0604020202020204" pitchFamily="34" charset="0"/>
                <a:cs typeface="Arial" panose="020B0604020202020204" pitchFamily="34" charset="0"/>
                <a:hlinkClick r:id="rId14"/>
              </a:rPr>
              <a:t>Bill Gates' $4 </a:t>
            </a:r>
            <a:r>
              <a:rPr lang="en-US" sz="800" dirty="0" err="1">
                <a:solidFill>
                  <a:srgbClr val="000000"/>
                </a:solidFill>
                <a:latin typeface="Arial" panose="020B0604020202020204" pitchFamily="34" charset="0"/>
                <a:cs typeface="Arial" panose="020B0604020202020204" pitchFamily="34" charset="0"/>
                <a:hlinkClick r:id="rId14"/>
              </a:rPr>
              <a:t>bln</a:t>
            </a:r>
            <a:r>
              <a:rPr lang="en-US" sz="800" dirty="0">
                <a:solidFill>
                  <a:srgbClr val="000000"/>
                </a:solidFill>
                <a:latin typeface="Arial" panose="020B0604020202020204" pitchFamily="34" charset="0"/>
                <a:cs typeface="Arial" panose="020B0604020202020204" pitchFamily="34" charset="0"/>
                <a:hlinkClick r:id="rId14"/>
              </a:rPr>
              <a:t> high-tech nuclear reactor set for Wyoming coal site</a:t>
            </a:r>
            <a:r>
              <a:rPr lang="en-US" sz="800" dirty="0">
                <a:solidFill>
                  <a:srgbClr val="000000"/>
                </a:solidFill>
                <a:latin typeface="Arial" panose="020B0604020202020204" pitchFamily="34" charset="0"/>
                <a:cs typeface="Arial" panose="020B0604020202020204" pitchFamily="34" charset="0"/>
              </a:rPr>
              <a:t> (2021); WNN, </a:t>
            </a:r>
            <a:r>
              <a:rPr lang="en-US" sz="800" dirty="0" err="1">
                <a:solidFill>
                  <a:srgbClr val="000000"/>
                </a:solidFill>
                <a:latin typeface="Arial" panose="020B0604020202020204" pitchFamily="34" charset="0"/>
                <a:cs typeface="Arial" panose="020B0604020202020204" pitchFamily="34" charset="0"/>
                <a:hlinkClick r:id="rId15"/>
              </a:rPr>
              <a:t>TerraPower</a:t>
            </a:r>
            <a:r>
              <a:rPr lang="en-US" sz="800" dirty="0">
                <a:solidFill>
                  <a:srgbClr val="000000"/>
                </a:solidFill>
                <a:latin typeface="Arial" panose="020B0604020202020204" pitchFamily="34" charset="0"/>
                <a:cs typeface="Arial" panose="020B0604020202020204" pitchFamily="34" charset="0"/>
                <a:hlinkClick r:id="rId15"/>
              </a:rPr>
              <a:t>, CNNC team up on travelling wave reactor</a:t>
            </a:r>
            <a:r>
              <a:rPr lang="en-US" sz="800" dirty="0">
                <a:solidFill>
                  <a:srgbClr val="000000"/>
                </a:solidFill>
                <a:latin typeface="Arial" panose="020B0604020202020204" pitchFamily="34" charset="0"/>
                <a:cs typeface="Arial" panose="020B0604020202020204" pitchFamily="34" charset="0"/>
              </a:rPr>
              <a:t> (2015); Neutron Bytes, </a:t>
            </a:r>
            <a:r>
              <a:rPr lang="en-US" sz="800" dirty="0" err="1">
                <a:solidFill>
                  <a:srgbClr val="000000"/>
                </a:solidFill>
                <a:latin typeface="Arial" panose="020B0604020202020204" pitchFamily="34" charset="0"/>
                <a:cs typeface="Arial" panose="020B0604020202020204" pitchFamily="34" charset="0"/>
                <a:hlinkClick r:id="rId16"/>
              </a:rPr>
              <a:t>TerraPower</a:t>
            </a:r>
            <a:r>
              <a:rPr lang="en-US" sz="800" dirty="0">
                <a:solidFill>
                  <a:srgbClr val="000000"/>
                </a:solidFill>
                <a:latin typeface="Arial" panose="020B0604020202020204" pitchFamily="34" charset="0"/>
                <a:cs typeface="Arial" panose="020B0604020202020204" pitchFamily="34" charset="0"/>
                <a:hlinkClick r:id="rId16"/>
              </a:rPr>
              <a:t> to Leave China, but Bill Gates Is Still in the Game</a:t>
            </a:r>
            <a:r>
              <a:rPr lang="en-US" sz="800" dirty="0">
                <a:solidFill>
                  <a:srgbClr val="000000"/>
                </a:solidFill>
                <a:latin typeface="Arial" panose="020B0604020202020204" pitchFamily="34" charset="0"/>
                <a:cs typeface="Arial" panose="020B0604020202020204" pitchFamily="34" charset="0"/>
              </a:rPr>
              <a:t> (2019).</a:t>
            </a:r>
            <a:br>
              <a:rPr lang="en-US" sz="800" b="0" i="0" dirty="0">
                <a:solidFill>
                  <a:srgbClr val="000000"/>
                </a:solidFill>
                <a:effectLst/>
                <a:latin typeface="Arial" panose="020B0604020202020204" pitchFamily="34" charset="0"/>
                <a:cs typeface="Arial" panose="020B0604020202020204" pitchFamily="34" charset="0"/>
              </a:rPr>
            </a:br>
            <a:r>
              <a:rPr lang="en-US" sz="800" b="0" i="0" u="none" strike="noStrike" dirty="0">
                <a:solidFill>
                  <a:srgbClr val="000000"/>
                </a:solidFill>
                <a:effectLst/>
                <a:latin typeface="Arial" panose="020B0604020202020204" pitchFamily="34" charset="0"/>
                <a:cs typeface="Arial" panose="020B0604020202020204" pitchFamily="34" charset="0"/>
              </a:rPr>
              <a:t>Credit: Quint </a:t>
            </a:r>
            <a:r>
              <a:rPr lang="en-US" sz="800" b="0" i="0" u="none" strike="noStrike" dirty="0" err="1">
                <a:solidFill>
                  <a:srgbClr val="000000"/>
                </a:solidFill>
                <a:effectLst/>
                <a:latin typeface="Arial" panose="020B0604020202020204" pitchFamily="34" charset="0"/>
                <a:cs typeface="Arial" panose="020B0604020202020204" pitchFamily="34" charset="0"/>
              </a:rPr>
              <a:t>Houwink</a:t>
            </a:r>
            <a:r>
              <a:rPr lang="en-US" sz="800" b="0" i="0" u="none" strike="noStrike" dirty="0">
                <a:solidFill>
                  <a:srgbClr val="000000"/>
                </a:solidFill>
                <a:effectLst/>
                <a:latin typeface="Arial" panose="020B0604020202020204" pitchFamily="34" charset="0"/>
                <a:cs typeface="Arial" panose="020B0604020202020204" pitchFamily="34" charset="0"/>
              </a:rPr>
              <a:t> and </a:t>
            </a:r>
            <a:r>
              <a:rPr lang="en-US" sz="800" b="0" i="0" u="sng" strike="noStrike" dirty="0">
                <a:solidFill>
                  <a:srgbClr val="46647B"/>
                </a:solidFill>
                <a:effectLst/>
                <a:latin typeface="Arial" panose="020B0604020202020204" pitchFamily="34" charset="0"/>
                <a:cs typeface="Arial" panose="020B0604020202020204" pitchFamily="34" charset="0"/>
                <a:hlinkClick r:id="rId17"/>
              </a:rPr>
              <a:t>Gernot Wagner</a:t>
            </a:r>
            <a:r>
              <a:rPr lang="en-US" sz="800" b="0" i="0" u="none" strike="noStrike" dirty="0">
                <a:solidFill>
                  <a:srgbClr val="000000"/>
                </a:solidFill>
                <a:effectLst/>
                <a:latin typeface="Arial" panose="020B0604020202020204" pitchFamily="34" charset="0"/>
                <a:cs typeface="Arial" panose="020B0604020202020204" pitchFamily="34" charset="0"/>
              </a:rPr>
              <a:t>. Share with </a:t>
            </a:r>
            <a:r>
              <a:rPr lang="en-US" sz="800" b="0" i="0" u="sng" strike="noStrike" dirty="0">
                <a:solidFill>
                  <a:srgbClr val="46647B"/>
                </a:solidFill>
                <a:effectLst/>
                <a:latin typeface="Arial" panose="020B0604020202020204" pitchFamily="34" charset="0"/>
                <a:cs typeface="Arial" panose="020B0604020202020204" pitchFamily="34" charset="0"/>
                <a:hlinkClick r:id="rId18"/>
              </a:rPr>
              <a:t>attribution</a:t>
            </a:r>
            <a:r>
              <a:rPr lang="en-US" sz="800" b="0" i="0" u="none" strike="noStrike" dirty="0">
                <a:solidFill>
                  <a:srgbClr val="000000"/>
                </a:solidFill>
                <a:effectLst/>
                <a:latin typeface="Arial" panose="020B0604020202020204" pitchFamily="34" charset="0"/>
                <a:cs typeface="Arial" panose="020B0604020202020204" pitchFamily="34" charset="0"/>
              </a:rPr>
              <a:t>: </a:t>
            </a:r>
            <a:r>
              <a:rPr lang="en-US" sz="800" b="0" i="0" u="none" strike="noStrike" dirty="0" err="1">
                <a:solidFill>
                  <a:srgbClr val="000000"/>
                </a:solidFill>
                <a:effectLst/>
                <a:latin typeface="Arial" panose="020B0604020202020204" pitchFamily="34" charset="0"/>
                <a:cs typeface="Arial" panose="020B0604020202020204" pitchFamily="34" charset="0"/>
              </a:rPr>
              <a:t>Houwink</a:t>
            </a:r>
            <a:r>
              <a:rPr lang="en-US" sz="800" b="0" i="0" u="none" strike="noStrike" dirty="0">
                <a:solidFill>
                  <a:srgbClr val="000000"/>
                </a:solidFill>
                <a:effectLst/>
                <a:latin typeface="Arial" panose="020B0604020202020204" pitchFamily="34" charset="0"/>
                <a:cs typeface="Arial" panose="020B0604020202020204" pitchFamily="34" charset="0"/>
              </a:rPr>
              <a:t> </a:t>
            </a:r>
            <a:r>
              <a:rPr lang="en-US" sz="800" b="0" u="none" strike="noStrike" dirty="0">
                <a:solidFill>
                  <a:srgbClr val="000000"/>
                </a:solidFill>
                <a:effectLst/>
                <a:latin typeface="Arial" panose="020B0604020202020204" pitchFamily="34" charset="0"/>
                <a:cs typeface="Arial" panose="020B0604020202020204" pitchFamily="34" charset="0"/>
              </a:rPr>
              <a:t>et al., </a:t>
            </a:r>
            <a:r>
              <a:rPr lang="en-US" sz="800" b="0" i="0" u="none" strike="noStrike" dirty="0">
                <a:solidFill>
                  <a:srgbClr val="000000"/>
                </a:solidFill>
                <a:effectLst/>
                <a:latin typeface="Arial" panose="020B0604020202020204" pitchFamily="34" charset="0"/>
                <a:cs typeface="Arial" panose="020B0604020202020204" pitchFamily="34" charset="0"/>
              </a:rPr>
              <a:t>"Reenergizing Nuclear" (23 September 2025).</a:t>
            </a:r>
            <a:r>
              <a:rPr lang="en-US" sz="800" b="0" i="0" dirty="0">
                <a:solidFill>
                  <a:srgbClr val="000000"/>
                </a:solidFill>
                <a:effectLst/>
                <a:latin typeface="Arial" panose="020B0604020202020204" pitchFamily="34" charset="0"/>
                <a:cs typeface="Arial" panose="020B0604020202020204" pitchFamily="34" charset="0"/>
              </a:rPr>
              <a:t>​</a:t>
            </a:r>
          </a:p>
        </p:txBody>
      </p:sp>
      <p:sp>
        <p:nvSpPr>
          <p:cNvPr id="40" name="TextBox 39">
            <a:extLst>
              <a:ext uri="{FF2B5EF4-FFF2-40B4-BE49-F238E27FC236}">
                <a16:creationId xmlns:a16="http://schemas.microsoft.com/office/drawing/2014/main" id="{C3287EC0-39F7-AD6E-A6E5-2E286641BAAD}"/>
              </a:ext>
            </a:extLst>
          </p:cNvPr>
          <p:cNvSpPr txBox="1"/>
          <p:nvPr/>
        </p:nvSpPr>
        <p:spPr>
          <a:xfrm>
            <a:off x="7951480" y="1458935"/>
            <a:ext cx="4020226" cy="4539966"/>
          </a:xfrm>
          <a:prstGeom prst="rect">
            <a:avLst/>
          </a:prstGeom>
          <a:solidFill>
            <a:schemeClr val="accent6">
              <a:lumMod val="40000"/>
              <a:lumOff val="60000"/>
            </a:schemeClr>
          </a:solidFill>
        </p:spPr>
        <p:txBody>
          <a:bodyPr wrap="square" lIns="137160" tIns="137160" rIns="274320" bIns="137160" rtlCol="0">
            <a:noAutofit/>
          </a:bodyPr>
          <a:lstStyle/>
          <a:p>
            <a:pPr marL="0" marR="0" lvl="0" indent="0" algn="l" defTabSz="914400" rtl="0" eaLnBrk="1" fontAlgn="auto" latinLnBrk="0" hangingPunct="1">
              <a:spcBef>
                <a:spcPts val="600"/>
              </a:spcBef>
              <a:spcAft>
                <a:spcPts val="0"/>
              </a:spcAft>
              <a:buClrTx/>
              <a:buSzTx/>
              <a:buFontTx/>
              <a:buNone/>
              <a:tabLst/>
              <a:defRPr/>
            </a:pPr>
            <a:r>
              <a:rPr lang="en-US" sz="1400" b="1" err="1">
                <a:solidFill>
                  <a:srgbClr val="000000"/>
                </a:solidFill>
                <a:latin typeface="Arial"/>
              </a:rPr>
              <a:t>TerraPower’s</a:t>
            </a:r>
            <a:r>
              <a:rPr lang="en-US" sz="1400" b="1">
                <a:solidFill>
                  <a:srgbClr val="000000"/>
                </a:solidFill>
                <a:latin typeface="Arial"/>
              </a:rPr>
              <a:t> unique design</a:t>
            </a:r>
            <a:endParaRPr lang="en-US" sz="1100"/>
          </a:p>
          <a:p>
            <a:pPr marL="171450" indent="-171450">
              <a:spcBef>
                <a:spcPts val="600"/>
              </a:spcBef>
              <a:buFont typeface="Arial" panose="020B0604020202020204" pitchFamily="34" charset="0"/>
              <a:buChar char="•"/>
            </a:pPr>
            <a:r>
              <a:rPr lang="en-US" sz="1100"/>
              <a:t>For its design, </a:t>
            </a:r>
            <a:r>
              <a:rPr lang="en-US" sz="1100" err="1"/>
              <a:t>TerraPower</a:t>
            </a:r>
            <a:r>
              <a:rPr lang="en-US" sz="1100"/>
              <a:t> uses the metal </a:t>
            </a:r>
            <a:r>
              <a:rPr lang="en-US" sz="1100" b="1"/>
              <a:t>sodium</a:t>
            </a:r>
            <a:r>
              <a:rPr lang="en-US" sz="1100"/>
              <a:t> (Latin name: natrium) </a:t>
            </a:r>
            <a:r>
              <a:rPr lang="en-US" sz="1100" b="1"/>
              <a:t>as its coolant.</a:t>
            </a:r>
          </a:p>
          <a:p>
            <a:pPr marL="171450" indent="-171450">
              <a:spcBef>
                <a:spcPts val="600"/>
              </a:spcBef>
              <a:buFont typeface="Arial" panose="020B0604020202020204" pitchFamily="34" charset="0"/>
              <a:buChar char="•"/>
            </a:pPr>
            <a:r>
              <a:rPr lang="en-US" sz="1100"/>
              <a:t>Where </a:t>
            </a:r>
            <a:r>
              <a:rPr lang="en-US" sz="1100" b="1"/>
              <a:t>water requires high pressure </a:t>
            </a:r>
            <a:r>
              <a:rPr lang="en-US" sz="1100"/>
              <a:t>to prevent boiling above 100°C, </a:t>
            </a:r>
            <a:r>
              <a:rPr lang="en-US" sz="1100" b="1"/>
              <a:t>sodium doesn’t boil until 883°C, </a:t>
            </a:r>
            <a:r>
              <a:rPr lang="en-US" sz="1100"/>
              <a:t>ideal for a reactor operating at ~500°C.</a:t>
            </a:r>
          </a:p>
          <a:p>
            <a:pPr marL="171450" indent="-171450">
              <a:spcBef>
                <a:spcPts val="600"/>
              </a:spcBef>
              <a:buFont typeface="Arial" panose="020B0604020202020204" pitchFamily="34" charset="0"/>
              <a:buChar char="•"/>
            </a:pPr>
            <a:r>
              <a:rPr lang="en-US" sz="1100"/>
              <a:t>Sodium is </a:t>
            </a:r>
            <a:r>
              <a:rPr lang="en-US" sz="1100" b="1"/>
              <a:t>highly reactive with water and oxygen; a leak can cause explosions. </a:t>
            </a:r>
            <a:r>
              <a:rPr lang="en-US" sz="1100"/>
              <a:t>Historically, liquid </a:t>
            </a:r>
            <a:r>
              <a:rPr lang="en-US" sz="1100" b="1"/>
              <a:t>metal reactors have been more expensive.</a:t>
            </a:r>
          </a:p>
          <a:p>
            <a:pPr marL="171450" indent="-171450">
              <a:spcBef>
                <a:spcPts val="600"/>
              </a:spcBef>
              <a:buFont typeface="Arial" panose="020B0604020202020204" pitchFamily="34" charset="0"/>
              <a:buChar char="•"/>
            </a:pPr>
            <a:r>
              <a:rPr lang="en-US" sz="1100" err="1"/>
              <a:t>TerraPower</a:t>
            </a:r>
            <a:r>
              <a:rPr lang="en-US" sz="1100"/>
              <a:t> believes sodium will allow </a:t>
            </a:r>
            <a:r>
              <a:rPr lang="en-US" sz="1100" b="1"/>
              <a:t>modular fabrication</a:t>
            </a:r>
            <a:r>
              <a:rPr lang="en-US" sz="1100"/>
              <a:t> and have </a:t>
            </a:r>
            <a:r>
              <a:rPr lang="en-US" sz="1100" b="1"/>
              <a:t>non-nuclear systems</a:t>
            </a:r>
            <a:r>
              <a:rPr lang="en-US" sz="1100"/>
              <a:t>, bringing down construction and regulatory costs.</a:t>
            </a:r>
          </a:p>
          <a:p>
            <a:pPr marL="171450" indent="-171450">
              <a:spcBef>
                <a:spcPts val="600"/>
              </a:spcBef>
              <a:buFont typeface="Arial" panose="020B0604020202020204" pitchFamily="34" charset="0"/>
              <a:buChar char="•"/>
            </a:pPr>
            <a:r>
              <a:rPr lang="en-US" sz="1100"/>
              <a:t>Beyond its unique cooling system, </a:t>
            </a:r>
            <a:r>
              <a:rPr lang="en-US" sz="1100" err="1"/>
              <a:t>TerraPower</a:t>
            </a:r>
            <a:r>
              <a:rPr lang="en-US" sz="1100"/>
              <a:t> includes </a:t>
            </a:r>
            <a:r>
              <a:rPr lang="en-US" sz="1100" b="1"/>
              <a:t>salt heat storage</a:t>
            </a:r>
            <a:r>
              <a:rPr lang="en-US" sz="1100"/>
              <a:t>, which should help the plant </a:t>
            </a:r>
            <a:r>
              <a:rPr lang="en-US" sz="1100" b="1"/>
              <a:t>react to power demand peaks.</a:t>
            </a:r>
          </a:p>
        </p:txBody>
      </p:sp>
      <p:sp>
        <p:nvSpPr>
          <p:cNvPr id="66" name="TextBox 65">
            <a:extLst>
              <a:ext uri="{FF2B5EF4-FFF2-40B4-BE49-F238E27FC236}">
                <a16:creationId xmlns:a16="http://schemas.microsoft.com/office/drawing/2014/main" id="{837C84F9-C88C-B75A-9582-C0CE85EC508D}"/>
              </a:ext>
            </a:extLst>
          </p:cNvPr>
          <p:cNvSpPr txBox="1"/>
          <p:nvPr/>
        </p:nvSpPr>
        <p:spPr>
          <a:xfrm>
            <a:off x="614826" y="4709062"/>
            <a:ext cx="7114259" cy="1289839"/>
          </a:xfrm>
          <a:prstGeom prst="rect">
            <a:avLst/>
          </a:prstGeom>
          <a:solidFill>
            <a:srgbClr val="E3E9EE"/>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err="1">
                <a:solidFill>
                  <a:srgbClr val="000000"/>
                </a:solidFill>
                <a:latin typeface="Arial"/>
              </a:rPr>
              <a:t>TerraPower’s</a:t>
            </a:r>
            <a:r>
              <a:rPr lang="en-US" sz="1200" b="1">
                <a:solidFill>
                  <a:srgbClr val="000000"/>
                </a:solidFill>
                <a:latin typeface="Arial"/>
              </a:rPr>
              <a:t> approach to funding*</a:t>
            </a: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cxnSp>
        <p:nvCxnSpPr>
          <p:cNvPr id="69" name="Straight Arrow Connector 68">
            <a:extLst>
              <a:ext uri="{FF2B5EF4-FFF2-40B4-BE49-F238E27FC236}">
                <a16:creationId xmlns:a16="http://schemas.microsoft.com/office/drawing/2014/main" id="{EFE54772-DCFB-6FE4-FEAE-DD4B1CCF8DE5}"/>
              </a:ext>
            </a:extLst>
          </p:cNvPr>
          <p:cNvCxnSpPr/>
          <p:nvPr/>
        </p:nvCxnSpPr>
        <p:spPr bwMode="gray">
          <a:xfrm>
            <a:off x="523702" y="3031316"/>
            <a:ext cx="7140784" cy="0"/>
          </a:xfrm>
          <a:prstGeom prst="straightConnector1">
            <a:avLst/>
          </a:prstGeom>
          <a:ln w="76200" cap="flat">
            <a:solidFill>
              <a:srgbClr val="79D4CB"/>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FD5C524D-B633-4159-2F2E-3C1EEA486E61}"/>
              </a:ext>
            </a:extLst>
          </p:cNvPr>
          <p:cNvSpPr/>
          <p:nvPr/>
        </p:nvSpPr>
        <p:spPr bwMode="gray">
          <a:xfrm>
            <a:off x="709217" y="2949535"/>
            <a:ext cx="172067" cy="182880"/>
          </a:xfrm>
          <a:prstGeom prst="ellipse">
            <a:avLst/>
          </a:prstGeom>
          <a:solidFill>
            <a:schemeClr val="accent6">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8" name="TextBox 37">
            <a:extLst>
              <a:ext uri="{FF2B5EF4-FFF2-40B4-BE49-F238E27FC236}">
                <a16:creationId xmlns:a16="http://schemas.microsoft.com/office/drawing/2014/main" id="{7969FA88-EEB8-A155-DB88-52D4E74616B6}"/>
              </a:ext>
            </a:extLst>
          </p:cNvPr>
          <p:cNvSpPr txBox="1"/>
          <p:nvPr/>
        </p:nvSpPr>
        <p:spPr bwMode="gray">
          <a:xfrm>
            <a:off x="609437" y="3200438"/>
            <a:ext cx="374040" cy="215444"/>
          </a:xfrm>
          <a:prstGeom prst="rect">
            <a:avLst/>
          </a:prstGeom>
          <a:noFill/>
        </p:spPr>
        <p:txBody>
          <a:bodyPr wrap="none" lIns="0" tIns="0" rIns="0" bIns="0" rtlCol="0">
            <a:spAutoFit/>
          </a:bodyPr>
          <a:lstStyle/>
          <a:p>
            <a:pPr marL="0" indent="0" algn="l">
              <a:spcBef>
                <a:spcPts val="600"/>
              </a:spcBef>
              <a:spcAft>
                <a:spcPts val="600"/>
              </a:spcAft>
              <a:buNone/>
            </a:pPr>
            <a:r>
              <a:rPr lang="en-US" sz="1400" b="1"/>
              <a:t>2006</a:t>
            </a:r>
          </a:p>
        </p:txBody>
      </p:sp>
      <p:sp>
        <p:nvSpPr>
          <p:cNvPr id="27" name="Oval 26">
            <a:extLst>
              <a:ext uri="{FF2B5EF4-FFF2-40B4-BE49-F238E27FC236}">
                <a16:creationId xmlns:a16="http://schemas.microsoft.com/office/drawing/2014/main" id="{F323281E-FA54-95AF-AA34-CC6C45C00697}"/>
              </a:ext>
            </a:extLst>
          </p:cNvPr>
          <p:cNvSpPr/>
          <p:nvPr/>
        </p:nvSpPr>
        <p:spPr bwMode="gray">
          <a:xfrm>
            <a:off x="1601278" y="2949535"/>
            <a:ext cx="172067" cy="182880"/>
          </a:xfrm>
          <a:prstGeom prst="ellipse">
            <a:avLst/>
          </a:prstGeom>
          <a:solidFill>
            <a:schemeClr val="accent6">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 name="TextBox 41">
            <a:extLst>
              <a:ext uri="{FF2B5EF4-FFF2-40B4-BE49-F238E27FC236}">
                <a16:creationId xmlns:a16="http://schemas.microsoft.com/office/drawing/2014/main" id="{1FE92CAC-5111-72E3-63AD-DD97BAAA1EA3}"/>
              </a:ext>
            </a:extLst>
          </p:cNvPr>
          <p:cNvSpPr txBox="1"/>
          <p:nvPr/>
        </p:nvSpPr>
        <p:spPr bwMode="gray">
          <a:xfrm>
            <a:off x="1544258" y="2717809"/>
            <a:ext cx="374040" cy="215444"/>
          </a:xfrm>
          <a:prstGeom prst="rect">
            <a:avLst/>
          </a:prstGeom>
          <a:noFill/>
        </p:spPr>
        <p:txBody>
          <a:bodyPr wrap="none" lIns="0" tIns="0" rIns="0" bIns="0" rtlCol="0">
            <a:spAutoFit/>
          </a:bodyPr>
          <a:lstStyle/>
          <a:p>
            <a:pPr marL="0" indent="0" algn="l">
              <a:spcBef>
                <a:spcPts val="600"/>
              </a:spcBef>
              <a:spcAft>
                <a:spcPts val="600"/>
              </a:spcAft>
              <a:buNone/>
            </a:pPr>
            <a:r>
              <a:rPr lang="en-US" sz="1400" b="1"/>
              <a:t>2010</a:t>
            </a:r>
          </a:p>
        </p:txBody>
      </p:sp>
      <p:sp>
        <p:nvSpPr>
          <p:cNvPr id="35" name="Oval 34">
            <a:extLst>
              <a:ext uri="{FF2B5EF4-FFF2-40B4-BE49-F238E27FC236}">
                <a16:creationId xmlns:a16="http://schemas.microsoft.com/office/drawing/2014/main" id="{63E049EC-E3A6-9880-B1A4-F09C10EEEF54}"/>
              </a:ext>
            </a:extLst>
          </p:cNvPr>
          <p:cNvSpPr/>
          <p:nvPr/>
        </p:nvSpPr>
        <p:spPr bwMode="gray">
          <a:xfrm>
            <a:off x="2519784" y="2949535"/>
            <a:ext cx="172067" cy="182880"/>
          </a:xfrm>
          <a:prstGeom prst="ellipse">
            <a:avLst/>
          </a:prstGeom>
          <a:solidFill>
            <a:schemeClr val="accent6">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 name="TextBox 45">
            <a:extLst>
              <a:ext uri="{FF2B5EF4-FFF2-40B4-BE49-F238E27FC236}">
                <a16:creationId xmlns:a16="http://schemas.microsoft.com/office/drawing/2014/main" id="{51F62F5A-58B6-4644-6BA9-D6589D2B3D2C}"/>
              </a:ext>
            </a:extLst>
          </p:cNvPr>
          <p:cNvSpPr txBox="1"/>
          <p:nvPr/>
        </p:nvSpPr>
        <p:spPr bwMode="gray">
          <a:xfrm>
            <a:off x="2418798" y="3200438"/>
            <a:ext cx="374040" cy="215444"/>
          </a:xfrm>
          <a:prstGeom prst="rect">
            <a:avLst/>
          </a:prstGeom>
          <a:noFill/>
        </p:spPr>
        <p:txBody>
          <a:bodyPr wrap="none" lIns="0" tIns="0" rIns="0" bIns="0" rtlCol="0">
            <a:spAutoFit/>
          </a:bodyPr>
          <a:lstStyle/>
          <a:p>
            <a:pPr marL="0" indent="0" algn="l">
              <a:spcBef>
                <a:spcPts val="600"/>
              </a:spcBef>
              <a:spcAft>
                <a:spcPts val="600"/>
              </a:spcAft>
              <a:buNone/>
            </a:pPr>
            <a:r>
              <a:rPr lang="en-US" sz="1400" b="1"/>
              <a:t>2015</a:t>
            </a:r>
          </a:p>
        </p:txBody>
      </p:sp>
      <p:sp>
        <p:nvSpPr>
          <p:cNvPr id="36" name="Oval 35">
            <a:extLst>
              <a:ext uri="{FF2B5EF4-FFF2-40B4-BE49-F238E27FC236}">
                <a16:creationId xmlns:a16="http://schemas.microsoft.com/office/drawing/2014/main" id="{0494F99E-7009-CBA6-FC02-813FFC9CADE2}"/>
              </a:ext>
            </a:extLst>
          </p:cNvPr>
          <p:cNvSpPr/>
          <p:nvPr/>
        </p:nvSpPr>
        <p:spPr bwMode="gray">
          <a:xfrm>
            <a:off x="3411568" y="2949535"/>
            <a:ext cx="172067" cy="182880"/>
          </a:xfrm>
          <a:prstGeom prst="ellipse">
            <a:avLst/>
          </a:prstGeom>
          <a:solidFill>
            <a:schemeClr val="accent6">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7" name="TextBox 46">
            <a:extLst>
              <a:ext uri="{FF2B5EF4-FFF2-40B4-BE49-F238E27FC236}">
                <a16:creationId xmlns:a16="http://schemas.microsoft.com/office/drawing/2014/main" id="{54366111-EC57-E2C7-C103-DC04784201C2}"/>
              </a:ext>
            </a:extLst>
          </p:cNvPr>
          <p:cNvSpPr txBox="1"/>
          <p:nvPr/>
        </p:nvSpPr>
        <p:spPr bwMode="gray">
          <a:xfrm>
            <a:off x="4233927" y="3200438"/>
            <a:ext cx="374040" cy="215444"/>
          </a:xfrm>
          <a:prstGeom prst="rect">
            <a:avLst/>
          </a:prstGeom>
          <a:noFill/>
        </p:spPr>
        <p:txBody>
          <a:bodyPr wrap="none" lIns="0" tIns="0" rIns="0" bIns="0" rtlCol="0">
            <a:spAutoFit/>
          </a:bodyPr>
          <a:lstStyle/>
          <a:p>
            <a:pPr marL="0" indent="0" algn="l">
              <a:spcBef>
                <a:spcPts val="600"/>
              </a:spcBef>
              <a:spcAft>
                <a:spcPts val="600"/>
              </a:spcAft>
              <a:buNone/>
            </a:pPr>
            <a:r>
              <a:rPr lang="en-US" sz="1400" b="1"/>
              <a:t>2020</a:t>
            </a:r>
          </a:p>
        </p:txBody>
      </p:sp>
      <p:sp>
        <p:nvSpPr>
          <p:cNvPr id="55" name="Oval 54">
            <a:extLst>
              <a:ext uri="{FF2B5EF4-FFF2-40B4-BE49-F238E27FC236}">
                <a16:creationId xmlns:a16="http://schemas.microsoft.com/office/drawing/2014/main" id="{5724B1DD-49F7-8920-4C76-53A0CCECDE0F}"/>
              </a:ext>
            </a:extLst>
          </p:cNvPr>
          <p:cNvSpPr/>
          <p:nvPr/>
        </p:nvSpPr>
        <p:spPr bwMode="gray">
          <a:xfrm>
            <a:off x="4330352" y="2949535"/>
            <a:ext cx="172067" cy="182880"/>
          </a:xfrm>
          <a:prstGeom prst="ellipse">
            <a:avLst/>
          </a:prstGeom>
          <a:solidFill>
            <a:schemeClr val="accent6">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6" name="TextBox 55">
            <a:extLst>
              <a:ext uri="{FF2B5EF4-FFF2-40B4-BE49-F238E27FC236}">
                <a16:creationId xmlns:a16="http://schemas.microsoft.com/office/drawing/2014/main" id="{6F22FAD2-FB7C-8B5D-866D-BAFCE713257B}"/>
              </a:ext>
            </a:extLst>
          </p:cNvPr>
          <p:cNvSpPr txBox="1"/>
          <p:nvPr/>
        </p:nvSpPr>
        <p:spPr bwMode="gray">
          <a:xfrm>
            <a:off x="3192420" y="2683785"/>
            <a:ext cx="616864" cy="215444"/>
          </a:xfrm>
          <a:prstGeom prst="rect">
            <a:avLst/>
          </a:prstGeom>
          <a:noFill/>
        </p:spPr>
        <p:txBody>
          <a:bodyPr wrap="none" lIns="0" tIns="0" rIns="0" bIns="0" rtlCol="0">
            <a:spAutoFit/>
          </a:bodyPr>
          <a:lstStyle/>
          <a:p>
            <a:pPr marL="0" indent="0" algn="l">
              <a:spcBef>
                <a:spcPts val="600"/>
              </a:spcBef>
              <a:spcAft>
                <a:spcPts val="600"/>
              </a:spcAft>
              <a:buNone/>
            </a:pPr>
            <a:r>
              <a:rPr lang="en-US" sz="1400" b="1"/>
              <a:t>2018-19</a:t>
            </a:r>
          </a:p>
        </p:txBody>
      </p:sp>
      <p:sp>
        <p:nvSpPr>
          <p:cNvPr id="58" name="Oval 57">
            <a:extLst>
              <a:ext uri="{FF2B5EF4-FFF2-40B4-BE49-F238E27FC236}">
                <a16:creationId xmlns:a16="http://schemas.microsoft.com/office/drawing/2014/main" id="{0655975F-59E2-DDC5-294A-D6A9769AEBA3}"/>
              </a:ext>
            </a:extLst>
          </p:cNvPr>
          <p:cNvSpPr/>
          <p:nvPr/>
        </p:nvSpPr>
        <p:spPr bwMode="gray">
          <a:xfrm>
            <a:off x="5235636" y="2949535"/>
            <a:ext cx="172067" cy="182880"/>
          </a:xfrm>
          <a:prstGeom prst="ellipse">
            <a:avLst/>
          </a:prstGeom>
          <a:solidFill>
            <a:schemeClr val="accent6">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9" name="TextBox 58">
            <a:extLst>
              <a:ext uri="{FF2B5EF4-FFF2-40B4-BE49-F238E27FC236}">
                <a16:creationId xmlns:a16="http://schemas.microsoft.com/office/drawing/2014/main" id="{6D288E28-FB81-448C-61EB-A2D4DF5A47F4}"/>
              </a:ext>
            </a:extLst>
          </p:cNvPr>
          <p:cNvSpPr txBox="1"/>
          <p:nvPr/>
        </p:nvSpPr>
        <p:spPr bwMode="gray">
          <a:xfrm>
            <a:off x="5134649" y="2683785"/>
            <a:ext cx="374040" cy="215444"/>
          </a:xfrm>
          <a:prstGeom prst="rect">
            <a:avLst/>
          </a:prstGeom>
          <a:noFill/>
        </p:spPr>
        <p:txBody>
          <a:bodyPr wrap="none" lIns="0" tIns="0" rIns="0" bIns="0" rtlCol="0">
            <a:spAutoFit/>
          </a:bodyPr>
          <a:lstStyle/>
          <a:p>
            <a:pPr marL="0" indent="0" algn="l">
              <a:spcBef>
                <a:spcPts val="600"/>
              </a:spcBef>
              <a:spcAft>
                <a:spcPts val="600"/>
              </a:spcAft>
              <a:buNone/>
            </a:pPr>
            <a:r>
              <a:rPr lang="en-US" sz="1400" b="1"/>
              <a:t>2021</a:t>
            </a:r>
          </a:p>
        </p:txBody>
      </p:sp>
      <p:sp>
        <p:nvSpPr>
          <p:cNvPr id="62" name="Oval 61">
            <a:extLst>
              <a:ext uri="{FF2B5EF4-FFF2-40B4-BE49-F238E27FC236}">
                <a16:creationId xmlns:a16="http://schemas.microsoft.com/office/drawing/2014/main" id="{B9CACE6B-1D48-CFF8-D199-95F0EE9AC2DA}"/>
              </a:ext>
            </a:extLst>
          </p:cNvPr>
          <p:cNvSpPr/>
          <p:nvPr/>
        </p:nvSpPr>
        <p:spPr bwMode="gray">
          <a:xfrm>
            <a:off x="6140920" y="2949535"/>
            <a:ext cx="172067" cy="182880"/>
          </a:xfrm>
          <a:prstGeom prst="ellipse">
            <a:avLst/>
          </a:prstGeom>
          <a:solidFill>
            <a:schemeClr val="accent6">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3" name="TextBox 62">
            <a:extLst>
              <a:ext uri="{FF2B5EF4-FFF2-40B4-BE49-F238E27FC236}">
                <a16:creationId xmlns:a16="http://schemas.microsoft.com/office/drawing/2014/main" id="{8E9AB76B-90AF-3203-1DAB-65A1942E5A96}"/>
              </a:ext>
            </a:extLst>
          </p:cNvPr>
          <p:cNvSpPr txBox="1"/>
          <p:nvPr/>
        </p:nvSpPr>
        <p:spPr bwMode="gray">
          <a:xfrm>
            <a:off x="6050364" y="3200438"/>
            <a:ext cx="374040" cy="215444"/>
          </a:xfrm>
          <a:prstGeom prst="rect">
            <a:avLst/>
          </a:prstGeom>
          <a:noFill/>
        </p:spPr>
        <p:txBody>
          <a:bodyPr wrap="none" lIns="0" tIns="0" rIns="0" bIns="0" rtlCol="0">
            <a:spAutoFit/>
          </a:bodyPr>
          <a:lstStyle/>
          <a:p>
            <a:pPr marL="0" indent="0" algn="l">
              <a:spcBef>
                <a:spcPts val="600"/>
              </a:spcBef>
              <a:spcAft>
                <a:spcPts val="600"/>
              </a:spcAft>
              <a:buNone/>
            </a:pPr>
            <a:r>
              <a:rPr lang="en-US" sz="1400" b="1"/>
              <a:t>2024</a:t>
            </a:r>
          </a:p>
        </p:txBody>
      </p:sp>
      <p:sp>
        <p:nvSpPr>
          <p:cNvPr id="6" name="Oval 5">
            <a:extLst>
              <a:ext uri="{FF2B5EF4-FFF2-40B4-BE49-F238E27FC236}">
                <a16:creationId xmlns:a16="http://schemas.microsoft.com/office/drawing/2014/main" id="{BED53DFA-ED24-C4B1-D665-C3BA68B88EFF}"/>
              </a:ext>
            </a:extLst>
          </p:cNvPr>
          <p:cNvSpPr/>
          <p:nvPr/>
        </p:nvSpPr>
        <p:spPr bwMode="gray">
          <a:xfrm>
            <a:off x="7046200" y="2949535"/>
            <a:ext cx="172067" cy="182880"/>
          </a:xfrm>
          <a:prstGeom prst="ellipse">
            <a:avLst/>
          </a:prstGeom>
          <a:solidFill>
            <a:schemeClr val="accent6">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 name="TextBox 6">
            <a:extLst>
              <a:ext uri="{FF2B5EF4-FFF2-40B4-BE49-F238E27FC236}">
                <a16:creationId xmlns:a16="http://schemas.microsoft.com/office/drawing/2014/main" id="{3D478BDB-445E-2EC5-5D0D-7A054AD9E052}"/>
              </a:ext>
            </a:extLst>
          </p:cNvPr>
          <p:cNvSpPr txBox="1"/>
          <p:nvPr/>
        </p:nvSpPr>
        <p:spPr bwMode="gray">
          <a:xfrm>
            <a:off x="6982900" y="2717809"/>
            <a:ext cx="374040" cy="215444"/>
          </a:xfrm>
          <a:prstGeom prst="rect">
            <a:avLst/>
          </a:prstGeom>
          <a:noFill/>
        </p:spPr>
        <p:txBody>
          <a:bodyPr wrap="none" lIns="0" tIns="0" rIns="0" bIns="0" rtlCol="0">
            <a:spAutoFit/>
          </a:bodyPr>
          <a:lstStyle/>
          <a:p>
            <a:pPr marL="0" indent="0" algn="l">
              <a:spcBef>
                <a:spcPts val="600"/>
              </a:spcBef>
              <a:spcAft>
                <a:spcPts val="600"/>
              </a:spcAft>
              <a:buNone/>
            </a:pPr>
            <a:r>
              <a:rPr lang="en-US" sz="1400" b="1"/>
              <a:t>2030</a:t>
            </a:r>
          </a:p>
        </p:txBody>
      </p:sp>
      <p:grpSp>
        <p:nvGrpSpPr>
          <p:cNvPr id="33" name="Group 32">
            <a:extLst>
              <a:ext uri="{FF2B5EF4-FFF2-40B4-BE49-F238E27FC236}">
                <a16:creationId xmlns:a16="http://schemas.microsoft.com/office/drawing/2014/main" id="{ACCC074F-44F2-889A-0484-F6BAAD7D0CFA}"/>
              </a:ext>
            </a:extLst>
          </p:cNvPr>
          <p:cNvGrpSpPr/>
          <p:nvPr/>
        </p:nvGrpSpPr>
        <p:grpSpPr>
          <a:xfrm>
            <a:off x="795251" y="1825062"/>
            <a:ext cx="1501236" cy="1124473"/>
            <a:chOff x="812315" y="1825062"/>
            <a:chExt cx="1595576" cy="1124473"/>
          </a:xfrm>
          <a:solidFill>
            <a:schemeClr val="accent6">
              <a:lumMod val="20000"/>
              <a:lumOff val="80000"/>
            </a:schemeClr>
          </a:solidFill>
        </p:grpSpPr>
        <p:sp>
          <p:nvSpPr>
            <p:cNvPr id="12" name="TextBox 11">
              <a:extLst>
                <a:ext uri="{FF2B5EF4-FFF2-40B4-BE49-F238E27FC236}">
                  <a16:creationId xmlns:a16="http://schemas.microsoft.com/office/drawing/2014/main" id="{095DD11F-D2E3-25F2-912E-AA45A343ACC7}"/>
                </a:ext>
              </a:extLst>
            </p:cNvPr>
            <p:cNvSpPr txBox="1"/>
            <p:nvPr/>
          </p:nvSpPr>
          <p:spPr bwMode="gray">
            <a:xfrm>
              <a:off x="812315" y="1828267"/>
              <a:ext cx="1595576" cy="769441"/>
            </a:xfrm>
            <a:prstGeom prst="rect">
              <a:avLst/>
            </a:prstGeom>
            <a:grpFill/>
          </p:spPr>
          <p:txBody>
            <a:bodyPr wrap="square" lIns="45720" tIns="45720" rIns="45720" bIns="45720" rtlCol="0">
              <a:spAutoFit/>
            </a:bodyPr>
            <a:lstStyle/>
            <a:p>
              <a:pPr marL="0" indent="0">
                <a:buNone/>
              </a:pPr>
              <a:r>
                <a:rPr lang="en-US" sz="1100" b="1" err="1">
                  <a:solidFill>
                    <a:schemeClr val="tx1"/>
                  </a:solidFill>
                </a:rPr>
                <a:t>TerraPower</a:t>
              </a:r>
              <a:r>
                <a:rPr lang="en-US" sz="1100" b="1">
                  <a:solidFill>
                    <a:schemeClr val="tx1"/>
                  </a:solidFill>
                </a:rPr>
                <a:t> founded </a:t>
              </a:r>
              <a:r>
                <a:rPr lang="en-US" sz="1100">
                  <a:solidFill>
                    <a:schemeClr val="tx1"/>
                  </a:solidFill>
                </a:rPr>
                <a:t>by Bill Gates to develop </a:t>
              </a:r>
              <a:r>
                <a:rPr lang="en-US" sz="1100" b="1">
                  <a:solidFill>
                    <a:schemeClr val="tx1"/>
                  </a:solidFill>
                </a:rPr>
                <a:t>advanced nuclear power</a:t>
              </a:r>
            </a:p>
          </p:txBody>
        </p:sp>
        <p:cxnSp>
          <p:nvCxnSpPr>
            <p:cNvPr id="22" name="Straight Connector 21">
              <a:extLst>
                <a:ext uri="{FF2B5EF4-FFF2-40B4-BE49-F238E27FC236}">
                  <a16:creationId xmlns:a16="http://schemas.microsoft.com/office/drawing/2014/main" id="{AE429184-8C7F-767A-7EF1-AE11C7066BB2}"/>
                </a:ext>
              </a:extLst>
            </p:cNvPr>
            <p:cNvCxnSpPr>
              <a:cxnSpLocks/>
              <a:stCxn id="26" idx="0"/>
            </p:cNvCxnSpPr>
            <p:nvPr/>
          </p:nvCxnSpPr>
          <p:spPr bwMode="gray">
            <a:xfrm flipV="1">
              <a:off x="812315" y="1825062"/>
              <a:ext cx="0" cy="1124473"/>
            </a:xfrm>
            <a:prstGeom prst="line">
              <a:avLst/>
            </a:prstGeom>
            <a:grpFill/>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24" name="Straight Connector 23">
            <a:extLst>
              <a:ext uri="{FF2B5EF4-FFF2-40B4-BE49-F238E27FC236}">
                <a16:creationId xmlns:a16="http://schemas.microsoft.com/office/drawing/2014/main" id="{848C3C06-3A04-E1DA-6746-40051BB25834}"/>
              </a:ext>
            </a:extLst>
          </p:cNvPr>
          <p:cNvCxnSpPr>
            <a:cxnSpLocks/>
          </p:cNvCxnSpPr>
          <p:nvPr/>
        </p:nvCxnSpPr>
        <p:spPr bwMode="gray">
          <a:xfrm flipV="1">
            <a:off x="1687311" y="3135620"/>
            <a:ext cx="0" cy="326100"/>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A971C655-52CF-D9F7-275A-46596F58E0D3}"/>
              </a:ext>
            </a:extLst>
          </p:cNvPr>
          <p:cNvGrpSpPr/>
          <p:nvPr/>
        </p:nvGrpSpPr>
        <p:grpSpPr>
          <a:xfrm>
            <a:off x="611892" y="3461720"/>
            <a:ext cx="2150838" cy="1107996"/>
            <a:chOff x="585435" y="3461720"/>
            <a:chExt cx="2286000" cy="1107996"/>
          </a:xfrm>
          <a:solidFill>
            <a:schemeClr val="accent6">
              <a:lumMod val="20000"/>
              <a:lumOff val="80000"/>
            </a:schemeClr>
          </a:solidFill>
        </p:grpSpPr>
        <p:sp>
          <p:nvSpPr>
            <p:cNvPr id="13" name="TextBox 12">
              <a:extLst>
                <a:ext uri="{FF2B5EF4-FFF2-40B4-BE49-F238E27FC236}">
                  <a16:creationId xmlns:a16="http://schemas.microsoft.com/office/drawing/2014/main" id="{DAE1D7BD-3132-9DC6-2BC9-AE3E20DB84A6}"/>
                </a:ext>
              </a:extLst>
            </p:cNvPr>
            <p:cNvSpPr txBox="1"/>
            <p:nvPr/>
          </p:nvSpPr>
          <p:spPr bwMode="gray">
            <a:xfrm>
              <a:off x="585435" y="3461720"/>
              <a:ext cx="2286000" cy="1107996"/>
            </a:xfrm>
            <a:prstGeom prst="rect">
              <a:avLst/>
            </a:prstGeom>
            <a:grpFill/>
          </p:spPr>
          <p:txBody>
            <a:bodyPr wrap="square" lIns="45720" tIns="45720" rIns="45720" bIns="45720" rtlCol="0">
              <a:spAutoFit/>
            </a:bodyPr>
            <a:lstStyle/>
            <a:p>
              <a:pPr marL="0" indent="0" algn="ctr">
                <a:buNone/>
              </a:pPr>
              <a:r>
                <a:rPr lang="en-US" sz="1100">
                  <a:solidFill>
                    <a:schemeClr val="tx1"/>
                  </a:solidFill>
                </a:rPr>
                <a:t>For its first years, </a:t>
              </a:r>
              <a:r>
                <a:rPr lang="en-US" sz="1100" err="1">
                  <a:solidFill>
                    <a:schemeClr val="tx1"/>
                  </a:solidFill>
                </a:rPr>
                <a:t>TerraPower</a:t>
              </a:r>
              <a:r>
                <a:rPr lang="en-US" sz="1100">
                  <a:solidFill>
                    <a:schemeClr val="tx1"/>
                  </a:solidFill>
                </a:rPr>
                <a:t> focused on a </a:t>
              </a:r>
              <a:r>
                <a:rPr lang="en-US" sz="1100" b="1">
                  <a:solidFill>
                    <a:schemeClr val="tx1"/>
                  </a:solidFill>
                </a:rPr>
                <a:t>traveling wave reactor (TWR)</a:t>
              </a:r>
              <a:r>
                <a:rPr lang="en-US" sz="1100">
                  <a:solidFill>
                    <a:schemeClr val="tx1"/>
                  </a:solidFill>
                </a:rPr>
                <a:t>, which has much higher fuel efficiency, theoretically requiring no fuel replacements for its lifetime</a:t>
              </a:r>
            </a:p>
          </p:txBody>
        </p:sp>
        <p:cxnSp>
          <p:nvCxnSpPr>
            <p:cNvPr id="29" name="Straight Connector 28">
              <a:extLst>
                <a:ext uri="{FF2B5EF4-FFF2-40B4-BE49-F238E27FC236}">
                  <a16:creationId xmlns:a16="http://schemas.microsoft.com/office/drawing/2014/main" id="{015903D7-B9C3-19F7-6A4B-0DDB09837D48}"/>
                </a:ext>
              </a:extLst>
            </p:cNvPr>
            <p:cNvCxnSpPr>
              <a:cxnSpLocks/>
            </p:cNvCxnSpPr>
            <p:nvPr/>
          </p:nvCxnSpPr>
          <p:spPr bwMode="gray">
            <a:xfrm flipH="1">
              <a:off x="585435" y="3461720"/>
              <a:ext cx="2286000" cy="0"/>
            </a:xfrm>
            <a:prstGeom prst="line">
              <a:avLst/>
            </a:prstGeom>
            <a:grpFill/>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1F07B4A9-1DE5-0213-2695-BA52E8053D02}"/>
              </a:ext>
            </a:extLst>
          </p:cNvPr>
          <p:cNvGrpSpPr/>
          <p:nvPr/>
        </p:nvGrpSpPr>
        <p:grpSpPr>
          <a:xfrm>
            <a:off x="2605817" y="1828267"/>
            <a:ext cx="1501236" cy="1124473"/>
            <a:chOff x="2736660" y="1828267"/>
            <a:chExt cx="1595576" cy="1124473"/>
          </a:xfrm>
          <a:solidFill>
            <a:schemeClr val="accent6">
              <a:lumMod val="20000"/>
              <a:lumOff val="80000"/>
            </a:schemeClr>
          </a:solidFill>
        </p:grpSpPr>
        <p:sp>
          <p:nvSpPr>
            <p:cNvPr id="14" name="TextBox 13">
              <a:extLst>
                <a:ext uri="{FF2B5EF4-FFF2-40B4-BE49-F238E27FC236}">
                  <a16:creationId xmlns:a16="http://schemas.microsoft.com/office/drawing/2014/main" id="{F84BB0CB-3D76-CF26-E8FD-D21DBF479F21}"/>
                </a:ext>
              </a:extLst>
            </p:cNvPr>
            <p:cNvSpPr txBox="1"/>
            <p:nvPr/>
          </p:nvSpPr>
          <p:spPr bwMode="gray">
            <a:xfrm>
              <a:off x="2736660" y="1828267"/>
              <a:ext cx="1595576" cy="769441"/>
            </a:xfrm>
            <a:prstGeom prst="rect">
              <a:avLst/>
            </a:prstGeom>
            <a:grpFill/>
          </p:spPr>
          <p:txBody>
            <a:bodyPr wrap="square" lIns="45720" tIns="45720" rIns="45720" bIns="45720" rtlCol="0">
              <a:spAutoFit/>
            </a:bodyPr>
            <a:lstStyle/>
            <a:p>
              <a:pPr marL="0" indent="0">
                <a:buNone/>
              </a:pPr>
              <a:r>
                <a:rPr lang="en-US" sz="1100">
                  <a:solidFill>
                    <a:schemeClr val="tx1"/>
                  </a:solidFill>
                </a:rPr>
                <a:t>Starts a </a:t>
              </a:r>
              <a:r>
                <a:rPr lang="en-US" sz="1100" b="1">
                  <a:solidFill>
                    <a:schemeClr val="tx1"/>
                  </a:solidFill>
                </a:rPr>
                <a:t>JV with Chinese CNNC </a:t>
              </a:r>
              <a:r>
                <a:rPr lang="en-US" sz="1100">
                  <a:solidFill>
                    <a:schemeClr val="tx1"/>
                  </a:solidFill>
                </a:rPr>
                <a:t>to build a 600 MW TWR prototype in </a:t>
              </a:r>
              <a:r>
                <a:rPr lang="en-US" sz="1100" b="1">
                  <a:solidFill>
                    <a:schemeClr val="tx1"/>
                  </a:solidFill>
                </a:rPr>
                <a:t>China</a:t>
              </a:r>
            </a:p>
          </p:txBody>
        </p:sp>
        <p:cxnSp>
          <p:nvCxnSpPr>
            <p:cNvPr id="34" name="Straight Connector 33">
              <a:extLst>
                <a:ext uri="{FF2B5EF4-FFF2-40B4-BE49-F238E27FC236}">
                  <a16:creationId xmlns:a16="http://schemas.microsoft.com/office/drawing/2014/main" id="{3BC70D62-6796-DD1C-86FB-B1D772E02184}"/>
                </a:ext>
              </a:extLst>
            </p:cNvPr>
            <p:cNvCxnSpPr>
              <a:cxnSpLocks/>
            </p:cNvCxnSpPr>
            <p:nvPr/>
          </p:nvCxnSpPr>
          <p:spPr bwMode="gray">
            <a:xfrm flipV="1">
              <a:off x="2736660" y="1828267"/>
              <a:ext cx="0" cy="1124473"/>
            </a:xfrm>
            <a:prstGeom prst="line">
              <a:avLst/>
            </a:prstGeom>
            <a:grpFill/>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49" name="Straight Connector 48">
            <a:extLst>
              <a:ext uri="{FF2B5EF4-FFF2-40B4-BE49-F238E27FC236}">
                <a16:creationId xmlns:a16="http://schemas.microsoft.com/office/drawing/2014/main" id="{69B5639F-DBB7-C38B-38C5-212D9552B4DC}"/>
              </a:ext>
            </a:extLst>
          </p:cNvPr>
          <p:cNvCxnSpPr>
            <a:cxnSpLocks/>
            <a:endCxn id="36" idx="4"/>
          </p:cNvCxnSpPr>
          <p:nvPr/>
        </p:nvCxnSpPr>
        <p:spPr bwMode="gray">
          <a:xfrm flipV="1">
            <a:off x="3494102" y="3132415"/>
            <a:ext cx="3499" cy="310055"/>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F0B22EB-ECB2-927A-FDB8-F23D2E943659}"/>
              </a:ext>
            </a:extLst>
          </p:cNvPr>
          <p:cNvSpPr txBox="1"/>
          <p:nvPr/>
        </p:nvSpPr>
        <p:spPr bwMode="gray">
          <a:xfrm>
            <a:off x="2980350" y="3461721"/>
            <a:ext cx="1032402" cy="1107996"/>
          </a:xfrm>
          <a:prstGeom prst="rect">
            <a:avLst/>
          </a:prstGeom>
          <a:solidFill>
            <a:schemeClr val="accent6">
              <a:lumMod val="20000"/>
              <a:lumOff val="80000"/>
            </a:schemeClr>
          </a:solidFill>
        </p:spPr>
        <p:txBody>
          <a:bodyPr wrap="square" lIns="45720" tIns="45720" rIns="45720" bIns="45720" rtlCol="0">
            <a:noAutofit/>
          </a:bodyPr>
          <a:lstStyle/>
          <a:p>
            <a:pPr marL="0" indent="0" algn="ctr">
              <a:buNone/>
            </a:pPr>
            <a:r>
              <a:rPr lang="en-US" sz="1100">
                <a:solidFill>
                  <a:schemeClr val="tx1"/>
                </a:solidFill>
              </a:rPr>
              <a:t>The U.S. </a:t>
            </a:r>
            <a:r>
              <a:rPr lang="en-US" sz="1100" b="1">
                <a:solidFill>
                  <a:schemeClr val="tx1"/>
                </a:solidFill>
              </a:rPr>
              <a:t>stops all partnerships </a:t>
            </a:r>
            <a:r>
              <a:rPr lang="en-US" sz="1100">
                <a:solidFill>
                  <a:schemeClr val="tx1"/>
                </a:solidFill>
              </a:rPr>
              <a:t>with China on nuclear, </a:t>
            </a:r>
            <a:r>
              <a:rPr lang="en-US" sz="1100" b="1">
                <a:solidFill>
                  <a:schemeClr val="tx1"/>
                </a:solidFill>
              </a:rPr>
              <a:t>killing the JV</a:t>
            </a:r>
          </a:p>
        </p:txBody>
      </p:sp>
      <p:cxnSp>
        <p:nvCxnSpPr>
          <p:cNvPr id="72" name="Straight Connector 71">
            <a:extLst>
              <a:ext uri="{FF2B5EF4-FFF2-40B4-BE49-F238E27FC236}">
                <a16:creationId xmlns:a16="http://schemas.microsoft.com/office/drawing/2014/main" id="{5C8F2F1D-39F7-09C7-C568-81F398E2F7D3}"/>
              </a:ext>
            </a:extLst>
          </p:cNvPr>
          <p:cNvCxnSpPr>
            <a:cxnSpLocks/>
          </p:cNvCxnSpPr>
          <p:nvPr/>
        </p:nvCxnSpPr>
        <p:spPr bwMode="gray">
          <a:xfrm flipH="1">
            <a:off x="2980350" y="3461720"/>
            <a:ext cx="1032402" cy="0"/>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A7E61E7E-C70B-B026-F0CE-9D6F2DE9CBFA}"/>
              </a:ext>
            </a:extLst>
          </p:cNvPr>
          <p:cNvGrpSpPr/>
          <p:nvPr/>
        </p:nvGrpSpPr>
        <p:grpSpPr>
          <a:xfrm>
            <a:off x="4410411" y="1828267"/>
            <a:ext cx="1501684" cy="1124473"/>
            <a:chOff x="4654657" y="1828267"/>
            <a:chExt cx="1596052" cy="1124473"/>
          </a:xfrm>
          <a:solidFill>
            <a:schemeClr val="accent6">
              <a:lumMod val="20000"/>
              <a:lumOff val="80000"/>
            </a:schemeClr>
          </a:solidFill>
        </p:grpSpPr>
        <p:sp>
          <p:nvSpPr>
            <p:cNvPr id="16" name="TextBox 15">
              <a:extLst>
                <a:ext uri="{FF2B5EF4-FFF2-40B4-BE49-F238E27FC236}">
                  <a16:creationId xmlns:a16="http://schemas.microsoft.com/office/drawing/2014/main" id="{33CAC92B-A9E7-EB85-17F6-BCD61DF5D85B}"/>
                </a:ext>
              </a:extLst>
            </p:cNvPr>
            <p:cNvSpPr txBox="1"/>
            <p:nvPr/>
          </p:nvSpPr>
          <p:spPr bwMode="gray">
            <a:xfrm>
              <a:off x="4655133" y="1828267"/>
              <a:ext cx="1595576" cy="769441"/>
            </a:xfrm>
            <a:prstGeom prst="rect">
              <a:avLst/>
            </a:prstGeom>
            <a:grpFill/>
          </p:spPr>
          <p:txBody>
            <a:bodyPr wrap="square" lIns="45720" tIns="45720" rIns="45720" bIns="45720" rtlCol="0">
              <a:spAutoFit/>
            </a:bodyPr>
            <a:lstStyle/>
            <a:p>
              <a:pPr marL="0" indent="0">
                <a:buNone/>
              </a:pPr>
              <a:r>
                <a:rPr lang="en-US" sz="1100">
                  <a:solidFill>
                    <a:schemeClr val="tx1"/>
                  </a:solidFill>
                </a:rPr>
                <a:t>Pivots to developing a </a:t>
              </a:r>
              <a:r>
                <a:rPr lang="en-US" sz="1100" err="1">
                  <a:solidFill>
                    <a:schemeClr val="tx1"/>
                  </a:solidFill>
                </a:rPr>
                <a:t>a</a:t>
              </a:r>
              <a:r>
                <a:rPr lang="en-US" sz="1100">
                  <a:solidFill>
                    <a:schemeClr val="tx1"/>
                  </a:solidFill>
                </a:rPr>
                <a:t> </a:t>
              </a:r>
              <a:r>
                <a:rPr lang="en-US" sz="1100" b="1">
                  <a:solidFill>
                    <a:schemeClr val="tx1"/>
                  </a:solidFill>
                </a:rPr>
                <a:t>natrium reactor </a:t>
              </a:r>
              <a:r>
                <a:rPr lang="en-US" sz="1100">
                  <a:solidFill>
                    <a:schemeClr val="tx1"/>
                  </a:solidFill>
                </a:rPr>
                <a:t>together with </a:t>
              </a:r>
              <a:r>
                <a:rPr lang="en-US" sz="1100" b="1">
                  <a:solidFill>
                    <a:schemeClr val="tx1"/>
                  </a:solidFill>
                </a:rPr>
                <a:t>GE Hitachi</a:t>
              </a:r>
            </a:p>
          </p:txBody>
        </p:sp>
        <p:cxnSp>
          <p:nvCxnSpPr>
            <p:cNvPr id="76" name="Straight Connector 75">
              <a:extLst>
                <a:ext uri="{FF2B5EF4-FFF2-40B4-BE49-F238E27FC236}">
                  <a16:creationId xmlns:a16="http://schemas.microsoft.com/office/drawing/2014/main" id="{EC6B73A9-8B6E-C13A-A423-36CC927F7375}"/>
                </a:ext>
              </a:extLst>
            </p:cNvPr>
            <p:cNvCxnSpPr>
              <a:cxnSpLocks/>
            </p:cNvCxnSpPr>
            <p:nvPr/>
          </p:nvCxnSpPr>
          <p:spPr bwMode="gray">
            <a:xfrm flipV="1">
              <a:off x="4654657" y="1828267"/>
              <a:ext cx="0" cy="1124473"/>
            </a:xfrm>
            <a:prstGeom prst="line">
              <a:avLst/>
            </a:prstGeom>
            <a:grpFill/>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80" name="Group 79">
            <a:extLst>
              <a:ext uri="{FF2B5EF4-FFF2-40B4-BE49-F238E27FC236}">
                <a16:creationId xmlns:a16="http://schemas.microsoft.com/office/drawing/2014/main" id="{CC8C5C5A-0264-D060-E594-D3CD20626945}"/>
              </a:ext>
            </a:extLst>
          </p:cNvPr>
          <p:cNvGrpSpPr/>
          <p:nvPr/>
        </p:nvGrpSpPr>
        <p:grpSpPr>
          <a:xfrm>
            <a:off x="4348300" y="3132415"/>
            <a:ext cx="962702" cy="1294450"/>
            <a:chOff x="4588643" y="3132415"/>
            <a:chExt cx="1023200" cy="1294450"/>
          </a:xfrm>
          <a:solidFill>
            <a:schemeClr val="accent6">
              <a:lumMod val="20000"/>
              <a:lumOff val="80000"/>
            </a:schemeClr>
          </a:solidFill>
        </p:grpSpPr>
        <p:sp>
          <p:nvSpPr>
            <p:cNvPr id="17" name="TextBox 16">
              <a:extLst>
                <a:ext uri="{FF2B5EF4-FFF2-40B4-BE49-F238E27FC236}">
                  <a16:creationId xmlns:a16="http://schemas.microsoft.com/office/drawing/2014/main" id="{DEF3AE20-DAB4-012A-536A-1F306191A6DB}"/>
                </a:ext>
              </a:extLst>
            </p:cNvPr>
            <p:cNvSpPr txBox="1"/>
            <p:nvPr/>
          </p:nvSpPr>
          <p:spPr bwMode="gray">
            <a:xfrm>
              <a:off x="4588643" y="3488146"/>
              <a:ext cx="1023200" cy="938719"/>
            </a:xfrm>
            <a:prstGeom prst="rect">
              <a:avLst/>
            </a:prstGeom>
            <a:grpFill/>
          </p:spPr>
          <p:txBody>
            <a:bodyPr wrap="square" lIns="45720" tIns="45720" rIns="45720" bIns="45720" rtlCol="0">
              <a:spAutoFit/>
            </a:bodyPr>
            <a:lstStyle/>
            <a:p>
              <a:pPr marL="0" indent="0">
                <a:buNone/>
              </a:pPr>
              <a:r>
                <a:rPr lang="en-US" sz="1100">
                  <a:solidFill>
                    <a:schemeClr val="tx1"/>
                  </a:solidFill>
                </a:rPr>
                <a:t>Selects Kemmerer, </a:t>
              </a:r>
              <a:r>
                <a:rPr lang="en-US" sz="1100" b="1">
                  <a:solidFill>
                    <a:schemeClr val="tx1"/>
                  </a:solidFill>
                </a:rPr>
                <a:t>Wyoming,</a:t>
              </a:r>
              <a:r>
                <a:rPr lang="en-US" sz="1100">
                  <a:solidFill>
                    <a:schemeClr val="tx1"/>
                  </a:solidFill>
                </a:rPr>
                <a:t> as its </a:t>
              </a:r>
              <a:r>
                <a:rPr lang="en-US" sz="1100" b="1">
                  <a:solidFill>
                    <a:schemeClr val="tx1"/>
                  </a:solidFill>
                </a:rPr>
                <a:t>first reactor site</a:t>
              </a:r>
            </a:p>
          </p:txBody>
        </p:sp>
        <p:cxnSp>
          <p:nvCxnSpPr>
            <p:cNvPr id="78" name="Straight Connector 77">
              <a:extLst>
                <a:ext uri="{FF2B5EF4-FFF2-40B4-BE49-F238E27FC236}">
                  <a16:creationId xmlns:a16="http://schemas.microsoft.com/office/drawing/2014/main" id="{5D5ED83D-2F59-5CDF-9076-D6651AAA7F2D}"/>
                </a:ext>
              </a:extLst>
            </p:cNvPr>
            <p:cNvCxnSpPr>
              <a:cxnSpLocks/>
            </p:cNvCxnSpPr>
            <p:nvPr/>
          </p:nvCxnSpPr>
          <p:spPr bwMode="gray">
            <a:xfrm flipV="1">
              <a:off x="5611843" y="3132415"/>
              <a:ext cx="0" cy="1294450"/>
            </a:xfrm>
            <a:prstGeom prst="line">
              <a:avLst/>
            </a:prstGeom>
            <a:grpFill/>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E9D12284-EA05-6400-E9C5-C99CF57A87AE}"/>
              </a:ext>
            </a:extLst>
          </p:cNvPr>
          <p:cNvSpPr txBox="1"/>
          <p:nvPr/>
        </p:nvSpPr>
        <p:spPr bwMode="gray">
          <a:xfrm>
            <a:off x="5571930" y="3461721"/>
            <a:ext cx="1032402" cy="1107996"/>
          </a:xfrm>
          <a:prstGeom prst="rect">
            <a:avLst/>
          </a:prstGeom>
          <a:solidFill>
            <a:schemeClr val="accent6">
              <a:lumMod val="20000"/>
              <a:lumOff val="80000"/>
            </a:schemeClr>
          </a:solidFill>
        </p:spPr>
        <p:txBody>
          <a:bodyPr wrap="square" lIns="45720" tIns="45720" rIns="45720" bIns="45720" rtlCol="0">
            <a:noAutofit/>
          </a:bodyPr>
          <a:lstStyle/>
          <a:p>
            <a:pPr marL="0" indent="0">
              <a:buNone/>
            </a:pPr>
            <a:r>
              <a:rPr lang="en-US" sz="1100" b="1">
                <a:solidFill>
                  <a:schemeClr val="tx1"/>
                </a:solidFill>
              </a:rPr>
              <a:t>Breaks ground </a:t>
            </a:r>
            <a:r>
              <a:rPr lang="en-US" sz="1100">
                <a:solidFill>
                  <a:schemeClr val="tx1"/>
                </a:solidFill>
              </a:rPr>
              <a:t>in Wyoming for the 345MW, $4 billion FOAK reactor</a:t>
            </a:r>
          </a:p>
        </p:txBody>
      </p:sp>
      <p:cxnSp>
        <p:nvCxnSpPr>
          <p:cNvPr id="81" name="Straight Connector 80">
            <a:extLst>
              <a:ext uri="{FF2B5EF4-FFF2-40B4-BE49-F238E27FC236}">
                <a16:creationId xmlns:a16="http://schemas.microsoft.com/office/drawing/2014/main" id="{99BE1557-8380-B946-F02F-177374C40B14}"/>
              </a:ext>
            </a:extLst>
          </p:cNvPr>
          <p:cNvCxnSpPr>
            <a:cxnSpLocks/>
          </p:cNvCxnSpPr>
          <p:nvPr/>
        </p:nvCxnSpPr>
        <p:spPr bwMode="gray">
          <a:xfrm flipV="1">
            <a:off x="6235693" y="3386244"/>
            <a:ext cx="0" cy="72264"/>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F9E27E9-60D6-95D3-AD0A-E59B8AF7A9B8}"/>
              </a:ext>
            </a:extLst>
          </p:cNvPr>
          <p:cNvCxnSpPr>
            <a:cxnSpLocks/>
          </p:cNvCxnSpPr>
          <p:nvPr/>
        </p:nvCxnSpPr>
        <p:spPr bwMode="gray">
          <a:xfrm flipH="1">
            <a:off x="5571930" y="3461720"/>
            <a:ext cx="1032402" cy="0"/>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2B0703DB-8B8A-0796-A0D0-67DA06D7409E}"/>
              </a:ext>
            </a:extLst>
          </p:cNvPr>
          <p:cNvGrpSpPr/>
          <p:nvPr/>
        </p:nvGrpSpPr>
        <p:grpSpPr>
          <a:xfrm>
            <a:off x="6226953" y="1458935"/>
            <a:ext cx="1502133" cy="1490600"/>
            <a:chOff x="6585353" y="1458935"/>
            <a:chExt cx="1596529" cy="1490600"/>
          </a:xfrm>
          <a:solidFill>
            <a:schemeClr val="accent6">
              <a:lumMod val="20000"/>
              <a:lumOff val="80000"/>
            </a:schemeClr>
          </a:solidFill>
        </p:grpSpPr>
        <p:sp>
          <p:nvSpPr>
            <p:cNvPr id="19" name="TextBox 18">
              <a:extLst>
                <a:ext uri="{FF2B5EF4-FFF2-40B4-BE49-F238E27FC236}">
                  <a16:creationId xmlns:a16="http://schemas.microsoft.com/office/drawing/2014/main" id="{A5E82EE2-7CC7-F937-20F2-9BF3D388BB9B}"/>
                </a:ext>
              </a:extLst>
            </p:cNvPr>
            <p:cNvSpPr txBox="1"/>
            <p:nvPr/>
          </p:nvSpPr>
          <p:spPr bwMode="gray">
            <a:xfrm>
              <a:off x="6586306" y="1458935"/>
              <a:ext cx="1595576" cy="1107996"/>
            </a:xfrm>
            <a:prstGeom prst="rect">
              <a:avLst/>
            </a:prstGeom>
            <a:grpFill/>
          </p:spPr>
          <p:txBody>
            <a:bodyPr wrap="square" lIns="45720" tIns="45720" rIns="45720" bIns="45720" rtlCol="0">
              <a:spAutoFit/>
            </a:bodyPr>
            <a:lstStyle/>
            <a:p>
              <a:pPr marL="0" indent="0">
                <a:buNone/>
              </a:pPr>
              <a:r>
                <a:rPr lang="en-US" sz="1100" b="1" err="1">
                  <a:solidFill>
                    <a:schemeClr val="tx1"/>
                  </a:solidFill>
                </a:rPr>
                <a:t>TerraPower</a:t>
              </a:r>
              <a:r>
                <a:rPr lang="en-US" sz="1100" b="1">
                  <a:solidFill>
                    <a:schemeClr val="tx1"/>
                  </a:solidFill>
                </a:rPr>
                <a:t> Isotopes </a:t>
              </a:r>
              <a:r>
                <a:rPr lang="en-US" sz="1100">
                  <a:solidFill>
                    <a:schemeClr val="tx1"/>
                  </a:solidFill>
                </a:rPr>
                <a:t>starts commercial-scale production of actinium, which is used in clinical trials for cancer research</a:t>
              </a:r>
            </a:p>
          </p:txBody>
        </p:sp>
        <p:cxnSp>
          <p:nvCxnSpPr>
            <p:cNvPr id="88" name="Straight Connector 87">
              <a:extLst>
                <a:ext uri="{FF2B5EF4-FFF2-40B4-BE49-F238E27FC236}">
                  <a16:creationId xmlns:a16="http://schemas.microsoft.com/office/drawing/2014/main" id="{1BEFF3FA-7921-A27C-9083-BD8904A7001B}"/>
                </a:ext>
              </a:extLst>
            </p:cNvPr>
            <p:cNvCxnSpPr>
              <a:cxnSpLocks/>
            </p:cNvCxnSpPr>
            <p:nvPr/>
          </p:nvCxnSpPr>
          <p:spPr bwMode="gray">
            <a:xfrm flipV="1">
              <a:off x="6585353" y="1458935"/>
              <a:ext cx="0" cy="1490600"/>
            </a:xfrm>
            <a:prstGeom prst="line">
              <a:avLst/>
            </a:prstGeom>
            <a:grpFill/>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01" name="Group 100">
            <a:extLst>
              <a:ext uri="{FF2B5EF4-FFF2-40B4-BE49-F238E27FC236}">
                <a16:creationId xmlns:a16="http://schemas.microsoft.com/office/drawing/2014/main" id="{4C2E700F-C0FC-B08E-31A2-E07FCE23A6FC}"/>
              </a:ext>
            </a:extLst>
          </p:cNvPr>
          <p:cNvGrpSpPr/>
          <p:nvPr/>
        </p:nvGrpSpPr>
        <p:grpSpPr>
          <a:xfrm>
            <a:off x="6762437" y="3132415"/>
            <a:ext cx="946369" cy="1463727"/>
            <a:chOff x="7154488" y="3132415"/>
            <a:chExt cx="1005840" cy="1463727"/>
          </a:xfrm>
          <a:solidFill>
            <a:schemeClr val="accent6">
              <a:lumMod val="20000"/>
              <a:lumOff val="80000"/>
            </a:schemeClr>
          </a:solidFill>
        </p:grpSpPr>
        <p:sp>
          <p:nvSpPr>
            <p:cNvPr id="18" name="TextBox 17">
              <a:extLst>
                <a:ext uri="{FF2B5EF4-FFF2-40B4-BE49-F238E27FC236}">
                  <a16:creationId xmlns:a16="http://schemas.microsoft.com/office/drawing/2014/main" id="{17530BFE-DDDF-AC22-B367-73668C528592}"/>
                </a:ext>
              </a:extLst>
            </p:cNvPr>
            <p:cNvSpPr txBox="1"/>
            <p:nvPr/>
          </p:nvSpPr>
          <p:spPr bwMode="gray">
            <a:xfrm>
              <a:off x="7154488" y="3488146"/>
              <a:ext cx="1005840" cy="1107996"/>
            </a:xfrm>
            <a:prstGeom prst="rect">
              <a:avLst/>
            </a:prstGeom>
            <a:grpFill/>
          </p:spPr>
          <p:txBody>
            <a:bodyPr wrap="square" lIns="45720" tIns="45720" rIns="45720" bIns="45720" rtlCol="0">
              <a:spAutoFit/>
            </a:bodyPr>
            <a:lstStyle/>
            <a:p>
              <a:pPr marL="0" indent="0" algn="ctr">
                <a:buNone/>
              </a:pPr>
              <a:r>
                <a:rPr lang="en-US" sz="1100">
                  <a:solidFill>
                    <a:schemeClr val="tx1"/>
                  </a:solidFill>
                </a:rPr>
                <a:t>The Wyoming plant</a:t>
              </a:r>
              <a:r>
                <a:rPr lang="en-US" sz="1100"/>
                <a:t> to</a:t>
              </a:r>
              <a:r>
                <a:rPr lang="en-US" sz="1100">
                  <a:solidFill>
                    <a:schemeClr val="tx1"/>
                  </a:solidFill>
                </a:rPr>
                <a:t> deliver its first power to the market</a:t>
              </a:r>
            </a:p>
          </p:txBody>
        </p:sp>
        <p:grpSp>
          <p:nvGrpSpPr>
            <p:cNvPr id="100" name="Group 99">
              <a:extLst>
                <a:ext uri="{FF2B5EF4-FFF2-40B4-BE49-F238E27FC236}">
                  <a16:creationId xmlns:a16="http://schemas.microsoft.com/office/drawing/2014/main" id="{26495366-0FF0-B5F4-3B51-D6465F02076D}"/>
                </a:ext>
              </a:extLst>
            </p:cNvPr>
            <p:cNvGrpSpPr/>
            <p:nvPr/>
          </p:nvGrpSpPr>
          <p:grpSpPr>
            <a:xfrm>
              <a:off x="7154488" y="3132415"/>
              <a:ext cx="1005840" cy="355731"/>
              <a:chOff x="7154488" y="3132415"/>
              <a:chExt cx="1005840" cy="355731"/>
            </a:xfrm>
            <a:grpFill/>
          </p:grpSpPr>
          <p:cxnSp>
            <p:nvCxnSpPr>
              <p:cNvPr id="96" name="Straight Connector 95">
                <a:extLst>
                  <a:ext uri="{FF2B5EF4-FFF2-40B4-BE49-F238E27FC236}">
                    <a16:creationId xmlns:a16="http://schemas.microsoft.com/office/drawing/2014/main" id="{68890158-C83F-101C-5E69-5ED57D0E43B0}"/>
                  </a:ext>
                </a:extLst>
              </p:cNvPr>
              <p:cNvCxnSpPr>
                <a:cxnSpLocks/>
                <a:endCxn id="6" idx="4"/>
              </p:cNvCxnSpPr>
              <p:nvPr/>
            </p:nvCxnSpPr>
            <p:spPr bwMode="gray">
              <a:xfrm flipV="1">
                <a:off x="7547523" y="3132415"/>
                <a:ext cx="0" cy="347385"/>
              </a:xfrm>
              <a:prstGeom prst="line">
                <a:avLst/>
              </a:prstGeom>
              <a:grpFill/>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1AFBF7DE-B340-750A-056F-99F0FCD878CE}"/>
                  </a:ext>
                </a:extLst>
              </p:cNvPr>
              <p:cNvCxnSpPr>
                <a:cxnSpLocks/>
              </p:cNvCxnSpPr>
              <p:nvPr/>
            </p:nvCxnSpPr>
            <p:spPr bwMode="gray">
              <a:xfrm flipH="1">
                <a:off x="7154488" y="3488146"/>
                <a:ext cx="1005840" cy="0"/>
              </a:xfrm>
              <a:prstGeom prst="line">
                <a:avLst/>
              </a:prstGeom>
              <a:grpFill/>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pic>
        <p:nvPicPr>
          <p:cNvPr id="1026" name="Picture 2" descr="TerraPower - Wikipedia">
            <a:extLst>
              <a:ext uri="{FF2B5EF4-FFF2-40B4-BE49-F238E27FC236}">
                <a16:creationId xmlns:a16="http://schemas.microsoft.com/office/drawing/2014/main" id="{50329C3F-6EC6-0BA5-A6DC-EB5817927082}"/>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10395410" y="872325"/>
            <a:ext cx="1576296" cy="5601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TerraPower Natrium | Advanced Nuclear Energy">
            <a:extLst>
              <a:ext uri="{FF2B5EF4-FFF2-40B4-BE49-F238E27FC236}">
                <a16:creationId xmlns:a16="http://schemas.microsoft.com/office/drawing/2014/main" id="{6ECDACF0-0D59-94AF-3B02-37ECE46B5925}"/>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8844696" y="4672711"/>
            <a:ext cx="2233794" cy="119786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1" name="TextBox 120">
            <a:extLst>
              <a:ext uri="{FF2B5EF4-FFF2-40B4-BE49-F238E27FC236}">
                <a16:creationId xmlns:a16="http://schemas.microsoft.com/office/drawing/2014/main" id="{0DCE7BD3-66A7-56E3-8FB5-C90B9F94D84D}"/>
              </a:ext>
            </a:extLst>
          </p:cNvPr>
          <p:cNvSpPr txBox="1"/>
          <p:nvPr/>
        </p:nvSpPr>
        <p:spPr bwMode="gray">
          <a:xfrm>
            <a:off x="9421124" y="4709062"/>
            <a:ext cx="946369" cy="261610"/>
          </a:xfrm>
          <a:prstGeom prst="rect">
            <a:avLst/>
          </a:prstGeom>
          <a:solidFill>
            <a:schemeClr val="bg1"/>
          </a:solidFill>
        </p:spPr>
        <p:txBody>
          <a:bodyPr wrap="square" lIns="45720" tIns="45720" rIns="45720" bIns="45720" rtlCol="0">
            <a:spAutoFit/>
          </a:bodyPr>
          <a:lstStyle/>
          <a:p>
            <a:pPr marL="0" indent="0" algn="ctr">
              <a:buNone/>
            </a:pPr>
            <a:r>
              <a:rPr lang="en-US" sz="1100">
                <a:solidFill>
                  <a:schemeClr val="tx1"/>
                </a:solidFill>
              </a:rPr>
              <a:t>Energy island</a:t>
            </a:r>
          </a:p>
        </p:txBody>
      </p:sp>
      <p:sp>
        <p:nvSpPr>
          <p:cNvPr id="122" name="TextBox 121">
            <a:extLst>
              <a:ext uri="{FF2B5EF4-FFF2-40B4-BE49-F238E27FC236}">
                <a16:creationId xmlns:a16="http://schemas.microsoft.com/office/drawing/2014/main" id="{92976958-0FA8-F8C2-2862-6F98FDD81EA8}"/>
              </a:ext>
            </a:extLst>
          </p:cNvPr>
          <p:cNvSpPr txBox="1"/>
          <p:nvPr/>
        </p:nvSpPr>
        <p:spPr bwMode="gray">
          <a:xfrm>
            <a:off x="9842600" y="5586413"/>
            <a:ext cx="1041006" cy="261610"/>
          </a:xfrm>
          <a:prstGeom prst="rect">
            <a:avLst/>
          </a:prstGeom>
          <a:solidFill>
            <a:srgbClr val="0877AD"/>
          </a:solidFill>
        </p:spPr>
        <p:txBody>
          <a:bodyPr wrap="square" lIns="45720" tIns="45720" rIns="45720" bIns="45720" rtlCol="0">
            <a:spAutoFit/>
          </a:bodyPr>
          <a:lstStyle/>
          <a:p>
            <a:pPr marL="0" indent="0" algn="ctr">
              <a:buNone/>
            </a:pPr>
            <a:r>
              <a:rPr lang="en-US" sz="1100">
                <a:solidFill>
                  <a:srgbClr val="FFFFFF"/>
                </a:solidFill>
              </a:rPr>
              <a:t>Nuclear island</a:t>
            </a:r>
          </a:p>
        </p:txBody>
      </p:sp>
      <p:sp>
        <p:nvSpPr>
          <p:cNvPr id="123" name="TextBox 122">
            <a:extLst>
              <a:ext uri="{FF2B5EF4-FFF2-40B4-BE49-F238E27FC236}">
                <a16:creationId xmlns:a16="http://schemas.microsoft.com/office/drawing/2014/main" id="{6F6F9B8F-677D-9D1D-A64F-4672D549F421}"/>
              </a:ext>
            </a:extLst>
          </p:cNvPr>
          <p:cNvSpPr txBox="1"/>
          <p:nvPr/>
        </p:nvSpPr>
        <p:spPr bwMode="gray">
          <a:xfrm>
            <a:off x="3447153" y="4728029"/>
            <a:ext cx="4281933" cy="1294450"/>
          </a:xfrm>
          <a:prstGeom prst="rect">
            <a:avLst/>
          </a:prstGeom>
          <a:noFill/>
        </p:spPr>
        <p:txBody>
          <a:bodyPr wrap="square" lIns="45720" tIns="45720" rIns="45720" bIns="45720" rtlCol="0">
            <a:noAutofit/>
          </a:bodyPr>
          <a:lstStyle/>
          <a:p>
            <a:pPr marL="171450" indent="-171450">
              <a:buFont typeface="Arial" panose="020B0604020202020204" pitchFamily="34" charset="0"/>
              <a:buChar char="•"/>
            </a:pPr>
            <a:r>
              <a:rPr lang="en-US" sz="1100"/>
              <a:t>The $4 billion Wyoming plant is a first of a kind (</a:t>
            </a:r>
            <a:r>
              <a:rPr lang="en-US" sz="1100" b="1"/>
              <a:t>FOAK)</a:t>
            </a:r>
            <a:r>
              <a:rPr lang="en-US" sz="1100"/>
              <a:t>, meaning its </a:t>
            </a:r>
            <a:r>
              <a:rPr lang="en-US" sz="1100" b="1"/>
              <a:t>costs are higher </a:t>
            </a:r>
            <a:r>
              <a:rPr lang="en-US" sz="1100"/>
              <a:t>than for subsequent reactors.</a:t>
            </a:r>
          </a:p>
          <a:p>
            <a:pPr marL="171450" indent="-171450">
              <a:buFont typeface="Arial" panose="020B0604020202020204" pitchFamily="34" charset="0"/>
              <a:buChar char="•"/>
            </a:pPr>
            <a:r>
              <a:rPr lang="en-US" sz="1100"/>
              <a:t>Rather than assigning all those costs to ratepayers, </a:t>
            </a:r>
            <a:r>
              <a:rPr lang="en-US" sz="1100" b="1" err="1"/>
              <a:t>TerraPower</a:t>
            </a:r>
            <a:r>
              <a:rPr lang="en-US" sz="1100" b="1"/>
              <a:t> charges regular electricity prices </a:t>
            </a:r>
            <a:r>
              <a:rPr lang="en-US" sz="1100"/>
              <a:t>and covers the difference with a $2 billion federal grant and $1 billion equity investment.</a:t>
            </a:r>
          </a:p>
          <a:p>
            <a:pPr marL="171450" indent="-171450">
              <a:buFont typeface="Arial" panose="020B0604020202020204" pitchFamily="34" charset="0"/>
              <a:buChar char="•"/>
            </a:pPr>
            <a:r>
              <a:rPr lang="en-US" sz="1100"/>
              <a:t>It believes that </a:t>
            </a:r>
            <a:r>
              <a:rPr lang="en-US" sz="1100" b="1"/>
              <a:t>investors and the government will benefit </a:t>
            </a:r>
            <a:r>
              <a:rPr lang="en-US" sz="1100"/>
              <a:t>from the </a:t>
            </a:r>
            <a:r>
              <a:rPr lang="en-US" sz="1100" b="1"/>
              <a:t>IP</a:t>
            </a:r>
            <a:r>
              <a:rPr lang="en-US" sz="1100"/>
              <a:t> </a:t>
            </a:r>
            <a:r>
              <a:rPr lang="en-US" sz="1100" b="1"/>
              <a:t>gained</a:t>
            </a:r>
            <a:r>
              <a:rPr lang="en-US" sz="1100"/>
              <a:t> in the FOAK.</a:t>
            </a:r>
          </a:p>
        </p:txBody>
      </p:sp>
      <p:graphicFrame>
        <p:nvGraphicFramePr>
          <p:cNvPr id="1095" name="Chart 1094">
            <a:extLst>
              <a:ext uri="{FF2B5EF4-FFF2-40B4-BE49-F238E27FC236}">
                <a16:creationId xmlns:a16="http://schemas.microsoft.com/office/drawing/2014/main" id="{B35021D6-B4EA-FC0B-D8C3-E97ABC4012F8}"/>
              </a:ext>
            </a:extLst>
          </p:cNvPr>
          <p:cNvGraphicFramePr/>
          <p:nvPr>
            <p:custDataLst>
              <p:tags r:id="rId2"/>
            </p:custDataLst>
            <p:extLst>
              <p:ext uri="{D42A27DB-BD31-4B8C-83A1-F6EECF244321}">
                <p14:modId xmlns:p14="http://schemas.microsoft.com/office/powerpoint/2010/main" val="618145632"/>
              </p:ext>
            </p:extLst>
          </p:nvPr>
        </p:nvGraphicFramePr>
        <p:xfrm>
          <a:off x="1327150" y="4959350"/>
          <a:ext cx="1857375" cy="1104900"/>
        </p:xfrm>
        <a:graphic>
          <a:graphicData uri="http://schemas.openxmlformats.org/drawingml/2006/chart">
            <c:chart xmlns:c="http://schemas.openxmlformats.org/drawingml/2006/chart" xmlns:r="http://schemas.openxmlformats.org/officeDocument/2006/relationships" r:id="rId21"/>
          </a:graphicData>
        </a:graphic>
      </p:graphicFrame>
      <p:sp>
        <p:nvSpPr>
          <p:cNvPr id="124" name="Text Placeholder 10">
            <a:extLst>
              <a:ext uri="{FF2B5EF4-FFF2-40B4-BE49-F238E27FC236}">
                <a16:creationId xmlns:a16="http://schemas.microsoft.com/office/drawing/2014/main" id="{115DFB91-512B-3844-A114-92FBEDCA92F2}"/>
              </a:ext>
            </a:extLst>
          </p:cNvPr>
          <p:cNvSpPr>
            <a:spLocks noGrp="1"/>
          </p:cNvSpPr>
          <p:nvPr>
            <p:custDataLst>
              <p:tags r:id="rId3"/>
            </p:custDataLst>
          </p:nvPr>
        </p:nvSpPr>
        <p:spPr bwMode="auto">
          <a:xfrm>
            <a:off x="777875" y="5281613"/>
            <a:ext cx="668338"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000">
                <a:effectLst/>
              </a:rPr>
              <a:t>Breakdown</a:t>
            </a:r>
            <a:br>
              <a:rPr lang="en-US" altLang="en-US" sz="1000">
                <a:effectLst/>
              </a:rPr>
            </a:br>
            <a:r>
              <a:rPr lang="en-US" altLang="en-US" sz="1000">
                <a:effectLst/>
              </a:rPr>
              <a:t>of Wyoming</a:t>
            </a:r>
            <a:br>
              <a:rPr lang="en-US" altLang="en-US" sz="1000">
                <a:effectLst/>
              </a:rPr>
            </a:br>
            <a:r>
              <a:rPr lang="en-US" altLang="en-US" sz="1000">
                <a:effectLst/>
              </a:rPr>
              <a:t>plant funding</a:t>
            </a:r>
            <a:endParaRPr lang="en-US" sz="1000"/>
          </a:p>
        </p:txBody>
      </p:sp>
      <p:sp>
        <p:nvSpPr>
          <p:cNvPr id="1024"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auto">
          <a:xfrm>
            <a:off x="2306638" y="5075238"/>
            <a:ext cx="6238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9932ACF-1856-43C2-8868-0D0D16CFBFCD}" type="datetime'''Go''v''''t''''''''''.'''''''' ''gra''n''''''t'''''''''''">
              <a:rPr lang="en-US" altLang="en-US" sz="1000" smtClean="0">
                <a:solidFill>
                  <a:srgbClr val="002230"/>
                </a:solidFill>
              </a:rPr>
              <a:pPr marL="0" lvl="0" indent="0" algn="ctr">
                <a:spcBef>
                  <a:spcPct val="0"/>
                </a:spcBef>
                <a:spcAft>
                  <a:spcPct val="0"/>
                </a:spcAft>
                <a:buNone/>
              </a:pPr>
              <a:t>Govt. grant</a:t>
            </a:fld>
            <a:endParaRPr lang="en-US" sz="1000">
              <a:solidFill>
                <a:srgbClr val="002230"/>
              </a:solidFill>
            </a:endParaRPr>
          </a:p>
        </p:txBody>
      </p:sp>
      <p:sp>
        <p:nvSpPr>
          <p:cNvPr id="1025"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1628775" y="5794375"/>
            <a:ext cx="892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5BF10A5-029D-464C-BF06-FF1FA7C00C50}" type="datetime'''''''''Eq''ui''ty'''' i''n''''''vest''or''''s'''">
              <a:rPr lang="en-US" altLang="en-US" sz="1000" smtClean="0">
                <a:solidFill>
                  <a:srgbClr val="34A398"/>
                </a:solidFill>
              </a:rPr>
              <a:pPr marL="0" lvl="0" indent="0" algn="ctr">
                <a:spcBef>
                  <a:spcPct val="0"/>
                </a:spcBef>
                <a:spcAft>
                  <a:spcPct val="0"/>
                </a:spcAft>
                <a:buNone/>
              </a:pPr>
              <a:t>Equity investors</a:t>
            </a:fld>
            <a:endParaRPr lang="en-US" sz="1000">
              <a:solidFill>
                <a:srgbClr val="34A398"/>
              </a:solidFill>
            </a:endParaRPr>
          </a:p>
        </p:txBody>
      </p:sp>
      <p:sp>
        <p:nvSpPr>
          <p:cNvPr id="1027"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1557338" y="5075238"/>
            <a:ext cx="646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ACC6C4-F595-4B74-8428-A7195904B732}" type="datetime'''''''Ra''''''''''''''''''''''te''''''''paye''''''r''''s'''">
              <a:rPr lang="en-US" altLang="en-US" sz="1000" smtClean="0">
                <a:solidFill>
                  <a:srgbClr val="6F8DB9"/>
                </a:solidFill>
              </a:rPr>
              <a:pPr marL="0" lvl="0" indent="0" algn="ctr">
                <a:spcBef>
                  <a:spcPct val="0"/>
                </a:spcBef>
                <a:spcAft>
                  <a:spcPct val="0"/>
                </a:spcAft>
                <a:buNone/>
              </a:pPr>
              <a:t>Ratepayers</a:t>
            </a:fld>
            <a:endParaRPr lang="en-US" sz="1000">
              <a:solidFill>
                <a:srgbClr val="6F8DB9"/>
              </a:solidFill>
            </a:endParaRPr>
          </a:p>
        </p:txBody>
      </p:sp>
      <p:sp>
        <p:nvSpPr>
          <p:cNvPr id="1029"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3005138" y="5434013"/>
            <a:ext cx="258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F5C46FD-7CA2-4D7D-8F99-FA44897BCEA4}" type="datetime'''$''''''''''''''''''''''4''''''''''''B'''''''''''''''''''''''">
              <a:rPr lang="en-US" altLang="en-US" sz="1000" smtClean="0"/>
              <a:pPr marL="0" lvl="0" indent="0">
                <a:spcBef>
                  <a:spcPct val="0"/>
                </a:spcBef>
                <a:spcAft>
                  <a:spcPct val="0"/>
                </a:spcAft>
                <a:buNone/>
              </a:pPr>
              <a:t>$4B</a:t>
            </a:fld>
            <a:endParaRPr lang="en-US" sz="1000"/>
          </a:p>
        </p:txBody>
      </p:sp>
      <p:sp>
        <p:nvSpPr>
          <p:cNvPr id="5" name="Rectangle 4">
            <a:extLst>
              <a:ext uri="{FF2B5EF4-FFF2-40B4-BE49-F238E27FC236}">
                <a16:creationId xmlns:a16="http://schemas.microsoft.com/office/drawing/2014/main" id="{19E04D07-0E09-CBB5-26B9-94F90DCF9507}"/>
              </a:ext>
            </a:extLst>
          </p:cNvPr>
          <p:cNvSpPr/>
          <p:nvPr/>
        </p:nvSpPr>
        <p:spPr bwMode="gray">
          <a:xfrm>
            <a:off x="0" y="0"/>
            <a:ext cx="2926080" cy="382208"/>
          </a:xfrm>
          <a:prstGeom prst="rect">
            <a:avLst/>
          </a:prstGeom>
          <a:solidFill>
            <a:srgbClr val="DEDE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Case study: </a:t>
            </a:r>
            <a:r>
              <a:rPr lang="en-US" sz="1200" b="1" dirty="0" err="1">
                <a:solidFill>
                  <a:schemeClr val="tx1"/>
                </a:solidFill>
              </a:rPr>
              <a:t>TerraPower</a:t>
            </a:r>
            <a:endParaRPr lang="en-US" sz="1200" b="1" dirty="0">
              <a:solidFill>
                <a:schemeClr val="tx1"/>
              </a:solidFill>
            </a:endParaRPr>
          </a:p>
        </p:txBody>
      </p:sp>
    </p:spTree>
    <p:extLst>
      <p:ext uri="{BB962C8B-B14F-4D97-AF65-F5344CB8AC3E}">
        <p14:creationId xmlns:p14="http://schemas.microsoft.com/office/powerpoint/2010/main" val="23567422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1909140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Deployment and Public Perception</a:t>
            </a:r>
          </a:p>
        </p:txBody>
      </p:sp>
    </p:spTree>
    <p:custDataLst>
      <p:tags r:id="rId1"/>
    </p:custDataLst>
    <p:extLst>
      <p:ext uri="{BB962C8B-B14F-4D97-AF65-F5344CB8AC3E}">
        <p14:creationId xmlns:p14="http://schemas.microsoft.com/office/powerpoint/2010/main" val="22945948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52FDDF-82A1-4ED4-C27F-B766DBAB139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0C2F454-2F6B-2B9D-11E2-C6C30D0239DA}"/>
              </a:ext>
            </a:extLst>
          </p:cNvPr>
          <p:cNvGraphicFramePr>
            <a:graphicFrameLocks noChangeAspect="1"/>
          </p:cNvGraphicFramePr>
          <p:nvPr>
            <p:custDataLst>
              <p:tags r:id="rId2"/>
            </p:custDataLst>
            <p:extLst>
              <p:ext uri="{D42A27DB-BD31-4B8C-83A1-F6EECF244321}">
                <p14:modId xmlns:p14="http://schemas.microsoft.com/office/powerpoint/2010/main" val="805522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20C2F454-2F6B-2B9D-11E2-C6C30D0239D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 name="Picture 2"/>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510362" y="680483"/>
            <a:ext cx="3572539" cy="5305647"/>
          </a:xfrm>
          <a:prstGeom prst="rect">
            <a:avLst/>
          </a:prstGeom>
        </p:spPr>
      </p:pic>
      <p:sp>
        <p:nvSpPr>
          <p:cNvPr id="13" name="Title 2">
            <a:extLst>
              <a:ext uri="{FF2B5EF4-FFF2-40B4-BE49-F238E27FC236}">
                <a16:creationId xmlns:a16="http://schemas.microsoft.com/office/drawing/2014/main" id="{7E87893D-2ECD-0C39-93F0-27437AB078CB}"/>
              </a:ext>
            </a:extLst>
          </p:cNvPr>
          <p:cNvSpPr txBox="1">
            <a:spLocks/>
          </p:cNvSpPr>
          <p:nvPr/>
        </p:nvSpPr>
        <p:spPr>
          <a:xfrm>
            <a:off x="672895" y="4696510"/>
            <a:ext cx="3165987" cy="1154162"/>
          </a:xfrm>
          <a:prstGeom prst="rect">
            <a:avLst/>
          </a:prstGeom>
          <a:solidFill>
            <a:srgbClr val="9D9D9D">
              <a:alpha val="67059"/>
            </a:srgbClr>
          </a:solidFill>
        </p:spPr>
        <p:txBody>
          <a:bodyPr vert="horz" lIns="91440" tIns="0" rIns="91440" bIns="45720" rtlCol="0" anchor="b" anchorCtr="0">
            <a:spAutoFit/>
          </a:bodyPr>
          <a:lstStyle>
            <a:defPPr>
              <a:defRPr lang="en-US"/>
            </a:defPPr>
            <a:lvl1pPr marL="0" marR="0" lvl="0" indent="0" fontAlgn="auto">
              <a:lnSpc>
                <a:spcPct val="100000"/>
              </a:lnSpc>
              <a:spcBef>
                <a:spcPct val="0"/>
              </a:spcBef>
              <a:spcAft>
                <a:spcPts val="0"/>
              </a:spcAft>
              <a:buClrTx/>
              <a:buSzTx/>
              <a:buFontTx/>
              <a:buNone/>
              <a:tabLst/>
              <a:defRPr kumimoji="0" sz="2400" b="1" i="0" u="none" strike="noStrike" cap="none" spc="0" normalizeH="0" baseline="0">
                <a:ln>
                  <a:noFill/>
                </a:ln>
                <a:solidFill>
                  <a:srgbClr val="FFFFFF"/>
                </a:solidFill>
                <a:effectLst/>
                <a:uLnTx/>
                <a:uFillTx/>
                <a:latin typeface="Arial"/>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kumimoji="0" lang="en-US" sz="2400" b="0" i="0" u="none" strike="noStrike" kern="1200" cap="none" spc="0" normalizeH="0" baseline="0" noProof="0">
                <a:ln>
                  <a:noFill/>
                </a:ln>
                <a:solidFill>
                  <a:srgbClr val="FFFFFF"/>
                </a:solidFill>
                <a:effectLst/>
                <a:uLnTx/>
                <a:uFillTx/>
                <a:latin typeface="Arial"/>
                <a:ea typeface="+mj-ea"/>
                <a:cs typeface="+mj-cs"/>
              </a:rPr>
              <a:t>Deployment and Public Perception</a:t>
            </a:r>
          </a:p>
        </p:txBody>
      </p:sp>
      <p:cxnSp>
        <p:nvCxnSpPr>
          <p:cNvPr id="4" name="Straight Connector 3">
            <a:extLst>
              <a:ext uri="{FF2B5EF4-FFF2-40B4-BE49-F238E27FC236}">
                <a16:creationId xmlns:a16="http://schemas.microsoft.com/office/drawing/2014/main" id="{88A62328-22CD-3C32-4F01-C1BF33FC093F}"/>
              </a:ext>
            </a:extLst>
          </p:cNvPr>
          <p:cNvCxnSpPr>
            <a:cxnSpLocks/>
          </p:cNvCxnSpPr>
          <p:nvPr/>
        </p:nvCxnSpPr>
        <p:spPr bwMode="gray">
          <a:xfrm>
            <a:off x="4216605" y="177534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EBB89C4-4142-F5A5-385A-C1C32604A37F}"/>
              </a:ext>
            </a:extLst>
          </p:cNvPr>
          <p:cNvCxnSpPr>
            <a:cxnSpLocks/>
          </p:cNvCxnSpPr>
          <p:nvPr/>
        </p:nvCxnSpPr>
        <p:spPr bwMode="gray">
          <a:xfrm>
            <a:off x="4216605" y="4082272"/>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BulletedList771181">
            <a:extLst>
              <a:ext uri="{FF2B5EF4-FFF2-40B4-BE49-F238E27FC236}">
                <a16:creationId xmlns:a16="http://schemas.microsoft.com/office/drawing/2014/main" id="{193A7E53-FEC1-570A-554F-A3FCE1603AF9}"/>
              </a:ext>
            </a:extLst>
          </p:cNvPr>
          <p:cNvSpPr txBox="1"/>
          <p:nvPr>
            <p:custDataLst>
              <p:tags r:id="rId3"/>
            </p:custDataLst>
          </p:nvPr>
        </p:nvSpPr>
        <p:spPr bwMode="gray">
          <a:xfrm>
            <a:off x="4207080" y="3163161"/>
            <a:ext cx="7507288" cy="888311"/>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Nuclear energy becomes cost competitive when full system costs are counted; matching renewable reliability can </a:t>
            </a:r>
            <a:r>
              <a:rPr lang="en-US" sz="1200" b="1">
                <a:solidFill>
                  <a:srgbClr val="000000"/>
                </a:solidFill>
                <a:latin typeface="Arial"/>
              </a:rPr>
              <a:t>increase</a:t>
            </a:r>
            <a:r>
              <a:rPr kumimoji="0" lang="en-US" sz="1200" b="1" i="0" u="none" strike="noStrike" kern="1200" cap="none" spc="0" normalizeH="0" baseline="0" noProof="0">
                <a:ln>
                  <a:noFill/>
                </a:ln>
                <a:solidFill>
                  <a:srgbClr val="000000"/>
                </a:solidFill>
                <a:effectLst/>
                <a:uLnTx/>
                <a:uFillTx/>
                <a:latin typeface="Arial"/>
                <a:ea typeface="+mn-ea"/>
                <a:cs typeface="+mn-cs"/>
              </a:rPr>
              <a:t> costs to $162-$177/MWh due to the necessity for storage.</a:t>
            </a:r>
          </a:p>
          <a:p>
            <a:pPr marL="355600" lvl="1" indent="-177800">
              <a:spcBef>
                <a:spcPts val="600"/>
              </a:spcBef>
              <a:buFont typeface="Arial"/>
              <a:buChar char="–"/>
            </a:pPr>
            <a:r>
              <a:rPr kumimoji="0" lang="en-US" sz="1200" b="0" i="0" u="none" strike="noStrike" kern="1200" cap="none" spc="0" normalizeH="0" baseline="0" noProof="0">
                <a:ln>
                  <a:noFill/>
                </a:ln>
                <a:solidFill>
                  <a:srgbClr val="000000"/>
                </a:solidFill>
                <a:effectLst/>
                <a:uLnTx/>
                <a:uFillTx/>
                <a:latin typeface="Arial"/>
                <a:ea typeface="+mn-lt"/>
                <a:cs typeface="Arial"/>
              </a:rPr>
              <a:t>Nuclear complements intermittent renewable sources by providing low-carbon and reliable baseload power.</a:t>
            </a:r>
          </a:p>
        </p:txBody>
      </p:sp>
      <p:sp>
        <p:nvSpPr>
          <p:cNvPr id="5" name="btfpBulletedList771181">
            <a:extLst>
              <a:ext uri="{FF2B5EF4-FFF2-40B4-BE49-F238E27FC236}">
                <a16:creationId xmlns:a16="http://schemas.microsoft.com/office/drawing/2014/main" id="{48D551B8-A254-B3EB-23B7-3D628814351A}"/>
              </a:ext>
            </a:extLst>
          </p:cNvPr>
          <p:cNvSpPr txBox="1"/>
          <p:nvPr>
            <p:custDataLst>
              <p:tags r:id="rId4"/>
            </p:custDataLst>
          </p:nvPr>
        </p:nvSpPr>
        <p:spPr bwMode="gray">
          <a:xfrm>
            <a:off x="4207080" y="4199382"/>
            <a:ext cx="7507288" cy="518979"/>
          </a:xfrm>
          <a:prstGeom prst="rect">
            <a:avLst/>
          </a:prstGeom>
          <a:noFill/>
        </p:spPr>
        <p:txBody>
          <a:bodyPr vert="horz" wrap="square" lIns="36000" tIns="36000" rIns="36000" bIns="36000" rtlCol="0" anchor="t">
            <a:spAutoFit/>
          </a:bodyPr>
          <a:lstStyle>
            <a:defPPr>
              <a:defRPr lang="en-US"/>
            </a:defPPr>
            <a:lvl1pPr marR="0" lvl="0" indent="0" fontAlgn="auto">
              <a:lnSpc>
                <a:spcPct val="100000"/>
              </a:lnSpc>
              <a:spcBef>
                <a:spcPts val="1800"/>
              </a:spcBef>
              <a:spcAft>
                <a:spcPts val="0"/>
              </a:spcAft>
              <a:buClrTx/>
              <a:buSzTx/>
              <a:buFontTx/>
              <a:buNone/>
              <a:tabLst/>
              <a:defRPr kumimoji="0" sz="1200" b="1" i="0" u="none" strike="noStrike" cap="none" spc="0" normalizeH="0" baseline="0">
                <a:ln>
                  <a:noFill/>
                </a:ln>
                <a:solidFill>
                  <a:srgbClr val="000000"/>
                </a:solidFill>
                <a:effectLst/>
                <a:uLnTx/>
                <a:uFillTx/>
                <a:latin typeface="Arial"/>
              </a:defRPr>
            </a:lvl1pPr>
            <a:lvl2pPr marL="355600" lvl="1" indent="-177800">
              <a:spcBef>
                <a:spcPts val="600"/>
              </a:spcBef>
              <a:buFont typeface="Arial"/>
              <a:buChar char="–"/>
              <a:defRPr kumimoji="0" sz="1200" b="0" i="0" u="none" strike="noStrike" cap="none" spc="0" normalizeH="0" baseline="0">
                <a:ln>
                  <a:noFill/>
                </a:ln>
                <a:solidFill>
                  <a:srgbClr val="000000"/>
                </a:solidFill>
                <a:effectLst/>
                <a:uLnTx/>
                <a:uFillTx/>
                <a:latin typeface="Arial"/>
                <a:ea typeface="+mn-lt"/>
                <a:cs typeface="Arial"/>
              </a:defRPr>
            </a:lvl2pPr>
          </a:lstStyle>
          <a:p>
            <a:pPr indent="-177800"/>
            <a:r>
              <a:rPr lang="en-US"/>
              <a:t>Many nuclear power plants store their waste using interim dedicated on-site disposal.</a:t>
            </a:r>
          </a:p>
          <a:p>
            <a:pPr lvl="1"/>
            <a:r>
              <a:rPr lang="en-US"/>
              <a:t>Deep geological disposal will be needed to dispose of high-level nuclear waste.</a:t>
            </a:r>
          </a:p>
        </p:txBody>
      </p:sp>
      <p:cxnSp>
        <p:nvCxnSpPr>
          <p:cNvPr id="9" name="Straight Connector 8">
            <a:extLst>
              <a:ext uri="{FF2B5EF4-FFF2-40B4-BE49-F238E27FC236}">
                <a16:creationId xmlns:a16="http://schemas.microsoft.com/office/drawing/2014/main" id="{0B7F89BC-8303-553C-07F9-4B38DC18262C}"/>
              </a:ext>
            </a:extLst>
          </p:cNvPr>
          <p:cNvCxnSpPr>
            <a:cxnSpLocks/>
          </p:cNvCxnSpPr>
          <p:nvPr/>
        </p:nvCxnSpPr>
        <p:spPr bwMode="gray">
          <a:xfrm>
            <a:off x="4216605" y="482808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btfpBulletedList771181">
            <a:extLst>
              <a:ext uri="{FF2B5EF4-FFF2-40B4-BE49-F238E27FC236}">
                <a16:creationId xmlns:a16="http://schemas.microsoft.com/office/drawing/2014/main" id="{1DFD0DA0-ED99-3BDD-94F8-32A714EFB79F}"/>
              </a:ext>
            </a:extLst>
          </p:cNvPr>
          <p:cNvSpPr txBox="1"/>
          <p:nvPr>
            <p:custDataLst>
              <p:tags r:id="rId5"/>
            </p:custDataLst>
          </p:nvPr>
        </p:nvSpPr>
        <p:spPr bwMode="gray">
          <a:xfrm>
            <a:off x="4207080" y="712366"/>
            <a:ext cx="7507288" cy="965255"/>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lt"/>
                <a:cs typeface="Arial"/>
              </a:rPr>
              <a:t>At an LCOE of $182</a:t>
            </a:r>
            <a:r>
              <a:rPr lang="en-US" sz="1200" b="1">
                <a:solidFill>
                  <a:srgbClr val="000000"/>
                </a:solidFill>
                <a:latin typeface="Arial"/>
                <a:ea typeface="+mn-lt"/>
                <a:cs typeface="Arial"/>
              </a:rPr>
              <a:t>/</a:t>
            </a:r>
            <a:r>
              <a:rPr kumimoji="0" lang="en-US" sz="1200" b="1" i="0" u="none" strike="noStrike" kern="1200" cap="none" spc="0" normalizeH="0" baseline="0" noProof="0">
                <a:ln>
                  <a:noFill/>
                </a:ln>
                <a:solidFill>
                  <a:srgbClr val="000000"/>
                </a:solidFill>
                <a:effectLst/>
                <a:uLnTx/>
                <a:uFillTx/>
                <a:latin typeface="Arial"/>
                <a:ea typeface="+mn-lt"/>
                <a:cs typeface="Arial"/>
              </a:rPr>
              <a:t>MWh, nuclear is far above gas or renewables with storage solutions; reactor life extension is the cheapest option at $30-$40/MWh.</a:t>
            </a:r>
          </a:p>
          <a:p>
            <a:pPr marL="355600" lvl="1" indent="-177800">
              <a:spcBef>
                <a:spcPts val="600"/>
              </a:spcBef>
              <a:buFontTx/>
              <a:buChar char="–"/>
            </a:pPr>
            <a:r>
              <a:rPr kumimoji="0" lang="en-US" sz="1200" b="0" i="0" u="none" strike="noStrike" kern="1200" cap="none" spc="0" normalizeH="0" baseline="0" noProof="0">
                <a:ln>
                  <a:noFill/>
                </a:ln>
                <a:solidFill>
                  <a:srgbClr val="000000"/>
                </a:solidFill>
                <a:effectLst/>
                <a:uLnTx/>
                <a:uFillTx/>
                <a:ea typeface="+mn-lt"/>
                <a:cs typeface="+mn-lt"/>
              </a:rPr>
              <a:t>Nuclear LCOE </a:t>
            </a:r>
            <a:r>
              <a:rPr lang="en-US" sz="1200">
                <a:solidFill>
                  <a:srgbClr val="000000"/>
                </a:solidFill>
                <a:ea typeface="+mn-lt"/>
                <a:cs typeface="+mn-lt"/>
              </a:rPr>
              <a:t>has increased 49</a:t>
            </a:r>
            <a:r>
              <a:rPr kumimoji="0" lang="en-US" sz="1200" b="0" i="0" u="none" strike="noStrike" kern="1200" cap="none" spc="0" normalizeH="0" baseline="0" noProof="0">
                <a:ln>
                  <a:noFill/>
                </a:ln>
                <a:solidFill>
                  <a:srgbClr val="000000"/>
                </a:solidFill>
                <a:effectLst/>
                <a:uLnTx/>
                <a:uFillTx/>
                <a:ea typeface="+mn-lt"/>
                <a:cs typeface="+mn-lt"/>
              </a:rPr>
              <a:t>% </a:t>
            </a:r>
            <a:r>
              <a:rPr lang="en-US" sz="1200">
                <a:solidFill>
                  <a:srgbClr val="000000"/>
                </a:solidFill>
                <a:ea typeface="+mn-lt"/>
                <a:cs typeface="+mn-lt"/>
              </a:rPr>
              <a:t>since 2009</a:t>
            </a:r>
            <a:r>
              <a:rPr kumimoji="0" lang="en-US" sz="1200" b="0" i="0" u="none" strike="noStrike" kern="1200" cap="none" spc="0" normalizeH="0" baseline="0" noProof="0">
                <a:ln>
                  <a:noFill/>
                </a:ln>
                <a:solidFill>
                  <a:srgbClr val="000000"/>
                </a:solidFill>
                <a:effectLst/>
                <a:uLnTx/>
                <a:uFillTx/>
                <a:latin typeface="Arial"/>
                <a:ea typeface="+mn-ea"/>
                <a:cs typeface="Arial"/>
              </a:rPr>
              <a:t>, making it the least affordable energy source option.</a:t>
            </a:r>
            <a:endParaRPr lang="en-US" sz="1200" b="0" i="0" u="none" strike="noStrike" kern="1200" cap="none" spc="0" normalizeH="0" baseline="0" noProof="0">
              <a:ln>
                <a:noFill/>
              </a:ln>
              <a:solidFill>
                <a:srgbClr val="000000"/>
              </a:solidFill>
              <a:effectLst/>
              <a:uLnTx/>
              <a:uFillTx/>
              <a:latin typeface="Arial"/>
              <a:cs typeface="Arial"/>
            </a:endParaRPr>
          </a:p>
          <a:p>
            <a:pPr marL="355600" lvl="1" indent="-177800">
              <a:spcBef>
                <a:spcPts val="600"/>
              </a:spcBef>
              <a:buFontTx/>
              <a:buChar char="–"/>
              <a:defRPr/>
            </a:pPr>
            <a:r>
              <a:rPr lang="en-US" sz="1200">
                <a:solidFill>
                  <a:srgbClr val="000000"/>
                </a:solidFill>
                <a:latin typeface="Arial"/>
                <a:cs typeface="Arial"/>
              </a:rPr>
              <a:t>Addressing</a:t>
            </a:r>
            <a:r>
              <a:rPr kumimoji="0" lang="en-US" sz="1200" b="0" i="0" u="none" strike="noStrike" kern="1200" cap="none" spc="0" normalizeH="0" baseline="0" noProof="0">
                <a:ln>
                  <a:noFill/>
                </a:ln>
                <a:solidFill>
                  <a:srgbClr val="000000"/>
                </a:solidFill>
                <a:effectLst/>
                <a:uLnTx/>
                <a:uFillTx/>
                <a:latin typeface="Arial"/>
                <a:ea typeface="+mn-ea"/>
                <a:cs typeface="Arial"/>
              </a:rPr>
              <a:t> </a:t>
            </a:r>
            <a:r>
              <a:rPr lang="en-US" sz="1200">
                <a:solidFill>
                  <a:srgbClr val="000000"/>
                </a:solidFill>
                <a:latin typeface="Arial"/>
                <a:cs typeface="Arial"/>
              </a:rPr>
              <a:t>the </a:t>
            </a:r>
            <a:r>
              <a:rPr kumimoji="0" lang="en-US" sz="1200" b="0" i="0" u="none" strike="noStrike" kern="1200" cap="none" spc="0" normalizeH="0" baseline="0" noProof="0">
                <a:ln>
                  <a:noFill/>
                </a:ln>
                <a:solidFill>
                  <a:srgbClr val="000000"/>
                </a:solidFill>
                <a:effectLst/>
                <a:uLnTx/>
                <a:uFillTx/>
                <a:latin typeface="Arial"/>
                <a:ea typeface="+mn-ea"/>
                <a:cs typeface="Arial"/>
              </a:rPr>
              <a:t>capital cost </a:t>
            </a:r>
            <a:r>
              <a:rPr lang="en-US" sz="1200">
                <a:solidFill>
                  <a:srgbClr val="000000"/>
                </a:solidFill>
                <a:latin typeface="Arial"/>
                <a:cs typeface="Arial"/>
              </a:rPr>
              <a:t>of</a:t>
            </a:r>
            <a:r>
              <a:rPr kumimoji="0" lang="en-US" sz="1200" b="0" i="0" u="none" strike="noStrike" kern="1200" cap="none" spc="0" normalizeH="0" baseline="0" noProof="0">
                <a:ln>
                  <a:noFill/>
                </a:ln>
                <a:solidFill>
                  <a:srgbClr val="000000"/>
                </a:solidFill>
                <a:effectLst/>
                <a:uLnTx/>
                <a:uFillTx/>
                <a:latin typeface="Arial"/>
                <a:ea typeface="+mn-ea"/>
                <a:cs typeface="Arial"/>
              </a:rPr>
              <a:t> nuclear will be key in achieving a commercially viable energy transition.</a:t>
            </a:r>
          </a:p>
        </p:txBody>
      </p:sp>
      <p:sp>
        <p:nvSpPr>
          <p:cNvPr id="19" name="btfpBulletedList771181">
            <a:extLst>
              <a:ext uri="{FF2B5EF4-FFF2-40B4-BE49-F238E27FC236}">
                <a16:creationId xmlns:a16="http://schemas.microsoft.com/office/drawing/2014/main" id="{6283FE6F-B82D-4FA5-3E78-725595B46E69}"/>
              </a:ext>
            </a:extLst>
          </p:cNvPr>
          <p:cNvSpPr txBox="1"/>
          <p:nvPr>
            <p:custDataLst>
              <p:tags r:id="rId6"/>
            </p:custDataLst>
          </p:nvPr>
        </p:nvSpPr>
        <p:spPr bwMode="gray">
          <a:xfrm>
            <a:off x="4207080" y="1941777"/>
            <a:ext cx="7507288" cy="1149921"/>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SMR projects are facing severe cost overruns and delays, highlighting scale and execution challenges for first-of-a-kind (FOAK) reactors.</a:t>
            </a:r>
            <a:endParaRPr kumimoji="0" lang="en-US" sz="1200" b="1" i="0" u="none" strike="noStrike" kern="1200" cap="none" spc="0" normalizeH="0" baseline="0" noProof="0">
              <a:ln>
                <a:noFill/>
              </a:ln>
              <a:solidFill>
                <a:srgbClr val="000000"/>
              </a:solidFill>
              <a:effectLst/>
              <a:uLnTx/>
              <a:uFillTx/>
              <a:latin typeface="Arial"/>
              <a:ea typeface="+mn-lt"/>
              <a:cs typeface="Arial"/>
            </a:endParaRPr>
          </a:p>
          <a:p>
            <a:pPr marL="355600" lvl="1" indent="-177800">
              <a:spcBef>
                <a:spcPts val="600"/>
              </a:spcBef>
              <a:buFontTx/>
              <a:buChar char="–"/>
            </a:pPr>
            <a:r>
              <a:rPr lang="en-US" sz="1200">
                <a:solidFill>
                  <a:srgbClr val="000000"/>
                </a:solidFill>
                <a:latin typeface="Arial"/>
                <a:cs typeface="Arial"/>
              </a:rPr>
              <a:t>SMR projects so far have adjusted cost projections upward by up to 400% and increased timelines from four to 12 years.</a:t>
            </a:r>
          </a:p>
          <a:p>
            <a:pPr marL="355600" lvl="1" indent="-177800">
              <a:spcBef>
                <a:spcPts val="600"/>
              </a:spcBef>
              <a:buFontTx/>
              <a:buChar char="–"/>
            </a:pPr>
            <a:r>
              <a:rPr lang="en-US" sz="1200">
                <a:solidFill>
                  <a:srgbClr val="000000"/>
                </a:solidFill>
                <a:latin typeface="Arial"/>
                <a:cs typeface="Arial"/>
              </a:rPr>
              <a:t>This is typical in FOAK projects and doesn’t indicate SMRs are less feasible than other reactor types.</a:t>
            </a: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cxnSp>
        <p:nvCxnSpPr>
          <p:cNvPr id="20" name="Straight Connector 19">
            <a:extLst>
              <a:ext uri="{FF2B5EF4-FFF2-40B4-BE49-F238E27FC236}">
                <a16:creationId xmlns:a16="http://schemas.microsoft.com/office/drawing/2014/main" id="{0FBFEFFD-410B-B3D2-8A20-0297D8954F84}"/>
              </a:ext>
            </a:extLst>
          </p:cNvPr>
          <p:cNvCxnSpPr>
            <a:cxnSpLocks/>
          </p:cNvCxnSpPr>
          <p:nvPr/>
        </p:nvCxnSpPr>
        <p:spPr bwMode="gray">
          <a:xfrm>
            <a:off x="4216605" y="314061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BulletedList771181">
            <a:extLst>
              <a:ext uri="{FF2B5EF4-FFF2-40B4-BE49-F238E27FC236}">
                <a16:creationId xmlns:a16="http://schemas.microsoft.com/office/drawing/2014/main" id="{A48C879E-256A-C238-17AB-5AF0C45CA7CF}"/>
              </a:ext>
            </a:extLst>
          </p:cNvPr>
          <p:cNvSpPr txBox="1"/>
          <p:nvPr>
            <p:custDataLst>
              <p:tags r:id="rId7"/>
            </p:custDataLst>
          </p:nvPr>
        </p:nvSpPr>
        <p:spPr bwMode="gray">
          <a:xfrm>
            <a:off x="4207080" y="4904918"/>
            <a:ext cx="7507288" cy="965255"/>
          </a:xfrm>
          <a:prstGeom prst="rect">
            <a:avLst/>
          </a:prstGeom>
          <a:noFill/>
        </p:spPr>
        <p:txBody>
          <a:bodyPr vert="horz" wrap="square" lIns="36000" tIns="36000" rIns="36000" bIns="36000" rtlCol="0" anchor="t">
            <a:spAutoFit/>
          </a:bodyPr>
          <a:lstStyle>
            <a:defPPr>
              <a:defRPr lang="en-US"/>
            </a:defPPr>
            <a:lvl1pPr marR="0" lvl="0" indent="0" fontAlgn="auto">
              <a:lnSpc>
                <a:spcPct val="100000"/>
              </a:lnSpc>
              <a:spcBef>
                <a:spcPts val="1800"/>
              </a:spcBef>
              <a:spcAft>
                <a:spcPts val="0"/>
              </a:spcAft>
              <a:buClrTx/>
              <a:buSzTx/>
              <a:buFontTx/>
              <a:buNone/>
              <a:tabLst/>
              <a:defRPr kumimoji="0" sz="1200" b="1" i="0" u="none" strike="noStrike" cap="none" spc="0" normalizeH="0" baseline="0">
                <a:ln>
                  <a:noFill/>
                </a:ln>
                <a:solidFill>
                  <a:srgbClr val="000000"/>
                </a:solidFill>
                <a:effectLst/>
                <a:uLnTx/>
                <a:uFillTx/>
                <a:latin typeface="Arial"/>
              </a:defRPr>
            </a:lvl1pPr>
            <a:lvl2pPr marL="355600" lvl="1" indent="-177800">
              <a:spcBef>
                <a:spcPts val="600"/>
              </a:spcBef>
              <a:buFont typeface="Arial"/>
              <a:buChar char="–"/>
              <a:defRPr kumimoji="0" sz="1200" b="0" i="0" u="none" strike="noStrike" cap="none" spc="0" normalizeH="0" baseline="0">
                <a:ln>
                  <a:noFill/>
                </a:ln>
                <a:solidFill>
                  <a:srgbClr val="000000"/>
                </a:solidFill>
                <a:effectLst/>
                <a:uLnTx/>
                <a:uFillTx/>
                <a:latin typeface="Arial"/>
                <a:ea typeface="+mn-lt"/>
                <a:cs typeface="Arial"/>
              </a:defRPr>
            </a:lvl2pPr>
          </a:lstStyle>
          <a:p>
            <a:pPr indent="-177800"/>
            <a:r>
              <a:rPr lang="en-US">
                <a:latin typeface="Arial" panose="020B0604020202020204" pitchFamily="34" charset="0"/>
                <a:ea typeface="+mj-lt"/>
                <a:cs typeface="Arial" panose="020B0604020202020204" pitchFamily="34" charset="0"/>
              </a:rPr>
              <a:t>The m</a:t>
            </a:r>
            <a:r>
              <a:rPr lang="en-US" b="1">
                <a:latin typeface="Arial" panose="020B0604020202020204" pitchFamily="34" charset="0"/>
                <a:ea typeface="+mj-lt"/>
                <a:cs typeface="Arial" panose="020B0604020202020204" pitchFamily="34" charset="0"/>
              </a:rPr>
              <a:t>ajority of the public supports nuclear energy deployment, driven by a strong preference for energy reliability.</a:t>
            </a:r>
            <a:endParaRPr lang="en-US"/>
          </a:p>
          <a:p>
            <a:pPr lvl="1"/>
            <a:r>
              <a:rPr lang="en-US"/>
              <a:t>There is a strong correlation between the number of reactors operational in a country and public support.</a:t>
            </a:r>
          </a:p>
          <a:p>
            <a:pPr lvl="1"/>
            <a:r>
              <a:rPr kumimoji="0" lang="en-US" sz="1200" b="0" i="0" u="none" strike="noStrike" kern="1200" cap="none" spc="0" normalizeH="0" baseline="0" noProof="0">
                <a:ln>
                  <a:noFill/>
                </a:ln>
                <a:solidFill>
                  <a:srgbClr val="000000"/>
                </a:solidFill>
                <a:effectLst/>
                <a:uLnTx/>
                <a:uFillTx/>
                <a:latin typeface="Arial"/>
                <a:ea typeface="+mn-lt"/>
                <a:cs typeface="Arial"/>
              </a:rPr>
              <a:t>46% of survey respondents support the use of nuclear energy, while 28% oppose it.</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btfpNotesBox368131">
            <a:hlinkClick r:id="rId14"/>
            <a:extLst>
              <a:ext uri="{FF2B5EF4-FFF2-40B4-BE49-F238E27FC236}">
                <a16:creationId xmlns:a16="http://schemas.microsoft.com/office/drawing/2014/main" id="{218601E2-BA56-7DF5-4EC0-6950787C0A19}"/>
              </a:ext>
            </a:extLst>
          </p:cNvPr>
          <p:cNvSpPr txBox="1"/>
          <p:nvPr>
            <p:custDataLst>
              <p:tags r:id="rId8"/>
            </p:custDataLst>
          </p:nvPr>
        </p:nvSpPr>
        <p:spPr bwMode="gray">
          <a:xfrm>
            <a:off x="329184" y="6309360"/>
            <a:ext cx="9411804"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ristian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andjaja</a:t>
            </a:r>
            <a:r>
              <a:rPr kumimoji="0" lang="en-US" sz="800" b="0" i="0" u="none" strike="noStrike" kern="1200" cap="none" spc="0" normalizeH="0" baseline="0" noProof="0" dirty="0">
                <a:ln>
                  <a:noFill/>
                </a:ln>
                <a:solidFill>
                  <a:srgbClr val="000000"/>
                </a:solidFill>
                <a:effectLst/>
                <a:uLnTx/>
                <a:uFillTx/>
                <a:latin typeface="Arial"/>
                <a:ea typeface="+mn-ea"/>
                <a:cs typeface="+mn-cs"/>
              </a:rPr>
              <a: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Tree>
    <p:custDataLst>
      <p:tags r:id="rId1"/>
    </p:custDataLst>
    <p:extLst>
      <p:ext uri="{BB962C8B-B14F-4D97-AF65-F5344CB8AC3E}">
        <p14:creationId xmlns:p14="http://schemas.microsoft.com/office/powerpoint/2010/main" val="632112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6E4688-98DD-00BC-7E29-C2420467667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E1B2FF-5102-0C11-F5E6-32B0A5F6C619}"/>
              </a:ext>
            </a:extLst>
          </p:cNvPr>
          <p:cNvGraphicFramePr>
            <a:graphicFrameLocks noChangeAspect="1"/>
          </p:cNvGraphicFramePr>
          <p:nvPr>
            <p:custDataLst>
              <p:tags r:id="rId2"/>
            </p:custDataLst>
            <p:extLst>
              <p:ext uri="{D42A27DB-BD31-4B8C-83A1-F6EECF244321}">
                <p14:modId xmlns:p14="http://schemas.microsoft.com/office/powerpoint/2010/main" val="2087632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3" imgW="592" imgH="591" progId="TCLayout.ActiveDocument.1">
                  <p:embed/>
                </p:oleObj>
              </mc:Choice>
              <mc:Fallback>
                <p:oleObj name="think-cell Slide" r:id="rId83" imgW="592" imgH="591" progId="TCLayout.ActiveDocument.1">
                  <p:embed/>
                  <p:pic>
                    <p:nvPicPr>
                      <p:cNvPr id="7" name="think-cell data - do not delete" hidden="1">
                        <a:extLst>
                          <a:ext uri="{FF2B5EF4-FFF2-40B4-BE49-F238E27FC236}">
                            <a16:creationId xmlns:a16="http://schemas.microsoft.com/office/drawing/2014/main" id="{BEE1B2FF-5102-0C11-F5E6-32B0A5F6C619}"/>
                          </a:ext>
                        </a:extLst>
                      </p:cNvPr>
                      <p:cNvPicPr/>
                      <p:nvPr/>
                    </p:nvPicPr>
                    <p:blipFill>
                      <a:blip r:embed="rId84"/>
                      <a:stretch>
                        <a:fillRect/>
                      </a:stretch>
                    </p:blipFill>
                    <p:spPr>
                      <a:xfrm>
                        <a:off x="1588" y="1588"/>
                        <a:ext cx="1588" cy="1588"/>
                      </a:xfrm>
                      <a:prstGeom prst="rect">
                        <a:avLst/>
                      </a:prstGeom>
                    </p:spPr>
                  </p:pic>
                </p:oleObj>
              </mc:Fallback>
            </mc:AlternateContent>
          </a:graphicData>
        </a:graphic>
      </p:graphicFrame>
      <p:cxnSp>
        <p:nvCxnSpPr>
          <p:cNvPr id="684" name="Straight Connector 683">
            <a:extLst>
              <a:ext uri="{FF2B5EF4-FFF2-40B4-BE49-F238E27FC236}">
                <a16:creationId xmlns:a16="http://schemas.microsoft.com/office/drawing/2014/main" id="{C0B77091-0195-749D-4F6B-BAFF7BAAEBE6}"/>
              </a:ext>
            </a:extLst>
          </p:cNvPr>
          <p:cNvCxnSpPr/>
          <p:nvPr>
            <p:custDataLst>
              <p:tags r:id="rId3"/>
            </p:custDataLst>
          </p:nvPr>
        </p:nvCxnSpPr>
        <p:spPr bwMode="gray">
          <a:xfrm>
            <a:off x="765175" y="5340350"/>
            <a:ext cx="6080125"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82" name="Straight Connector 681">
            <a:extLst>
              <a:ext uri="{FF2B5EF4-FFF2-40B4-BE49-F238E27FC236}">
                <a16:creationId xmlns:a16="http://schemas.microsoft.com/office/drawing/2014/main" id="{EEAC3964-676E-4B81-2A26-1DEE98D71C35}"/>
              </a:ext>
            </a:extLst>
          </p:cNvPr>
          <p:cNvCxnSpPr/>
          <p:nvPr>
            <p:custDataLst>
              <p:tags r:id="rId4"/>
            </p:custDataLst>
          </p:nvPr>
        </p:nvCxnSpPr>
        <p:spPr bwMode="gray">
          <a:xfrm>
            <a:off x="765175" y="5648325"/>
            <a:ext cx="6080125"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2" name="Straight Connector 691">
            <a:extLst>
              <a:ext uri="{FF2B5EF4-FFF2-40B4-BE49-F238E27FC236}">
                <a16:creationId xmlns:a16="http://schemas.microsoft.com/office/drawing/2014/main" id="{454AE07B-4ABF-E48B-75D3-3DE673EFE000}"/>
              </a:ext>
            </a:extLst>
          </p:cNvPr>
          <p:cNvCxnSpPr/>
          <p:nvPr>
            <p:custDataLst>
              <p:tags r:id="rId5"/>
            </p:custDataLst>
          </p:nvPr>
        </p:nvCxnSpPr>
        <p:spPr bwMode="gray">
          <a:xfrm>
            <a:off x="765175" y="3802063"/>
            <a:ext cx="6080125"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00" name="Straight Connector 699">
            <a:extLst>
              <a:ext uri="{FF2B5EF4-FFF2-40B4-BE49-F238E27FC236}">
                <a16:creationId xmlns:a16="http://schemas.microsoft.com/office/drawing/2014/main" id="{99993274-3AEA-78DA-D211-CAD4E609AE3A}"/>
              </a:ext>
            </a:extLst>
          </p:cNvPr>
          <p:cNvCxnSpPr/>
          <p:nvPr>
            <p:custDataLst>
              <p:tags r:id="rId6"/>
            </p:custDataLst>
          </p:nvPr>
        </p:nvCxnSpPr>
        <p:spPr bwMode="gray">
          <a:xfrm>
            <a:off x="765175" y="2263775"/>
            <a:ext cx="6080125"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86" name="Straight Connector 685">
            <a:extLst>
              <a:ext uri="{FF2B5EF4-FFF2-40B4-BE49-F238E27FC236}">
                <a16:creationId xmlns:a16="http://schemas.microsoft.com/office/drawing/2014/main" id="{BD220862-8800-9194-A07F-C9668E60BBF5}"/>
              </a:ext>
            </a:extLst>
          </p:cNvPr>
          <p:cNvCxnSpPr/>
          <p:nvPr>
            <p:custDataLst>
              <p:tags r:id="rId7"/>
            </p:custDataLst>
          </p:nvPr>
        </p:nvCxnSpPr>
        <p:spPr bwMode="gray">
          <a:xfrm>
            <a:off x="765175" y="5032375"/>
            <a:ext cx="6080125"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88" name="Straight Connector 687">
            <a:extLst>
              <a:ext uri="{FF2B5EF4-FFF2-40B4-BE49-F238E27FC236}">
                <a16:creationId xmlns:a16="http://schemas.microsoft.com/office/drawing/2014/main" id="{4A0E9194-98A8-3CD4-6C46-3F1E8E9D9C6F}"/>
              </a:ext>
            </a:extLst>
          </p:cNvPr>
          <p:cNvCxnSpPr/>
          <p:nvPr>
            <p:custDataLst>
              <p:tags r:id="rId8"/>
            </p:custDataLst>
          </p:nvPr>
        </p:nvCxnSpPr>
        <p:spPr bwMode="gray">
          <a:xfrm>
            <a:off x="765175" y="4725988"/>
            <a:ext cx="6080125"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4" name="Straight Connector 693">
            <a:extLst>
              <a:ext uri="{FF2B5EF4-FFF2-40B4-BE49-F238E27FC236}">
                <a16:creationId xmlns:a16="http://schemas.microsoft.com/office/drawing/2014/main" id="{41FA7771-ED3E-1962-85E7-C8B001871C41}"/>
              </a:ext>
            </a:extLst>
          </p:cNvPr>
          <p:cNvCxnSpPr/>
          <p:nvPr>
            <p:custDataLst>
              <p:tags r:id="rId9"/>
            </p:custDataLst>
          </p:nvPr>
        </p:nvCxnSpPr>
        <p:spPr bwMode="gray">
          <a:xfrm>
            <a:off x="765175" y="3494088"/>
            <a:ext cx="6080125"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35" name="Straight Connector 434">
            <a:extLst>
              <a:ext uri="{FF2B5EF4-FFF2-40B4-BE49-F238E27FC236}">
                <a16:creationId xmlns:a16="http://schemas.microsoft.com/office/drawing/2014/main" id="{CC795BDA-4BC3-9AC6-447C-5DAE1FA8C30C}"/>
              </a:ext>
            </a:extLst>
          </p:cNvPr>
          <p:cNvCxnSpPr/>
          <p:nvPr>
            <p:custDataLst>
              <p:tags r:id="rId10"/>
            </p:custDataLst>
          </p:nvPr>
        </p:nvCxnSpPr>
        <p:spPr bwMode="gray">
          <a:xfrm>
            <a:off x="765175" y="4418013"/>
            <a:ext cx="6080125"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6" name="Straight Connector 695">
            <a:extLst>
              <a:ext uri="{FF2B5EF4-FFF2-40B4-BE49-F238E27FC236}">
                <a16:creationId xmlns:a16="http://schemas.microsoft.com/office/drawing/2014/main" id="{DC76E5E7-5D8E-DE08-96F7-AB1BA72C24C3}"/>
              </a:ext>
            </a:extLst>
          </p:cNvPr>
          <p:cNvCxnSpPr/>
          <p:nvPr>
            <p:custDataLst>
              <p:tags r:id="rId11"/>
            </p:custDataLst>
          </p:nvPr>
        </p:nvCxnSpPr>
        <p:spPr bwMode="gray">
          <a:xfrm>
            <a:off x="765175" y="3186113"/>
            <a:ext cx="6080125"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0" name="Straight Connector 689">
            <a:extLst>
              <a:ext uri="{FF2B5EF4-FFF2-40B4-BE49-F238E27FC236}">
                <a16:creationId xmlns:a16="http://schemas.microsoft.com/office/drawing/2014/main" id="{264A3B0D-EF76-26F1-BAF1-45335E3BAD16}"/>
              </a:ext>
            </a:extLst>
          </p:cNvPr>
          <p:cNvCxnSpPr/>
          <p:nvPr>
            <p:custDataLst>
              <p:tags r:id="rId12"/>
            </p:custDataLst>
          </p:nvPr>
        </p:nvCxnSpPr>
        <p:spPr bwMode="gray">
          <a:xfrm>
            <a:off x="765175" y="4110038"/>
            <a:ext cx="6080125"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C9931C53-935E-A47A-9F38-1CB7DB9990FB}"/>
              </a:ext>
            </a:extLst>
          </p:cNvPr>
          <p:cNvCxnSpPr/>
          <p:nvPr>
            <p:custDataLst>
              <p:tags r:id="rId13"/>
            </p:custDataLst>
          </p:nvPr>
        </p:nvCxnSpPr>
        <p:spPr bwMode="gray">
          <a:xfrm>
            <a:off x="765175" y="2878138"/>
            <a:ext cx="6080125"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8" name="Straight Connector 697">
            <a:extLst>
              <a:ext uri="{FF2B5EF4-FFF2-40B4-BE49-F238E27FC236}">
                <a16:creationId xmlns:a16="http://schemas.microsoft.com/office/drawing/2014/main" id="{F8B8F01F-7A94-8198-F286-33503F719EF6}"/>
              </a:ext>
            </a:extLst>
          </p:cNvPr>
          <p:cNvCxnSpPr/>
          <p:nvPr>
            <p:custDataLst>
              <p:tags r:id="rId14"/>
            </p:custDataLst>
          </p:nvPr>
        </p:nvCxnSpPr>
        <p:spPr bwMode="gray">
          <a:xfrm>
            <a:off x="765175" y="2571750"/>
            <a:ext cx="6080125"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02" name="Straight Connector 701">
            <a:extLst>
              <a:ext uri="{FF2B5EF4-FFF2-40B4-BE49-F238E27FC236}">
                <a16:creationId xmlns:a16="http://schemas.microsoft.com/office/drawing/2014/main" id="{F8BE403A-135E-430A-A8CD-AE4B7BA1BA5C}"/>
              </a:ext>
            </a:extLst>
          </p:cNvPr>
          <p:cNvCxnSpPr/>
          <p:nvPr>
            <p:custDataLst>
              <p:tags r:id="rId15"/>
            </p:custDataLst>
          </p:nvPr>
        </p:nvCxnSpPr>
        <p:spPr bwMode="gray">
          <a:xfrm>
            <a:off x="765175" y="2071688"/>
            <a:ext cx="6080125"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1B96866A-41E1-3653-5C2C-B9A97961E218}"/>
              </a:ext>
            </a:extLst>
          </p:cNvPr>
          <p:cNvCxnSpPr/>
          <p:nvPr>
            <p:custDataLst>
              <p:tags r:id="rId16"/>
            </p:custDataLst>
          </p:nvPr>
        </p:nvCxnSpPr>
        <p:spPr bwMode="auto">
          <a:xfrm flipH="1">
            <a:off x="722313" y="59563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1" name="Straight Connector 690">
            <a:extLst>
              <a:ext uri="{FF2B5EF4-FFF2-40B4-BE49-F238E27FC236}">
                <a16:creationId xmlns:a16="http://schemas.microsoft.com/office/drawing/2014/main" id="{39FB13B1-32AE-F8EC-14E2-95F68177B3EA}"/>
              </a:ext>
            </a:extLst>
          </p:cNvPr>
          <p:cNvCxnSpPr/>
          <p:nvPr>
            <p:custDataLst>
              <p:tags r:id="rId17"/>
            </p:custDataLst>
          </p:nvPr>
        </p:nvCxnSpPr>
        <p:spPr bwMode="auto">
          <a:xfrm flipH="1">
            <a:off x="722313" y="3802063"/>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81" name="Straight Connector 680">
            <a:extLst>
              <a:ext uri="{FF2B5EF4-FFF2-40B4-BE49-F238E27FC236}">
                <a16:creationId xmlns:a16="http://schemas.microsoft.com/office/drawing/2014/main" id="{3AFED952-CC00-CFCF-FAE8-FB95A4880D59}"/>
              </a:ext>
            </a:extLst>
          </p:cNvPr>
          <p:cNvCxnSpPr/>
          <p:nvPr>
            <p:custDataLst>
              <p:tags r:id="rId18"/>
            </p:custDataLst>
          </p:nvPr>
        </p:nvCxnSpPr>
        <p:spPr bwMode="auto">
          <a:xfrm flipH="1">
            <a:off x="722313" y="5648325"/>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83" name="Straight Connector 682">
            <a:extLst>
              <a:ext uri="{FF2B5EF4-FFF2-40B4-BE49-F238E27FC236}">
                <a16:creationId xmlns:a16="http://schemas.microsoft.com/office/drawing/2014/main" id="{DA86910F-A82B-1282-F6B5-091336175A5C}"/>
              </a:ext>
            </a:extLst>
          </p:cNvPr>
          <p:cNvCxnSpPr/>
          <p:nvPr>
            <p:custDataLst>
              <p:tags r:id="rId19"/>
            </p:custDataLst>
          </p:nvPr>
        </p:nvCxnSpPr>
        <p:spPr bwMode="auto">
          <a:xfrm flipH="1">
            <a:off x="722313" y="534035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39" name="Straight Connector 438">
            <a:extLst>
              <a:ext uri="{FF2B5EF4-FFF2-40B4-BE49-F238E27FC236}">
                <a16:creationId xmlns:a16="http://schemas.microsoft.com/office/drawing/2014/main" id="{B1B0B0D0-750B-C8EC-4E89-A73A2A9855B6}"/>
              </a:ext>
            </a:extLst>
          </p:cNvPr>
          <p:cNvCxnSpPr/>
          <p:nvPr>
            <p:custDataLst>
              <p:tags r:id="rId20"/>
            </p:custDataLst>
          </p:nvPr>
        </p:nvCxnSpPr>
        <p:spPr bwMode="auto">
          <a:xfrm flipH="1">
            <a:off x="722313" y="287813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85" name="Straight Connector 684">
            <a:extLst>
              <a:ext uri="{FF2B5EF4-FFF2-40B4-BE49-F238E27FC236}">
                <a16:creationId xmlns:a16="http://schemas.microsoft.com/office/drawing/2014/main" id="{EC1CCD38-B560-C629-EA71-0FD8C424E70A}"/>
              </a:ext>
            </a:extLst>
          </p:cNvPr>
          <p:cNvCxnSpPr/>
          <p:nvPr>
            <p:custDataLst>
              <p:tags r:id="rId21"/>
            </p:custDataLst>
          </p:nvPr>
        </p:nvCxnSpPr>
        <p:spPr bwMode="auto">
          <a:xfrm flipH="1">
            <a:off x="722313" y="5032375"/>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3" name="Straight Connector 692">
            <a:extLst>
              <a:ext uri="{FF2B5EF4-FFF2-40B4-BE49-F238E27FC236}">
                <a16:creationId xmlns:a16="http://schemas.microsoft.com/office/drawing/2014/main" id="{FBE5DE66-E133-8DA0-D375-27AEC92BDD62}"/>
              </a:ext>
            </a:extLst>
          </p:cNvPr>
          <p:cNvCxnSpPr/>
          <p:nvPr>
            <p:custDataLst>
              <p:tags r:id="rId22"/>
            </p:custDataLst>
          </p:nvPr>
        </p:nvCxnSpPr>
        <p:spPr bwMode="auto">
          <a:xfrm flipH="1">
            <a:off x="722313" y="349408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87" name="Straight Connector 686">
            <a:extLst>
              <a:ext uri="{FF2B5EF4-FFF2-40B4-BE49-F238E27FC236}">
                <a16:creationId xmlns:a16="http://schemas.microsoft.com/office/drawing/2014/main" id="{2BABDCB0-3308-ABED-5E49-68D81290978B}"/>
              </a:ext>
            </a:extLst>
          </p:cNvPr>
          <p:cNvCxnSpPr/>
          <p:nvPr>
            <p:custDataLst>
              <p:tags r:id="rId23"/>
            </p:custDataLst>
          </p:nvPr>
        </p:nvCxnSpPr>
        <p:spPr bwMode="auto">
          <a:xfrm flipH="1">
            <a:off x="722313" y="472598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43" name="Straight Connector 442">
            <a:extLst>
              <a:ext uri="{FF2B5EF4-FFF2-40B4-BE49-F238E27FC236}">
                <a16:creationId xmlns:a16="http://schemas.microsoft.com/office/drawing/2014/main" id="{601DD180-ADA9-30FF-BCC7-2D09FDE350B4}"/>
              </a:ext>
            </a:extLst>
          </p:cNvPr>
          <p:cNvCxnSpPr/>
          <p:nvPr>
            <p:custDataLst>
              <p:tags r:id="rId24"/>
            </p:custDataLst>
          </p:nvPr>
        </p:nvCxnSpPr>
        <p:spPr bwMode="auto">
          <a:xfrm flipH="1">
            <a:off x="722313" y="4418013"/>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89" name="Straight Connector 688">
            <a:extLst>
              <a:ext uri="{FF2B5EF4-FFF2-40B4-BE49-F238E27FC236}">
                <a16:creationId xmlns:a16="http://schemas.microsoft.com/office/drawing/2014/main" id="{83B56D42-7AA2-1414-8851-DF8483B61F8D}"/>
              </a:ext>
            </a:extLst>
          </p:cNvPr>
          <p:cNvCxnSpPr/>
          <p:nvPr>
            <p:custDataLst>
              <p:tags r:id="rId25"/>
            </p:custDataLst>
          </p:nvPr>
        </p:nvCxnSpPr>
        <p:spPr bwMode="auto">
          <a:xfrm flipH="1">
            <a:off x="722313" y="411003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5" name="Straight Connector 694">
            <a:extLst>
              <a:ext uri="{FF2B5EF4-FFF2-40B4-BE49-F238E27FC236}">
                <a16:creationId xmlns:a16="http://schemas.microsoft.com/office/drawing/2014/main" id="{66EF51B8-BF31-B462-7197-5B28400F9122}"/>
              </a:ext>
            </a:extLst>
          </p:cNvPr>
          <p:cNvCxnSpPr/>
          <p:nvPr>
            <p:custDataLst>
              <p:tags r:id="rId26"/>
            </p:custDataLst>
          </p:nvPr>
        </p:nvCxnSpPr>
        <p:spPr bwMode="auto">
          <a:xfrm flipH="1">
            <a:off x="722313" y="3186113"/>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7" name="Straight Connector 696">
            <a:extLst>
              <a:ext uri="{FF2B5EF4-FFF2-40B4-BE49-F238E27FC236}">
                <a16:creationId xmlns:a16="http://schemas.microsoft.com/office/drawing/2014/main" id="{3E88B4C5-040A-4119-6276-0928D38866AD}"/>
              </a:ext>
            </a:extLst>
          </p:cNvPr>
          <p:cNvCxnSpPr/>
          <p:nvPr>
            <p:custDataLst>
              <p:tags r:id="rId27"/>
            </p:custDataLst>
          </p:nvPr>
        </p:nvCxnSpPr>
        <p:spPr bwMode="auto">
          <a:xfrm flipH="1">
            <a:off x="722313" y="257175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9" name="Straight Connector 698">
            <a:extLst>
              <a:ext uri="{FF2B5EF4-FFF2-40B4-BE49-F238E27FC236}">
                <a16:creationId xmlns:a16="http://schemas.microsoft.com/office/drawing/2014/main" id="{9ED813FB-AB0E-9168-90CD-127BAE69DEBB}"/>
              </a:ext>
            </a:extLst>
          </p:cNvPr>
          <p:cNvCxnSpPr/>
          <p:nvPr>
            <p:custDataLst>
              <p:tags r:id="rId28"/>
            </p:custDataLst>
          </p:nvPr>
        </p:nvCxnSpPr>
        <p:spPr bwMode="auto">
          <a:xfrm flipH="1">
            <a:off x="722313" y="2263775"/>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01" name="Straight Connector 700">
            <a:extLst>
              <a:ext uri="{FF2B5EF4-FFF2-40B4-BE49-F238E27FC236}">
                <a16:creationId xmlns:a16="http://schemas.microsoft.com/office/drawing/2014/main" id="{9AF8F8DF-73FF-FF8F-B615-B8BBD41BEC33}"/>
              </a:ext>
            </a:extLst>
          </p:cNvPr>
          <p:cNvCxnSpPr/>
          <p:nvPr>
            <p:custDataLst>
              <p:tags r:id="rId29"/>
            </p:custDataLst>
          </p:nvPr>
        </p:nvCxnSpPr>
        <p:spPr bwMode="auto">
          <a:xfrm flipH="1">
            <a:off x="722313" y="207168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9" name="Chart 28">
            <a:extLst>
              <a:ext uri="{FF2B5EF4-FFF2-40B4-BE49-F238E27FC236}">
                <a16:creationId xmlns:a16="http://schemas.microsoft.com/office/drawing/2014/main" id="{11BE0924-497D-3EF4-8F25-D377DE10EA1F}"/>
              </a:ext>
            </a:extLst>
          </p:cNvPr>
          <p:cNvGraphicFramePr/>
          <p:nvPr>
            <p:custDataLst>
              <p:tags r:id="rId30"/>
            </p:custDataLst>
            <p:extLst>
              <p:ext uri="{D42A27DB-BD31-4B8C-83A1-F6EECF244321}">
                <p14:modId xmlns:p14="http://schemas.microsoft.com/office/powerpoint/2010/main" val="2969662593"/>
              </p:ext>
            </p:extLst>
          </p:nvPr>
        </p:nvGraphicFramePr>
        <p:xfrm>
          <a:off x="682625" y="1885950"/>
          <a:ext cx="6445250" cy="4256088"/>
        </p:xfrm>
        <a:graphic>
          <a:graphicData uri="http://schemas.openxmlformats.org/drawingml/2006/chart">
            <c:chart xmlns:c="http://schemas.openxmlformats.org/drawingml/2006/chart" xmlns:r="http://schemas.openxmlformats.org/officeDocument/2006/relationships" r:id="rId85"/>
          </a:graphicData>
        </a:graphic>
      </p:graphicFrame>
      <p:sp>
        <p:nvSpPr>
          <p:cNvPr id="677" name="Text Placeholder 10">
            <a:extLst>
              <a:ext uri="{FF2B5EF4-FFF2-40B4-BE49-F238E27FC236}">
                <a16:creationId xmlns:a16="http://schemas.microsoft.com/office/drawing/2014/main" id="{F05DAD85-E0CB-7912-D234-013643E957E0}"/>
              </a:ext>
            </a:extLst>
          </p:cNvPr>
          <p:cNvSpPr txBox="1">
            <a:spLocks/>
          </p:cNvSpPr>
          <p:nvPr>
            <p:custDataLst>
              <p:tags r:id="rId31"/>
            </p:custDataLst>
          </p:nvPr>
        </p:nvSpPr>
        <p:spPr bwMode="gray">
          <a:xfrm>
            <a:off x="427038" y="3109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0E65AC0-3115-468F-ADF9-6EEBDD6E1176}" type="datetime'''''''''''''''''''''''''''''''''''''''18''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8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35" name="Text Placeholder 10">
            <a:extLst>
              <a:ext uri="{FF2B5EF4-FFF2-40B4-BE49-F238E27FC236}">
                <a16:creationId xmlns:a16="http://schemas.microsoft.com/office/drawing/2014/main" id="{000D46E3-A25B-1374-18B9-3AA3F97EA6C6}"/>
              </a:ext>
            </a:extLst>
          </p:cNvPr>
          <p:cNvSpPr>
            <a:spLocks noGrp="1"/>
          </p:cNvSpPr>
          <p:nvPr>
            <p:custDataLst>
              <p:tags r:id="rId32"/>
            </p:custDataLst>
          </p:nvPr>
        </p:nvSpPr>
        <p:spPr bwMode="gray">
          <a:xfrm>
            <a:off x="427038" y="28019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E5DD7FB-94E4-467A-82CE-1F103CA93276}" type="datetime'''2''''''''0''''''''''''''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59" name="Text Placeholder 10">
            <a:extLst>
              <a:ext uri="{FF2B5EF4-FFF2-40B4-BE49-F238E27FC236}">
                <a16:creationId xmlns:a16="http://schemas.microsoft.com/office/drawing/2014/main" id="{4654C0F9-3DC3-D3D4-0931-3292D1BAFDBB}"/>
              </a:ext>
            </a:extLst>
          </p:cNvPr>
          <p:cNvSpPr>
            <a:spLocks noGrp="1"/>
          </p:cNvSpPr>
          <p:nvPr>
            <p:custDataLst>
              <p:tags r:id="rId33"/>
            </p:custDataLst>
          </p:nvPr>
        </p:nvSpPr>
        <p:spPr bwMode="gray">
          <a:xfrm>
            <a:off x="566738" y="58801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C95B30A-B52C-4D45-9810-DC178CAAE30D}" type="datetime'''''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0" name="Text Placeholder 10">
            <a:extLst>
              <a:ext uri="{FF2B5EF4-FFF2-40B4-BE49-F238E27FC236}">
                <a16:creationId xmlns:a16="http://schemas.microsoft.com/office/drawing/2014/main" id="{1B4AB3E7-11B8-EE5E-6DFD-006BB1B1CDD7}"/>
              </a:ext>
            </a:extLst>
          </p:cNvPr>
          <p:cNvSpPr txBox="1">
            <a:spLocks/>
          </p:cNvSpPr>
          <p:nvPr>
            <p:custDataLst>
              <p:tags r:id="rId34"/>
            </p:custDataLst>
          </p:nvPr>
        </p:nvSpPr>
        <p:spPr bwMode="gray">
          <a:xfrm>
            <a:off x="496888" y="5572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92E0751-0AC3-490C-97D5-586896956C0E}" type="datetime'''''2''''''''''''''''''''''''''''''''''''''''''''''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8" name="Text Placeholder 10">
            <a:extLst>
              <a:ext uri="{FF2B5EF4-FFF2-40B4-BE49-F238E27FC236}">
                <a16:creationId xmlns:a16="http://schemas.microsoft.com/office/drawing/2014/main" id="{167F2EA8-C0CF-3D8B-DFA9-23DD0D000F37}"/>
              </a:ext>
            </a:extLst>
          </p:cNvPr>
          <p:cNvSpPr txBox="1">
            <a:spLocks/>
          </p:cNvSpPr>
          <p:nvPr>
            <p:custDataLst>
              <p:tags r:id="rId35"/>
            </p:custDataLst>
          </p:nvPr>
        </p:nvSpPr>
        <p:spPr bwMode="gray">
          <a:xfrm>
            <a:off x="427038" y="24955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C1E6EB-703C-43D9-8F35-8F4A79E9BB37}" type="datetime'''''''''''2''''''2''''''''''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2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1" name="Text Placeholder 10">
            <a:extLst>
              <a:ext uri="{FF2B5EF4-FFF2-40B4-BE49-F238E27FC236}">
                <a16:creationId xmlns:a16="http://schemas.microsoft.com/office/drawing/2014/main" id="{A75169C3-E850-F659-943A-BBEF46233B76}"/>
              </a:ext>
            </a:extLst>
          </p:cNvPr>
          <p:cNvSpPr txBox="1">
            <a:spLocks/>
          </p:cNvSpPr>
          <p:nvPr>
            <p:custDataLst>
              <p:tags r:id="rId36"/>
            </p:custDataLst>
          </p:nvPr>
        </p:nvSpPr>
        <p:spPr bwMode="gray">
          <a:xfrm>
            <a:off x="496888" y="52641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F5E5CA8-796E-4696-B6EC-C6CE764E4F25}" type="datetime'4''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2" name="Text Placeholder 10">
            <a:extLst>
              <a:ext uri="{FF2B5EF4-FFF2-40B4-BE49-F238E27FC236}">
                <a16:creationId xmlns:a16="http://schemas.microsoft.com/office/drawing/2014/main" id="{4681CE21-CA27-C01C-DEE0-FFAE7D2A21DE}"/>
              </a:ext>
            </a:extLst>
          </p:cNvPr>
          <p:cNvSpPr txBox="1">
            <a:spLocks/>
          </p:cNvSpPr>
          <p:nvPr>
            <p:custDataLst>
              <p:tags r:id="rId37"/>
            </p:custDataLst>
          </p:nvPr>
        </p:nvSpPr>
        <p:spPr bwMode="gray">
          <a:xfrm>
            <a:off x="496888" y="49561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77E9748-5CE7-46B0-B4FA-EE4D36FA742E}" type="datetime'''''''''6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9" name="Text Placeholder 10">
            <a:extLst>
              <a:ext uri="{FF2B5EF4-FFF2-40B4-BE49-F238E27FC236}">
                <a16:creationId xmlns:a16="http://schemas.microsoft.com/office/drawing/2014/main" id="{BD3DF53A-B59F-A9D6-2139-FE27C409E6A9}"/>
              </a:ext>
            </a:extLst>
          </p:cNvPr>
          <p:cNvSpPr txBox="1">
            <a:spLocks/>
          </p:cNvSpPr>
          <p:nvPr>
            <p:custDataLst>
              <p:tags r:id="rId38"/>
            </p:custDataLst>
          </p:nvPr>
        </p:nvSpPr>
        <p:spPr bwMode="gray">
          <a:xfrm>
            <a:off x="427038" y="21875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5254CCE-9056-4965-8F28-F418F50FDA24}" type="datetime'''2''''''''''''''''4''''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4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3" name="Text Placeholder 10">
            <a:extLst>
              <a:ext uri="{FF2B5EF4-FFF2-40B4-BE49-F238E27FC236}">
                <a16:creationId xmlns:a16="http://schemas.microsoft.com/office/drawing/2014/main" id="{7D8E27C5-90A2-3683-3FEA-8A995E5C6171}"/>
              </a:ext>
            </a:extLst>
          </p:cNvPr>
          <p:cNvSpPr txBox="1">
            <a:spLocks/>
          </p:cNvSpPr>
          <p:nvPr>
            <p:custDataLst>
              <p:tags r:id="rId39"/>
            </p:custDataLst>
          </p:nvPr>
        </p:nvSpPr>
        <p:spPr bwMode="gray">
          <a:xfrm>
            <a:off x="496888" y="46497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E14796C-935F-4D84-9ABD-72D2EEEEF285}" type="datetime'''''''''''''''''''''''8''''''''''''''''''''''''''''''''''''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6" name="Text Placeholder 10">
            <a:extLst>
              <a:ext uri="{FF2B5EF4-FFF2-40B4-BE49-F238E27FC236}">
                <a16:creationId xmlns:a16="http://schemas.microsoft.com/office/drawing/2014/main" id="{10054DAD-209F-1B9B-483B-93B77CA32BB2}"/>
              </a:ext>
            </a:extLst>
          </p:cNvPr>
          <p:cNvSpPr txBox="1">
            <a:spLocks/>
          </p:cNvSpPr>
          <p:nvPr>
            <p:custDataLst>
              <p:tags r:id="rId40"/>
            </p:custDataLst>
          </p:nvPr>
        </p:nvSpPr>
        <p:spPr bwMode="gray">
          <a:xfrm>
            <a:off x="427038" y="34178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902FAE4-EA4C-4B09-A871-6C6604DAA45B}" type="datetime'''1''6''''''''''''''''''''''''''''''''''''''''''''''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0" name="Text Placeholder 10">
            <a:extLst>
              <a:ext uri="{FF2B5EF4-FFF2-40B4-BE49-F238E27FC236}">
                <a16:creationId xmlns:a16="http://schemas.microsoft.com/office/drawing/2014/main" id="{08C4395E-B27D-9997-08B4-9B265E2B7019}"/>
              </a:ext>
            </a:extLst>
          </p:cNvPr>
          <p:cNvSpPr txBox="1">
            <a:spLocks/>
          </p:cNvSpPr>
          <p:nvPr>
            <p:custDataLst>
              <p:tags r:id="rId41"/>
            </p:custDataLst>
          </p:nvPr>
        </p:nvSpPr>
        <p:spPr bwMode="gray">
          <a:xfrm>
            <a:off x="427038" y="19954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7F4402A-042F-4E00-8D78-E6A2298632A4}" type="datetime'''''3''''''''''''''''''''''''''''6''''''''''''''''''''''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6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45" name="Text Placeholder 10">
            <a:extLst>
              <a:ext uri="{FF2B5EF4-FFF2-40B4-BE49-F238E27FC236}">
                <a16:creationId xmlns:a16="http://schemas.microsoft.com/office/drawing/2014/main" id="{59A80373-816F-CC7E-9665-841B4C321897}"/>
              </a:ext>
            </a:extLst>
          </p:cNvPr>
          <p:cNvSpPr>
            <a:spLocks noGrp="1"/>
          </p:cNvSpPr>
          <p:nvPr>
            <p:custDataLst>
              <p:tags r:id="rId42"/>
            </p:custDataLst>
          </p:nvPr>
        </p:nvSpPr>
        <p:spPr bwMode="gray">
          <a:xfrm>
            <a:off x="427038" y="43418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CD79F6C-91C5-4431-81E2-EEF3C3426BCA}" type="datetime'''''''1''''''''''''''''''''''''''0''''''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4" name="Text Placeholder 10">
            <a:extLst>
              <a:ext uri="{FF2B5EF4-FFF2-40B4-BE49-F238E27FC236}">
                <a16:creationId xmlns:a16="http://schemas.microsoft.com/office/drawing/2014/main" id="{070AF87E-33E6-FB4B-E15E-E649AEF73116}"/>
              </a:ext>
            </a:extLst>
          </p:cNvPr>
          <p:cNvSpPr txBox="1">
            <a:spLocks/>
          </p:cNvSpPr>
          <p:nvPr>
            <p:custDataLst>
              <p:tags r:id="rId43"/>
            </p:custDataLst>
          </p:nvPr>
        </p:nvSpPr>
        <p:spPr bwMode="gray">
          <a:xfrm>
            <a:off x="427038" y="4033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A8556ED-6E7D-4E33-B2B9-305A12D6767D}" type="datetime'''''''''''''''''''1''''''''''''''''''''''''''''''2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5" name="Text Placeholder 10">
            <a:extLst>
              <a:ext uri="{FF2B5EF4-FFF2-40B4-BE49-F238E27FC236}">
                <a16:creationId xmlns:a16="http://schemas.microsoft.com/office/drawing/2014/main" id="{F8678585-7A3B-325C-53C3-D4F43F637AED}"/>
              </a:ext>
            </a:extLst>
          </p:cNvPr>
          <p:cNvSpPr txBox="1">
            <a:spLocks/>
          </p:cNvSpPr>
          <p:nvPr>
            <p:custDataLst>
              <p:tags r:id="rId44"/>
            </p:custDataLst>
          </p:nvPr>
        </p:nvSpPr>
        <p:spPr bwMode="gray">
          <a:xfrm>
            <a:off x="427038" y="37258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7A5EC70-BABF-4887-8562-91FBBCB58EE4}" type="datetime'1''''4''''''''''''''''''''''''''''''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useBgFill="1">
        <p:nvSpPr>
          <p:cNvPr id="13" name="Freeform: Shape 12">
            <a:extLst>
              <a:ext uri="{FF2B5EF4-FFF2-40B4-BE49-F238E27FC236}">
                <a16:creationId xmlns:a16="http://schemas.microsoft.com/office/drawing/2014/main" id="{D46CFF9E-8A6F-F4C4-09D3-925011510601}"/>
              </a:ext>
            </a:extLst>
          </p:cNvPr>
          <p:cNvSpPr/>
          <p:nvPr>
            <p:custDataLst>
              <p:tags r:id="rId45"/>
            </p:custDataLst>
          </p:nvPr>
        </p:nvSpPr>
        <p:spPr bwMode="auto">
          <a:xfrm>
            <a:off x="723900" y="2112963"/>
            <a:ext cx="412751" cy="79376"/>
          </a:xfrm>
          <a:custGeom>
            <a:avLst/>
            <a:gdLst/>
            <a:ahLst/>
            <a:cxnLst/>
            <a:rect l="0" t="0" r="0" b="0"/>
            <a:pathLst>
              <a:path w="412751" h="79376">
                <a:moveTo>
                  <a:pt x="0" y="22225"/>
                </a:moveTo>
                <a:lnTo>
                  <a:pt x="82550" y="0"/>
                </a:lnTo>
                <a:lnTo>
                  <a:pt x="165100" y="22225"/>
                </a:lnTo>
                <a:lnTo>
                  <a:pt x="247650" y="0"/>
                </a:lnTo>
                <a:lnTo>
                  <a:pt x="330200" y="22225"/>
                </a:lnTo>
                <a:lnTo>
                  <a:pt x="412750" y="0"/>
                </a:lnTo>
                <a:lnTo>
                  <a:pt x="412750" y="57150"/>
                </a:lnTo>
                <a:lnTo>
                  <a:pt x="330200" y="79375"/>
                </a:lnTo>
                <a:lnTo>
                  <a:pt x="247650" y="57150"/>
                </a:lnTo>
                <a:lnTo>
                  <a:pt x="165100" y="79375"/>
                </a:lnTo>
                <a:lnTo>
                  <a:pt x="82550" y="57150"/>
                </a:lnTo>
                <a:lnTo>
                  <a:pt x="0" y="79375"/>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 name="Freeform: Shape 9">
            <a:extLst>
              <a:ext uri="{FF2B5EF4-FFF2-40B4-BE49-F238E27FC236}">
                <a16:creationId xmlns:a16="http://schemas.microsoft.com/office/drawing/2014/main" id="{6ED9FB41-B9A3-FBD3-C692-F43194BB3D26}"/>
              </a:ext>
            </a:extLst>
          </p:cNvPr>
          <p:cNvSpPr/>
          <p:nvPr>
            <p:custDataLst>
              <p:tags r:id="rId46"/>
            </p:custDataLst>
          </p:nvPr>
        </p:nvSpPr>
        <p:spPr bwMode="auto">
          <a:xfrm>
            <a:off x="723900" y="2112963"/>
            <a:ext cx="412751" cy="22226"/>
          </a:xfrm>
          <a:custGeom>
            <a:avLst/>
            <a:gdLst/>
            <a:ahLst/>
            <a:cxnLst/>
            <a:rect l="0" t="0" r="0" b="0"/>
            <a:pathLst>
              <a:path w="412751" h="22226">
                <a:moveTo>
                  <a:pt x="0" y="22225"/>
                </a:moveTo>
                <a:lnTo>
                  <a:pt x="82550" y="0"/>
                </a:lnTo>
                <a:lnTo>
                  <a:pt x="165100" y="22225"/>
                </a:lnTo>
                <a:lnTo>
                  <a:pt x="247650" y="0"/>
                </a:lnTo>
                <a:lnTo>
                  <a:pt x="330200" y="22225"/>
                </a:lnTo>
                <a:lnTo>
                  <a:pt x="412750" y="0"/>
                </a:lnTo>
              </a:path>
            </a:pathLst>
          </a:custGeom>
          <a:noFill/>
          <a:ln w="9525" cap="flat" cmpd="sng" algn="ctr">
            <a:solidFill>
              <a:schemeClr val="tx1"/>
            </a:solidFill>
            <a:prstDash val="solid"/>
            <a:miter lim="800000"/>
            <a:headEnd type="none" w="med" len="med"/>
            <a:tailEnd type="none" w="med" len="lg"/>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Freeform: Shape 11">
            <a:extLst>
              <a:ext uri="{FF2B5EF4-FFF2-40B4-BE49-F238E27FC236}">
                <a16:creationId xmlns:a16="http://schemas.microsoft.com/office/drawing/2014/main" id="{2971C0C2-D67D-88EF-A8BC-F5EB9AFC984D}"/>
              </a:ext>
            </a:extLst>
          </p:cNvPr>
          <p:cNvSpPr/>
          <p:nvPr>
            <p:custDataLst>
              <p:tags r:id="rId47"/>
            </p:custDataLst>
          </p:nvPr>
        </p:nvSpPr>
        <p:spPr bwMode="auto">
          <a:xfrm>
            <a:off x="723900" y="2170113"/>
            <a:ext cx="412751" cy="22226"/>
          </a:xfrm>
          <a:custGeom>
            <a:avLst/>
            <a:gdLst/>
            <a:ahLst/>
            <a:cxnLst/>
            <a:rect l="0" t="0" r="0" b="0"/>
            <a:pathLst>
              <a:path w="412751" h="22226">
                <a:moveTo>
                  <a:pt x="0" y="22225"/>
                </a:moveTo>
                <a:lnTo>
                  <a:pt x="82550" y="0"/>
                </a:lnTo>
                <a:lnTo>
                  <a:pt x="165100" y="22225"/>
                </a:lnTo>
                <a:lnTo>
                  <a:pt x="247650" y="0"/>
                </a:lnTo>
                <a:lnTo>
                  <a:pt x="330200" y="22225"/>
                </a:lnTo>
                <a:lnTo>
                  <a:pt x="412750" y="0"/>
                </a:lnTo>
              </a:path>
            </a:pathLst>
          </a:custGeom>
          <a:noFill/>
          <a:ln w="9525" cap="flat" cmpd="sng" algn="ctr">
            <a:solidFill>
              <a:schemeClr val="tx1"/>
            </a:solidFill>
            <a:prstDash val="solid"/>
            <a:miter lim="800000"/>
            <a:headEnd type="none" w="med" len="med"/>
            <a:tailEnd type="none" w="med" len="lg"/>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6" name="Straight Connector 45">
            <a:extLst>
              <a:ext uri="{FF2B5EF4-FFF2-40B4-BE49-F238E27FC236}">
                <a16:creationId xmlns:a16="http://schemas.microsoft.com/office/drawing/2014/main" id="{05707D5F-8A7B-43D0-CB05-44323A7D67FA}"/>
              </a:ext>
            </a:extLst>
          </p:cNvPr>
          <p:cNvCxnSpPr/>
          <p:nvPr>
            <p:custDataLst>
              <p:tags r:id="rId48"/>
            </p:custDataLst>
          </p:nvPr>
        </p:nvCxnSpPr>
        <p:spPr bwMode="auto">
          <a:xfrm>
            <a:off x="1144588" y="443071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E13EA1E8-7DD4-0A9D-9E53-2FDBCEBD99A3}"/>
              </a:ext>
            </a:extLst>
          </p:cNvPr>
          <p:cNvCxnSpPr/>
          <p:nvPr>
            <p:custDataLst>
              <p:tags r:id="rId49"/>
            </p:custDataLst>
          </p:nvPr>
        </p:nvCxnSpPr>
        <p:spPr bwMode="auto">
          <a:xfrm>
            <a:off x="1905000" y="443071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7618CF03-67A7-356C-16CA-229FAAE21157}"/>
              </a:ext>
            </a:extLst>
          </p:cNvPr>
          <p:cNvCxnSpPr/>
          <p:nvPr>
            <p:custDataLst>
              <p:tags r:id="rId50"/>
            </p:custDataLst>
          </p:nvPr>
        </p:nvCxnSpPr>
        <p:spPr bwMode="auto">
          <a:xfrm>
            <a:off x="2286000" y="430688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28F0E8AE-100C-2C4E-162E-960B669C3045}"/>
              </a:ext>
            </a:extLst>
          </p:cNvPr>
          <p:cNvCxnSpPr/>
          <p:nvPr>
            <p:custDataLst>
              <p:tags r:id="rId51"/>
            </p:custDataLst>
          </p:nvPr>
        </p:nvCxnSpPr>
        <p:spPr bwMode="auto">
          <a:xfrm>
            <a:off x="3425825" y="410686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91" name="Text Placeholder 10">
            <a:extLst>
              <a:ext uri="{FF2B5EF4-FFF2-40B4-BE49-F238E27FC236}">
                <a16:creationId xmlns:a16="http://schemas.microsoft.com/office/drawing/2014/main" id="{A0E50218-C5C4-1B58-242A-92E50EF8042F}"/>
              </a:ext>
            </a:extLst>
          </p:cNvPr>
          <p:cNvSpPr>
            <a:spLocks noGrp="1"/>
          </p:cNvSpPr>
          <p:nvPr>
            <p:custDataLst>
              <p:tags r:id="rId52"/>
            </p:custDataLst>
          </p:nvPr>
        </p:nvSpPr>
        <p:spPr bwMode="auto">
          <a:xfrm>
            <a:off x="998538" y="59991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AF9E20C-C119-4C85-AACC-566F730AF72F}" type="datetime'''''''''20''''''''''''''''''''''''''1''''''''''''''''''''''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useBgFill="1">
        <p:nvSpPr>
          <p:cNvPr id="39" name="Text Placeholder 10">
            <a:extLst>
              <a:ext uri="{FF2B5EF4-FFF2-40B4-BE49-F238E27FC236}">
                <a16:creationId xmlns:a16="http://schemas.microsoft.com/office/drawing/2014/main" id="{F293B336-03FF-ED2C-22BC-C7DE343C0244}"/>
              </a:ext>
            </a:extLst>
          </p:cNvPr>
          <p:cNvSpPr txBox="1">
            <a:spLocks/>
          </p:cNvSpPr>
          <p:nvPr>
            <p:custDataLst>
              <p:tags r:id="rId53"/>
            </p:custDataLst>
          </p:nvPr>
        </p:nvSpPr>
        <p:spPr bwMode="gray">
          <a:xfrm>
            <a:off x="1454150" y="4322763"/>
            <a:ext cx="14287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21D6864-A24E-4671-AB22-259C7DCCCC28}" type="datetime'95'''''''''''''''''''''''''''''''''''''">
              <a:rPr kumimoji="0" lang="en-US" altLang="en-US" sz="8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5</a:t>
            </a:fld>
            <a:endParaRPr kumimoji="0" lang="en-US" sz="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useBgFill="1">
        <p:nvSpPr>
          <p:cNvPr id="495" name="Text Placeholder 2">
            <a:extLst>
              <a:ext uri="{FF2B5EF4-FFF2-40B4-BE49-F238E27FC236}">
                <a16:creationId xmlns:a16="http://schemas.microsoft.com/office/drawing/2014/main" id="{95BC2A96-C434-30F1-F103-2A4AEB4AEC40}"/>
              </a:ext>
            </a:extLst>
          </p:cNvPr>
          <p:cNvSpPr txBox="1">
            <a:spLocks/>
          </p:cNvSpPr>
          <p:nvPr>
            <p:custDataLst>
              <p:tags r:id="rId54"/>
            </p:custDataLst>
          </p:nvPr>
        </p:nvSpPr>
        <p:spPr bwMode="gray">
          <a:xfrm>
            <a:off x="1073150" y="4308475"/>
            <a:ext cx="142875" cy="122238"/>
          </a:xfrm>
          <a:prstGeom prst="rect">
            <a:avLst/>
          </a:prstGeom>
          <a:ln>
            <a:noFill/>
          </a:ln>
          <a:effectLst/>
        </p:spPr>
        <p:txBody>
          <a:bodyPr vert="horz" wrap="none" lIns="14288" tIns="0" rIns="14288"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887EE9D1-4F4B-4A21-B4A7-CF39141DFF5B}" type="datetime'''''''''''''''''''''''''''''''''9''''''''6'">
              <a:rPr kumimoji="0" lang="en-US" altLang="en-US" sz="8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96</a:t>
            </a:fld>
            <a:endParaRPr kumimoji="0" lang="en-US" sz="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useBgFill="1">
        <p:nvSpPr>
          <p:cNvPr id="41" name="Text Placeholder 10">
            <a:extLst>
              <a:ext uri="{FF2B5EF4-FFF2-40B4-BE49-F238E27FC236}">
                <a16:creationId xmlns:a16="http://schemas.microsoft.com/office/drawing/2014/main" id="{3E559EEA-8621-F80C-96CC-E6B744A94A8F}"/>
              </a:ext>
            </a:extLst>
          </p:cNvPr>
          <p:cNvSpPr txBox="1">
            <a:spLocks/>
          </p:cNvSpPr>
          <p:nvPr>
            <p:custDataLst>
              <p:tags r:id="rId55"/>
            </p:custDataLst>
          </p:nvPr>
        </p:nvSpPr>
        <p:spPr bwMode="gray">
          <a:xfrm>
            <a:off x="2565400" y="4060825"/>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0E78EE5-189C-4BDD-A92A-1EF07D6BF032}" type="datetime'''''''''''''''1''''''1''''''''''''''''''''''''''''''''2'''''''">
              <a:rPr kumimoji="0" lang="en-US" altLang="en-US" sz="8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2</a:t>
            </a:fld>
            <a:endParaRPr kumimoji="0" lang="en-US" sz="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95" name="Text Placeholder 10">
            <a:extLst>
              <a:ext uri="{FF2B5EF4-FFF2-40B4-BE49-F238E27FC236}">
                <a16:creationId xmlns:a16="http://schemas.microsoft.com/office/drawing/2014/main" id="{5C203C96-BD67-616C-761E-C9A49F119F5A}"/>
              </a:ext>
            </a:extLst>
          </p:cNvPr>
          <p:cNvSpPr>
            <a:spLocks noGrp="1"/>
          </p:cNvSpPr>
          <p:nvPr>
            <p:custDataLst>
              <p:tags r:id="rId56"/>
            </p:custDataLst>
          </p:nvPr>
        </p:nvSpPr>
        <p:spPr bwMode="auto">
          <a:xfrm>
            <a:off x="2898775" y="59991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4E2DA60-8726-42BA-A049-8A30D74C108E}" type="datetime'''''''''''20''''''''''''''''''1''''''''5'''">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useBgFill="1">
        <p:nvSpPr>
          <p:cNvPr id="669" name="Text Placeholder 10">
            <a:extLst>
              <a:ext uri="{FF2B5EF4-FFF2-40B4-BE49-F238E27FC236}">
                <a16:creationId xmlns:a16="http://schemas.microsoft.com/office/drawing/2014/main" id="{94FFC072-4BA1-0D80-572A-C325978D203A}"/>
              </a:ext>
            </a:extLst>
          </p:cNvPr>
          <p:cNvSpPr txBox="1">
            <a:spLocks/>
          </p:cNvSpPr>
          <p:nvPr>
            <p:custDataLst>
              <p:tags r:id="rId57"/>
            </p:custDataLst>
          </p:nvPr>
        </p:nvSpPr>
        <p:spPr bwMode="gray">
          <a:xfrm>
            <a:off x="3325813" y="3984625"/>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6593CB8-4172-44E5-9AC5-3B65E9C9035E}" type="datetime'1''''''1''''''''''''''''''''''''''''''''''''''''''''''7'">
              <a:rPr kumimoji="0" lang="en-US" altLang="en-US" sz="8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7</a:t>
            </a:fld>
            <a:endParaRPr kumimoji="0" lang="en-US" sz="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useBgFill="1">
        <p:nvSpPr>
          <p:cNvPr id="40" name="Text Placeholder 10">
            <a:extLst>
              <a:ext uri="{FF2B5EF4-FFF2-40B4-BE49-F238E27FC236}">
                <a16:creationId xmlns:a16="http://schemas.microsoft.com/office/drawing/2014/main" id="{4A2D0BBB-9CCA-9641-08EC-B98B22D21F43}"/>
              </a:ext>
            </a:extLst>
          </p:cNvPr>
          <p:cNvSpPr txBox="1">
            <a:spLocks/>
          </p:cNvSpPr>
          <p:nvPr>
            <p:custDataLst>
              <p:tags r:id="rId58"/>
            </p:custDataLst>
          </p:nvPr>
        </p:nvSpPr>
        <p:spPr bwMode="gray">
          <a:xfrm>
            <a:off x="1833563" y="4308475"/>
            <a:ext cx="14287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9439AD9-79B7-4D68-A2E1-6A300E588307}" type="datetime'''''''9''''''''''''''''''''''''''''''''''''''''''6'">
              <a:rPr kumimoji="0" lang="en-US" altLang="en-US" sz="8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6</a:t>
            </a:fld>
            <a:endParaRPr kumimoji="0" lang="en-US" sz="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useBgFill="1">
        <p:nvSpPr>
          <p:cNvPr id="44" name="Text Placeholder 10">
            <a:extLst>
              <a:ext uri="{FF2B5EF4-FFF2-40B4-BE49-F238E27FC236}">
                <a16:creationId xmlns:a16="http://schemas.microsoft.com/office/drawing/2014/main" id="{A357AEF1-563B-1FD0-636A-959B7E2609FD}"/>
              </a:ext>
            </a:extLst>
          </p:cNvPr>
          <p:cNvSpPr txBox="1">
            <a:spLocks/>
          </p:cNvSpPr>
          <p:nvPr>
            <p:custDataLst>
              <p:tags r:id="rId59"/>
            </p:custDataLst>
          </p:nvPr>
        </p:nvSpPr>
        <p:spPr bwMode="gray">
          <a:xfrm>
            <a:off x="4465638" y="3400425"/>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DF4A69B-4E35-479F-B882-3F7CCDEC6969}" type="datetime'''''''''''''''''1''''''''''''5''''''''5'''">
              <a:rPr kumimoji="0" lang="en-US" altLang="en-US" sz="8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5</a:t>
            </a:fld>
            <a:endParaRPr kumimoji="0" lang="en-US" sz="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93" name="Text Placeholder 10">
            <a:extLst>
              <a:ext uri="{FF2B5EF4-FFF2-40B4-BE49-F238E27FC236}">
                <a16:creationId xmlns:a16="http://schemas.microsoft.com/office/drawing/2014/main" id="{C854FB2B-7EAD-9957-666E-A0C0E140F0F3}"/>
              </a:ext>
            </a:extLst>
          </p:cNvPr>
          <p:cNvSpPr>
            <a:spLocks noGrp="1"/>
          </p:cNvSpPr>
          <p:nvPr>
            <p:custDataLst>
              <p:tags r:id="rId60"/>
            </p:custDataLst>
          </p:nvPr>
        </p:nvSpPr>
        <p:spPr bwMode="auto">
          <a:xfrm>
            <a:off x="4799013" y="59991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095D62E-6724-470D-A836-3DBA72263980}" type="datetime'''2''''''''''''''''0''2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Text Placeholder 10">
            <a:extLst>
              <a:ext uri="{FF2B5EF4-FFF2-40B4-BE49-F238E27FC236}">
                <a16:creationId xmlns:a16="http://schemas.microsoft.com/office/drawing/2014/main" id="{0709C5EC-893B-2BA4-977A-2ECB0E7F8A11}"/>
              </a:ext>
            </a:extLst>
          </p:cNvPr>
          <p:cNvSpPr>
            <a:spLocks noGrp="1"/>
          </p:cNvSpPr>
          <p:nvPr>
            <p:custDataLst>
              <p:tags r:id="rId61"/>
            </p:custDataLst>
          </p:nvPr>
        </p:nvSpPr>
        <p:spPr bwMode="auto">
          <a:xfrm>
            <a:off x="6699250" y="59991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2590F0-3E17-462A-AFBC-281E2380FAF5}"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useBgFill="1">
        <p:nvSpPr>
          <p:cNvPr id="43" name="Text Placeholder 10">
            <a:extLst>
              <a:ext uri="{FF2B5EF4-FFF2-40B4-BE49-F238E27FC236}">
                <a16:creationId xmlns:a16="http://schemas.microsoft.com/office/drawing/2014/main" id="{08F12CB9-DD2E-7298-5AE5-8E3B6B99FAA7}"/>
              </a:ext>
            </a:extLst>
          </p:cNvPr>
          <p:cNvSpPr txBox="1">
            <a:spLocks/>
          </p:cNvSpPr>
          <p:nvPr>
            <p:custDataLst>
              <p:tags r:id="rId62"/>
            </p:custDataLst>
          </p:nvPr>
        </p:nvSpPr>
        <p:spPr bwMode="gray">
          <a:xfrm>
            <a:off x="4084638" y="3460750"/>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7E366E8-039B-47AA-A8C9-274783D5DA80}" type="datetime'''''''1''''''5''''''''''''1'''''''''''''''''''''''''">
              <a:rPr kumimoji="0" lang="en-US" altLang="en-US" sz="8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1</a:t>
            </a:fld>
            <a:endParaRPr kumimoji="0" lang="en-US" sz="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F780DBEF-811C-6028-371B-08A53A39F5F5}"/>
              </a:ext>
            </a:extLst>
          </p:cNvPr>
          <p:cNvSpPr/>
          <p:nvPr/>
        </p:nvSpPr>
        <p:spPr bwMode="gray">
          <a:xfrm>
            <a:off x="1998935" y="1909763"/>
            <a:ext cx="4153938" cy="123666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FCD21BFC-9CA0-D551-2E40-CEAE47AD0A2A}"/>
              </a:ext>
            </a:extLst>
          </p:cNvPr>
          <p:cNvSpPr>
            <a:spLocks noGrp="1"/>
          </p:cNvSpPr>
          <p:nvPr>
            <p:ph type="title"/>
          </p:nvPr>
        </p:nvSpPr>
        <p:spPr>
          <a:xfrm>
            <a:off x="330200" y="523318"/>
            <a:ext cx="11531600" cy="882788"/>
          </a:xfrm>
        </p:spPr>
        <p:txBody>
          <a:bodyPr vert="horz">
            <a:noAutofit/>
          </a:bodyPr>
          <a:lstStyle/>
          <a:p>
            <a:r>
              <a:rPr lang="en-US" b="1">
                <a:latin typeface="Arial" panose="020B0604020202020204" pitchFamily="34" charset="0"/>
                <a:cs typeface="Arial" panose="020B0604020202020204" pitchFamily="34" charset="0"/>
              </a:rPr>
              <a:t>At an LCOE of ~$182/MWh, nuclear is far above gas or renewables with storage solutions; reactor life extension is cheapest option</a:t>
            </a:r>
          </a:p>
        </p:txBody>
      </p:sp>
      <p:sp>
        <p:nvSpPr>
          <p:cNvPr id="599" name="TextBox 598">
            <a:extLst>
              <a:ext uri="{FF2B5EF4-FFF2-40B4-BE49-F238E27FC236}">
                <a16:creationId xmlns:a16="http://schemas.microsoft.com/office/drawing/2014/main" id="{D013A91E-725D-F651-7460-1FBEF9793B4E}"/>
              </a:ext>
            </a:extLst>
          </p:cNvPr>
          <p:cNvSpPr txBox="1"/>
          <p:nvPr/>
        </p:nvSpPr>
        <p:spPr bwMode="gray">
          <a:xfrm>
            <a:off x="419895" y="1557818"/>
            <a:ext cx="3289300" cy="28814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COE by technology,</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MWh</a:t>
            </a:r>
          </a:p>
        </p:txBody>
      </p:sp>
      <p:cxnSp>
        <p:nvCxnSpPr>
          <p:cNvPr id="601" name="btfpColumnHeaderBoxLine912903">
            <a:extLst>
              <a:ext uri="{FF2B5EF4-FFF2-40B4-BE49-F238E27FC236}">
                <a16:creationId xmlns:a16="http://schemas.microsoft.com/office/drawing/2014/main" id="{68A39EFC-8545-51FD-A55B-96030E111B70}"/>
              </a:ext>
            </a:extLst>
          </p:cNvPr>
          <p:cNvCxnSpPr>
            <a:cxnSpLocks/>
          </p:cNvCxnSpPr>
          <p:nvPr/>
        </p:nvCxnSpPr>
        <p:spPr bwMode="gray">
          <a:xfrm>
            <a:off x="419894" y="1851025"/>
            <a:ext cx="655716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63" name="btfpNotesBox111697">
            <a:extLst>
              <a:ext uri="{FF2B5EF4-FFF2-40B4-BE49-F238E27FC236}">
                <a16:creationId xmlns:a16="http://schemas.microsoft.com/office/drawing/2014/main" id="{07B043A9-623E-3406-FB2E-D355A2DF7625}"/>
              </a:ext>
            </a:extLst>
          </p:cNvPr>
          <p:cNvSpPr txBox="1"/>
          <p:nvPr/>
        </p:nvSpPr>
        <p:spPr bwMode="gray">
          <a:xfrm>
            <a:off x="330200" y="6309360"/>
            <a:ext cx="11531600" cy="492443"/>
          </a:xfrm>
          <a:prstGeom prst="rect">
            <a:avLst/>
          </a:prstGeom>
          <a:noFill/>
        </p:spPr>
        <p:txBody>
          <a:bodyPr vert="horz" wrap="square" lIns="0" tIns="0" rIns="0" bIns="0"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l" defTabSz="711200" rtl="0" eaLnBrk="1" fontAlgn="base"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711200" rtl="0" eaLnBrk="1" fontAlgn="base" latinLnBrk="0" hangingPunct="1">
              <a:lnSpc>
                <a:spcPct val="100000"/>
              </a:lnSpc>
              <a:spcBef>
                <a:spcPts val="0"/>
              </a:spcBef>
              <a:spcAft>
                <a:spcPts val="0"/>
              </a:spcAft>
              <a:buClrTx/>
              <a:buSzTx/>
              <a:buFontTx/>
              <a:buNone/>
              <a:tabLst/>
              <a:defRPr/>
            </a:pPr>
            <a:endParaRPr lang="en-US" sz="800" dirty="0">
              <a:solidFill>
                <a:srgbClr val="000000"/>
              </a:solidFill>
              <a:latin typeface="Arial" panose="020B0604020202020204" pitchFamily="34" charset="0"/>
              <a:cs typeface="Arial" panose="020B0604020202020204" pitchFamily="34" charset="0"/>
            </a:endParaRPr>
          </a:p>
          <a:p>
            <a:pPr marL="0" marR="0" lvl="0" indent="0" algn="l" defTabSz="711200" rtl="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s: Lazard,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86"/>
              </a:rPr>
              <a:t>LCOE+</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5); Statista, </a:t>
            </a:r>
            <a:r>
              <a:rPr kumimoji="0" lang="en-US" sz="800" b="0" i="0" u="sng" strike="noStrike" kern="1200" cap="none" spc="0" normalizeH="0" baseline="0" noProof="0" dirty="0">
                <a:ln>
                  <a:noFill/>
                </a:ln>
                <a:solidFill>
                  <a:srgbClr val="46647B"/>
                </a:solidFill>
                <a:effectLst/>
                <a:uLnTx/>
                <a:uFillTx/>
                <a:latin typeface="Arial" panose="020B0604020202020204" pitchFamily="34" charset="0"/>
                <a:ea typeface="+mn-ea"/>
                <a:cs typeface="Arial" panose="020B0604020202020204" pitchFamily="34" charset="0"/>
                <a:hlinkClick r:id="rId87"/>
              </a:rPr>
              <a:t>Construction Time for Nuclear Reactors Worldwide</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4)​.</a:t>
            </a:r>
            <a:b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redit: Christian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andjaja</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Quint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ouwink</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a:t>
            </a:r>
            <a:r>
              <a:rPr kumimoji="0" lang="en-US" sz="800" b="0" i="0" u="sng" strike="noStrike" kern="1200" cap="none" spc="0" normalizeH="0" baseline="0" noProof="0" dirty="0">
                <a:ln>
                  <a:noFill/>
                </a:ln>
                <a:solidFill>
                  <a:srgbClr val="46647B"/>
                </a:solidFill>
                <a:effectLst/>
                <a:uLnTx/>
                <a:uFillTx/>
                <a:latin typeface="Arial" panose="020B0604020202020204" pitchFamily="34" charset="0"/>
                <a:ea typeface="+mn-ea"/>
                <a:cs typeface="Arial" panose="020B0604020202020204" pitchFamily="34" charset="0"/>
                <a:hlinkClick r:id="rId88"/>
              </a:rPr>
              <a:t>Gernot Wagner</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hare with </a:t>
            </a:r>
            <a:r>
              <a:rPr kumimoji="0" lang="en-US" sz="800" b="0" i="0" u="sng" strike="noStrike" kern="1200" cap="none" spc="0" normalizeH="0" baseline="0" noProof="0" dirty="0">
                <a:ln>
                  <a:noFill/>
                </a:ln>
                <a:solidFill>
                  <a:srgbClr val="46647B"/>
                </a:solidFill>
                <a:effectLst/>
                <a:uLnTx/>
                <a:uFillTx/>
                <a:latin typeface="Arial" panose="020B0604020202020204" pitchFamily="34" charset="0"/>
                <a:ea typeface="+mn-ea"/>
                <a:cs typeface="Arial" panose="020B0604020202020204" pitchFamily="34" charset="0"/>
                <a:hlinkClick r:id="rId89"/>
              </a:rPr>
              <a:t>attribution</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ouwink</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800" b="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t al.,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energizing Nuclear" (23 September 2025).​</a:t>
            </a:r>
          </a:p>
        </p:txBody>
      </p:sp>
      <p:sp>
        <p:nvSpPr>
          <p:cNvPr id="45" name="Oval 44">
            <a:extLst>
              <a:ext uri="{FF2B5EF4-FFF2-40B4-BE49-F238E27FC236}">
                <a16:creationId xmlns:a16="http://schemas.microsoft.com/office/drawing/2014/main" id="{C9B1CFBF-FD24-1E1A-0F76-BAAEEACB1659}"/>
              </a:ext>
            </a:extLst>
          </p:cNvPr>
          <p:cNvSpPr/>
          <p:nvPr/>
        </p:nvSpPr>
        <p:spPr>
          <a:xfrm>
            <a:off x="7232872" y="1999797"/>
            <a:ext cx="1064883" cy="338093"/>
          </a:xfrm>
          <a:prstGeom prst="ellipse">
            <a:avLst/>
          </a:prstGeom>
          <a:noFill/>
          <a:ln w="28575">
            <a:solidFill>
              <a:srgbClr val="D221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41-$220</a:t>
            </a:r>
          </a:p>
        </p:txBody>
      </p:sp>
      <p:sp>
        <p:nvSpPr>
          <p:cNvPr id="54" name="Oval 53">
            <a:extLst>
              <a:ext uri="{FF2B5EF4-FFF2-40B4-BE49-F238E27FC236}">
                <a16:creationId xmlns:a16="http://schemas.microsoft.com/office/drawing/2014/main" id="{5DFBEE70-370E-0C8E-FA01-C0341D708599}"/>
              </a:ext>
            </a:extLst>
          </p:cNvPr>
          <p:cNvSpPr/>
          <p:nvPr/>
        </p:nvSpPr>
        <p:spPr>
          <a:xfrm>
            <a:off x="7232872" y="4693073"/>
            <a:ext cx="1064883" cy="337465"/>
          </a:xfrm>
          <a:prstGeom prst="ellipse">
            <a:avLst/>
          </a:prstGeom>
          <a:noFill/>
          <a:ln w="190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0-$57</a:t>
            </a:r>
          </a:p>
        </p:txBody>
      </p:sp>
      <p:sp>
        <p:nvSpPr>
          <p:cNvPr id="61" name="Oval 60">
            <a:extLst>
              <a:ext uri="{FF2B5EF4-FFF2-40B4-BE49-F238E27FC236}">
                <a16:creationId xmlns:a16="http://schemas.microsoft.com/office/drawing/2014/main" id="{F980F7E4-5D74-2A01-95CF-2D2A633069D8}"/>
              </a:ext>
            </a:extLst>
          </p:cNvPr>
          <p:cNvSpPr/>
          <p:nvPr/>
        </p:nvSpPr>
        <p:spPr>
          <a:xfrm>
            <a:off x="7232872" y="5146662"/>
            <a:ext cx="1064883" cy="346869"/>
          </a:xfrm>
          <a:prstGeom prst="ellipse">
            <a:avLst/>
          </a:prstGeom>
          <a:noFill/>
          <a:ln w="19050">
            <a:solidFill>
              <a:srgbClr val="9EB1C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7-$86</a:t>
            </a:r>
          </a:p>
        </p:txBody>
      </p:sp>
      <p:sp>
        <p:nvSpPr>
          <p:cNvPr id="449" name="Oval 448">
            <a:extLst>
              <a:ext uri="{FF2B5EF4-FFF2-40B4-BE49-F238E27FC236}">
                <a16:creationId xmlns:a16="http://schemas.microsoft.com/office/drawing/2014/main" id="{6AC388F9-77A9-DCD0-742C-5BF30A0E785B}"/>
              </a:ext>
            </a:extLst>
          </p:cNvPr>
          <p:cNvSpPr/>
          <p:nvPr/>
        </p:nvSpPr>
        <p:spPr>
          <a:xfrm>
            <a:off x="7232872" y="4246863"/>
            <a:ext cx="1064883" cy="330086"/>
          </a:xfrm>
          <a:prstGeom prst="ellipse">
            <a:avLst/>
          </a:prstGeom>
          <a:noFill/>
          <a:ln w="19050">
            <a:solidFill>
              <a:srgbClr val="FFC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3-$131</a:t>
            </a:r>
          </a:p>
        </p:txBody>
      </p:sp>
      <p:sp>
        <p:nvSpPr>
          <p:cNvPr id="450" name="Oval 449">
            <a:extLst>
              <a:ext uri="{FF2B5EF4-FFF2-40B4-BE49-F238E27FC236}">
                <a16:creationId xmlns:a16="http://schemas.microsoft.com/office/drawing/2014/main" id="{112FB667-2AA9-2DDA-1A95-04D0D6CE4614}"/>
              </a:ext>
            </a:extLst>
          </p:cNvPr>
          <p:cNvSpPr/>
          <p:nvPr/>
        </p:nvSpPr>
        <p:spPr>
          <a:xfrm>
            <a:off x="7232872" y="2454014"/>
            <a:ext cx="1064883" cy="338095"/>
          </a:xfrm>
          <a:prstGeom prst="ellipse">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67-$179</a:t>
            </a:r>
          </a:p>
        </p:txBody>
      </p:sp>
      <p:sp>
        <p:nvSpPr>
          <p:cNvPr id="451" name="Oval 450">
            <a:extLst>
              <a:ext uri="{FF2B5EF4-FFF2-40B4-BE49-F238E27FC236}">
                <a16:creationId xmlns:a16="http://schemas.microsoft.com/office/drawing/2014/main" id="{8247C94F-DC23-ADA5-7CBB-520E2975D272}"/>
              </a:ext>
            </a:extLst>
          </p:cNvPr>
          <p:cNvSpPr/>
          <p:nvPr/>
        </p:nvSpPr>
        <p:spPr>
          <a:xfrm>
            <a:off x="7232872" y="2908233"/>
            <a:ext cx="1064883" cy="330086"/>
          </a:xfrm>
          <a:prstGeom prst="ellipse">
            <a:avLst/>
          </a:prstGeom>
          <a:noFill/>
          <a:ln w="1905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47-$170</a:t>
            </a:r>
          </a:p>
        </p:txBody>
      </p:sp>
      <p:sp>
        <p:nvSpPr>
          <p:cNvPr id="455" name="TextBox 454">
            <a:extLst>
              <a:ext uri="{FF2B5EF4-FFF2-40B4-BE49-F238E27FC236}">
                <a16:creationId xmlns:a16="http://schemas.microsoft.com/office/drawing/2014/main" id="{CAFD6C6C-73F4-8695-15BE-7C4276FB629A}"/>
              </a:ext>
            </a:extLst>
          </p:cNvPr>
          <p:cNvSpPr txBox="1"/>
          <p:nvPr/>
        </p:nvSpPr>
        <p:spPr bwMode="gray">
          <a:xfrm>
            <a:off x="7280620" y="1407460"/>
            <a:ext cx="3289300" cy="442035"/>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COE range (U.S.),</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b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Wh, 2025</a:t>
            </a:r>
          </a:p>
        </p:txBody>
      </p:sp>
      <p:cxnSp>
        <p:nvCxnSpPr>
          <p:cNvPr id="456" name="btfpColumnHeaderBoxLine912903">
            <a:extLst>
              <a:ext uri="{FF2B5EF4-FFF2-40B4-BE49-F238E27FC236}">
                <a16:creationId xmlns:a16="http://schemas.microsoft.com/office/drawing/2014/main" id="{58E12765-7597-2A14-4924-EA435CA5AACD}"/>
              </a:ext>
            </a:extLst>
          </p:cNvPr>
          <p:cNvCxnSpPr>
            <a:cxnSpLocks/>
          </p:cNvCxnSpPr>
          <p:nvPr/>
        </p:nvCxnSpPr>
        <p:spPr bwMode="gray">
          <a:xfrm>
            <a:off x="7232872" y="1853452"/>
            <a:ext cx="196757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34" name="Oval 533">
            <a:extLst>
              <a:ext uri="{FF2B5EF4-FFF2-40B4-BE49-F238E27FC236}">
                <a16:creationId xmlns:a16="http://schemas.microsoft.com/office/drawing/2014/main" id="{CCA41C7A-4729-4A24-1C20-C2C6FD27AA17}"/>
              </a:ext>
            </a:extLst>
          </p:cNvPr>
          <p:cNvSpPr/>
          <p:nvPr/>
        </p:nvSpPr>
        <p:spPr>
          <a:xfrm>
            <a:off x="7232872" y="3354443"/>
            <a:ext cx="1064883" cy="330086"/>
          </a:xfrm>
          <a:prstGeom prst="ellipse">
            <a:avLst/>
          </a:prstGeom>
          <a:noFill/>
          <a:ln w="19050">
            <a:solidFill>
              <a:srgbClr val="9DB1CF"/>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45-$133</a:t>
            </a:r>
          </a:p>
        </p:txBody>
      </p:sp>
      <p:cxnSp>
        <p:nvCxnSpPr>
          <p:cNvPr id="448" name="Straight Connector 447">
            <a:extLst>
              <a:ext uri="{FF2B5EF4-FFF2-40B4-BE49-F238E27FC236}">
                <a16:creationId xmlns:a16="http://schemas.microsoft.com/office/drawing/2014/main" id="{DF468D2C-B694-5035-0BF9-2E48A86BD32F}"/>
              </a:ext>
            </a:extLst>
          </p:cNvPr>
          <p:cNvCxnSpPr/>
          <p:nvPr>
            <p:custDataLst>
              <p:tags r:id="rId63"/>
            </p:custDataLst>
          </p:nvPr>
        </p:nvCxnSpPr>
        <p:spPr bwMode="gray">
          <a:xfrm>
            <a:off x="2097088" y="2097088"/>
            <a:ext cx="333375" cy="0"/>
          </a:xfrm>
          <a:prstGeom prst="line">
            <a:avLst/>
          </a:prstGeom>
          <a:ln w="28575" cap="rnd" cmpd="sng" algn="ctr">
            <a:solidFill>
              <a:srgbClr val="D1227D"/>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8" name="Straight Connector 467">
            <a:extLst>
              <a:ext uri="{FF2B5EF4-FFF2-40B4-BE49-F238E27FC236}">
                <a16:creationId xmlns:a16="http://schemas.microsoft.com/office/drawing/2014/main" id="{28D5D34C-099B-3081-FC86-60FDB67F8B44}"/>
              </a:ext>
            </a:extLst>
          </p:cNvPr>
          <p:cNvCxnSpPr/>
          <p:nvPr>
            <p:custDataLst>
              <p:tags r:id="rId64"/>
            </p:custDataLst>
          </p:nvPr>
        </p:nvCxnSpPr>
        <p:spPr bwMode="gray">
          <a:xfrm>
            <a:off x="2092325" y="2320925"/>
            <a:ext cx="342900"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2" name="Straight Connector 471">
            <a:extLst>
              <a:ext uri="{FF2B5EF4-FFF2-40B4-BE49-F238E27FC236}">
                <a16:creationId xmlns:a16="http://schemas.microsoft.com/office/drawing/2014/main" id="{19B2D396-F465-DB24-574E-10BBC0111A2B}"/>
              </a:ext>
            </a:extLst>
          </p:cNvPr>
          <p:cNvCxnSpPr/>
          <p:nvPr>
            <p:custDataLst>
              <p:tags r:id="rId65"/>
            </p:custDataLst>
          </p:nvPr>
        </p:nvCxnSpPr>
        <p:spPr bwMode="gray">
          <a:xfrm>
            <a:off x="2101850" y="2544763"/>
            <a:ext cx="323850" cy="0"/>
          </a:xfrm>
          <a:prstGeom prst="line">
            <a:avLst/>
          </a:prstGeom>
          <a:ln w="19050" cap="rnd" cmpd="sng" algn="ctr">
            <a:solidFill>
              <a:srgbClr val="9DB1CF"/>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2" name="Straight Connector 451">
            <a:extLst>
              <a:ext uri="{FF2B5EF4-FFF2-40B4-BE49-F238E27FC236}">
                <a16:creationId xmlns:a16="http://schemas.microsoft.com/office/drawing/2014/main" id="{40C2729D-C636-E5A9-447E-FFA9DF49ADDE}"/>
              </a:ext>
            </a:extLst>
          </p:cNvPr>
          <p:cNvCxnSpPr/>
          <p:nvPr>
            <p:custDataLst>
              <p:tags r:id="rId66"/>
            </p:custDataLst>
          </p:nvPr>
        </p:nvCxnSpPr>
        <p:spPr bwMode="gray">
          <a:xfrm>
            <a:off x="2092325" y="2768600"/>
            <a:ext cx="342900" cy="0"/>
          </a:xfrm>
          <a:prstGeom prst="line">
            <a:avLst/>
          </a:prstGeom>
          <a:ln w="19050" cap="rnd" cmpd="sng" algn="ctr">
            <a:solidFill>
              <a:srgbClr val="80808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0" name="Straight Connector 479">
            <a:extLst>
              <a:ext uri="{FF2B5EF4-FFF2-40B4-BE49-F238E27FC236}">
                <a16:creationId xmlns:a16="http://schemas.microsoft.com/office/drawing/2014/main" id="{4544B32C-AB17-152C-E451-A82AB5AA1388}"/>
              </a:ext>
            </a:extLst>
          </p:cNvPr>
          <p:cNvCxnSpPr/>
          <p:nvPr>
            <p:custDataLst>
              <p:tags r:id="rId67"/>
            </p:custDataLst>
          </p:nvPr>
        </p:nvCxnSpPr>
        <p:spPr bwMode="gray">
          <a:xfrm>
            <a:off x="2092325" y="2992438"/>
            <a:ext cx="342900"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4" name="Straight Connector 483">
            <a:extLst>
              <a:ext uri="{FF2B5EF4-FFF2-40B4-BE49-F238E27FC236}">
                <a16:creationId xmlns:a16="http://schemas.microsoft.com/office/drawing/2014/main" id="{7A4E8F9A-6042-61CD-54B6-0634793CEDB1}"/>
              </a:ext>
            </a:extLst>
          </p:cNvPr>
          <p:cNvCxnSpPr/>
          <p:nvPr>
            <p:custDataLst>
              <p:tags r:id="rId68"/>
            </p:custDataLst>
          </p:nvPr>
        </p:nvCxnSpPr>
        <p:spPr bwMode="gray">
          <a:xfrm>
            <a:off x="4287838" y="2097088"/>
            <a:ext cx="342900" cy="0"/>
          </a:xfrm>
          <a:prstGeom prst="line">
            <a:avLst/>
          </a:prstGeom>
          <a:ln w="19050" cap="rnd" cmpd="sng" algn="ctr">
            <a:solidFill>
              <a:srgbClr val="DEC000"/>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3" name="Straight Connector 452">
            <a:extLst>
              <a:ext uri="{FF2B5EF4-FFF2-40B4-BE49-F238E27FC236}">
                <a16:creationId xmlns:a16="http://schemas.microsoft.com/office/drawing/2014/main" id="{434BD9D0-D38F-43BA-A752-1D95F7021A44}"/>
              </a:ext>
            </a:extLst>
          </p:cNvPr>
          <p:cNvCxnSpPr/>
          <p:nvPr>
            <p:custDataLst>
              <p:tags r:id="rId69"/>
            </p:custDataLst>
          </p:nvPr>
        </p:nvCxnSpPr>
        <p:spPr bwMode="gray">
          <a:xfrm>
            <a:off x="4287838" y="2320925"/>
            <a:ext cx="342900" cy="0"/>
          </a:xfrm>
          <a:prstGeom prst="line">
            <a:avLst/>
          </a:prstGeom>
          <a:ln w="19050" cap="rnd" cmpd="sng" algn="ctr">
            <a:solidFill>
              <a:srgbClr val="DEC00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8" name="Straight Connector 457">
            <a:extLst>
              <a:ext uri="{FF2B5EF4-FFF2-40B4-BE49-F238E27FC236}">
                <a16:creationId xmlns:a16="http://schemas.microsoft.com/office/drawing/2014/main" id="{C64DF6AF-5719-5299-BEE1-9F288F186BC3}"/>
              </a:ext>
            </a:extLst>
          </p:cNvPr>
          <p:cNvCxnSpPr/>
          <p:nvPr>
            <p:custDataLst>
              <p:tags r:id="rId70"/>
            </p:custDataLst>
          </p:nvPr>
        </p:nvCxnSpPr>
        <p:spPr bwMode="gray">
          <a:xfrm>
            <a:off x="4287838" y="2544763"/>
            <a:ext cx="342900" cy="0"/>
          </a:xfrm>
          <a:prstGeom prst="line">
            <a:avLst/>
          </a:prstGeom>
          <a:ln w="19050" cap="rnd" cmpd="sng" algn="ctr">
            <a:solidFill>
              <a:srgbClr val="9DB1C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7" name="Straight Connector 486">
            <a:extLst>
              <a:ext uri="{FF2B5EF4-FFF2-40B4-BE49-F238E27FC236}">
                <a16:creationId xmlns:a16="http://schemas.microsoft.com/office/drawing/2014/main" id="{DA9C5318-7FCA-A33F-49DE-288F68349528}"/>
              </a:ext>
            </a:extLst>
          </p:cNvPr>
          <p:cNvCxnSpPr/>
          <p:nvPr>
            <p:custDataLst>
              <p:tags r:id="rId71"/>
            </p:custDataLst>
          </p:nvPr>
        </p:nvCxnSpPr>
        <p:spPr bwMode="gray">
          <a:xfrm>
            <a:off x="4316413" y="2768600"/>
            <a:ext cx="285750" cy="0"/>
          </a:xfrm>
          <a:prstGeom prst="line">
            <a:avLst/>
          </a:prstGeom>
          <a:ln w="28575" cap="rnd" cmpd="sng" algn="ctr">
            <a:solidFill>
              <a:schemeClr val="accent5"/>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2" name="Text Placeholder 2">
            <a:extLst>
              <a:ext uri="{FF2B5EF4-FFF2-40B4-BE49-F238E27FC236}">
                <a16:creationId xmlns:a16="http://schemas.microsoft.com/office/drawing/2014/main" id="{04D3A489-ADFD-E194-7779-1B925CE3AF69}"/>
              </a:ext>
            </a:extLst>
          </p:cNvPr>
          <p:cNvSpPr txBox="1">
            <a:spLocks/>
          </p:cNvSpPr>
          <p:nvPr>
            <p:custDataLst>
              <p:tags r:id="rId72"/>
            </p:custDataLst>
          </p:nvPr>
        </p:nvSpPr>
        <p:spPr bwMode="auto">
          <a:xfrm>
            <a:off x="2495550" y="2025650"/>
            <a:ext cx="557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BC105CB-885A-40F1-88BF-0874EFCBFC55}" type="datetime'''''''''N''''''''''''''''u''c''''''''''le''''''''ar'''''''''">
              <a:rPr kumimoji="0" lang="en-US" altLang="en-US" sz="12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Nuclear</a:t>
            </a:fld>
            <a:endPar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6" name="Text Placeholder 2">
            <a:extLst>
              <a:ext uri="{FF2B5EF4-FFF2-40B4-BE49-F238E27FC236}">
                <a16:creationId xmlns:a16="http://schemas.microsoft.com/office/drawing/2014/main" id="{876B61C7-36FA-47A7-132F-4D85BDDC2A43}"/>
              </a:ext>
            </a:extLst>
          </p:cNvPr>
          <p:cNvSpPr txBox="1">
            <a:spLocks/>
          </p:cNvSpPr>
          <p:nvPr>
            <p:custDataLst>
              <p:tags r:id="rId73"/>
            </p:custDataLst>
          </p:nvPr>
        </p:nvSpPr>
        <p:spPr bwMode="auto">
          <a:xfrm>
            <a:off x="2495550" y="2249488"/>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47B37BE-9B61-4E34-9BAE-7E3CDCF00B2C}" type="datetime'''''''C''''o''''a''''''l'''''''''''''">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Coal</a:t>
            </a:fld>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469" name="Text Placeholder 2">
            <a:extLst>
              <a:ext uri="{FF2B5EF4-FFF2-40B4-BE49-F238E27FC236}">
                <a16:creationId xmlns:a16="http://schemas.microsoft.com/office/drawing/2014/main" id="{DBA9B956-DBC3-3052-9362-F9173BA6F1E4}"/>
              </a:ext>
            </a:extLst>
          </p:cNvPr>
          <p:cNvSpPr txBox="1">
            <a:spLocks/>
          </p:cNvSpPr>
          <p:nvPr>
            <p:custDataLst>
              <p:tags r:id="rId74"/>
            </p:custDataLst>
          </p:nvPr>
        </p:nvSpPr>
        <p:spPr bwMode="auto">
          <a:xfrm>
            <a:off x="2495550" y="2473325"/>
            <a:ext cx="16811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Onshore wind w/ storage</a:t>
            </a:r>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38" name="Text Placeholder 2">
            <a:extLst>
              <a:ext uri="{FF2B5EF4-FFF2-40B4-BE49-F238E27FC236}">
                <a16:creationId xmlns:a16="http://schemas.microsoft.com/office/drawing/2014/main" id="{851BFBCA-8C8E-8E96-879C-E91B5CC5520B}"/>
              </a:ext>
            </a:extLst>
          </p:cNvPr>
          <p:cNvSpPr txBox="1">
            <a:spLocks/>
          </p:cNvSpPr>
          <p:nvPr>
            <p:custDataLst>
              <p:tags r:id="rId75"/>
            </p:custDataLst>
          </p:nvPr>
        </p:nvSpPr>
        <p:spPr bwMode="auto">
          <a:xfrm>
            <a:off x="2495550" y="2697163"/>
            <a:ext cx="1368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C358010-6138-4B67-ABB2-79555FB65C7B}" type="datetime'''''''''''''''''G''a''''''s'">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Gas</a:t>
            </a:fld>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combined cycle</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74" name="Text Placeholder 2">
            <a:extLst>
              <a:ext uri="{FF2B5EF4-FFF2-40B4-BE49-F238E27FC236}">
                <a16:creationId xmlns:a16="http://schemas.microsoft.com/office/drawing/2014/main" id="{3EA74B54-F5A2-BD07-DD99-727D2788C720}"/>
              </a:ext>
            </a:extLst>
          </p:cNvPr>
          <p:cNvSpPr txBox="1">
            <a:spLocks/>
          </p:cNvSpPr>
          <p:nvPr>
            <p:custDataLst>
              <p:tags r:id="rId76"/>
            </p:custDataLst>
          </p:nvPr>
        </p:nvSpPr>
        <p:spPr bwMode="auto">
          <a:xfrm>
            <a:off x="2495550" y="2921000"/>
            <a:ext cx="935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Offshore wind</a:t>
            </a:r>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481" name="Text Placeholder 2">
            <a:extLst>
              <a:ext uri="{FF2B5EF4-FFF2-40B4-BE49-F238E27FC236}">
                <a16:creationId xmlns:a16="http://schemas.microsoft.com/office/drawing/2014/main" id="{2C2285BC-CFB7-86DE-D772-1854F07D3311}"/>
              </a:ext>
            </a:extLst>
          </p:cNvPr>
          <p:cNvSpPr txBox="1">
            <a:spLocks/>
          </p:cNvSpPr>
          <p:nvPr>
            <p:custDataLst>
              <p:tags r:id="rId77"/>
            </p:custDataLst>
          </p:nvPr>
        </p:nvSpPr>
        <p:spPr bwMode="auto">
          <a:xfrm>
            <a:off x="4691063" y="2025650"/>
            <a:ext cx="13446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Solar PV w/storage</a:t>
            </a:r>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30" name="Text Placeholder 2">
            <a:extLst>
              <a:ext uri="{FF2B5EF4-FFF2-40B4-BE49-F238E27FC236}">
                <a16:creationId xmlns:a16="http://schemas.microsoft.com/office/drawing/2014/main" id="{C8150574-2E3D-F807-C868-954C8A5FB0C1}"/>
              </a:ext>
            </a:extLst>
          </p:cNvPr>
          <p:cNvSpPr txBox="1">
            <a:spLocks/>
          </p:cNvSpPr>
          <p:nvPr>
            <p:custDataLst>
              <p:tags r:id="rId78"/>
            </p:custDataLst>
          </p:nvPr>
        </p:nvSpPr>
        <p:spPr bwMode="auto">
          <a:xfrm>
            <a:off x="4691063" y="2249488"/>
            <a:ext cx="6000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lar PV</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5" name="Text Placeholder 2">
            <a:extLst>
              <a:ext uri="{FF2B5EF4-FFF2-40B4-BE49-F238E27FC236}">
                <a16:creationId xmlns:a16="http://schemas.microsoft.com/office/drawing/2014/main" id="{81CF7071-6AB1-CCE2-6474-153EAEF55FB9}"/>
              </a:ext>
            </a:extLst>
          </p:cNvPr>
          <p:cNvSpPr txBox="1">
            <a:spLocks/>
          </p:cNvSpPr>
          <p:nvPr>
            <p:custDataLst>
              <p:tags r:id="rId79"/>
            </p:custDataLst>
          </p:nvPr>
        </p:nvSpPr>
        <p:spPr bwMode="auto">
          <a:xfrm>
            <a:off x="4691063" y="2473325"/>
            <a:ext cx="971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Onshore wind</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78" name="Text Placeholder 2">
            <a:extLst>
              <a:ext uri="{FF2B5EF4-FFF2-40B4-BE49-F238E27FC236}">
                <a16:creationId xmlns:a16="http://schemas.microsoft.com/office/drawing/2014/main" id="{772511F9-D14D-8155-BC97-6F5D6F1FE303}"/>
              </a:ext>
            </a:extLst>
          </p:cNvPr>
          <p:cNvSpPr txBox="1">
            <a:spLocks/>
          </p:cNvSpPr>
          <p:nvPr>
            <p:custDataLst>
              <p:tags r:id="rId80"/>
            </p:custDataLst>
          </p:nvPr>
        </p:nvSpPr>
        <p:spPr bwMode="auto">
          <a:xfrm>
            <a:off x="4691063" y="2697163"/>
            <a:ext cx="13287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Nuclear extension</a:t>
            </a:r>
            <a:endPar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9" name="Oval 18">
            <a:extLst>
              <a:ext uri="{FF2B5EF4-FFF2-40B4-BE49-F238E27FC236}">
                <a16:creationId xmlns:a16="http://schemas.microsoft.com/office/drawing/2014/main" id="{3560FB3F-A5D5-C11D-FB39-2422CCA7035B}"/>
              </a:ext>
            </a:extLst>
          </p:cNvPr>
          <p:cNvSpPr/>
          <p:nvPr/>
        </p:nvSpPr>
        <p:spPr>
          <a:xfrm>
            <a:off x="7232872" y="5609653"/>
            <a:ext cx="1064883" cy="346125"/>
          </a:xfrm>
          <a:prstGeom prst="ellipse">
            <a:avLst/>
          </a:prstGeom>
          <a:noFill/>
          <a:ln w="28575">
            <a:solidFill>
              <a:srgbClr val="D0227C"/>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0-$40</a:t>
            </a:r>
          </a:p>
        </p:txBody>
      </p:sp>
      <p:sp>
        <p:nvSpPr>
          <p:cNvPr id="613" name="TextBox 612">
            <a:extLst>
              <a:ext uri="{FF2B5EF4-FFF2-40B4-BE49-F238E27FC236}">
                <a16:creationId xmlns:a16="http://schemas.microsoft.com/office/drawing/2014/main" id="{6789D900-08DC-C30F-DBC9-5E4D550E2898}"/>
              </a:ext>
            </a:extLst>
          </p:cNvPr>
          <p:cNvSpPr txBox="1"/>
          <p:nvPr/>
        </p:nvSpPr>
        <p:spPr bwMode="gray">
          <a:xfrm>
            <a:off x="8369301" y="2047853"/>
            <a:ext cx="774699" cy="241980"/>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uclear</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4" name="TextBox 613">
            <a:extLst>
              <a:ext uri="{FF2B5EF4-FFF2-40B4-BE49-F238E27FC236}">
                <a16:creationId xmlns:a16="http://schemas.microsoft.com/office/drawing/2014/main" id="{7F24CDF9-944F-36A3-34AF-20E282C7E4CC}"/>
              </a:ext>
            </a:extLst>
          </p:cNvPr>
          <p:cNvSpPr txBox="1"/>
          <p:nvPr/>
        </p:nvSpPr>
        <p:spPr bwMode="gray">
          <a:xfrm>
            <a:off x="8369301" y="2502072"/>
            <a:ext cx="774699" cy="241980"/>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al</a:t>
            </a:r>
          </a:p>
        </p:txBody>
      </p:sp>
      <p:sp>
        <p:nvSpPr>
          <p:cNvPr id="615" name="TextBox 614">
            <a:extLst>
              <a:ext uri="{FF2B5EF4-FFF2-40B4-BE49-F238E27FC236}">
                <a16:creationId xmlns:a16="http://schemas.microsoft.com/office/drawing/2014/main" id="{26CB71DB-53C3-2687-3372-164E3EF8FD5D}"/>
              </a:ext>
            </a:extLst>
          </p:cNvPr>
          <p:cNvSpPr txBox="1"/>
          <p:nvPr/>
        </p:nvSpPr>
        <p:spPr bwMode="gray">
          <a:xfrm>
            <a:off x="8369300" y="3301404"/>
            <a:ext cx="774699" cy="41125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nshore w/storage</a:t>
            </a:r>
          </a:p>
        </p:txBody>
      </p:sp>
      <p:sp>
        <p:nvSpPr>
          <p:cNvPr id="616" name="TextBox 615">
            <a:extLst>
              <a:ext uri="{FF2B5EF4-FFF2-40B4-BE49-F238E27FC236}">
                <a16:creationId xmlns:a16="http://schemas.microsoft.com/office/drawing/2014/main" id="{393EDDC6-88DC-4097-DFFB-4818818CFFD2}"/>
              </a:ext>
            </a:extLst>
          </p:cNvPr>
          <p:cNvSpPr txBox="1"/>
          <p:nvPr/>
        </p:nvSpPr>
        <p:spPr bwMode="gray">
          <a:xfrm>
            <a:off x="8369301" y="2952286"/>
            <a:ext cx="774699" cy="241980"/>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as </a:t>
            </a:r>
          </a:p>
        </p:txBody>
      </p:sp>
      <p:sp>
        <p:nvSpPr>
          <p:cNvPr id="617" name="TextBox 616">
            <a:extLst>
              <a:ext uri="{FF2B5EF4-FFF2-40B4-BE49-F238E27FC236}">
                <a16:creationId xmlns:a16="http://schemas.microsoft.com/office/drawing/2014/main" id="{CB27E321-FE71-9A14-44DE-E315E6C51FF1}"/>
              </a:ext>
            </a:extLst>
          </p:cNvPr>
          <p:cNvSpPr txBox="1"/>
          <p:nvPr/>
        </p:nvSpPr>
        <p:spPr bwMode="gray">
          <a:xfrm>
            <a:off x="8369301" y="4206277"/>
            <a:ext cx="774699" cy="411257"/>
          </a:xfrm>
          <a:prstGeom prst="rect">
            <a:avLst/>
          </a:prstGeom>
          <a:noFill/>
        </p:spPr>
        <p:txBody>
          <a:bodyPr wrap="square" lIns="36000" tIns="36000" rIns="36000" bIns="36000" rtlCol="0" anchor="t">
            <a:spAutoFit/>
          </a:bodyPr>
          <a:lstStyle>
            <a:defPPr>
              <a:defRPr lang="en-US"/>
            </a:defPPr>
            <a:lvl1pPr marR="0" lvl="0" indent="0" fontAlgn="auto">
              <a:lnSpc>
                <a:spcPct val="100000"/>
              </a:lnSpc>
              <a:spcBef>
                <a:spcPts val="0"/>
              </a:spcBef>
              <a:spcAft>
                <a:spcPts val="0"/>
              </a:spcAft>
              <a:buClrTx/>
              <a:buSzTx/>
              <a:buFontTx/>
              <a:buNone/>
              <a:tabLst/>
              <a:defRPr kumimoji="0" sz="110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olar </a:t>
            </a:r>
            <a:b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storage</a:t>
            </a:r>
          </a:p>
        </p:txBody>
      </p:sp>
      <p:sp>
        <p:nvSpPr>
          <p:cNvPr id="618" name="TextBox 617">
            <a:extLst>
              <a:ext uri="{FF2B5EF4-FFF2-40B4-BE49-F238E27FC236}">
                <a16:creationId xmlns:a16="http://schemas.microsoft.com/office/drawing/2014/main" id="{CDE580A0-915A-DEFB-DB01-1772C293EE5C}"/>
              </a:ext>
            </a:extLst>
          </p:cNvPr>
          <p:cNvSpPr txBox="1"/>
          <p:nvPr/>
        </p:nvSpPr>
        <p:spPr bwMode="gray">
          <a:xfrm>
            <a:off x="8369301" y="4740815"/>
            <a:ext cx="774699" cy="241980"/>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olar</a:t>
            </a:r>
          </a:p>
        </p:txBody>
      </p:sp>
      <p:sp>
        <p:nvSpPr>
          <p:cNvPr id="619" name="TextBox 618">
            <a:extLst>
              <a:ext uri="{FF2B5EF4-FFF2-40B4-BE49-F238E27FC236}">
                <a16:creationId xmlns:a16="http://schemas.microsoft.com/office/drawing/2014/main" id="{CB521317-791B-7393-AC45-DD4F8D3A28A2}"/>
              </a:ext>
            </a:extLst>
          </p:cNvPr>
          <p:cNvSpPr txBox="1"/>
          <p:nvPr/>
        </p:nvSpPr>
        <p:spPr bwMode="gray">
          <a:xfrm>
            <a:off x="8369302" y="5114468"/>
            <a:ext cx="774699" cy="41125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nshore wind</a:t>
            </a:r>
          </a:p>
        </p:txBody>
      </p:sp>
      <p:sp>
        <p:nvSpPr>
          <p:cNvPr id="620" name="TextBox 619">
            <a:extLst>
              <a:ext uri="{FF2B5EF4-FFF2-40B4-BE49-F238E27FC236}">
                <a16:creationId xmlns:a16="http://schemas.microsoft.com/office/drawing/2014/main" id="{1ABF934A-8A36-E2E8-A0D7-1F41DA8D4CE6}"/>
              </a:ext>
            </a:extLst>
          </p:cNvPr>
          <p:cNvSpPr txBox="1"/>
          <p:nvPr/>
        </p:nvSpPr>
        <p:spPr bwMode="gray">
          <a:xfrm>
            <a:off x="8369301" y="5577087"/>
            <a:ext cx="860424" cy="41125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uclear life extension</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28" name="Oval 627">
            <a:extLst>
              <a:ext uri="{FF2B5EF4-FFF2-40B4-BE49-F238E27FC236}">
                <a16:creationId xmlns:a16="http://schemas.microsoft.com/office/drawing/2014/main" id="{EF8129ED-0A5E-A21A-A35F-3FB69E5315B4}"/>
              </a:ext>
            </a:extLst>
          </p:cNvPr>
          <p:cNvSpPr/>
          <p:nvPr/>
        </p:nvSpPr>
        <p:spPr>
          <a:xfrm>
            <a:off x="7232872" y="3800653"/>
            <a:ext cx="1064883" cy="330086"/>
          </a:xfrm>
          <a:prstGeom prst="ellipse">
            <a:avLst/>
          </a:prstGeom>
          <a:noFill/>
          <a:ln w="19050">
            <a:solidFill>
              <a:schemeClr val="accent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70-$157</a:t>
            </a:r>
          </a:p>
        </p:txBody>
      </p:sp>
      <p:sp>
        <p:nvSpPr>
          <p:cNvPr id="629" name="TextBox 628">
            <a:extLst>
              <a:ext uri="{FF2B5EF4-FFF2-40B4-BE49-F238E27FC236}">
                <a16:creationId xmlns:a16="http://schemas.microsoft.com/office/drawing/2014/main" id="{D8A5FD00-6BA3-21F1-866D-8476E46F3F6E}"/>
              </a:ext>
            </a:extLst>
          </p:cNvPr>
          <p:cNvSpPr txBox="1"/>
          <p:nvPr/>
        </p:nvSpPr>
        <p:spPr bwMode="gray">
          <a:xfrm>
            <a:off x="8369301" y="3844705"/>
            <a:ext cx="774699" cy="241980"/>
          </a:xfrm>
          <a:prstGeom prst="rect">
            <a:avLst/>
          </a:prstGeom>
          <a:noFill/>
        </p:spPr>
        <p:txBody>
          <a:bodyPr wrap="square" lIns="36000" tIns="36000" rIns="36000" bIns="36000" rtlCol="0" anchor="t">
            <a:spAutoFit/>
          </a:bodyPr>
          <a:lstStyle>
            <a:defPPr>
              <a:defRPr lang="en-US"/>
            </a:defPPr>
            <a:lvl1pPr marR="0" lvl="0" indent="0" fontAlgn="auto">
              <a:lnSpc>
                <a:spcPct val="100000"/>
              </a:lnSpc>
              <a:spcBef>
                <a:spcPts val="0"/>
              </a:spcBef>
              <a:spcAft>
                <a:spcPts val="0"/>
              </a:spcAft>
              <a:buClrTx/>
              <a:buSzTx/>
              <a:buFontTx/>
              <a:buNone/>
              <a:tabLst/>
              <a:defRPr kumimoji="0" sz="110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ffshore</a:t>
            </a:r>
          </a:p>
        </p:txBody>
      </p:sp>
      <p:sp>
        <p:nvSpPr>
          <p:cNvPr id="2" name="TextBox 8">
            <a:extLst>
              <a:ext uri="{FF2B5EF4-FFF2-40B4-BE49-F238E27FC236}">
                <a16:creationId xmlns:a16="http://schemas.microsoft.com/office/drawing/2014/main" id="{62201192-3584-9CFD-C4C4-F706CE9FAA48}"/>
              </a:ext>
            </a:extLst>
          </p:cNvPr>
          <p:cNvSpPr txBox="1"/>
          <p:nvPr/>
        </p:nvSpPr>
        <p:spPr bwMode="gray">
          <a:xfrm>
            <a:off x="9356596" y="1444805"/>
            <a:ext cx="2613601" cy="4916095"/>
          </a:xfrm>
          <a:prstGeom prst="rect">
            <a:avLst/>
          </a:prstGeom>
          <a:solidFill>
            <a:srgbClr val="E3E8EE"/>
          </a:solidFill>
        </p:spPr>
        <p:txBody>
          <a:bodyPr wrap="square" lIns="137160" tIns="137160" rIns="274320" bIns="13716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bservations</a:t>
            </a:r>
            <a:endParaRPr kumimoji="0" lang="en-US" sz="12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actors that influence nuclear LCOE increases:</a:t>
            </a:r>
          </a:p>
          <a:p>
            <a:pPr marL="171450" marR="0" lvl="0" indent="-171450" algn="l" defTabSz="9144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Capital cost –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Nuclear power plants have high upfront capital costs</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 which significantly impacts their LCOE.</a:t>
            </a:r>
          </a:p>
          <a:p>
            <a:pPr marL="171450" marR="0" lvl="0" indent="-171450" algn="l" defTabSz="9144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Construction delays –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Median construction time is 11 years</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 with most countries experiencing at least one year of delay compared</a:t>
            </a:r>
            <a:r>
              <a:rPr lang="en-US" sz="1050">
                <a:solidFill>
                  <a:srgbClr val="000000"/>
                </a:solidFill>
                <a:latin typeface="Arial" panose="020B0604020202020204" pitchFamily="34" charset="0"/>
                <a:ea typeface="+mn-lt"/>
                <a:cs typeface="Arial" panose="020B0604020202020204" pitchFamily="34" charset="0"/>
              </a:rPr>
              <a:t> with </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scheduled startup dates.</a:t>
            </a:r>
          </a:p>
          <a:p>
            <a:pPr marL="171450" marR="0" lvl="0" indent="-171450" algn="l" defTabSz="9144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Financing cost –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High interest rates have particularly affected capital-intensive projects</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 like nuclear power plants.</a:t>
            </a:r>
          </a:p>
          <a:p>
            <a:pPr marL="171450" marR="0" lvl="0" indent="-171450" algn="l" defTabSz="914400" rtl="0" eaLnBrk="1" fontAlgn="auto" latinLnBrk="0" hangingPunct="1">
              <a:lnSpc>
                <a:spcPct val="100000"/>
              </a:lnSpc>
              <a:spcBef>
                <a:spcPts val="0"/>
              </a:spcBef>
              <a:spcAft>
                <a:spcPts val="400"/>
              </a:spcAft>
              <a:buClrTx/>
              <a:buSzTx/>
              <a:buFont typeface="Arial"/>
              <a:buChar char="•"/>
              <a:tabLst/>
              <a:defRPr/>
            </a:pP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Renewables with </a:t>
            </a:r>
            <a:r>
              <a:rPr lang="en-ID" sz="1050">
                <a:solidFill>
                  <a:srgbClr val="000000"/>
                </a:solidFill>
                <a:latin typeface="Arial"/>
              </a:rPr>
              <a:t>four</a:t>
            </a:r>
            <a:r>
              <a:rPr kumimoji="0" lang="en-ID" sz="1050" b="0" i="0" u="none" strike="noStrike" kern="1200" cap="none" spc="0" normalizeH="0" baseline="0" noProof="0">
                <a:ln>
                  <a:noFill/>
                </a:ln>
                <a:solidFill>
                  <a:srgbClr val="000000"/>
                </a:solidFill>
                <a:effectLst/>
                <a:uLnTx/>
                <a:uFillTx/>
                <a:latin typeface="Arial"/>
                <a:ea typeface="+mn-ea"/>
                <a:cs typeface="+mn-cs"/>
              </a:rPr>
              <a:t>-hour </a:t>
            </a:r>
            <a:r>
              <a:rPr kumimoji="0" lang="en-ID" sz="1050" b="1" i="0" u="none" strike="noStrike" kern="1200" cap="none" spc="0" normalizeH="0" baseline="0" noProof="0">
                <a:ln>
                  <a:noFill/>
                </a:ln>
                <a:solidFill>
                  <a:srgbClr val="000000"/>
                </a:solidFill>
                <a:effectLst/>
                <a:uLnTx/>
                <a:uFillTx/>
                <a:latin typeface="Arial"/>
                <a:ea typeface="+mn-ea"/>
                <a:cs typeface="+mn-cs"/>
              </a:rPr>
              <a:t>storage </a:t>
            </a:r>
            <a:r>
              <a:rPr kumimoji="0" lang="en-ID" sz="1050" b="0" i="0" u="none" strike="noStrike" kern="1200" cap="none" spc="0" normalizeH="0" baseline="0" noProof="0">
                <a:ln>
                  <a:noFill/>
                </a:ln>
                <a:solidFill>
                  <a:srgbClr val="000000"/>
                </a:solidFill>
                <a:effectLst/>
                <a:uLnTx/>
                <a:uFillTx/>
                <a:latin typeface="Arial"/>
                <a:ea typeface="+mn-ea"/>
                <a:cs typeface="+mn-cs"/>
              </a:rPr>
              <a:t>aids grid flexibility but </a:t>
            </a:r>
            <a:r>
              <a:rPr kumimoji="0" lang="en-ID" sz="1050" b="1" i="0" u="none" strike="noStrike" kern="1200" cap="none" spc="0" normalizeH="0" baseline="0" noProof="0">
                <a:ln>
                  <a:noFill/>
                </a:ln>
                <a:solidFill>
                  <a:srgbClr val="000000"/>
                </a:solidFill>
                <a:effectLst/>
                <a:uLnTx/>
                <a:uFillTx/>
                <a:latin typeface="Arial"/>
                <a:ea typeface="+mn-ea"/>
                <a:cs typeface="+mn-cs"/>
              </a:rPr>
              <a:t>can't ensure 24/7 reliability</a:t>
            </a:r>
            <a:r>
              <a:rPr kumimoji="0" lang="en-ID" sz="1050" b="0" i="0" u="none" strike="noStrike" kern="1200" cap="none" spc="0" normalizeH="0" baseline="0" noProof="0">
                <a:ln>
                  <a:noFill/>
                </a:ln>
                <a:solidFill>
                  <a:srgbClr val="000000"/>
                </a:solidFill>
                <a:effectLst/>
                <a:uLnTx/>
                <a:uFillTx/>
                <a:latin typeface="Arial"/>
                <a:ea typeface="+mn-ea"/>
                <a:cs typeface="+mn-cs"/>
              </a:rPr>
              <a:t>, underscoring the </a:t>
            </a:r>
            <a:r>
              <a:rPr kumimoji="0" lang="en-ID" sz="1050" b="1" i="0" u="none" strike="noStrike" kern="1200" cap="none" spc="0" normalizeH="0" baseline="0" noProof="0">
                <a:ln>
                  <a:noFill/>
                </a:ln>
                <a:solidFill>
                  <a:srgbClr val="000000"/>
                </a:solidFill>
                <a:effectLst/>
                <a:uLnTx/>
                <a:uFillTx/>
                <a:latin typeface="Arial"/>
                <a:ea typeface="+mn-ea"/>
                <a:cs typeface="+mn-cs"/>
              </a:rPr>
              <a:t>need for firm sources like nuclear </a:t>
            </a:r>
            <a:r>
              <a:rPr kumimoji="0" lang="en-ID" sz="1050" b="0" i="0" u="none" strike="noStrike" kern="1200" cap="none" spc="0" normalizeH="0" baseline="0" noProof="0">
                <a:ln>
                  <a:noFill/>
                </a:ln>
                <a:solidFill>
                  <a:srgbClr val="000000"/>
                </a:solidFill>
                <a:effectLst/>
                <a:uLnTx/>
                <a:uFillTx/>
                <a:latin typeface="Arial"/>
                <a:ea typeface="+mn-ea"/>
                <a:cs typeface="+mn-cs"/>
              </a:rPr>
              <a:t>as renewables grow.</a:t>
            </a:r>
          </a:p>
          <a:p>
            <a:pPr marL="171450" marR="0" lvl="0" indent="-171450" algn="l" defTabSz="9144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Nuclear LCOE should be assessed against solar and wind </a:t>
            </a:r>
            <a:r>
              <a:rPr kumimoji="0" lang="en-US" sz="1050" b="1" i="0" u="none" strike="noStrike" kern="1200" cap="none" spc="0" normalizeH="0" baseline="0" noProof="0">
                <a:ln>
                  <a:noFill/>
                </a:ln>
                <a:solidFill>
                  <a:srgbClr val="000000"/>
                </a:solidFill>
                <a:effectLst/>
                <a:uLnTx/>
                <a:uFillTx/>
                <a:latin typeface="Arial"/>
                <a:ea typeface="+mn-ea"/>
                <a:cs typeface="+mn-cs"/>
              </a:rPr>
              <a:t>with storage</a:t>
            </a:r>
            <a:r>
              <a:rPr kumimoji="0" lang="en-US" sz="1050" b="0" i="0" u="none" strike="noStrike" kern="1200" cap="none" spc="0" normalizeH="0" baseline="0" noProof="0">
                <a:ln>
                  <a:noFill/>
                </a:ln>
                <a:solidFill>
                  <a:srgbClr val="000000"/>
                </a:solidFill>
                <a:effectLst/>
                <a:uLnTx/>
                <a:uFillTx/>
                <a:latin typeface="Arial"/>
                <a:ea typeface="+mn-ea"/>
                <a:cs typeface="+mn-cs"/>
              </a:rPr>
              <a:t>, as it provides continuous power.</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endParaRPr>
          </a:p>
        </p:txBody>
      </p:sp>
      <p:sp>
        <p:nvSpPr>
          <p:cNvPr id="566" name="Rectangle 565">
            <a:extLst>
              <a:ext uri="{FF2B5EF4-FFF2-40B4-BE49-F238E27FC236}">
                <a16:creationId xmlns:a16="http://schemas.microsoft.com/office/drawing/2014/main" id="{0E15323C-2A34-FEBF-F264-C1E68460E539}"/>
              </a:ext>
            </a:extLst>
          </p:cNvPr>
          <p:cNvSpPr/>
          <p:nvPr/>
        </p:nvSpPr>
        <p:spPr bwMode="gray">
          <a:xfrm>
            <a:off x="6845299" y="4956175"/>
            <a:ext cx="239711" cy="1925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60</a:t>
            </a:r>
          </a:p>
        </p:txBody>
      </p:sp>
      <p:sp>
        <p:nvSpPr>
          <p:cNvPr id="5" name="Rectangle 4">
            <a:extLst>
              <a:ext uri="{FF2B5EF4-FFF2-40B4-BE49-F238E27FC236}">
                <a16:creationId xmlns:a16="http://schemas.microsoft.com/office/drawing/2014/main" id="{3D6F37C7-473A-A40A-2FDB-EAE759A7C6F5}"/>
              </a:ext>
            </a:extLst>
          </p:cNvPr>
          <p:cNvSpPr/>
          <p:nvPr/>
        </p:nvSpPr>
        <p:spPr bwMode="gray">
          <a:xfrm>
            <a:off x="6845299" y="5312923"/>
            <a:ext cx="239711" cy="1925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35</a:t>
            </a:r>
          </a:p>
        </p:txBody>
      </p:sp>
    </p:spTree>
    <p:custDataLst>
      <p:tags r:id="rId1"/>
    </p:custDataLst>
    <p:extLst>
      <p:ext uri="{BB962C8B-B14F-4D97-AF65-F5344CB8AC3E}">
        <p14:creationId xmlns:p14="http://schemas.microsoft.com/office/powerpoint/2010/main" val="31164413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5468E5-A22C-98C2-18FF-2A3245F68EA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DE1E9CC-A3C7-0814-6893-BDA8FDEDBD7B}"/>
              </a:ext>
            </a:extLst>
          </p:cNvPr>
          <p:cNvGraphicFramePr>
            <a:graphicFrameLocks noChangeAspect="1"/>
          </p:cNvGraphicFramePr>
          <p:nvPr>
            <p:custDataLst>
              <p:tags r:id="rId2"/>
            </p:custDataLst>
            <p:extLst>
              <p:ext uri="{D42A27DB-BD31-4B8C-83A1-F6EECF244321}">
                <p14:modId xmlns:p14="http://schemas.microsoft.com/office/powerpoint/2010/main" val="631672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4" imgW="592" imgH="591" progId="TCLayout.ActiveDocument.1">
                  <p:embed/>
                </p:oleObj>
              </mc:Choice>
              <mc:Fallback>
                <p:oleObj name="think-cell Slide" r:id="rId54" imgW="592" imgH="591" progId="TCLayout.ActiveDocument.1">
                  <p:embed/>
                  <p:pic>
                    <p:nvPicPr>
                      <p:cNvPr id="7" name="think-cell data - do not delete" hidden="1">
                        <a:extLst>
                          <a:ext uri="{FF2B5EF4-FFF2-40B4-BE49-F238E27FC236}">
                            <a16:creationId xmlns:a16="http://schemas.microsoft.com/office/drawing/2014/main" id="{6DE1E9CC-A3C7-0814-6893-BDA8FDEDBD7B}"/>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CE43DC8-D008-7084-9F62-829FE6BF719A}"/>
              </a:ext>
            </a:extLst>
          </p:cNvPr>
          <p:cNvSpPr>
            <a:spLocks noGrp="1"/>
          </p:cNvSpPr>
          <p:nvPr>
            <p:ph type="title"/>
          </p:nvPr>
        </p:nvSpPr>
        <p:spPr>
          <a:xfrm>
            <a:off x="330200" y="523318"/>
            <a:ext cx="11531600" cy="882788"/>
          </a:xfrm>
        </p:spPr>
        <p:txBody>
          <a:bodyPr vert="horz">
            <a:noAutofit/>
          </a:bodyPr>
          <a:lstStyle/>
          <a:p>
            <a:r>
              <a:rPr lang="en-US" b="1" dirty="0">
                <a:latin typeface="Arial"/>
                <a:cs typeface="Arial"/>
              </a:rPr>
              <a:t>Lowering capital cost, which account for ~80% of LCOE component costs, is key to scaling nuclear technologies</a:t>
            </a:r>
          </a:p>
        </p:txBody>
      </p:sp>
      <p:sp>
        <p:nvSpPr>
          <p:cNvPr id="349" name="TextBox 348">
            <a:extLst>
              <a:ext uri="{FF2B5EF4-FFF2-40B4-BE49-F238E27FC236}">
                <a16:creationId xmlns:a16="http://schemas.microsoft.com/office/drawing/2014/main" id="{CA1AC865-796B-8D33-5EE4-2534D48E11D2}"/>
              </a:ext>
            </a:extLst>
          </p:cNvPr>
          <p:cNvSpPr txBox="1"/>
          <p:nvPr/>
        </p:nvSpPr>
        <p:spPr bwMode="gray">
          <a:xfrm>
            <a:off x="438945" y="1557818"/>
            <a:ext cx="3756025" cy="28814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COE cost </a:t>
            </a:r>
            <a:r>
              <a:rPr lang="en-US" sz="1400" b="1">
                <a:solidFill>
                  <a:srgbClr val="000000"/>
                </a:solidFill>
                <a:latin typeface="Arial" panose="020B0604020202020204" pitchFamily="34" charset="0"/>
                <a:cs typeface="Arial" panose="020B0604020202020204" pitchFamily="34" charset="0"/>
              </a:rPr>
              <a:t>c</a:t>
            </a:r>
            <a:r>
              <a:rPr kumimoji="0" lang="en-US" sz="14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omponents</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MWh </a:t>
            </a: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btfpNotesBox111697">
            <a:extLst>
              <a:ext uri="{FF2B5EF4-FFF2-40B4-BE49-F238E27FC236}">
                <a16:creationId xmlns:a16="http://schemas.microsoft.com/office/drawing/2014/main" id="{43D42271-C2E2-E4B4-E175-C864BF09FF82}"/>
              </a:ext>
            </a:extLst>
          </p:cNvPr>
          <p:cNvSpPr txBox="1"/>
          <p:nvPr/>
        </p:nvSpPr>
        <p:spPr bwMode="gray">
          <a:xfrm>
            <a:off x="330200" y="6309361"/>
            <a:ext cx="9202738" cy="492443"/>
          </a:xfrm>
          <a:prstGeom prst="rect">
            <a:avLst/>
          </a:prstGeom>
          <a:noFill/>
        </p:spPr>
        <p:txBody>
          <a:bodyPr vert="horz" wrap="square" lIns="0" tIns="0" rIns="0" bIns="0"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s: Lazard,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56"/>
              </a:rPr>
              <a:t>LCOE+</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5); </a:t>
            </a:r>
            <a: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orld Nuclear Association, </a:t>
            </a:r>
            <a: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57"/>
              </a:rPr>
              <a:t>Economics of Nuclear Power</a:t>
            </a:r>
            <a: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4); OECD Nuclear Energy Agency, </a:t>
            </a:r>
            <a: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58"/>
              </a:rPr>
              <a:t>Unlocking Reductions in the Construction Costs of Nuclear</a:t>
            </a:r>
            <a: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0); Statista, </a:t>
            </a:r>
            <a: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59"/>
              </a:rPr>
              <a:t>PPI of concrete products in U.S. 1926-2023</a:t>
            </a:r>
            <a: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4); Institute for Progress, </a:t>
            </a:r>
            <a: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60"/>
              </a:rPr>
              <a:t>Why Does Nuclear Power Plant Construction Cost So Much?</a:t>
            </a:r>
            <a: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3); U.S. Bureau of </a:t>
            </a:r>
            <a:r>
              <a:rPr kumimoji="0" lang="en-ID"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Labor</a:t>
            </a:r>
            <a: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tatistics, </a:t>
            </a:r>
            <a: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61"/>
              </a:rPr>
              <a:t>Producer Price Index by Industry</a:t>
            </a:r>
            <a: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4); U.S. Bureau of </a:t>
            </a:r>
            <a:r>
              <a:rPr kumimoji="0" lang="en-ID"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Labor</a:t>
            </a:r>
            <a: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tatistics, </a:t>
            </a:r>
            <a: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62"/>
              </a:rPr>
              <a:t>Producer Price Index by Commodity: Metals and Metal Products: Iron and Steel</a:t>
            </a:r>
            <a: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4).</a:t>
            </a:r>
            <a:b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redit: Christian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Sandjaja</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Quint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nd </a:t>
            </a:r>
            <a:r>
              <a:rPr kumimoji="0" lang="en-US" sz="800" b="0" i="0" u="sng" strike="noStrike" kern="1200" cap="none" spc="0" normalizeH="0" baseline="0" noProof="0" dirty="0">
                <a:ln>
                  <a:noFill/>
                </a:ln>
                <a:solidFill>
                  <a:srgbClr val="467886"/>
                </a:solidFill>
                <a:effectLst/>
                <a:uLnTx/>
                <a:uFillTx/>
                <a:latin typeface="Arial" panose="020B0604020202020204" pitchFamily="34" charset="0"/>
                <a:ea typeface="+mn-ea"/>
                <a:cs typeface="+mn-cs"/>
                <a:hlinkClick r:id="rId63"/>
              </a:rPr>
              <a:t>Gernot Wagner</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Share with </a:t>
            </a:r>
            <a:r>
              <a:rPr kumimoji="0" lang="en-US" sz="800" b="0" i="0" u="sng" strike="noStrike" kern="1200" cap="none" spc="0" normalizeH="0" baseline="0" noProof="0" dirty="0">
                <a:ln>
                  <a:noFill/>
                </a:ln>
                <a:solidFill>
                  <a:srgbClr val="467886"/>
                </a:solidFill>
                <a:effectLst/>
                <a:uLnTx/>
                <a:uFillTx/>
                <a:latin typeface="Arial" panose="020B0604020202020204" pitchFamily="34" charset="0"/>
                <a:ea typeface="+mn-ea"/>
                <a:cs typeface="+mn-cs"/>
                <a:hlinkClick r:id="rId64"/>
              </a:rPr>
              <a:t>attribution</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800"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t al.,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Reenergizing Nuclear" (23 September 2025).</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323" name="btfpColumnHeaderBoxLine912903">
            <a:extLst>
              <a:ext uri="{FF2B5EF4-FFF2-40B4-BE49-F238E27FC236}">
                <a16:creationId xmlns:a16="http://schemas.microsoft.com/office/drawing/2014/main" id="{AD0E91D2-EC22-7E7F-8B5F-8CDF879ADD70}"/>
              </a:ext>
            </a:extLst>
          </p:cNvPr>
          <p:cNvCxnSpPr>
            <a:cxnSpLocks/>
          </p:cNvCxnSpPr>
          <p:nvPr/>
        </p:nvCxnSpPr>
        <p:spPr bwMode="gray">
          <a:xfrm>
            <a:off x="438944" y="1859941"/>
            <a:ext cx="1118314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448" name="Chart 447">
            <a:extLst>
              <a:ext uri="{FF2B5EF4-FFF2-40B4-BE49-F238E27FC236}">
                <a16:creationId xmlns:a16="http://schemas.microsoft.com/office/drawing/2014/main" id="{B788BF16-7FCC-BD4B-77D5-A1D29FD49F27}"/>
              </a:ext>
            </a:extLst>
          </p:cNvPr>
          <p:cNvGraphicFramePr/>
          <p:nvPr>
            <p:custDataLst>
              <p:tags r:id="rId3"/>
            </p:custDataLst>
          </p:nvPr>
        </p:nvGraphicFramePr>
        <p:xfrm>
          <a:off x="357188" y="2243138"/>
          <a:ext cx="3262312" cy="3365500"/>
        </p:xfrm>
        <a:graphic>
          <a:graphicData uri="http://schemas.openxmlformats.org/drawingml/2006/chart">
            <c:chart xmlns:c="http://schemas.openxmlformats.org/drawingml/2006/chart" xmlns:r="http://schemas.openxmlformats.org/officeDocument/2006/relationships" r:id="rId65"/>
          </a:graphicData>
        </a:graphic>
      </p:graphicFrame>
      <p:sp>
        <p:nvSpPr>
          <p:cNvPr id="36" name="Text Placeholder 10">
            <a:extLst>
              <a:ext uri="{FF2B5EF4-FFF2-40B4-BE49-F238E27FC236}">
                <a16:creationId xmlns:a16="http://schemas.microsoft.com/office/drawing/2014/main" id="{E139736C-CED7-47D3-FCC5-E974384B6FD6}"/>
              </a:ext>
            </a:extLst>
          </p:cNvPr>
          <p:cNvSpPr txBox="1">
            <a:spLocks/>
          </p:cNvSpPr>
          <p:nvPr>
            <p:custDataLst>
              <p:tags r:id="rId4"/>
            </p:custDataLst>
          </p:nvPr>
        </p:nvSpPr>
        <p:spPr bwMode="gray">
          <a:xfrm>
            <a:off x="879475" y="4511675"/>
            <a:ext cx="112713" cy="160338"/>
          </a:xfrm>
          <a:prstGeom prst="rect">
            <a:avLst/>
          </a:prstGeom>
          <a:solidFill>
            <a:schemeClr val="accent3"/>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F561892-951F-45DA-96C8-AB508DD797BF}" type="datetime'4'''''''''''''''''''''''''''">
              <a:rPr lang="en-US" altLang="en-US" sz="1050" smtClean="0">
                <a:solidFill>
                  <a:schemeClr val="bg1"/>
                </a:solidFill>
                <a:effectLst/>
                <a:cs typeface="Arial" panose="020B0604020202020204" pitchFamily="34" charset="0"/>
                <a:sym typeface="Arial" panose="020B0604020202020204" pitchFamily="34" charset="0"/>
              </a:rPr>
              <a:pPr marL="0" indent="0" algn="ctr">
                <a:spcBef>
                  <a:spcPct val="0"/>
                </a:spcBef>
                <a:spcAft>
                  <a:spcPct val="0"/>
                </a:spcAft>
                <a:buNone/>
              </a:pPr>
              <a:t>4</a:t>
            </a:fld>
            <a:endParaRPr lang="en-US" sz="1050">
              <a:solidFill>
                <a:schemeClr val="bg1"/>
              </a:solidFill>
              <a:cs typeface="Arial" panose="020B0604020202020204" pitchFamily="34" charset="0"/>
              <a:sym typeface="Arial" panose="020B0604020202020204" pitchFamily="34" charset="0"/>
            </a:endParaRPr>
          </a:p>
        </p:txBody>
      </p:sp>
      <p:sp>
        <p:nvSpPr>
          <p:cNvPr id="14" name="Text Placeholder 2">
            <a:extLst>
              <a:ext uri="{FF2B5EF4-FFF2-40B4-BE49-F238E27FC236}">
                <a16:creationId xmlns:a16="http://schemas.microsoft.com/office/drawing/2014/main" id="{D2727AA7-2D1C-9149-A340-ACF14FD8FAEA}"/>
              </a:ext>
            </a:extLst>
          </p:cNvPr>
          <p:cNvSpPr txBox="1">
            <a:spLocks/>
          </p:cNvSpPr>
          <p:nvPr>
            <p:custDataLst>
              <p:tags r:id="rId5"/>
            </p:custDataLst>
          </p:nvPr>
        </p:nvSpPr>
        <p:spPr bwMode="auto">
          <a:xfrm>
            <a:off x="515938" y="5416550"/>
            <a:ext cx="623888" cy="4333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19FA14F-915B-4488-841C-F391D92B9C07}" type="datetime'''''G''''as'''' Combi''n''e''''d'' ''''C''''yc''l''''''''e'">
              <a:rPr kumimoji="0" lang="en-US" altLang="en-US" sz="105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Gas Combined Cycle</a:t>
            </a:fld>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9" name="Text Placeholder 10">
            <a:extLst>
              <a:ext uri="{FF2B5EF4-FFF2-40B4-BE49-F238E27FC236}">
                <a16:creationId xmlns:a16="http://schemas.microsoft.com/office/drawing/2014/main" id="{7DC4092E-7749-3ABF-CCF9-D5F0009A4D1A}"/>
              </a:ext>
            </a:extLst>
          </p:cNvPr>
          <p:cNvSpPr txBox="1">
            <a:spLocks/>
          </p:cNvSpPr>
          <p:nvPr>
            <p:custDataLst>
              <p:tags r:id="rId6"/>
            </p:custDataLst>
          </p:nvPr>
        </p:nvSpPr>
        <p:spPr bwMode="gray">
          <a:xfrm>
            <a:off x="1654175" y="2967038"/>
            <a:ext cx="112713" cy="160338"/>
          </a:xfrm>
          <a:prstGeom prst="rect">
            <a:avLst/>
          </a:prstGeom>
          <a:solidFill>
            <a:schemeClr val="accent3"/>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65B549-6B76-4191-AF19-6E748C278102}" type="datetime'5'''''''''''">
              <a:rPr lang="en-US" altLang="en-US" sz="1050" smtClean="0">
                <a:solidFill>
                  <a:schemeClr val="bg1"/>
                </a:solidFill>
                <a:effectLst/>
                <a:cs typeface="Arial" panose="020B0604020202020204" pitchFamily="34" charset="0"/>
                <a:sym typeface="Arial" panose="020B0604020202020204" pitchFamily="34" charset="0"/>
              </a:rPr>
              <a:pPr marL="0" indent="0" algn="ctr">
                <a:spcBef>
                  <a:spcPct val="0"/>
                </a:spcBef>
                <a:spcAft>
                  <a:spcPct val="0"/>
                </a:spcAft>
                <a:buNone/>
              </a:pPr>
              <a:t>5</a:t>
            </a:fld>
            <a:endParaRPr lang="en-US" sz="1050">
              <a:solidFill>
                <a:schemeClr val="bg1"/>
              </a:solidFill>
              <a:cs typeface="Arial" panose="020B0604020202020204" pitchFamily="34" charset="0"/>
              <a:sym typeface="Arial" panose="020B0604020202020204" pitchFamily="34" charset="0"/>
            </a:endParaRPr>
          </a:p>
        </p:txBody>
      </p:sp>
      <p:sp>
        <p:nvSpPr>
          <p:cNvPr id="19" name="Text Placeholder 2">
            <a:extLst>
              <a:ext uri="{FF2B5EF4-FFF2-40B4-BE49-F238E27FC236}">
                <a16:creationId xmlns:a16="http://schemas.microsoft.com/office/drawing/2014/main" id="{CC0319E5-83A0-702F-ECCE-3434EC52F794}"/>
              </a:ext>
            </a:extLst>
          </p:cNvPr>
          <p:cNvSpPr txBox="1">
            <a:spLocks/>
          </p:cNvSpPr>
          <p:nvPr>
            <p:custDataLst>
              <p:tags r:id="rId7"/>
            </p:custDataLst>
          </p:nvPr>
        </p:nvSpPr>
        <p:spPr bwMode="auto">
          <a:xfrm>
            <a:off x="1354138" y="5416550"/>
            <a:ext cx="496888" cy="28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87BA5A9-D8EA-4894-8A9B-967D79F0823D}" type="datetime'''''''G''''''''''''''''''a''s'''''' ''P''e''a''k''i''ng'''''">
              <a:rPr kumimoji="0" lang="en-US" altLang="en-US" sz="105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Gas Peaking</a:t>
            </a:fld>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1" name="Text Placeholder 10">
            <a:extLst>
              <a:ext uri="{FF2B5EF4-FFF2-40B4-BE49-F238E27FC236}">
                <a16:creationId xmlns:a16="http://schemas.microsoft.com/office/drawing/2014/main" id="{27C3A319-7838-8298-0F04-B6758BB020A9}"/>
              </a:ext>
            </a:extLst>
          </p:cNvPr>
          <p:cNvSpPr txBox="1">
            <a:spLocks/>
          </p:cNvSpPr>
          <p:nvPr>
            <p:custDataLst>
              <p:tags r:id="rId8"/>
            </p:custDataLst>
          </p:nvPr>
        </p:nvSpPr>
        <p:spPr bwMode="gray">
          <a:xfrm>
            <a:off x="2427288" y="3770313"/>
            <a:ext cx="112713" cy="160338"/>
          </a:xfrm>
          <a:prstGeom prst="rect">
            <a:avLst/>
          </a:prstGeom>
          <a:solidFill>
            <a:schemeClr val="accent3"/>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E398620-E63C-46B8-9474-3118D5911425}" type="datetime'''''''''''''5'''''''''''''''''''''''''''''''">
              <a:rPr lang="en-US" altLang="en-US" sz="1050" smtClean="0">
                <a:solidFill>
                  <a:schemeClr val="bg1"/>
                </a:solidFill>
                <a:effectLst/>
                <a:cs typeface="Arial" panose="020B0604020202020204" pitchFamily="34" charset="0"/>
                <a:sym typeface="Arial" panose="020B0604020202020204" pitchFamily="34" charset="0"/>
              </a:rPr>
              <a:pPr marL="0" indent="0" algn="ctr">
                <a:spcBef>
                  <a:spcPct val="0"/>
                </a:spcBef>
                <a:spcAft>
                  <a:spcPct val="0"/>
                </a:spcAft>
                <a:buNone/>
              </a:pPr>
              <a:t>5</a:t>
            </a:fld>
            <a:endParaRPr lang="en-US" sz="1050">
              <a:solidFill>
                <a:schemeClr val="bg1"/>
              </a:solidFill>
              <a:cs typeface="Arial" panose="020B0604020202020204" pitchFamily="34" charset="0"/>
              <a:sym typeface="Arial" panose="020B0604020202020204" pitchFamily="34" charset="0"/>
            </a:endParaRPr>
          </a:p>
        </p:txBody>
      </p:sp>
      <p:sp>
        <p:nvSpPr>
          <p:cNvPr id="50" name="Text Placeholder 10">
            <a:extLst>
              <a:ext uri="{FF2B5EF4-FFF2-40B4-BE49-F238E27FC236}">
                <a16:creationId xmlns:a16="http://schemas.microsoft.com/office/drawing/2014/main" id="{19B693F7-10DC-F36F-1589-EB3045022084}"/>
              </a:ext>
            </a:extLst>
          </p:cNvPr>
          <p:cNvSpPr txBox="1">
            <a:spLocks/>
          </p:cNvSpPr>
          <p:nvPr>
            <p:custDataLst>
              <p:tags r:id="rId9"/>
            </p:custDataLst>
          </p:nvPr>
        </p:nvSpPr>
        <p:spPr bwMode="gray">
          <a:xfrm>
            <a:off x="663575" y="4579938"/>
            <a:ext cx="112713" cy="160338"/>
          </a:xfrm>
          <a:prstGeom prst="rect">
            <a:avLst/>
          </a:prstGeom>
          <a:solidFill>
            <a:schemeClr val="accent2"/>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10CF27-CDF2-4071-ACAD-4AF5B07E4D6B}" type="datetime'''''''''''6'''''''''''''''''''">
              <a:rPr lang="en-US" altLang="en-US" sz="1050" smtClean="0">
                <a:solidFill>
                  <a:schemeClr val="bg1"/>
                </a:solidFill>
                <a:effectLst/>
                <a:cs typeface="Arial" panose="020B0604020202020204" pitchFamily="34" charset="0"/>
                <a:sym typeface="Arial" panose="020B0604020202020204" pitchFamily="34" charset="0"/>
              </a:rPr>
              <a:pPr marL="0" indent="0" algn="ctr">
                <a:spcBef>
                  <a:spcPct val="0"/>
                </a:spcBef>
                <a:spcAft>
                  <a:spcPct val="0"/>
                </a:spcAft>
                <a:buNone/>
              </a:pPr>
              <a:t>6</a:t>
            </a:fld>
            <a:endParaRPr lang="en-US" sz="1050">
              <a:solidFill>
                <a:schemeClr val="bg1"/>
              </a:solidFill>
              <a:cs typeface="Arial" panose="020B0604020202020204" pitchFamily="34" charset="0"/>
              <a:sym typeface="Arial" panose="020B0604020202020204" pitchFamily="34" charset="0"/>
            </a:endParaRPr>
          </a:p>
        </p:txBody>
      </p:sp>
      <p:sp>
        <p:nvSpPr>
          <p:cNvPr id="43" name="Text Placeholder 10">
            <a:extLst>
              <a:ext uri="{FF2B5EF4-FFF2-40B4-BE49-F238E27FC236}">
                <a16:creationId xmlns:a16="http://schemas.microsoft.com/office/drawing/2014/main" id="{BB1DFD9B-9972-6D06-F2D1-A32A8299A0EA}"/>
              </a:ext>
            </a:extLst>
          </p:cNvPr>
          <p:cNvSpPr txBox="1">
            <a:spLocks/>
          </p:cNvSpPr>
          <p:nvPr>
            <p:custDataLst>
              <p:tags r:id="rId10"/>
            </p:custDataLst>
          </p:nvPr>
        </p:nvSpPr>
        <p:spPr bwMode="gray">
          <a:xfrm>
            <a:off x="2986088" y="2851150"/>
            <a:ext cx="112713" cy="160338"/>
          </a:xfrm>
          <a:prstGeom prst="rect">
            <a:avLst/>
          </a:prstGeom>
          <a:solidFill>
            <a:schemeClr val="accent3"/>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05B8FB-6A4E-449F-AD28-82413F181288}" type="datetime'''5'''''''''''">
              <a:rPr lang="en-US" altLang="en-US" sz="1050" smtClean="0">
                <a:solidFill>
                  <a:schemeClr val="bg1"/>
                </a:solidFill>
                <a:effectLst/>
                <a:cs typeface="Arial" panose="020B0604020202020204" pitchFamily="34" charset="0"/>
                <a:sym typeface="Arial" panose="020B0604020202020204" pitchFamily="34" charset="0"/>
              </a:rPr>
              <a:pPr marL="0" indent="0" algn="ctr">
                <a:spcBef>
                  <a:spcPct val="0"/>
                </a:spcBef>
                <a:spcAft>
                  <a:spcPct val="0"/>
                </a:spcAft>
                <a:buNone/>
              </a:pPr>
              <a:t>5</a:t>
            </a:fld>
            <a:endParaRPr lang="en-US" sz="1050">
              <a:solidFill>
                <a:schemeClr val="bg1"/>
              </a:solidFill>
              <a:cs typeface="Arial" panose="020B0604020202020204" pitchFamily="34" charset="0"/>
              <a:sym typeface="Arial" panose="020B0604020202020204" pitchFamily="34" charset="0"/>
            </a:endParaRPr>
          </a:p>
        </p:txBody>
      </p:sp>
      <p:sp>
        <p:nvSpPr>
          <p:cNvPr id="37" name="Text Placeholder 10">
            <a:extLst>
              <a:ext uri="{FF2B5EF4-FFF2-40B4-BE49-F238E27FC236}">
                <a16:creationId xmlns:a16="http://schemas.microsoft.com/office/drawing/2014/main" id="{83F77FEA-C505-17D0-2F14-9531C0888031}"/>
              </a:ext>
            </a:extLst>
          </p:cNvPr>
          <p:cNvSpPr txBox="1">
            <a:spLocks/>
          </p:cNvSpPr>
          <p:nvPr>
            <p:custDataLst>
              <p:tags r:id="rId11"/>
            </p:custDataLst>
          </p:nvPr>
        </p:nvSpPr>
        <p:spPr bwMode="gray">
          <a:xfrm>
            <a:off x="733425" y="4051300"/>
            <a:ext cx="1873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4AAF70D-8054-4AD7-ADF7-76A035B56F89}" type="datetime'''''''7''''''''9'''''''''''''''''''''''''''''''''">
              <a:rPr lang="en-US" altLang="en-US" sz="1050" smtClean="0"/>
              <a:pPr marL="0" indent="0" algn="ctr">
                <a:spcBef>
                  <a:spcPct val="0"/>
                </a:spcBef>
                <a:spcAft>
                  <a:spcPct val="0"/>
                </a:spcAft>
                <a:buNone/>
              </a:pPr>
              <a:t>79</a:t>
            </a:fld>
            <a:endParaRPr lang="en-US" sz="1050">
              <a:cs typeface="Arial" panose="020B0604020202020204" pitchFamily="34" charset="0"/>
              <a:sym typeface="Arial" panose="020B0604020202020204" pitchFamily="34" charset="0"/>
            </a:endParaRPr>
          </a:p>
        </p:txBody>
      </p:sp>
      <p:sp>
        <p:nvSpPr>
          <p:cNvPr id="40" name="Text Placeholder 10">
            <a:extLst>
              <a:ext uri="{FF2B5EF4-FFF2-40B4-BE49-F238E27FC236}">
                <a16:creationId xmlns:a16="http://schemas.microsoft.com/office/drawing/2014/main" id="{B517E62D-1780-9A39-8F0A-F66A8C7A7568}"/>
              </a:ext>
            </a:extLst>
          </p:cNvPr>
          <p:cNvSpPr txBox="1">
            <a:spLocks/>
          </p:cNvSpPr>
          <p:nvPr>
            <p:custDataLst>
              <p:tags r:id="rId12"/>
            </p:custDataLst>
          </p:nvPr>
        </p:nvSpPr>
        <p:spPr bwMode="gray">
          <a:xfrm>
            <a:off x="1471613" y="2293938"/>
            <a:ext cx="2619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1775B27-3E17-4FE7-B502-6C6AF2EA68CA}" type="datetime'''''20''''''''''''''''''''''0'''">
              <a:rPr lang="en-US" altLang="en-US" sz="1050" smtClean="0"/>
              <a:pPr marL="0" indent="0" algn="ctr">
                <a:spcBef>
                  <a:spcPct val="0"/>
                </a:spcBef>
                <a:spcAft>
                  <a:spcPct val="0"/>
                </a:spcAft>
                <a:buNone/>
              </a:pPr>
              <a:t>200</a:t>
            </a:fld>
            <a:endParaRPr lang="en-US" sz="1050">
              <a:cs typeface="Arial" panose="020B0604020202020204" pitchFamily="34" charset="0"/>
              <a:sym typeface="Arial" panose="020B0604020202020204" pitchFamily="34" charset="0"/>
            </a:endParaRPr>
          </a:p>
        </p:txBody>
      </p:sp>
      <p:sp>
        <p:nvSpPr>
          <p:cNvPr id="42" name="Text Placeholder 10">
            <a:extLst>
              <a:ext uri="{FF2B5EF4-FFF2-40B4-BE49-F238E27FC236}">
                <a16:creationId xmlns:a16="http://schemas.microsoft.com/office/drawing/2014/main" id="{8602C56F-0AAA-4051-9C3B-ABEE6E2C478F}"/>
              </a:ext>
            </a:extLst>
          </p:cNvPr>
          <p:cNvSpPr txBox="1">
            <a:spLocks/>
          </p:cNvSpPr>
          <p:nvPr>
            <p:custDataLst>
              <p:tags r:id="rId13"/>
            </p:custDataLst>
          </p:nvPr>
        </p:nvSpPr>
        <p:spPr bwMode="gray">
          <a:xfrm>
            <a:off x="2244725" y="3406775"/>
            <a:ext cx="2619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975164A-2023-49DF-98B6-5C8B5D1BC02D}" type="datetime'''''1''''''''''''''''''''''''''''''2''''3'''''''">
              <a:rPr lang="en-US" altLang="en-US" sz="1050" smtClean="0"/>
              <a:pPr marL="0" indent="0" algn="ctr">
                <a:spcBef>
                  <a:spcPct val="0"/>
                </a:spcBef>
                <a:spcAft>
                  <a:spcPct val="0"/>
                </a:spcAft>
                <a:buNone/>
              </a:pPr>
              <a:t>123</a:t>
            </a:fld>
            <a:endParaRPr lang="en-US" sz="1050">
              <a:cs typeface="Arial" panose="020B0604020202020204" pitchFamily="34" charset="0"/>
              <a:sym typeface="Arial" panose="020B0604020202020204" pitchFamily="34" charset="0"/>
            </a:endParaRPr>
          </a:p>
        </p:txBody>
      </p:sp>
      <p:sp>
        <p:nvSpPr>
          <p:cNvPr id="44" name="Text Placeholder 10">
            <a:extLst>
              <a:ext uri="{FF2B5EF4-FFF2-40B4-BE49-F238E27FC236}">
                <a16:creationId xmlns:a16="http://schemas.microsoft.com/office/drawing/2014/main" id="{F5D56A6A-B1B3-18DD-1EAC-E5D5B1E6FF68}"/>
              </a:ext>
            </a:extLst>
          </p:cNvPr>
          <p:cNvSpPr txBox="1">
            <a:spLocks/>
          </p:cNvSpPr>
          <p:nvPr>
            <p:custDataLst>
              <p:tags r:id="rId14"/>
            </p:custDataLst>
          </p:nvPr>
        </p:nvSpPr>
        <p:spPr bwMode="gray">
          <a:xfrm>
            <a:off x="3019425" y="2582863"/>
            <a:ext cx="2619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2C9D4B-4B4E-4267-BB04-3C1F0B131AC3}" type="datetime'''''''''''''''''''''''''''''1''''''8''''''''''''''0'''''''">
              <a:rPr lang="en-US" altLang="en-US" sz="1050" smtClean="0"/>
              <a:pPr marL="0" indent="0" algn="ctr">
                <a:spcBef>
                  <a:spcPct val="0"/>
                </a:spcBef>
                <a:spcAft>
                  <a:spcPct val="0"/>
                </a:spcAft>
                <a:buNone/>
              </a:pPr>
              <a:t>180</a:t>
            </a:fld>
            <a:endParaRPr lang="en-US" sz="1050">
              <a:cs typeface="Arial" panose="020B0604020202020204" pitchFamily="34" charset="0"/>
              <a:sym typeface="Arial" panose="020B0604020202020204" pitchFamily="34" charset="0"/>
            </a:endParaRPr>
          </a:p>
        </p:txBody>
      </p:sp>
      <p:sp>
        <p:nvSpPr>
          <p:cNvPr id="20" name="Text Placeholder 2">
            <a:extLst>
              <a:ext uri="{FF2B5EF4-FFF2-40B4-BE49-F238E27FC236}">
                <a16:creationId xmlns:a16="http://schemas.microsoft.com/office/drawing/2014/main" id="{47DF2533-1040-D0A1-EA9D-A861B0E360EA}"/>
              </a:ext>
            </a:extLst>
          </p:cNvPr>
          <p:cNvSpPr txBox="1">
            <a:spLocks/>
          </p:cNvSpPr>
          <p:nvPr>
            <p:custDataLst>
              <p:tags r:id="rId15"/>
            </p:custDataLst>
          </p:nvPr>
        </p:nvSpPr>
        <p:spPr bwMode="auto">
          <a:xfrm>
            <a:off x="2230438" y="5416550"/>
            <a:ext cx="2889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3DC24B9-C46B-4101-A249-F1B8A5DC55B5}" type="datetime'''''''''''''C''''''''''o''''''''al'''''''''''''''">
              <a:rPr kumimoji="0" lang="en-US" altLang="en-US" sz="105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Coal</a:t>
            </a:fld>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aphicFrame>
        <p:nvGraphicFramePr>
          <p:cNvPr id="31" name="Chart 30">
            <a:extLst>
              <a:ext uri="{FF2B5EF4-FFF2-40B4-BE49-F238E27FC236}">
                <a16:creationId xmlns:a16="http://schemas.microsoft.com/office/drawing/2014/main" id="{1E3C476D-CB68-DD39-83F7-D52EE2B60132}"/>
              </a:ext>
            </a:extLst>
          </p:cNvPr>
          <p:cNvGraphicFramePr/>
          <p:nvPr>
            <p:custDataLst>
              <p:tags r:id="rId16"/>
            </p:custDataLst>
          </p:nvPr>
        </p:nvGraphicFramePr>
        <p:xfrm>
          <a:off x="5940425" y="2017713"/>
          <a:ext cx="1173163" cy="3436937"/>
        </p:xfrm>
        <a:graphic>
          <a:graphicData uri="http://schemas.openxmlformats.org/drawingml/2006/chart">
            <c:chart xmlns:c="http://schemas.openxmlformats.org/drawingml/2006/chart" xmlns:r="http://schemas.openxmlformats.org/officeDocument/2006/relationships" r:id="rId66"/>
          </a:graphicData>
        </a:graphic>
      </p:graphicFrame>
      <p:sp>
        <p:nvSpPr>
          <p:cNvPr id="480" name="Text Placeholder 2">
            <a:extLst>
              <a:ext uri="{FF2B5EF4-FFF2-40B4-BE49-F238E27FC236}">
                <a16:creationId xmlns:a16="http://schemas.microsoft.com/office/drawing/2014/main" id="{C133D165-997D-8AB7-3E31-2AF1C49EBCAF}"/>
              </a:ext>
            </a:extLst>
          </p:cNvPr>
          <p:cNvSpPr txBox="1">
            <a:spLocks/>
          </p:cNvSpPr>
          <p:nvPr>
            <p:custDataLst>
              <p:tags r:id="rId17"/>
            </p:custDataLst>
          </p:nvPr>
        </p:nvSpPr>
        <p:spPr bwMode="gray">
          <a:xfrm>
            <a:off x="6410325" y="3255963"/>
            <a:ext cx="23177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F407479-15F3-4114-9C55-92ACDB794E12}" type="datetime'''''''''8''''''''''''''''%'''''''''''">
              <a:rPr kumimoji="0" lang="en-US" altLang="en-US" sz="105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8%</a:t>
            </a:fld>
            <a:endParaRPr kumimoji="0" 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481" name="Text Placeholder 2">
            <a:extLst>
              <a:ext uri="{FF2B5EF4-FFF2-40B4-BE49-F238E27FC236}">
                <a16:creationId xmlns:a16="http://schemas.microsoft.com/office/drawing/2014/main" id="{0FC43CBB-9787-7C0C-13ED-6BC3719EFC08}"/>
              </a:ext>
            </a:extLst>
          </p:cNvPr>
          <p:cNvSpPr txBox="1">
            <a:spLocks/>
          </p:cNvSpPr>
          <p:nvPr>
            <p:custDataLst>
              <p:tags r:id="rId18"/>
            </p:custDataLst>
          </p:nvPr>
        </p:nvSpPr>
        <p:spPr bwMode="gray">
          <a:xfrm>
            <a:off x="6410325" y="2982913"/>
            <a:ext cx="23177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046168A-2C78-4868-A44B-6CD9872CC12F}" type="datetime'''''''''''''''''8''''''''''''''''%'">
              <a:rPr kumimoji="0" lang="en-US" altLang="en-US" sz="105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8%</a:t>
            </a:fld>
            <a:endParaRPr kumimoji="0" 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482" name="Text Placeholder 2">
            <a:extLst>
              <a:ext uri="{FF2B5EF4-FFF2-40B4-BE49-F238E27FC236}">
                <a16:creationId xmlns:a16="http://schemas.microsoft.com/office/drawing/2014/main" id="{AECF0BA8-C388-94E7-1E6D-DBEB22221E9E}"/>
              </a:ext>
            </a:extLst>
          </p:cNvPr>
          <p:cNvSpPr txBox="1">
            <a:spLocks/>
          </p:cNvSpPr>
          <p:nvPr>
            <p:custDataLst>
              <p:tags r:id="rId19"/>
            </p:custDataLst>
          </p:nvPr>
        </p:nvSpPr>
        <p:spPr bwMode="gray">
          <a:xfrm>
            <a:off x="6373813" y="2436813"/>
            <a:ext cx="30638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22B123B-C3B7-4F9A-B6E3-0B7D62346CE4}" type="datetime'''''''''''''''''2''5''''''''''''''''''''''''''''''%'">
              <a:rPr kumimoji="0" lang="en-US" altLang="en-US" sz="105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5%</a:t>
            </a:fld>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470" name="Text Placeholder 2">
            <a:extLst>
              <a:ext uri="{FF2B5EF4-FFF2-40B4-BE49-F238E27FC236}">
                <a16:creationId xmlns:a16="http://schemas.microsoft.com/office/drawing/2014/main" id="{2055ECF9-0FAF-F9D0-53AD-0348F67C31B4}"/>
              </a:ext>
            </a:extLst>
          </p:cNvPr>
          <p:cNvSpPr txBox="1">
            <a:spLocks/>
          </p:cNvSpPr>
          <p:nvPr>
            <p:custDataLst>
              <p:tags r:id="rId20"/>
            </p:custDataLst>
          </p:nvPr>
        </p:nvSpPr>
        <p:spPr bwMode="auto">
          <a:xfrm>
            <a:off x="6038850" y="5416550"/>
            <a:ext cx="976313" cy="28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F6FF52E-9E6B-4410-BDB7-336FE5731F82}" type="datetime'''In''''vestmen''t ''''C''ost B''''rea''''kdo''''''w''n'''''">
              <a:rPr kumimoji="0" lang="en-US" altLang="en-US" sz="105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Investment Cost Breakdown</a:t>
            </a:fld>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79" name="Text Placeholder 2">
            <a:extLst>
              <a:ext uri="{FF2B5EF4-FFF2-40B4-BE49-F238E27FC236}">
                <a16:creationId xmlns:a16="http://schemas.microsoft.com/office/drawing/2014/main" id="{20E79B44-981C-8AA7-CBEF-41B7BE39E8DC}"/>
              </a:ext>
            </a:extLst>
          </p:cNvPr>
          <p:cNvSpPr txBox="1">
            <a:spLocks/>
          </p:cNvSpPr>
          <p:nvPr>
            <p:custDataLst>
              <p:tags r:id="rId21"/>
            </p:custDataLst>
          </p:nvPr>
        </p:nvSpPr>
        <p:spPr bwMode="gray">
          <a:xfrm>
            <a:off x="6373813" y="4346575"/>
            <a:ext cx="30638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5900B94-DE53-47AE-A3D7-7BB50D394CBF}" type="datetime'5''''''''''''''8''''''''''''''''''''''%'''''''''''''''''">
              <a:rPr kumimoji="0" lang="en-US" altLang="en-US" sz="105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58%</a:t>
            </a:fld>
            <a:endParaRPr kumimoji="0" 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405" name="Text Placeholder 2">
            <a:extLst>
              <a:ext uri="{FF2B5EF4-FFF2-40B4-BE49-F238E27FC236}">
                <a16:creationId xmlns:a16="http://schemas.microsoft.com/office/drawing/2014/main" id="{26679B45-9100-D2D5-A768-AFABCE1BF787}"/>
              </a:ext>
            </a:extLst>
          </p:cNvPr>
          <p:cNvSpPr txBox="1">
            <a:spLocks/>
          </p:cNvSpPr>
          <p:nvPr>
            <p:custDataLst>
              <p:tags r:id="rId22"/>
            </p:custDataLst>
          </p:nvPr>
        </p:nvSpPr>
        <p:spPr bwMode="auto">
          <a:xfrm>
            <a:off x="6913563" y="3255963"/>
            <a:ext cx="4905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15E0C7C-2618-4C8C-8B3B-FE864B2FCB3E}" type="datetime'''''''Ow''''''''''''ner''''''''’''''''''''''''s'''''''''">
              <a:rPr kumimoji="0" lang="en-US" altLang="en-US" sz="105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Owner’s</a:t>
            </a:fld>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06" name="Text Placeholder 2">
            <a:extLst>
              <a:ext uri="{FF2B5EF4-FFF2-40B4-BE49-F238E27FC236}">
                <a16:creationId xmlns:a16="http://schemas.microsoft.com/office/drawing/2014/main" id="{0BB77A3A-D011-08C3-0C41-2D3F1D4C9ADB}"/>
              </a:ext>
            </a:extLst>
          </p:cNvPr>
          <p:cNvSpPr txBox="1">
            <a:spLocks/>
          </p:cNvSpPr>
          <p:nvPr>
            <p:custDataLst>
              <p:tags r:id="rId23"/>
            </p:custDataLst>
          </p:nvPr>
        </p:nvSpPr>
        <p:spPr bwMode="auto">
          <a:xfrm>
            <a:off x="6913563" y="2982913"/>
            <a:ext cx="8493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FE8375F-E630-4ED6-B2B2-6E19457195B6}" type="datetime'Con''''''''t''''''i''''''''ng''''''''''''e''nc''''''ies'''">
              <a:rPr kumimoji="0" lang="en-US" altLang="en-US" sz="105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Contingencies</a:t>
            </a:fld>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07" name="Text Placeholder 2">
            <a:extLst>
              <a:ext uri="{FF2B5EF4-FFF2-40B4-BE49-F238E27FC236}">
                <a16:creationId xmlns:a16="http://schemas.microsoft.com/office/drawing/2014/main" id="{91CED2F1-4FFB-F273-78DE-DAF731FA0661}"/>
              </a:ext>
            </a:extLst>
          </p:cNvPr>
          <p:cNvSpPr txBox="1">
            <a:spLocks/>
          </p:cNvSpPr>
          <p:nvPr>
            <p:custDataLst>
              <p:tags r:id="rId24"/>
            </p:custDataLst>
          </p:nvPr>
        </p:nvSpPr>
        <p:spPr bwMode="auto">
          <a:xfrm>
            <a:off x="6913563" y="2363789"/>
            <a:ext cx="1752600" cy="28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Interest during construction</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53" name="Text Placeholder 2">
            <a:extLst>
              <a:ext uri="{FF2B5EF4-FFF2-40B4-BE49-F238E27FC236}">
                <a16:creationId xmlns:a16="http://schemas.microsoft.com/office/drawing/2014/main" id="{48B3112E-F486-A9EE-B3D0-E15124D3387B}"/>
              </a:ext>
            </a:extLst>
          </p:cNvPr>
          <p:cNvSpPr txBox="1">
            <a:spLocks/>
          </p:cNvSpPr>
          <p:nvPr>
            <p:custDataLst>
              <p:tags r:id="rId25"/>
            </p:custDataLst>
          </p:nvPr>
        </p:nvSpPr>
        <p:spPr bwMode="gray">
          <a:xfrm>
            <a:off x="6335713" y="1930400"/>
            <a:ext cx="38100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3643419-3AE4-4EE9-BDAD-20DE96FD2158}" type="datetime'''''''1''''''''''0''''''''0''''''%'">
              <a:rPr kumimoji="0" lang="en-US" altLang="en-US" sz="105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00%</a:t>
            </a:fld>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402" name="Text Placeholder 2">
            <a:extLst>
              <a:ext uri="{FF2B5EF4-FFF2-40B4-BE49-F238E27FC236}">
                <a16:creationId xmlns:a16="http://schemas.microsoft.com/office/drawing/2014/main" id="{4F87CF0F-46E9-D5D4-B39B-821D38A1D22D}"/>
              </a:ext>
            </a:extLst>
          </p:cNvPr>
          <p:cNvSpPr txBox="1">
            <a:spLocks/>
          </p:cNvSpPr>
          <p:nvPr>
            <p:custDataLst>
              <p:tags r:id="rId26"/>
            </p:custDataLst>
          </p:nvPr>
        </p:nvSpPr>
        <p:spPr bwMode="auto">
          <a:xfrm>
            <a:off x="6913563" y="4346575"/>
            <a:ext cx="2746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CE5378E-7196-49D0-8D63-090662E46E9E}" type="datetime'''''''''''E''''''''P''''''C'''''''''''''''''''">
              <a:rPr kumimoji="0" lang="en-US" altLang="en-US" sz="105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EPC</a:t>
            </a:fld>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487" name="Straight Connector 486">
            <a:extLst>
              <a:ext uri="{FF2B5EF4-FFF2-40B4-BE49-F238E27FC236}">
                <a16:creationId xmlns:a16="http://schemas.microsoft.com/office/drawing/2014/main" id="{A407A417-E049-14B3-4517-60B1D766CEFC}"/>
              </a:ext>
            </a:extLst>
          </p:cNvPr>
          <p:cNvCxnSpPr>
            <a:cxnSpLocks/>
          </p:cNvCxnSpPr>
          <p:nvPr>
            <p:custDataLst>
              <p:tags r:id="rId27"/>
            </p:custDataLst>
          </p:nvPr>
        </p:nvCxnSpPr>
        <p:spPr bwMode="auto">
          <a:xfrm flipV="1">
            <a:off x="3365500" y="2100263"/>
            <a:ext cx="2881313" cy="668338"/>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 name="TextBox 28">
            <a:extLst>
              <a:ext uri="{FF2B5EF4-FFF2-40B4-BE49-F238E27FC236}">
                <a16:creationId xmlns:a16="http://schemas.microsoft.com/office/drawing/2014/main" id="{79A626DA-B18E-66FD-D7A6-4050B3BB4060}"/>
              </a:ext>
            </a:extLst>
          </p:cNvPr>
          <p:cNvSpPr txBox="1"/>
          <p:nvPr/>
        </p:nvSpPr>
        <p:spPr bwMode="gray">
          <a:xfrm>
            <a:off x="438944" y="5799138"/>
            <a:ext cx="3096419" cy="225425"/>
          </a:xfrm>
          <a:prstGeom prst="rect">
            <a:avLst/>
          </a:prstGeom>
          <a:noFill/>
        </p:spPr>
        <p:txBody>
          <a:bodyPr wrap="square" lIns="36000" tIns="36000" rIns="36000" bIns="360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0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lf-analysis based on Lazard LCOE+</a:t>
            </a:r>
          </a:p>
        </p:txBody>
      </p:sp>
      <p:graphicFrame>
        <p:nvGraphicFramePr>
          <p:cNvPr id="450" name="Chart 449">
            <a:extLst>
              <a:ext uri="{FF2B5EF4-FFF2-40B4-BE49-F238E27FC236}">
                <a16:creationId xmlns:a16="http://schemas.microsoft.com/office/drawing/2014/main" id="{1BEBA4A0-735D-E8D8-D5FD-B489CB762754}"/>
              </a:ext>
            </a:extLst>
          </p:cNvPr>
          <p:cNvGraphicFramePr/>
          <p:nvPr>
            <p:custDataLst>
              <p:tags r:id="rId28"/>
            </p:custDataLst>
          </p:nvPr>
        </p:nvGraphicFramePr>
        <p:xfrm>
          <a:off x="9137650" y="2017713"/>
          <a:ext cx="1173163" cy="3436937"/>
        </p:xfrm>
        <a:graphic>
          <a:graphicData uri="http://schemas.openxmlformats.org/drawingml/2006/chart">
            <c:chart xmlns:c="http://schemas.openxmlformats.org/drawingml/2006/chart" xmlns:r="http://schemas.openxmlformats.org/officeDocument/2006/relationships" r:id="rId67"/>
          </a:graphicData>
        </a:graphic>
      </p:graphicFrame>
      <p:sp>
        <p:nvSpPr>
          <p:cNvPr id="334" name="Text Placeholder 2">
            <a:extLst>
              <a:ext uri="{FF2B5EF4-FFF2-40B4-BE49-F238E27FC236}">
                <a16:creationId xmlns:a16="http://schemas.microsoft.com/office/drawing/2014/main" id="{2F6627F0-D890-FB55-435A-764B01CF2F9C}"/>
              </a:ext>
            </a:extLst>
          </p:cNvPr>
          <p:cNvSpPr txBox="1">
            <a:spLocks/>
          </p:cNvSpPr>
          <p:nvPr>
            <p:custDataLst>
              <p:tags r:id="rId29"/>
            </p:custDataLst>
          </p:nvPr>
        </p:nvSpPr>
        <p:spPr bwMode="gray">
          <a:xfrm>
            <a:off x="9571038" y="4154488"/>
            <a:ext cx="30638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12A3E75-6432-4B0A-AA08-C416D8C61431}" type="datetime'''''''''''''''3''''''''''''''''''''''''8''''''%'''''''''''">
              <a:rPr kumimoji="0" lang="en-US" altLang="en-US" sz="105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8%</a:t>
            </a:fld>
            <a:endParaRPr kumimoji="0" 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32" name="Text Placeholder 2">
            <a:extLst>
              <a:ext uri="{FF2B5EF4-FFF2-40B4-BE49-F238E27FC236}">
                <a16:creationId xmlns:a16="http://schemas.microsoft.com/office/drawing/2014/main" id="{472BA12C-8736-8302-0395-A26AA14F992F}"/>
              </a:ext>
            </a:extLst>
          </p:cNvPr>
          <p:cNvSpPr txBox="1">
            <a:spLocks/>
          </p:cNvSpPr>
          <p:nvPr>
            <p:custDataLst>
              <p:tags r:id="rId30"/>
            </p:custDataLst>
          </p:nvPr>
        </p:nvSpPr>
        <p:spPr bwMode="gray">
          <a:xfrm>
            <a:off x="9571038" y="3092450"/>
            <a:ext cx="30638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C7248A4-2C22-4E69-97A8-AB1368630C41}" type="datetime'''''''''2''''7''''''''''''''''''''''''''''''''''%'''''">
              <a:rPr kumimoji="0" lang="en-US" altLang="en-US" sz="105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7%</a:t>
            </a:fld>
            <a:endParaRPr kumimoji="0" 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33" name="Text Placeholder 2">
            <a:extLst>
              <a:ext uri="{FF2B5EF4-FFF2-40B4-BE49-F238E27FC236}">
                <a16:creationId xmlns:a16="http://schemas.microsoft.com/office/drawing/2014/main" id="{9DA7F711-6299-5311-D7D4-912190AEBF5A}"/>
              </a:ext>
            </a:extLst>
          </p:cNvPr>
          <p:cNvSpPr txBox="1">
            <a:spLocks/>
          </p:cNvSpPr>
          <p:nvPr>
            <p:custDataLst>
              <p:tags r:id="rId31"/>
            </p:custDataLst>
          </p:nvPr>
        </p:nvSpPr>
        <p:spPr bwMode="gray">
          <a:xfrm>
            <a:off x="9607550" y="2519363"/>
            <a:ext cx="23177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76E4659-755E-452E-83DF-D3B6CEA68AD5}" type="datetime'''8''''''''''''''''''''''''''''''''''''''''''''''%'''''''">
              <a:rPr kumimoji="0" lang="en-US" altLang="en-US" sz="105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8%</a:t>
            </a:fld>
            <a:endParaRPr kumimoji="0" 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89" name="Text Placeholder 2">
            <a:extLst>
              <a:ext uri="{FF2B5EF4-FFF2-40B4-BE49-F238E27FC236}">
                <a16:creationId xmlns:a16="http://schemas.microsoft.com/office/drawing/2014/main" id="{DBF186F9-85F8-6499-1036-53E79EAC4F99}"/>
              </a:ext>
            </a:extLst>
          </p:cNvPr>
          <p:cNvSpPr txBox="1">
            <a:spLocks/>
          </p:cNvSpPr>
          <p:nvPr>
            <p:custDataLst>
              <p:tags r:id="rId32"/>
            </p:custDataLst>
          </p:nvPr>
        </p:nvSpPr>
        <p:spPr bwMode="gray">
          <a:xfrm>
            <a:off x="9607550" y="2273300"/>
            <a:ext cx="23177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F6C6D5D-CCA1-40EF-9323-84BE0B09A41D}" type="datetime'''''''''''''''''''''''''''''''7''''''''''%'''''''">
              <a:rPr kumimoji="0" lang="en-US" altLang="en-US" sz="105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a:t>
            </a:fld>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390" name="Text Placeholder 2">
            <a:extLst>
              <a:ext uri="{FF2B5EF4-FFF2-40B4-BE49-F238E27FC236}">
                <a16:creationId xmlns:a16="http://schemas.microsoft.com/office/drawing/2014/main" id="{C109BF25-808F-3DBB-19A5-BC602CDE6D1A}"/>
              </a:ext>
            </a:extLst>
          </p:cNvPr>
          <p:cNvSpPr txBox="1">
            <a:spLocks/>
          </p:cNvSpPr>
          <p:nvPr>
            <p:custDataLst>
              <p:tags r:id="rId33"/>
            </p:custDataLst>
          </p:nvPr>
        </p:nvSpPr>
        <p:spPr bwMode="gray">
          <a:xfrm>
            <a:off x="9607550" y="2093913"/>
            <a:ext cx="23177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895B44B-7A5A-460B-9F03-C5F6D25348C7}" type="datetime'''''''''4''''''''''''''''''''%'''''''''''''''''''''''''">
              <a:rPr kumimoji="0" lang="en-US" altLang="en-US" sz="105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a:t>
            </a:fld>
            <a:endParaRPr kumimoji="0" 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9" name="Text Placeholder 2">
            <a:extLst>
              <a:ext uri="{FF2B5EF4-FFF2-40B4-BE49-F238E27FC236}">
                <a16:creationId xmlns:a16="http://schemas.microsoft.com/office/drawing/2014/main" id="{B6E2C40E-90EF-B7BD-2E6C-9F36A110C9DA}"/>
              </a:ext>
            </a:extLst>
          </p:cNvPr>
          <p:cNvSpPr txBox="1">
            <a:spLocks/>
          </p:cNvSpPr>
          <p:nvPr>
            <p:custDataLst>
              <p:tags r:id="rId34"/>
            </p:custDataLst>
          </p:nvPr>
        </p:nvSpPr>
        <p:spPr bwMode="auto">
          <a:xfrm>
            <a:off x="9226550" y="5416550"/>
            <a:ext cx="993775" cy="4333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5A8B74B-E5C6-4B97-A1FB-6BB3D6441C20}" type="datetime'M''aterials'''' &amp; Co''''m''ponent''s Cost ''B''reakd''o''''wn'">
              <a:rPr kumimoji="0" lang="en-US" altLang="en-US" sz="105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Materials &amp; Components Cost Breakdown</a:t>
            </a:fld>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30" name="Text Placeholder 2">
            <a:extLst>
              <a:ext uri="{FF2B5EF4-FFF2-40B4-BE49-F238E27FC236}">
                <a16:creationId xmlns:a16="http://schemas.microsoft.com/office/drawing/2014/main" id="{C9DDBF16-55C2-22F6-363F-61AD7878D355}"/>
              </a:ext>
            </a:extLst>
          </p:cNvPr>
          <p:cNvSpPr txBox="1">
            <a:spLocks/>
          </p:cNvSpPr>
          <p:nvPr>
            <p:custDataLst>
              <p:tags r:id="rId35"/>
            </p:custDataLst>
          </p:nvPr>
        </p:nvSpPr>
        <p:spPr bwMode="gray">
          <a:xfrm>
            <a:off x="9571038" y="5038725"/>
            <a:ext cx="306388" cy="144463"/>
          </a:xfrm>
          <a:prstGeom prst="rect">
            <a:avLst/>
          </a:prstGeom>
          <a:noFill/>
          <a:ln>
            <a:noFill/>
          </a:ln>
          <a:effectLst/>
          <a:extLst>
            <a:ext uri="{909E8E84-426E-40DD-AFC4-6F175D3DCCD1}">
              <a14:hiddenFill xmlns:a14="http://schemas.microsoft.com/office/drawing/2010/main">
                <a:solidFill>
                  <a:srgbClr val="805BCA"/>
                </a:solidFill>
              </a14:hiddenFill>
            </a:ext>
          </a:extLst>
        </p:spPr>
        <p:txBody>
          <a:bodyPr vert="horz" wrap="none" lIns="19050" tIns="0" rIns="1905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14369DC-5F7D-4CB8-9410-7E0FF56B279A}" type="datetime'1''''''''''''''''''''''''''6''''''''''''''%'''''''''''''''''''">
              <a:rPr kumimoji="0" lang="en-US" altLang="en-US" sz="105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6%</a:t>
            </a:fld>
            <a:endParaRPr kumimoji="0" 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40" name="Text Placeholder 2">
            <a:extLst>
              <a:ext uri="{FF2B5EF4-FFF2-40B4-BE49-F238E27FC236}">
                <a16:creationId xmlns:a16="http://schemas.microsoft.com/office/drawing/2014/main" id="{066EAA49-5450-9B84-E603-3A0F6E175F1A}"/>
              </a:ext>
            </a:extLst>
          </p:cNvPr>
          <p:cNvSpPr txBox="1">
            <a:spLocks/>
          </p:cNvSpPr>
          <p:nvPr>
            <p:custDataLst>
              <p:tags r:id="rId36"/>
            </p:custDataLst>
          </p:nvPr>
        </p:nvSpPr>
        <p:spPr bwMode="auto">
          <a:xfrm>
            <a:off x="10110788" y="4154488"/>
            <a:ext cx="8096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Reactor plant</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341" name="Text Placeholder 2">
            <a:extLst>
              <a:ext uri="{FF2B5EF4-FFF2-40B4-BE49-F238E27FC236}">
                <a16:creationId xmlns:a16="http://schemas.microsoft.com/office/drawing/2014/main" id="{4ABF1C22-7ECA-C68F-9678-9E36152B6E2C}"/>
              </a:ext>
            </a:extLst>
          </p:cNvPr>
          <p:cNvSpPr txBox="1">
            <a:spLocks/>
          </p:cNvSpPr>
          <p:nvPr>
            <p:custDataLst>
              <p:tags r:id="rId37"/>
            </p:custDataLst>
          </p:nvPr>
        </p:nvSpPr>
        <p:spPr bwMode="auto">
          <a:xfrm>
            <a:off x="10110788" y="3092450"/>
            <a:ext cx="7953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Turbine plant</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342" name="Text Placeholder 2">
            <a:extLst>
              <a:ext uri="{FF2B5EF4-FFF2-40B4-BE49-F238E27FC236}">
                <a16:creationId xmlns:a16="http://schemas.microsoft.com/office/drawing/2014/main" id="{47A35797-311C-0AE3-8774-204CD8259A73}"/>
              </a:ext>
            </a:extLst>
          </p:cNvPr>
          <p:cNvSpPr txBox="1">
            <a:spLocks/>
          </p:cNvSpPr>
          <p:nvPr>
            <p:custDataLst>
              <p:tags r:id="rId38"/>
            </p:custDataLst>
          </p:nvPr>
        </p:nvSpPr>
        <p:spPr bwMode="auto">
          <a:xfrm>
            <a:off x="10110788" y="2519363"/>
            <a:ext cx="77946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Electric plant</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48" name="Text Placeholder 2">
            <a:extLst>
              <a:ext uri="{FF2B5EF4-FFF2-40B4-BE49-F238E27FC236}">
                <a16:creationId xmlns:a16="http://schemas.microsoft.com/office/drawing/2014/main" id="{9B8C948E-96E2-439C-CC5A-DED9ACEF7D78}"/>
              </a:ext>
            </a:extLst>
          </p:cNvPr>
          <p:cNvSpPr txBox="1">
            <a:spLocks/>
          </p:cNvSpPr>
          <p:nvPr>
            <p:custDataLst>
              <p:tags r:id="rId39"/>
            </p:custDataLst>
          </p:nvPr>
        </p:nvSpPr>
        <p:spPr bwMode="auto">
          <a:xfrm>
            <a:off x="10110788" y="2295525"/>
            <a:ext cx="158908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9F7F0C8-AFAA-47DC-8508-0176E8EFC2AB}" type="datetime'Main hea''t'''' ''r''''ej''e''ct''''i''on ''syste''m'''''''''">
              <a:rPr kumimoji="0" lang="en-US" altLang="en-US" sz="105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Main heat rejection system</a:t>
            </a:fld>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363" name="Text Placeholder 2">
            <a:extLst>
              <a:ext uri="{FF2B5EF4-FFF2-40B4-BE49-F238E27FC236}">
                <a16:creationId xmlns:a16="http://schemas.microsoft.com/office/drawing/2014/main" id="{0DB28E48-D666-2983-A004-5D50BEC84DA7}"/>
              </a:ext>
            </a:extLst>
          </p:cNvPr>
          <p:cNvSpPr txBox="1">
            <a:spLocks/>
          </p:cNvSpPr>
          <p:nvPr>
            <p:custDataLst>
              <p:tags r:id="rId40"/>
            </p:custDataLst>
          </p:nvPr>
        </p:nvSpPr>
        <p:spPr bwMode="auto">
          <a:xfrm>
            <a:off x="10110788" y="2100263"/>
            <a:ext cx="151130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EB5A61C-2BF7-4FD6-AC18-0AD2A825DBF8}" type="datetime'Mis''cel''lane''''''''''ous e''qu''i''''''p''m''e''''n''t'''''">
              <a:rPr kumimoji="0" lang="en-US" altLang="en-US" sz="105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Miscellaneous equipment</a:t>
            </a:fld>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331" name="Text Placeholder 2">
            <a:extLst>
              <a:ext uri="{FF2B5EF4-FFF2-40B4-BE49-F238E27FC236}">
                <a16:creationId xmlns:a16="http://schemas.microsoft.com/office/drawing/2014/main" id="{2DD5CED6-BAD6-FF9D-DAC7-62E77A10CAA7}"/>
              </a:ext>
            </a:extLst>
          </p:cNvPr>
          <p:cNvSpPr txBox="1">
            <a:spLocks/>
          </p:cNvSpPr>
          <p:nvPr>
            <p:custDataLst>
              <p:tags r:id="rId41"/>
            </p:custDataLst>
          </p:nvPr>
        </p:nvSpPr>
        <p:spPr bwMode="gray">
          <a:xfrm>
            <a:off x="9532938" y="1930400"/>
            <a:ext cx="38100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3DB177A-D1E4-430C-8A7E-8ECCECF49119}" type="datetime'''''1''0''''''''''''''''''''0''''%'''">
              <a:rPr kumimoji="0" lang="en-US" altLang="en-US" sz="105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00%</a:t>
            </a:fld>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339" name="Text Placeholder 2">
            <a:extLst>
              <a:ext uri="{FF2B5EF4-FFF2-40B4-BE49-F238E27FC236}">
                <a16:creationId xmlns:a16="http://schemas.microsoft.com/office/drawing/2014/main" id="{B148C80A-2B1A-ADFC-7B1E-896C4949A84F}"/>
              </a:ext>
            </a:extLst>
          </p:cNvPr>
          <p:cNvSpPr txBox="1">
            <a:spLocks/>
          </p:cNvSpPr>
          <p:nvPr>
            <p:custDataLst>
              <p:tags r:id="rId42"/>
            </p:custDataLst>
          </p:nvPr>
        </p:nvSpPr>
        <p:spPr bwMode="auto">
          <a:xfrm>
            <a:off x="10110788" y="5038725"/>
            <a:ext cx="8318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Civil structure</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cxnSp>
        <p:nvCxnSpPr>
          <p:cNvPr id="430" name="Straight Connector 429">
            <a:extLst>
              <a:ext uri="{FF2B5EF4-FFF2-40B4-BE49-F238E27FC236}">
                <a16:creationId xmlns:a16="http://schemas.microsoft.com/office/drawing/2014/main" id="{3C63940E-0308-439B-DF98-CADFDC778D24}"/>
              </a:ext>
            </a:extLst>
          </p:cNvPr>
          <p:cNvCxnSpPr/>
          <p:nvPr>
            <p:custDataLst>
              <p:tags r:id="rId43"/>
            </p:custDataLst>
          </p:nvPr>
        </p:nvCxnSpPr>
        <p:spPr bwMode="auto">
          <a:xfrm>
            <a:off x="6807200" y="2100263"/>
            <a:ext cx="2636838" cy="0"/>
          </a:xfrm>
          <a:prstGeom prst="line">
            <a:avLst/>
          </a:prstGeom>
          <a:ln w="1270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28" name="Rectangular Callout 527">
            <a:extLst>
              <a:ext uri="{FF2B5EF4-FFF2-40B4-BE49-F238E27FC236}">
                <a16:creationId xmlns:a16="http://schemas.microsoft.com/office/drawing/2014/main" id="{ADAA798D-EE49-4380-7679-D52FBE90A361}"/>
              </a:ext>
            </a:extLst>
          </p:cNvPr>
          <p:cNvSpPr/>
          <p:nvPr/>
        </p:nvSpPr>
        <p:spPr>
          <a:xfrm>
            <a:off x="4818700" y="3649284"/>
            <a:ext cx="1269470" cy="1533904"/>
          </a:xfrm>
          <a:prstGeom prst="wedgeRectCallout">
            <a:avLst>
              <a:gd name="adj1" fmla="val 61299"/>
              <a:gd name="adj2" fmla="val -22102"/>
            </a:avLst>
          </a:prstGeom>
          <a:solidFill>
            <a:srgbClr val="805BC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ID"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aterials account for approximately 12% of direct EPC costs, with piping comprising 30-38% of that total.</a:t>
            </a:r>
          </a:p>
        </p:txBody>
      </p:sp>
      <p:sp>
        <p:nvSpPr>
          <p:cNvPr id="541" name="Rectangular Callout 540">
            <a:extLst>
              <a:ext uri="{FF2B5EF4-FFF2-40B4-BE49-F238E27FC236}">
                <a16:creationId xmlns:a16="http://schemas.microsoft.com/office/drawing/2014/main" id="{0696E21F-B2D9-5F4A-FF13-63D5B2052293}"/>
              </a:ext>
            </a:extLst>
          </p:cNvPr>
          <p:cNvSpPr/>
          <p:nvPr/>
        </p:nvSpPr>
        <p:spPr>
          <a:xfrm>
            <a:off x="7835054" y="2891445"/>
            <a:ext cx="1447906" cy="1214438"/>
          </a:xfrm>
          <a:prstGeom prst="wedgeRectCallout">
            <a:avLst>
              <a:gd name="adj1" fmla="val 58940"/>
              <a:gd name="adj2" fmla="val 22079"/>
            </a:avLst>
          </a:prstGeom>
          <a:solidFill>
            <a:srgbClr val="1D608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ID"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uclear-grade requirements can make concrete 23% and structural steel 41% more expensive compared </a:t>
            </a:r>
            <a:r>
              <a:rPr lang="en-ID" sz="1050">
                <a:solidFill>
                  <a:srgbClr val="FFFFFF"/>
                </a:solidFill>
                <a:latin typeface="Arial" panose="020B0604020202020204" pitchFamily="34" charset="0"/>
                <a:cs typeface="Arial" panose="020B0604020202020204" pitchFamily="34" charset="0"/>
              </a:rPr>
              <a:t>with</a:t>
            </a:r>
            <a:r>
              <a:rPr kumimoji="0" lang="en-ID"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standard projects.</a:t>
            </a:r>
            <a:endParaRPr kumimoji="0" 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87" name="Rectangular Callout 586">
            <a:extLst>
              <a:ext uri="{FF2B5EF4-FFF2-40B4-BE49-F238E27FC236}">
                <a16:creationId xmlns:a16="http://schemas.microsoft.com/office/drawing/2014/main" id="{27F2930B-E079-6E18-6DF6-7BDAB176311C}"/>
              </a:ext>
            </a:extLst>
          </p:cNvPr>
          <p:cNvSpPr/>
          <p:nvPr/>
        </p:nvSpPr>
        <p:spPr>
          <a:xfrm rot="10800000" flipV="1">
            <a:off x="4818699" y="2182813"/>
            <a:ext cx="1270949" cy="1368461"/>
          </a:xfrm>
          <a:prstGeom prst="wedgeRectCallout">
            <a:avLst>
              <a:gd name="adj1" fmla="val -61248"/>
              <a:gd name="adj2" fmla="val -22339"/>
            </a:avLst>
          </a:prstGeom>
          <a:solidFill>
            <a:srgbClr val="33A39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ID" sz="1050" b="0" i="0" u="none" strike="noStrike" kern="1200" cap="none" spc="0" normalizeH="0" baseline="0" noProof="0">
                <a:ln>
                  <a:noFill/>
                </a:ln>
                <a:solidFill>
                  <a:srgbClr val="FFFFFF"/>
                </a:solidFill>
                <a:effectLst/>
                <a:uLnTx/>
                <a:uFillTx/>
                <a:latin typeface="Arial"/>
                <a:ea typeface="+mn-ea"/>
                <a:cs typeface="Arial"/>
              </a:rPr>
              <a:t>A drop in the interest rate from 7% to 4% reduces</a:t>
            </a:r>
            <a:br>
              <a:rPr kumimoji="0" lang="en-ID" alt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mn-cs"/>
              </a:rPr>
            </a:br>
            <a:r>
              <a:rPr kumimoji="0" lang="en-ID" sz="1050" b="0" i="0" u="none" strike="noStrike" kern="1200" cap="none" spc="0" normalizeH="0" baseline="0" noProof="0">
                <a:ln>
                  <a:noFill/>
                </a:ln>
                <a:solidFill>
                  <a:srgbClr val="FFFFFF"/>
                </a:solidFill>
                <a:effectLst/>
                <a:uLnTx/>
                <a:uFillTx/>
                <a:latin typeface="Arial"/>
                <a:ea typeface="+mn-ea"/>
                <a:cs typeface="Arial"/>
              </a:rPr>
              <a:t>nuclear LCOE </a:t>
            </a:r>
            <a:br>
              <a:rPr kumimoji="0" lang="en-ID" sz="1050" b="0" i="0" u="none" strike="noStrike" kern="1200" cap="none" spc="0" normalizeH="0" baseline="0" noProof="0">
                <a:ln>
                  <a:noFill/>
                </a:ln>
                <a:solidFill>
                  <a:srgbClr val="FFFFFF"/>
                </a:solidFill>
                <a:effectLst/>
                <a:uLnTx/>
                <a:uFillTx/>
                <a:latin typeface="Arial"/>
                <a:ea typeface="+mn-ea"/>
                <a:cs typeface="Arial"/>
              </a:rPr>
            </a:br>
            <a:r>
              <a:rPr kumimoji="0" lang="en-ID" sz="1050" b="0" i="0" u="none" strike="noStrike" kern="1200" cap="none" spc="0" normalizeH="0" baseline="0" noProof="0">
                <a:ln>
                  <a:noFill/>
                </a:ln>
                <a:solidFill>
                  <a:srgbClr val="FFFFFF"/>
                </a:solidFill>
                <a:effectLst/>
                <a:uLnTx/>
                <a:uFillTx/>
                <a:latin typeface="Arial"/>
                <a:ea typeface="+mn-ea"/>
                <a:cs typeface="Arial"/>
              </a:rPr>
              <a:t>by ~17%, underscoring the critical role of interest rates.</a:t>
            </a:r>
          </a:p>
        </p:txBody>
      </p:sp>
      <p:sp>
        <p:nvSpPr>
          <p:cNvPr id="620" name="Rectangular Callout 619">
            <a:extLst>
              <a:ext uri="{FF2B5EF4-FFF2-40B4-BE49-F238E27FC236}">
                <a16:creationId xmlns:a16="http://schemas.microsoft.com/office/drawing/2014/main" id="{20DA597F-4275-AA5F-AA28-9EDF4DC8A387}"/>
              </a:ext>
            </a:extLst>
          </p:cNvPr>
          <p:cNvSpPr/>
          <p:nvPr/>
        </p:nvSpPr>
        <p:spPr>
          <a:xfrm>
            <a:off x="7581262" y="4233863"/>
            <a:ext cx="1699477" cy="1100138"/>
          </a:xfrm>
          <a:prstGeom prst="wedgeRectCallout">
            <a:avLst>
              <a:gd name="adj1" fmla="val 55626"/>
              <a:gd name="adj2" fmla="val 18754"/>
            </a:avLst>
          </a:prstGeom>
          <a:solidFill>
            <a:srgbClr val="C30C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ID" sz="1050">
                <a:solidFill>
                  <a:srgbClr val="FFFFFF"/>
                </a:solidFill>
                <a:latin typeface="Arial" panose="020B0604020202020204" pitchFamily="34" charset="0"/>
                <a:cs typeface="Arial" panose="020B0604020202020204" pitchFamily="34" charset="0"/>
              </a:rPr>
              <a:t>Increasing</a:t>
            </a:r>
            <a:r>
              <a:rPr kumimoji="0" lang="en-ID"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commodity prices have driven up nuclear construction costs, with steel up 47% and concrete up 65% in the past decade.</a:t>
            </a:r>
          </a:p>
        </p:txBody>
      </p:sp>
      <p:sp>
        <p:nvSpPr>
          <p:cNvPr id="22" name="Rectangular Callout 21">
            <a:extLst>
              <a:ext uri="{FF2B5EF4-FFF2-40B4-BE49-F238E27FC236}">
                <a16:creationId xmlns:a16="http://schemas.microsoft.com/office/drawing/2014/main" id="{FFC39AB7-FD5C-D05D-B550-3E70C8CB1F60}"/>
              </a:ext>
            </a:extLst>
          </p:cNvPr>
          <p:cNvSpPr/>
          <p:nvPr/>
        </p:nvSpPr>
        <p:spPr>
          <a:xfrm flipH="1">
            <a:off x="3589612" y="2866867"/>
            <a:ext cx="1002829" cy="2328226"/>
          </a:xfrm>
          <a:prstGeom prst="wedgeRectCallout">
            <a:avLst>
              <a:gd name="adj1" fmla="val 66202"/>
              <a:gd name="adj2" fmla="val 19621"/>
            </a:avLst>
          </a:prstGeom>
          <a:solidFill>
            <a:srgbClr val="349B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Capital cost for nuclear </a:t>
            </a:r>
            <a:r>
              <a:rPr lang="en-US" sz="1050">
                <a:solidFill>
                  <a:srgbClr val="FFFFFF"/>
                </a:solidFill>
                <a:latin typeface="Arial" panose="020B0604020202020204" pitchFamily="34" charset="0"/>
                <a:cs typeface="Arial" panose="020B0604020202020204" pitchFamily="34" charset="0"/>
              </a:rPr>
              <a:t>is</a:t>
            </a:r>
            <a:r>
              <a:rPr kumimoji="0" lang="en-US" sz="105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 84% of total cost. The  </a:t>
            </a:r>
            <a:r>
              <a:rPr kumimoji="0" lang="en-ID" sz="105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economics hinge on </a:t>
            </a:r>
            <a:r>
              <a:rPr kumimoji="0" lang="en-ID" sz="105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rPr>
              <a:t>favorable</a:t>
            </a:r>
            <a:r>
              <a:rPr kumimoji="0" lang="en-ID" sz="105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 financing conditions and policy support to mitigate capital risks. </a:t>
            </a:r>
            <a:endParaRPr kumimoji="0" lang="en-US" sz="105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8" name="Rectangle 47">
            <a:extLst>
              <a:ext uri="{FF2B5EF4-FFF2-40B4-BE49-F238E27FC236}">
                <a16:creationId xmlns:a16="http://schemas.microsoft.com/office/drawing/2014/main" id="{5A9EBC8F-C1CC-3FA5-B331-B5155FBE162A}"/>
              </a:ext>
            </a:extLst>
          </p:cNvPr>
          <p:cNvSpPr/>
          <p:nvPr>
            <p:custDataLst>
              <p:tags r:id="rId44"/>
            </p:custDataLst>
          </p:nvPr>
        </p:nvSpPr>
        <p:spPr bwMode="auto">
          <a:xfrm>
            <a:off x="1978025" y="2135188"/>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 name="Rectangle 29">
            <a:extLst>
              <a:ext uri="{FF2B5EF4-FFF2-40B4-BE49-F238E27FC236}">
                <a16:creationId xmlns:a16="http://schemas.microsoft.com/office/drawing/2014/main" id="{47F70211-B0B3-3B73-D91F-4771AD6204B6}"/>
              </a:ext>
            </a:extLst>
          </p:cNvPr>
          <p:cNvSpPr/>
          <p:nvPr>
            <p:custDataLst>
              <p:tags r:id="rId45"/>
            </p:custDataLst>
          </p:nvPr>
        </p:nvSpPr>
        <p:spPr bwMode="auto">
          <a:xfrm>
            <a:off x="490538" y="1939925"/>
            <a:ext cx="179388" cy="133350"/>
          </a:xfrm>
          <a:prstGeom prst="rect">
            <a:avLst/>
          </a:prstGeom>
          <a:solidFill>
            <a:srgbClr val="359BDB"/>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B0C58634-A49F-B64F-90FF-3342665AA943}"/>
              </a:ext>
            </a:extLst>
          </p:cNvPr>
          <p:cNvSpPr/>
          <p:nvPr>
            <p:custDataLst>
              <p:tags r:id="rId46"/>
            </p:custDataLst>
          </p:nvPr>
        </p:nvSpPr>
        <p:spPr bwMode="auto">
          <a:xfrm>
            <a:off x="1978025" y="1939925"/>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 name="Rectangle 45">
            <a:extLst>
              <a:ext uri="{FF2B5EF4-FFF2-40B4-BE49-F238E27FC236}">
                <a16:creationId xmlns:a16="http://schemas.microsoft.com/office/drawing/2014/main" id="{6C86EF06-1275-8688-A534-8755015CF297}"/>
              </a:ext>
            </a:extLst>
          </p:cNvPr>
          <p:cNvSpPr/>
          <p:nvPr>
            <p:custDataLst>
              <p:tags r:id="rId47"/>
            </p:custDataLst>
          </p:nvPr>
        </p:nvSpPr>
        <p:spPr bwMode="auto">
          <a:xfrm>
            <a:off x="490538" y="213518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 name="Text Placeholder 2">
            <a:extLst>
              <a:ext uri="{FF2B5EF4-FFF2-40B4-BE49-F238E27FC236}">
                <a16:creationId xmlns:a16="http://schemas.microsoft.com/office/drawing/2014/main" id="{E4F07B94-DAB1-25AF-E8D0-D70A84127B1C}"/>
              </a:ext>
            </a:extLst>
          </p:cNvPr>
          <p:cNvSpPr txBox="1">
            <a:spLocks/>
          </p:cNvSpPr>
          <p:nvPr>
            <p:custDataLst>
              <p:tags r:id="rId48"/>
            </p:custDataLst>
          </p:nvPr>
        </p:nvSpPr>
        <p:spPr bwMode="auto">
          <a:xfrm>
            <a:off x="720726" y="1947863"/>
            <a:ext cx="428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err="1">
                <a:ln>
                  <a:noFill/>
                </a:ln>
                <a:solidFill>
                  <a:srgbClr val="000000"/>
                </a:solidFill>
                <a:effectLst/>
                <a:uLnTx/>
                <a:uFillTx/>
                <a:sym typeface="Arial" panose="020B0604020202020204" pitchFamily="34" charset="0"/>
              </a:rPr>
              <a:t>CapEx</a:t>
            </a:r>
            <a:endParaRPr kumimoji="0" lang="en-US" sz="1000" b="0" i="0" u="none" strike="noStrike" kern="1200" cap="none" spc="0" normalizeH="0" baseline="0" noProof="0">
              <a:ln>
                <a:noFill/>
              </a:ln>
              <a:solidFill>
                <a:srgbClr val="000000"/>
              </a:solidFill>
              <a:effectLst/>
              <a:uLnTx/>
              <a:uFillTx/>
              <a:sym typeface="Arial" panose="020B0604020202020204" pitchFamily="34" charset="0"/>
            </a:endParaRPr>
          </a:p>
        </p:txBody>
      </p:sp>
      <p:sp>
        <p:nvSpPr>
          <p:cNvPr id="17" name="Text Placeholder 2">
            <a:extLst>
              <a:ext uri="{FF2B5EF4-FFF2-40B4-BE49-F238E27FC236}">
                <a16:creationId xmlns:a16="http://schemas.microsoft.com/office/drawing/2014/main" id="{59B0A79B-C4E6-CC6E-3E22-E64081ACF3D4}"/>
              </a:ext>
            </a:extLst>
          </p:cNvPr>
          <p:cNvSpPr txBox="1">
            <a:spLocks/>
          </p:cNvSpPr>
          <p:nvPr>
            <p:custDataLst>
              <p:tags r:id="rId49"/>
            </p:custDataLst>
          </p:nvPr>
        </p:nvSpPr>
        <p:spPr bwMode="auto">
          <a:xfrm>
            <a:off x="720725" y="2143125"/>
            <a:ext cx="1155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0464770B-23E2-4DEB-AA53-D0B12A042027}" type="datetime'''Fi''x''e''d ''O''''''&amp;''''M'' ''(''''''$''/M''W''''h'')'">
              <a:rPr lang="en-US" altLang="en-US" sz="1000" smtClean="0">
                <a:solidFill>
                  <a:srgbClr val="000000"/>
                </a:solidFill>
              </a:rPr>
              <a:pPr marL="0" lvl="0" indent="0">
                <a:spcBef>
                  <a:spcPct val="0"/>
                </a:spcBef>
                <a:spcAft>
                  <a:spcPct val="0"/>
                </a:spcAft>
                <a:buNone/>
                <a:defRPr/>
              </a:pPr>
              <a:t>Fixed O&amp;M ($/MWh)</a:t>
            </a:fld>
            <a:endParaRPr kumimoji="0" lang="en-US" sz="1000" b="0" i="0" strike="noStrike" kern="1200" cap="none" spc="0" normalizeH="0" baseline="0" noProof="0">
              <a:ln>
                <a:noFill/>
              </a:ln>
              <a:solidFill>
                <a:srgbClr val="000000"/>
              </a:solidFill>
              <a:effectLst/>
              <a:uLnTx/>
              <a:uFillTx/>
              <a:sym typeface="Arial" panose="020B0604020202020204" pitchFamily="34" charset="0"/>
            </a:endParaRPr>
          </a:p>
        </p:txBody>
      </p:sp>
      <p:sp>
        <p:nvSpPr>
          <p:cNvPr id="28" name="Text Placeholder 2">
            <a:extLst>
              <a:ext uri="{FF2B5EF4-FFF2-40B4-BE49-F238E27FC236}">
                <a16:creationId xmlns:a16="http://schemas.microsoft.com/office/drawing/2014/main" id="{D8C4626C-D548-3E3F-8AE9-1794D75C8A97}"/>
              </a:ext>
            </a:extLst>
          </p:cNvPr>
          <p:cNvSpPr txBox="1">
            <a:spLocks/>
          </p:cNvSpPr>
          <p:nvPr>
            <p:custDataLst>
              <p:tags r:id="rId50"/>
            </p:custDataLst>
          </p:nvPr>
        </p:nvSpPr>
        <p:spPr bwMode="auto">
          <a:xfrm>
            <a:off x="2208213" y="2143125"/>
            <a:ext cx="1063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en-US" altLang="en-US" sz="1000">
                <a:solidFill>
                  <a:srgbClr val="000000"/>
                </a:solidFill>
              </a:rPr>
              <a:t>Fuel cost ($/MWh)</a:t>
            </a:r>
            <a:endParaRPr kumimoji="0" lang="en-US" sz="1000" b="0" i="0" strike="noStrike" kern="1200" cap="none" spc="0" normalizeH="0" baseline="0" noProof="0">
              <a:ln>
                <a:noFill/>
              </a:ln>
              <a:solidFill>
                <a:srgbClr val="000000"/>
              </a:solidFill>
              <a:effectLst/>
              <a:uLnTx/>
              <a:uFillTx/>
              <a:sym typeface="Arial" panose="020B0604020202020204" pitchFamily="34" charset="0"/>
            </a:endParaRPr>
          </a:p>
        </p:txBody>
      </p:sp>
      <p:sp>
        <p:nvSpPr>
          <p:cNvPr id="21" name="Text Placeholder 2">
            <a:extLst>
              <a:ext uri="{FF2B5EF4-FFF2-40B4-BE49-F238E27FC236}">
                <a16:creationId xmlns:a16="http://schemas.microsoft.com/office/drawing/2014/main" id="{9B156C4C-6A1E-C859-D4A9-0598911AC4A5}"/>
              </a:ext>
            </a:extLst>
          </p:cNvPr>
          <p:cNvSpPr txBox="1">
            <a:spLocks/>
          </p:cNvSpPr>
          <p:nvPr>
            <p:custDataLst>
              <p:tags r:id="rId51"/>
            </p:custDataLst>
          </p:nvPr>
        </p:nvSpPr>
        <p:spPr bwMode="auto">
          <a:xfrm>
            <a:off x="2208213" y="1947863"/>
            <a:ext cx="1309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23F2041-745D-4C3E-BDE5-961058AA5078}" type="datetime'Vari''ab''le'''' ''O&amp;''M'''''' ($''/''''MWh)'''''''">
              <a:rPr lang="en-US" altLang="en-US" sz="1000" smtClean="0">
                <a:solidFill>
                  <a:srgbClr val="000000"/>
                </a:solidFill>
              </a:rPr>
              <a:pPr marL="0" lvl="0" indent="0">
                <a:spcBef>
                  <a:spcPct val="0"/>
                </a:spcBef>
                <a:spcAft>
                  <a:spcPct val="0"/>
                </a:spcAft>
                <a:buNone/>
                <a:defRPr/>
              </a:pPr>
              <a:t>Variable O&amp;M ($/MWh)</a:t>
            </a:fld>
            <a:endParaRPr kumimoji="0" lang="en-US" sz="1000" b="0" i="0" strike="noStrike" kern="1200" cap="none" spc="0" normalizeH="0" baseline="0" noProof="0">
              <a:ln>
                <a:noFill/>
              </a:ln>
              <a:solidFill>
                <a:srgbClr val="000000"/>
              </a:solidFill>
              <a:effectLst/>
              <a:uLnTx/>
              <a:uFillTx/>
              <a:sym typeface="Arial" panose="020B0604020202020204" pitchFamily="34" charset="0"/>
            </a:endParaRPr>
          </a:p>
        </p:txBody>
      </p:sp>
      <p:sp>
        <p:nvSpPr>
          <p:cNvPr id="3" name="TextBox 2">
            <a:extLst>
              <a:ext uri="{FF2B5EF4-FFF2-40B4-BE49-F238E27FC236}">
                <a16:creationId xmlns:a16="http://schemas.microsoft.com/office/drawing/2014/main" id="{F518E952-3DE3-663D-72BA-221CACD63A0E}"/>
              </a:ext>
            </a:extLst>
          </p:cNvPr>
          <p:cNvSpPr txBox="1"/>
          <p:nvPr/>
        </p:nvSpPr>
        <p:spPr bwMode="gray">
          <a:xfrm>
            <a:off x="2684673" y="5279985"/>
            <a:ext cx="1035635" cy="438582"/>
          </a:xfrm>
          <a:prstGeom prst="rect">
            <a:avLst/>
          </a:prstGeom>
          <a:noFill/>
        </p:spPr>
        <p:txBody>
          <a:bodyPr wrap="square" lIns="137160" tIns="137160" rIns="274320" bIns="137160" rtlCol="0">
            <a:spAutoFit/>
          </a:bodyPr>
          <a:lstStyle/>
          <a:p>
            <a:pPr marL="0" indent="0" algn="ctr">
              <a:spcBef>
                <a:spcPts val="600"/>
              </a:spcBef>
              <a:spcAft>
                <a:spcPts val="600"/>
              </a:spcAft>
              <a:buNone/>
            </a:pPr>
            <a:r>
              <a:rPr lang="en-US" sz="1050"/>
              <a:t>Nuclear</a:t>
            </a:r>
          </a:p>
        </p:txBody>
      </p:sp>
    </p:spTree>
    <p:custDataLst>
      <p:tags r:id="rId1"/>
    </p:custDataLst>
    <p:extLst>
      <p:ext uri="{BB962C8B-B14F-4D97-AF65-F5344CB8AC3E}">
        <p14:creationId xmlns:p14="http://schemas.microsoft.com/office/powerpoint/2010/main" val="35870105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p:custDataLst>
              <p:tags r:id="rId1"/>
            </p:custDataLst>
            <p:extLst>
              <p:ext uri="{D42A27DB-BD31-4B8C-83A1-F6EECF244321}">
                <p14:modId xmlns:p14="http://schemas.microsoft.com/office/powerpoint/2010/main" val="2182571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8"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BF2833-96C7-2985-7FFB-374F7F0B5254}"/>
              </a:ext>
            </a:extLst>
          </p:cNvPr>
          <p:cNvSpPr>
            <a:spLocks noGrp="1"/>
          </p:cNvSpPr>
          <p:nvPr>
            <p:ph type="title"/>
          </p:nvPr>
        </p:nvSpPr>
        <p:spPr>
          <a:xfrm>
            <a:off x="679450" y="3795319"/>
            <a:ext cx="8172090" cy="2436792"/>
          </a:xfrm>
        </p:spPr>
        <p:txBody>
          <a:bodyPr vert="horz">
            <a:normAutofit/>
          </a:bodyPr>
          <a:lstStyle/>
          <a:p>
            <a:r>
              <a:rPr lang="en-US">
                <a:effectLst>
                  <a:outerShdw blurRad="50800" dist="38100" dir="8100000" algn="tr" rotWithShape="0">
                    <a:prstClr val="black">
                      <a:alpha val="40000"/>
                    </a:prstClr>
                  </a:outerShdw>
                </a:effectLst>
                <a:cs typeface="Arial"/>
              </a:rPr>
              <a:t>The Nuclear Opportunity</a:t>
            </a:r>
            <a:endParaRPr lang="en-US">
              <a:effectLst>
                <a:outerShdw blurRad="50800" dist="38100" dir="8100000" algn="tr" rotWithShape="0">
                  <a:prstClr val="black">
                    <a:alpha val="40000"/>
                  </a:prstClr>
                </a:outerShdw>
              </a:effectLst>
            </a:endParaRPr>
          </a:p>
        </p:txBody>
      </p:sp>
    </p:spTree>
    <p:extLst>
      <p:ext uri="{BB962C8B-B14F-4D97-AF65-F5344CB8AC3E}">
        <p14:creationId xmlns:p14="http://schemas.microsoft.com/office/powerpoint/2010/main" val="8071021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482A87-78EE-9123-2DE1-EF05E7102BA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CF29288-CF13-B3B0-B143-D6EA44B10A1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7" imgW="7772400" imgH="10058400" progId="TCLayout.ActiveDocument.1">
                  <p:embed/>
                </p:oleObj>
              </mc:Choice>
              <mc:Fallback>
                <p:oleObj name="think-cell Slide" r:id="rId37" imgW="7772400" imgH="10058400" progId="TCLayout.ActiveDocument.1">
                  <p:embed/>
                  <p:pic>
                    <p:nvPicPr>
                      <p:cNvPr id="4" name="think-cell data - do not delete" hidden="1">
                        <a:extLst>
                          <a:ext uri="{FF2B5EF4-FFF2-40B4-BE49-F238E27FC236}">
                            <a16:creationId xmlns:a16="http://schemas.microsoft.com/office/drawing/2014/main" id="{1CF29288-CF13-B3B0-B143-D6EA44B10A1E}"/>
                          </a:ext>
                        </a:extLst>
                      </p:cNvPr>
                      <p:cNvPicPr/>
                      <p:nvPr/>
                    </p:nvPicPr>
                    <p:blipFill>
                      <a:blip r:embed="rId38"/>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76E9787-20B6-62FB-2E78-088F3B4FBABA}"/>
              </a:ext>
            </a:extLst>
          </p:cNvPr>
          <p:cNvSpPr>
            <a:spLocks noGrp="1"/>
          </p:cNvSpPr>
          <p:nvPr>
            <p:ph type="title"/>
          </p:nvPr>
        </p:nvSpPr>
        <p:spPr>
          <a:xfrm>
            <a:off x="330199" y="523318"/>
            <a:ext cx="11716503" cy="882788"/>
          </a:xfrm>
        </p:spPr>
        <p:txBody>
          <a:bodyPr vert="horz">
            <a:noAutofit/>
          </a:bodyPr>
          <a:lstStyle/>
          <a:p>
            <a:r>
              <a:rPr lang="en-US"/>
              <a:t>Poor project management among key drivers of time and cost overruns in new European and North American large reactor builds</a:t>
            </a:r>
          </a:p>
        </p:txBody>
      </p:sp>
      <p:sp>
        <p:nvSpPr>
          <p:cNvPr id="3" name="btfpNotesBox361175">
            <a:extLst>
              <a:ext uri="{FF2B5EF4-FFF2-40B4-BE49-F238E27FC236}">
                <a16:creationId xmlns:a16="http://schemas.microsoft.com/office/drawing/2014/main" id="{D35F2D43-C847-426D-9B81-2088F03E52EE}"/>
              </a:ext>
            </a:extLst>
          </p:cNvPr>
          <p:cNvSpPr txBox="1"/>
          <p:nvPr>
            <p:custDataLst>
              <p:tags r:id="rId2"/>
            </p:custDataLst>
          </p:nvPr>
        </p:nvSpPr>
        <p:spPr bwMode="gray">
          <a:xfrm>
            <a:off x="388257" y="6291424"/>
            <a:ext cx="9199283" cy="492443"/>
          </a:xfrm>
          <a:prstGeom prst="rect">
            <a:avLst/>
          </a:prstGeom>
          <a:noFill/>
        </p:spPr>
        <p:txBody>
          <a:bodyPr vert="horz" wrap="square" lIns="0" tIns="0" rIns="0" bIns="0" rtlCol="0" anchor="b">
            <a:spAutoFit/>
          </a:bodyPr>
          <a:lstStyle/>
          <a:p>
            <a:r>
              <a:rPr lang="en-US" sz="800" baseline="30000" dirty="0">
                <a:solidFill>
                  <a:srgbClr val="000000"/>
                </a:solidFill>
              </a:rPr>
              <a:t>1 </a:t>
            </a:r>
            <a:r>
              <a:rPr lang="en-US" sz="800" dirty="0">
                <a:solidFill>
                  <a:srgbClr val="000000"/>
                </a:solidFill>
              </a:rPr>
              <a:t>Indirect services cost includes onsite and offsite project and construction management and design services. </a:t>
            </a:r>
          </a:p>
          <a:p>
            <a:r>
              <a:rPr lang="en-US" sz="800" dirty="0">
                <a:solidFill>
                  <a:srgbClr val="000000"/>
                </a:solidFill>
              </a:rPr>
              <a:t>Sources: Energy Technologies Institute, </a:t>
            </a:r>
            <a:r>
              <a:rPr lang="en-US" sz="800" dirty="0">
                <a:solidFill>
                  <a:srgbClr val="000000"/>
                </a:solidFill>
                <a:hlinkClick r:id="rId39"/>
              </a:rPr>
              <a:t>The ETI Nuclear Cost Drivers Project: Full Technical Report</a:t>
            </a:r>
            <a:r>
              <a:rPr lang="en-US" sz="800" dirty="0">
                <a:solidFill>
                  <a:srgbClr val="000000"/>
                </a:solidFill>
              </a:rPr>
              <a:t> (2020); Nuclear Energy Agency, </a:t>
            </a:r>
            <a:r>
              <a:rPr lang="en-US" sz="800" dirty="0">
                <a:solidFill>
                  <a:srgbClr val="000000"/>
                </a:solidFill>
                <a:hlinkClick r:id="rId40"/>
              </a:rPr>
              <a:t>Unlocking Reductions in the Construction Costs of Nuclear:</a:t>
            </a:r>
            <a:br>
              <a:rPr lang="en-US" sz="800" dirty="0">
                <a:solidFill>
                  <a:srgbClr val="000000"/>
                </a:solidFill>
                <a:hlinkClick r:id="rId40"/>
              </a:rPr>
            </a:br>
            <a:r>
              <a:rPr lang="en-US" sz="800" dirty="0">
                <a:solidFill>
                  <a:srgbClr val="000000"/>
                </a:solidFill>
                <a:hlinkClick r:id="rId40"/>
              </a:rPr>
              <a:t>A Practical Guide for Stakeholders</a:t>
            </a:r>
            <a:r>
              <a:rPr lang="en-US" sz="800" dirty="0">
                <a:solidFill>
                  <a:srgbClr val="000000"/>
                </a:solidFill>
              </a:rPr>
              <a:t> (2020); Georgia Power, </a:t>
            </a:r>
            <a:r>
              <a:rPr lang="en-US" sz="800" dirty="0">
                <a:solidFill>
                  <a:srgbClr val="000000"/>
                </a:solidFill>
                <a:hlinkClick r:id="rId41"/>
              </a:rPr>
              <a:t>Nuclear Plant Voglte</a:t>
            </a:r>
            <a:r>
              <a:rPr lang="en-US" sz="800" dirty="0">
                <a:solidFill>
                  <a:srgbClr val="000000"/>
                </a:solidFill>
              </a:rPr>
              <a:t> (2024).</a:t>
            </a:r>
          </a:p>
          <a:p>
            <a:r>
              <a:rPr lang="en-US" sz="800" dirty="0">
                <a:solidFill>
                  <a:srgbClr val="000000"/>
                </a:solidFill>
              </a:rPr>
              <a:t>Credit: Clara Zibell, Isabel Hoyos, </a:t>
            </a:r>
            <a:r>
              <a:rPr lang="en-US" sz="800" dirty="0" err="1">
                <a:solidFill>
                  <a:srgbClr val="000000"/>
                </a:solidFill>
              </a:rPr>
              <a:t>Hyae</a:t>
            </a:r>
            <a:r>
              <a:rPr lang="en-US" sz="800" dirty="0">
                <a:solidFill>
                  <a:srgbClr val="000000"/>
                </a:solidFill>
              </a:rPr>
              <a:t> Ryung Kim, and </a:t>
            </a:r>
            <a:r>
              <a:rPr lang="en-US" sz="800" dirty="0">
                <a:hlinkClick r:id="rId42"/>
              </a:rPr>
              <a:t>Gernot Wagner.</a:t>
            </a:r>
            <a:r>
              <a:rPr lang="en-US" sz="800" dirty="0">
                <a:solidFill>
                  <a:srgbClr val="000000"/>
                </a:solidFill>
              </a:rPr>
              <a:t>  Share with </a:t>
            </a:r>
            <a:r>
              <a:rPr lang="en-US" sz="800" dirty="0">
                <a:solidFill>
                  <a:srgbClr val="000000"/>
                </a:solidFill>
                <a:hlinkClick r:id="rId43"/>
              </a:rPr>
              <a:t>attribution</a:t>
            </a:r>
            <a:r>
              <a:rPr lang="en-US" sz="800" dirty="0">
                <a:solidFill>
                  <a:srgbClr val="000000"/>
                </a:solidFill>
              </a:rPr>
              <a:t>: </a:t>
            </a:r>
            <a:r>
              <a:rPr lang="en-US" sz="800" dirty="0" err="1">
                <a:solidFill>
                  <a:srgbClr val="000000"/>
                </a:solidFill>
              </a:rPr>
              <a:t>Houwink</a:t>
            </a:r>
            <a:r>
              <a:rPr lang="en-US" sz="800" dirty="0">
                <a:solidFill>
                  <a:srgbClr val="000000"/>
                </a:solidFill>
              </a:rPr>
              <a:t> et al., "Reenergizing Nuclear" (23 September 2025).</a:t>
            </a:r>
            <a:endParaRPr lang="en-US" sz="800" dirty="0">
              <a:solidFill>
                <a:srgbClr val="000000"/>
              </a:solidFill>
              <a:cs typeface="Arial"/>
            </a:endParaRPr>
          </a:p>
        </p:txBody>
      </p:sp>
      <p:sp>
        <p:nvSpPr>
          <p:cNvPr id="42" name="btfpColumnHeaderBoxText223027">
            <a:extLst>
              <a:ext uri="{FF2B5EF4-FFF2-40B4-BE49-F238E27FC236}">
                <a16:creationId xmlns:a16="http://schemas.microsoft.com/office/drawing/2014/main" id="{2968EE6C-C46A-0DB0-678C-F87D50398ADF}"/>
              </a:ext>
            </a:extLst>
          </p:cNvPr>
          <p:cNvSpPr txBox="1"/>
          <p:nvPr/>
        </p:nvSpPr>
        <p:spPr bwMode="gray">
          <a:xfrm>
            <a:off x="452437" y="1321478"/>
            <a:ext cx="3772321" cy="442108"/>
          </a:xfrm>
          <a:prstGeom prst="rect">
            <a:avLst/>
          </a:prstGeom>
          <a:noFill/>
        </p:spPr>
        <p:txBody>
          <a:bodyPr vert="horz" wrap="square" lIns="0" tIns="36036" rIns="36036" bIns="36036" rtlCol="0" anchor="b">
            <a:spAutoFit/>
          </a:bodyPr>
          <a:lstStyle/>
          <a:p>
            <a:pPr marL="0" indent="0">
              <a:spcBef>
                <a:spcPts val="0"/>
              </a:spcBef>
              <a:buNone/>
            </a:pPr>
            <a:r>
              <a:rPr lang="en-US" sz="1200" b="1">
                <a:solidFill>
                  <a:srgbClr val="000000"/>
                </a:solidFill>
              </a:rPr>
              <a:t>Cost comparison of conventional nuclear plants in Europe and North America vs. rest of world (ROW)</a:t>
            </a:r>
          </a:p>
        </p:txBody>
      </p:sp>
      <p:cxnSp>
        <p:nvCxnSpPr>
          <p:cNvPr id="46" name="Straight Connector 45">
            <a:extLst>
              <a:ext uri="{FF2B5EF4-FFF2-40B4-BE49-F238E27FC236}">
                <a16:creationId xmlns:a16="http://schemas.microsoft.com/office/drawing/2014/main" id="{AC70F4B0-5980-BBA7-9B29-0B7670A0AD04}"/>
              </a:ext>
            </a:extLst>
          </p:cNvPr>
          <p:cNvCxnSpPr/>
          <p:nvPr>
            <p:custDataLst>
              <p:tags r:id="rId3"/>
            </p:custDataLst>
          </p:nvPr>
        </p:nvCxnSpPr>
        <p:spPr bwMode="auto">
          <a:xfrm>
            <a:off x="1817688" y="3509963"/>
            <a:ext cx="485775" cy="16875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4C9C88F5-1378-AC45-1AB1-08F3DE4612FF}"/>
              </a:ext>
            </a:extLst>
          </p:cNvPr>
          <p:cNvCxnSpPr/>
          <p:nvPr>
            <p:custDataLst>
              <p:tags r:id="rId4"/>
            </p:custDataLst>
          </p:nvPr>
        </p:nvCxnSpPr>
        <p:spPr bwMode="auto">
          <a:xfrm>
            <a:off x="1817688" y="3551238"/>
            <a:ext cx="485775" cy="165735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9DEF9445-1F64-465C-AF46-DBCF9335F7B5}"/>
              </a:ext>
            </a:extLst>
          </p:cNvPr>
          <p:cNvCxnSpPr/>
          <p:nvPr>
            <p:custDataLst>
              <p:tags r:id="rId5"/>
            </p:custDataLst>
          </p:nvPr>
        </p:nvCxnSpPr>
        <p:spPr bwMode="auto">
          <a:xfrm>
            <a:off x="1817688" y="3863975"/>
            <a:ext cx="485775" cy="15271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2CA0D5B8-02DB-B92F-6922-CDC02EAA0202}"/>
              </a:ext>
            </a:extLst>
          </p:cNvPr>
          <p:cNvCxnSpPr/>
          <p:nvPr>
            <p:custDataLst>
              <p:tags r:id="rId6"/>
            </p:custDataLst>
          </p:nvPr>
        </p:nvCxnSpPr>
        <p:spPr bwMode="auto">
          <a:xfrm>
            <a:off x="1817688" y="3954463"/>
            <a:ext cx="485775" cy="14636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7FBABECE-C1C5-0444-19CC-DC20D1918842}"/>
              </a:ext>
            </a:extLst>
          </p:cNvPr>
          <p:cNvCxnSpPr/>
          <p:nvPr>
            <p:custDataLst>
              <p:tags r:id="rId7"/>
            </p:custDataLst>
          </p:nvPr>
        </p:nvCxnSpPr>
        <p:spPr bwMode="auto">
          <a:xfrm>
            <a:off x="1817688" y="4251325"/>
            <a:ext cx="485775" cy="12525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2F6EE22A-2510-D36C-18BB-9AE745765673}"/>
              </a:ext>
            </a:extLst>
          </p:cNvPr>
          <p:cNvCxnSpPr/>
          <p:nvPr>
            <p:custDataLst>
              <p:tags r:id="rId8"/>
            </p:custDataLst>
          </p:nvPr>
        </p:nvCxnSpPr>
        <p:spPr bwMode="auto">
          <a:xfrm>
            <a:off x="1817688" y="5032375"/>
            <a:ext cx="485775" cy="7000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3ECFF5D3-A2F0-35E9-E9DC-5C1B3BC30ACA}"/>
              </a:ext>
            </a:extLst>
          </p:cNvPr>
          <p:cNvCxnSpPr/>
          <p:nvPr>
            <p:custDataLst>
              <p:tags r:id="rId9"/>
            </p:custDataLst>
          </p:nvPr>
        </p:nvCxnSpPr>
        <p:spPr bwMode="auto">
          <a:xfrm>
            <a:off x="1817688" y="5056188"/>
            <a:ext cx="485775" cy="6826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166DA7E3-22FC-DE11-E126-68BA16678559}"/>
              </a:ext>
            </a:extLst>
          </p:cNvPr>
          <p:cNvCxnSpPr/>
          <p:nvPr>
            <p:custDataLst>
              <p:tags r:id="rId10"/>
            </p:custDataLst>
          </p:nvPr>
        </p:nvCxnSpPr>
        <p:spPr bwMode="auto">
          <a:xfrm>
            <a:off x="1817688" y="5278438"/>
            <a:ext cx="485775" cy="5254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18" name="Chart 117"/>
          <p:cNvGraphicFramePr/>
          <p:nvPr>
            <p:custDataLst>
              <p:tags r:id="rId11"/>
            </p:custDataLst>
          </p:nvPr>
        </p:nvGraphicFramePr>
        <p:xfrm>
          <a:off x="350838" y="2979738"/>
          <a:ext cx="2886075" cy="3098800"/>
        </p:xfrm>
        <a:graphic>
          <a:graphicData uri="http://schemas.openxmlformats.org/drawingml/2006/chart">
            <c:chart xmlns:c="http://schemas.openxmlformats.org/drawingml/2006/chart" xmlns:r="http://schemas.openxmlformats.org/officeDocument/2006/relationships" r:id="rId44"/>
          </a:graphicData>
        </a:graphic>
      </p:graphicFrame>
      <p:sp>
        <p:nvSpPr>
          <p:cNvPr id="56" name="Text Placeholder 10">
            <a:extLst>
              <a:ext uri="{FF2B5EF4-FFF2-40B4-BE49-F238E27FC236}">
                <a16:creationId xmlns:a16="http://schemas.microsoft.com/office/drawing/2014/main" id="{3840DDD9-3987-1520-DED8-0CC5BF6F3606}"/>
              </a:ext>
            </a:extLst>
          </p:cNvPr>
          <p:cNvSpPr txBox="1">
            <a:spLocks/>
          </p:cNvSpPr>
          <p:nvPr>
            <p:custDataLst>
              <p:tags r:id="rId12"/>
            </p:custDataLst>
          </p:nvPr>
        </p:nvSpPr>
        <p:spPr bwMode="auto">
          <a:xfrm>
            <a:off x="822325" y="2763838"/>
            <a:ext cx="288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kW</a:t>
            </a:r>
            <a:endParaRPr lang="en-US" sz="1000"/>
          </a:p>
        </p:txBody>
      </p:sp>
      <p:sp>
        <p:nvSpPr>
          <p:cNvPr id="31" name="Text Placeholder 10">
            <a:extLst>
              <a:ext uri="{FF2B5EF4-FFF2-40B4-BE49-F238E27FC236}">
                <a16:creationId xmlns:a16="http://schemas.microsoft.com/office/drawing/2014/main" id="{EAD84D12-4406-1738-82BF-A83040C9764C}"/>
              </a:ext>
            </a:extLst>
          </p:cNvPr>
          <p:cNvSpPr txBox="1">
            <a:spLocks/>
          </p:cNvSpPr>
          <p:nvPr>
            <p:custDataLst>
              <p:tags r:id="rId13"/>
            </p:custDataLst>
          </p:nvPr>
        </p:nvSpPr>
        <p:spPr bwMode="gray">
          <a:xfrm>
            <a:off x="1339851" y="4551363"/>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A2BD459-3052-4AE3-B64D-CB6623C935D2}" type="datetime'''''''''''3''''''''''2''''''''%'''''''''">
              <a:rPr lang="en-US" altLang="en-US" sz="1200" smtClean="0">
                <a:solidFill>
                  <a:schemeClr val="bg1"/>
                </a:solidFill>
              </a:rPr>
              <a:pPr marL="0" indent="0" algn="ctr">
                <a:spcBef>
                  <a:spcPct val="0"/>
                </a:spcBef>
                <a:spcAft>
                  <a:spcPct val="0"/>
                </a:spcAft>
                <a:buNone/>
              </a:pPr>
              <a:t>32%</a:t>
            </a:fld>
            <a:endParaRPr lang="en-US" sz="1200">
              <a:solidFill>
                <a:schemeClr val="bg1"/>
              </a:solidFill>
            </a:endParaRPr>
          </a:p>
        </p:txBody>
      </p:sp>
      <p:sp>
        <p:nvSpPr>
          <p:cNvPr id="57" name="Text Placeholder 10">
            <a:extLst>
              <a:ext uri="{FF2B5EF4-FFF2-40B4-BE49-F238E27FC236}">
                <a16:creationId xmlns:a16="http://schemas.microsoft.com/office/drawing/2014/main" id="{3508906C-C95B-DB59-EFE2-F1B5A3BCDC7D}"/>
              </a:ext>
            </a:extLst>
          </p:cNvPr>
          <p:cNvSpPr txBox="1">
            <a:spLocks/>
          </p:cNvSpPr>
          <p:nvPr>
            <p:custDataLst>
              <p:tags r:id="rId14"/>
            </p:custDataLst>
          </p:nvPr>
        </p:nvSpPr>
        <p:spPr bwMode="auto">
          <a:xfrm>
            <a:off x="1131888" y="5965825"/>
            <a:ext cx="7635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5CC7996-22F1-46E1-AC58-970C8D6C2410}" type="datetime'''Eu''''ro''''p''''''e''/''No''rt''''''h A''m''''e''r''ica'''">
              <a:rPr lang="en-US" altLang="en-US" sz="1000" smtClean="0"/>
              <a:pPr marL="0" indent="0" algn="ctr">
                <a:spcBef>
                  <a:spcPct val="0"/>
                </a:spcBef>
                <a:spcAft>
                  <a:spcPct val="0"/>
                </a:spcAft>
                <a:buNone/>
              </a:pPr>
              <a:t>Europe/North America</a:t>
            </a:fld>
            <a:endParaRPr lang="en-US" sz="1000"/>
          </a:p>
        </p:txBody>
      </p:sp>
      <p:sp>
        <p:nvSpPr>
          <p:cNvPr id="150" name="Text Placeholder 10">
            <a:extLst>
              <a:ext uri="{FF2B5EF4-FFF2-40B4-BE49-F238E27FC236}">
                <a16:creationId xmlns:a16="http://schemas.microsoft.com/office/drawing/2014/main" id="{0D5087F0-D471-7663-4548-5F66C303D70B}"/>
              </a:ext>
            </a:extLst>
          </p:cNvPr>
          <p:cNvSpPr txBox="1">
            <a:spLocks/>
          </p:cNvSpPr>
          <p:nvPr>
            <p:custDataLst>
              <p:tags r:id="rId15"/>
            </p:custDataLst>
          </p:nvPr>
        </p:nvSpPr>
        <p:spPr bwMode="gray">
          <a:xfrm>
            <a:off x="2433639" y="5527675"/>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89F507-DB65-43A4-B4CA-EF49B04A756C}" type="datetime'''''''3''''1''''''''''''''''''''''''%'''''''''''''">
              <a:rPr lang="en-US" altLang="en-US" sz="1200" smtClean="0">
                <a:solidFill>
                  <a:schemeClr val="bg1"/>
                </a:solidFill>
              </a:rPr>
              <a:pPr marL="0" indent="0" algn="ctr">
                <a:spcBef>
                  <a:spcPct val="0"/>
                </a:spcBef>
                <a:spcAft>
                  <a:spcPct val="0"/>
                </a:spcAft>
                <a:buNone/>
              </a:pPr>
              <a:t>31%</a:t>
            </a:fld>
            <a:endParaRPr lang="en-US" sz="1200">
              <a:solidFill>
                <a:schemeClr val="bg1"/>
              </a:solidFill>
            </a:endParaRPr>
          </a:p>
        </p:txBody>
      </p:sp>
      <p:sp>
        <p:nvSpPr>
          <p:cNvPr id="53" name="Text Placeholder 10">
            <a:extLst>
              <a:ext uri="{FF2B5EF4-FFF2-40B4-BE49-F238E27FC236}">
                <a16:creationId xmlns:a16="http://schemas.microsoft.com/office/drawing/2014/main" id="{6BBD5EAA-F6BB-15A8-3F6A-C59FE8677289}"/>
              </a:ext>
            </a:extLst>
          </p:cNvPr>
          <p:cNvSpPr txBox="1">
            <a:spLocks/>
          </p:cNvSpPr>
          <p:nvPr>
            <p:custDataLst>
              <p:tags r:id="rId16"/>
            </p:custDataLst>
          </p:nvPr>
        </p:nvSpPr>
        <p:spPr bwMode="auto">
          <a:xfrm>
            <a:off x="2444750" y="5965825"/>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FF76059-5D6A-4C71-A2A2-7E7CA739C6D7}" type="datetime'R''''''''''''''''''O''W'''''''''''''''''''''''">
              <a:rPr lang="en-US" altLang="en-US" sz="1000" smtClean="0"/>
              <a:pPr marL="0" indent="0" algn="ctr">
                <a:spcBef>
                  <a:spcPct val="0"/>
                </a:spcBef>
                <a:spcAft>
                  <a:spcPct val="0"/>
                </a:spcAft>
                <a:buNone/>
              </a:pPr>
              <a:t>ROW</a:t>
            </a:fld>
            <a:endParaRPr lang="en-US" sz="1000"/>
          </a:p>
        </p:txBody>
      </p:sp>
      <p:sp>
        <p:nvSpPr>
          <p:cNvPr id="54" name="Text Placeholder 10">
            <a:extLst>
              <a:ext uri="{FF2B5EF4-FFF2-40B4-BE49-F238E27FC236}">
                <a16:creationId xmlns:a16="http://schemas.microsoft.com/office/drawing/2014/main" id="{62989569-BC55-E165-F153-92975079B5A2}"/>
              </a:ext>
            </a:extLst>
          </p:cNvPr>
          <p:cNvSpPr txBox="1">
            <a:spLocks/>
          </p:cNvSpPr>
          <p:nvPr>
            <p:custDataLst>
              <p:tags r:id="rId17"/>
            </p:custDataLst>
          </p:nvPr>
        </p:nvSpPr>
        <p:spPr bwMode="gray">
          <a:xfrm>
            <a:off x="1258887" y="3302000"/>
            <a:ext cx="508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B7CB402-978E-468F-91E3-039A7810D8B7}" type="datetime'''''1''''0'',''''''''''''''''3''''''''''''8''''''''''7'">
              <a:rPr lang="en-US" altLang="en-US" sz="1200" b="1" smtClean="0"/>
              <a:pPr marL="0" indent="0" algn="ctr">
                <a:spcBef>
                  <a:spcPct val="0"/>
                </a:spcBef>
                <a:spcAft>
                  <a:spcPct val="0"/>
                </a:spcAft>
                <a:buNone/>
              </a:pPr>
              <a:t>10,387</a:t>
            </a:fld>
            <a:endParaRPr lang="en-US" sz="1200" b="1"/>
          </a:p>
        </p:txBody>
      </p:sp>
      <p:sp>
        <p:nvSpPr>
          <p:cNvPr id="55" name="Text Placeholder 10">
            <a:extLst>
              <a:ext uri="{FF2B5EF4-FFF2-40B4-BE49-F238E27FC236}">
                <a16:creationId xmlns:a16="http://schemas.microsoft.com/office/drawing/2014/main" id="{DE38A320-2359-D39A-D954-A85BA53DEDB5}"/>
              </a:ext>
            </a:extLst>
          </p:cNvPr>
          <p:cNvSpPr txBox="1">
            <a:spLocks/>
          </p:cNvSpPr>
          <p:nvPr>
            <p:custDataLst>
              <p:tags r:id="rId18"/>
            </p:custDataLst>
          </p:nvPr>
        </p:nvSpPr>
        <p:spPr bwMode="gray">
          <a:xfrm>
            <a:off x="2395538" y="4989513"/>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BD1C709-BA79-4CA0-9312-6A541A2A9680}" type="datetime'''''3'''''''''',1''''''''''''''''''''''''''''''2''''5'''''''''">
              <a:rPr lang="en-US" altLang="en-US" sz="1200" b="1" smtClean="0"/>
              <a:pPr marL="0" indent="0" algn="ctr">
                <a:spcBef>
                  <a:spcPct val="0"/>
                </a:spcBef>
                <a:spcAft>
                  <a:spcPct val="0"/>
                </a:spcAft>
                <a:buNone/>
              </a:pPr>
              <a:t>3,125</a:t>
            </a:fld>
            <a:endParaRPr lang="en-US" sz="1200" b="1"/>
          </a:p>
        </p:txBody>
      </p:sp>
      <p:sp>
        <p:nvSpPr>
          <p:cNvPr id="59" name="Rectangle 58">
            <a:extLst>
              <a:ext uri="{FF2B5EF4-FFF2-40B4-BE49-F238E27FC236}">
                <a16:creationId xmlns:a16="http://schemas.microsoft.com/office/drawing/2014/main" id="{E32B3FEA-2489-A3C8-19BD-C1447961B4A5}"/>
              </a:ext>
            </a:extLst>
          </p:cNvPr>
          <p:cNvSpPr/>
          <p:nvPr>
            <p:custDataLst>
              <p:tags r:id="rId19"/>
            </p:custDataLst>
          </p:nvPr>
        </p:nvSpPr>
        <p:spPr bwMode="auto">
          <a:xfrm>
            <a:off x="400050" y="1914525"/>
            <a:ext cx="179388" cy="133350"/>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1" name="Rectangle 60">
            <a:extLst>
              <a:ext uri="{FF2B5EF4-FFF2-40B4-BE49-F238E27FC236}">
                <a16:creationId xmlns:a16="http://schemas.microsoft.com/office/drawing/2014/main" id="{1AD9614F-9C34-352D-F6F4-2A316082CD6F}"/>
              </a:ext>
            </a:extLst>
          </p:cNvPr>
          <p:cNvSpPr/>
          <p:nvPr>
            <p:custDataLst>
              <p:tags r:id="rId20"/>
            </p:custDataLst>
          </p:nvPr>
        </p:nvSpPr>
        <p:spPr bwMode="auto">
          <a:xfrm>
            <a:off x="400050" y="2117725"/>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3" name="Rectangle 62">
            <a:extLst>
              <a:ext uri="{FF2B5EF4-FFF2-40B4-BE49-F238E27FC236}">
                <a16:creationId xmlns:a16="http://schemas.microsoft.com/office/drawing/2014/main" id="{D6745D16-27B2-3EDB-65CE-E377F8FC3474}"/>
              </a:ext>
            </a:extLst>
          </p:cNvPr>
          <p:cNvSpPr/>
          <p:nvPr>
            <p:custDataLst>
              <p:tags r:id="rId21"/>
            </p:custDataLst>
          </p:nvPr>
        </p:nvSpPr>
        <p:spPr bwMode="auto">
          <a:xfrm>
            <a:off x="400050" y="2320925"/>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9" name="Rectangle 128">
            <a:extLst>
              <a:ext uri="{FF2B5EF4-FFF2-40B4-BE49-F238E27FC236}">
                <a16:creationId xmlns:a16="http://schemas.microsoft.com/office/drawing/2014/main" id="{C5A17A50-7DD3-04EF-B642-599957A004AE}"/>
              </a:ext>
            </a:extLst>
          </p:cNvPr>
          <p:cNvSpPr/>
          <p:nvPr>
            <p:custDataLst>
              <p:tags r:id="rId22"/>
            </p:custDataLst>
          </p:nvPr>
        </p:nvSpPr>
        <p:spPr bwMode="auto">
          <a:xfrm>
            <a:off x="400050" y="2524125"/>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8" name="Rectangle 127">
            <a:extLst>
              <a:ext uri="{FF2B5EF4-FFF2-40B4-BE49-F238E27FC236}">
                <a16:creationId xmlns:a16="http://schemas.microsoft.com/office/drawing/2014/main" id="{B6357F75-75D6-3405-E97A-8C9EBBF9EF52}"/>
              </a:ext>
            </a:extLst>
          </p:cNvPr>
          <p:cNvSpPr/>
          <p:nvPr>
            <p:custDataLst>
              <p:tags r:id="rId23"/>
            </p:custDataLst>
          </p:nvPr>
        </p:nvSpPr>
        <p:spPr bwMode="auto">
          <a:xfrm>
            <a:off x="1968500" y="1914525"/>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2" name="Rectangle 61">
            <a:extLst>
              <a:ext uri="{FF2B5EF4-FFF2-40B4-BE49-F238E27FC236}">
                <a16:creationId xmlns:a16="http://schemas.microsoft.com/office/drawing/2014/main" id="{66E4C06E-E37D-2D24-D948-C2CBD793C637}"/>
              </a:ext>
            </a:extLst>
          </p:cNvPr>
          <p:cNvSpPr/>
          <p:nvPr>
            <p:custDataLst>
              <p:tags r:id="rId24"/>
            </p:custDataLst>
          </p:nvPr>
        </p:nvSpPr>
        <p:spPr bwMode="auto">
          <a:xfrm>
            <a:off x="1968500" y="2117725"/>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0" name="Rectangle 59">
            <a:extLst>
              <a:ext uri="{FF2B5EF4-FFF2-40B4-BE49-F238E27FC236}">
                <a16:creationId xmlns:a16="http://schemas.microsoft.com/office/drawing/2014/main" id="{F3166F93-970B-A5EE-1381-8FB87EBD8759}"/>
              </a:ext>
            </a:extLst>
          </p:cNvPr>
          <p:cNvSpPr/>
          <p:nvPr>
            <p:custDataLst>
              <p:tags r:id="rId25"/>
            </p:custDataLst>
          </p:nvPr>
        </p:nvSpPr>
        <p:spPr bwMode="auto">
          <a:xfrm>
            <a:off x="1968500" y="2320925"/>
            <a:ext cx="179388" cy="133350"/>
          </a:xfrm>
          <a:prstGeom prst="rect">
            <a:avLst/>
          </a:prstGeom>
          <a:solidFill>
            <a:schemeClr val="bg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8" name="Rectangle 57">
            <a:extLst>
              <a:ext uri="{FF2B5EF4-FFF2-40B4-BE49-F238E27FC236}">
                <a16:creationId xmlns:a16="http://schemas.microsoft.com/office/drawing/2014/main" id="{3155494E-2664-C6C5-0B7C-3C3F93E1B2B7}"/>
              </a:ext>
            </a:extLst>
          </p:cNvPr>
          <p:cNvSpPr/>
          <p:nvPr>
            <p:custDataLst>
              <p:tags r:id="rId26"/>
            </p:custDataLst>
          </p:nvPr>
        </p:nvSpPr>
        <p:spPr bwMode="auto">
          <a:xfrm>
            <a:off x="1968500" y="2524125"/>
            <a:ext cx="179388" cy="133350"/>
          </a:xfrm>
          <a:prstGeom prst="rect">
            <a:avLst/>
          </a:prstGeom>
          <a:solidFill>
            <a:schemeClr val="tx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0" name="Text Placeholder 10">
            <a:extLst>
              <a:ext uri="{FF2B5EF4-FFF2-40B4-BE49-F238E27FC236}">
                <a16:creationId xmlns:a16="http://schemas.microsoft.com/office/drawing/2014/main" id="{B8093776-AB7A-370D-8A4A-9DDAABE848AC}"/>
              </a:ext>
            </a:extLst>
          </p:cNvPr>
          <p:cNvSpPr txBox="1">
            <a:spLocks/>
          </p:cNvSpPr>
          <p:nvPr>
            <p:custDataLst>
              <p:tags r:id="rId27"/>
            </p:custDataLst>
          </p:nvPr>
        </p:nvSpPr>
        <p:spPr bwMode="auto">
          <a:xfrm>
            <a:off x="630238" y="1909763"/>
            <a:ext cx="1236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Pre-construction costs</a:t>
            </a:r>
            <a:endParaRPr lang="en-US" sz="1000"/>
          </a:p>
        </p:txBody>
      </p:sp>
      <p:sp>
        <p:nvSpPr>
          <p:cNvPr id="135" name="Text Placeholder 10">
            <a:extLst>
              <a:ext uri="{FF2B5EF4-FFF2-40B4-BE49-F238E27FC236}">
                <a16:creationId xmlns:a16="http://schemas.microsoft.com/office/drawing/2014/main" id="{5B29F686-C415-7279-9304-9DD7DBD1C6A3}"/>
              </a:ext>
            </a:extLst>
          </p:cNvPr>
          <p:cNvSpPr txBox="1">
            <a:spLocks/>
          </p:cNvSpPr>
          <p:nvPr>
            <p:custDataLst>
              <p:tags r:id="rId28"/>
            </p:custDataLst>
          </p:nvPr>
        </p:nvSpPr>
        <p:spPr bwMode="auto">
          <a:xfrm>
            <a:off x="630238" y="2112963"/>
            <a:ext cx="638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2A1328B-D0EF-4492-BD2E-58F7C927211D}" type="datetime'E''''q''''''''''''''u''''i''''''''''''''p''m''''''en''t'' '''">
              <a:rPr lang="en-US" altLang="en-US" sz="1000" smtClean="0"/>
              <a:pPr marL="0" indent="0">
                <a:spcBef>
                  <a:spcPct val="0"/>
                </a:spcBef>
                <a:spcAft>
                  <a:spcPct val="0"/>
                </a:spcAft>
                <a:buNone/>
              </a:pPr>
              <a:t>Equipment </a:t>
            </a:fld>
            <a:endParaRPr lang="en-US" sz="1000"/>
          </a:p>
        </p:txBody>
      </p:sp>
      <p:sp>
        <p:nvSpPr>
          <p:cNvPr id="133" name="Text Placeholder 10">
            <a:extLst>
              <a:ext uri="{FF2B5EF4-FFF2-40B4-BE49-F238E27FC236}">
                <a16:creationId xmlns:a16="http://schemas.microsoft.com/office/drawing/2014/main" id="{252D7F8F-ABF2-65B1-7834-AA2B92957C96}"/>
              </a:ext>
            </a:extLst>
          </p:cNvPr>
          <p:cNvSpPr txBox="1">
            <a:spLocks/>
          </p:cNvSpPr>
          <p:nvPr>
            <p:custDataLst>
              <p:tags r:id="rId29"/>
            </p:custDataLst>
          </p:nvPr>
        </p:nvSpPr>
        <p:spPr bwMode="auto">
          <a:xfrm>
            <a:off x="630238" y="2316163"/>
            <a:ext cx="514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285A6C6-66C6-44DA-B545-E10858BD42CD}" type="datetime'M''''''''at''''''e''''r''''''''i''''''''al''''''''''''s'''''''">
              <a:rPr lang="en-US" altLang="en-US" sz="1000" smtClean="0"/>
              <a:pPr marL="0" indent="0">
                <a:spcBef>
                  <a:spcPct val="0"/>
                </a:spcBef>
                <a:spcAft>
                  <a:spcPct val="0"/>
                </a:spcAft>
                <a:buNone/>
              </a:pPr>
              <a:t>Materials</a:t>
            </a:fld>
            <a:endParaRPr lang="en-US" sz="1000"/>
          </a:p>
        </p:txBody>
      </p:sp>
      <p:sp>
        <p:nvSpPr>
          <p:cNvPr id="131" name="Text Placeholder 10">
            <a:extLst>
              <a:ext uri="{FF2B5EF4-FFF2-40B4-BE49-F238E27FC236}">
                <a16:creationId xmlns:a16="http://schemas.microsoft.com/office/drawing/2014/main" id="{9850EC92-9B6F-6089-DF7F-D95F1F5603F4}"/>
              </a:ext>
            </a:extLst>
          </p:cNvPr>
          <p:cNvSpPr txBox="1">
            <a:spLocks/>
          </p:cNvSpPr>
          <p:nvPr>
            <p:custDataLst>
              <p:tags r:id="rId30"/>
            </p:custDataLst>
          </p:nvPr>
        </p:nvSpPr>
        <p:spPr bwMode="auto">
          <a:xfrm>
            <a:off x="630238" y="2519363"/>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t>Labor</a:t>
            </a:r>
          </a:p>
        </p:txBody>
      </p:sp>
      <p:sp>
        <p:nvSpPr>
          <p:cNvPr id="137" name="Text Placeholder 10">
            <a:extLst>
              <a:ext uri="{FF2B5EF4-FFF2-40B4-BE49-F238E27FC236}">
                <a16:creationId xmlns:a16="http://schemas.microsoft.com/office/drawing/2014/main" id="{260FEE90-2A5E-E09E-7F53-1782486BF6DA}"/>
              </a:ext>
            </a:extLst>
          </p:cNvPr>
          <p:cNvSpPr txBox="1">
            <a:spLocks/>
          </p:cNvSpPr>
          <p:nvPr>
            <p:custDataLst>
              <p:tags r:id="rId31"/>
            </p:custDataLst>
          </p:nvPr>
        </p:nvSpPr>
        <p:spPr bwMode="auto">
          <a:xfrm>
            <a:off x="2198687" y="1909763"/>
            <a:ext cx="1341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Indirect services costs</a:t>
            </a:r>
            <a:r>
              <a:rPr lang="en-US" altLang="en-US" sz="1000" baseline="30000"/>
              <a:t>1</a:t>
            </a:r>
            <a:endParaRPr lang="en-US" sz="1000"/>
          </a:p>
        </p:txBody>
      </p:sp>
      <p:sp>
        <p:nvSpPr>
          <p:cNvPr id="132" name="Text Placeholder 10">
            <a:extLst>
              <a:ext uri="{FF2B5EF4-FFF2-40B4-BE49-F238E27FC236}">
                <a16:creationId xmlns:a16="http://schemas.microsoft.com/office/drawing/2014/main" id="{EEE7D46E-7633-C32F-9683-3F4843E94402}"/>
              </a:ext>
            </a:extLst>
          </p:cNvPr>
          <p:cNvSpPr txBox="1">
            <a:spLocks/>
          </p:cNvSpPr>
          <p:nvPr>
            <p:custDataLst>
              <p:tags r:id="rId32"/>
            </p:custDataLst>
          </p:nvPr>
        </p:nvSpPr>
        <p:spPr bwMode="auto">
          <a:xfrm>
            <a:off x="2198688" y="2112963"/>
            <a:ext cx="1179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15337C4-E124-45E9-862D-AC267A6519AD}" type="datetime'S''''''u''ppl''eme''n''''''''ta''r''''y ''c''''os''t''s'''">
              <a:rPr lang="en-US" altLang="en-US" sz="1000" smtClean="0"/>
              <a:pPr marL="0" indent="0">
                <a:spcBef>
                  <a:spcPct val="0"/>
                </a:spcBef>
                <a:spcAft>
                  <a:spcPct val="0"/>
                </a:spcAft>
                <a:buNone/>
              </a:pPr>
              <a:t>Supplementary costs</a:t>
            </a:fld>
            <a:endParaRPr lang="en-US" sz="1000"/>
          </a:p>
        </p:txBody>
      </p:sp>
      <p:sp>
        <p:nvSpPr>
          <p:cNvPr id="134" name="Text Placeholder 10">
            <a:extLst>
              <a:ext uri="{FF2B5EF4-FFF2-40B4-BE49-F238E27FC236}">
                <a16:creationId xmlns:a16="http://schemas.microsoft.com/office/drawing/2014/main" id="{2009A5CD-6088-C56E-CBE0-141BD7E20D7A}"/>
              </a:ext>
            </a:extLst>
          </p:cNvPr>
          <p:cNvSpPr txBox="1">
            <a:spLocks/>
          </p:cNvSpPr>
          <p:nvPr>
            <p:custDataLst>
              <p:tags r:id="rId33"/>
            </p:custDataLst>
          </p:nvPr>
        </p:nvSpPr>
        <p:spPr bwMode="auto">
          <a:xfrm>
            <a:off x="2198688" y="2316163"/>
            <a:ext cx="823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Owner’s cost</a:t>
            </a:r>
            <a:endParaRPr lang="en-US" sz="1000"/>
          </a:p>
        </p:txBody>
      </p:sp>
      <p:sp>
        <p:nvSpPr>
          <p:cNvPr id="136" name="Text Placeholder 10">
            <a:extLst>
              <a:ext uri="{FF2B5EF4-FFF2-40B4-BE49-F238E27FC236}">
                <a16:creationId xmlns:a16="http://schemas.microsoft.com/office/drawing/2014/main" id="{7F1F6FEB-9EBD-2D7D-8447-C98B228FA67C}"/>
              </a:ext>
            </a:extLst>
          </p:cNvPr>
          <p:cNvSpPr txBox="1">
            <a:spLocks/>
          </p:cNvSpPr>
          <p:nvPr>
            <p:custDataLst>
              <p:tags r:id="rId34"/>
            </p:custDataLst>
          </p:nvPr>
        </p:nvSpPr>
        <p:spPr bwMode="auto">
          <a:xfrm>
            <a:off x="2198688" y="2519363"/>
            <a:ext cx="1700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Financing during construction</a:t>
            </a:r>
          </a:p>
        </p:txBody>
      </p:sp>
      <p:sp>
        <p:nvSpPr>
          <p:cNvPr id="145" name="Rectangle 144">
            <a:extLst>
              <a:ext uri="{FF2B5EF4-FFF2-40B4-BE49-F238E27FC236}">
                <a16:creationId xmlns:a16="http://schemas.microsoft.com/office/drawing/2014/main" id="{B719C4E9-E3EF-123E-BDE4-910D8FC6A59F}"/>
              </a:ext>
            </a:extLst>
          </p:cNvPr>
          <p:cNvSpPr/>
          <p:nvPr/>
        </p:nvSpPr>
        <p:spPr bwMode="gray">
          <a:xfrm>
            <a:off x="6942917" y="5107160"/>
            <a:ext cx="2639028" cy="446731"/>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000">
              <a:solidFill>
                <a:schemeClr val="tx1"/>
              </a:solidFill>
            </a:endParaRPr>
          </a:p>
          <a:p>
            <a:pPr algn="ctr"/>
            <a:r>
              <a:rPr lang="en-US" sz="1000" b="1">
                <a:solidFill>
                  <a:schemeClr val="tx1"/>
                </a:solidFill>
              </a:rPr>
              <a:t>Immature supply chain and untrained workforce</a:t>
            </a:r>
          </a:p>
          <a:p>
            <a:pPr marL="285750" indent="-285750" algn="ctr">
              <a:buFontTx/>
              <a:buChar char="-"/>
            </a:pPr>
            <a:endParaRPr lang="en-US" sz="1000">
              <a:solidFill>
                <a:schemeClr val="tx1"/>
              </a:solidFill>
            </a:endParaRPr>
          </a:p>
        </p:txBody>
      </p:sp>
      <p:sp>
        <p:nvSpPr>
          <p:cNvPr id="146" name="Rectangle 145">
            <a:extLst>
              <a:ext uri="{FF2B5EF4-FFF2-40B4-BE49-F238E27FC236}">
                <a16:creationId xmlns:a16="http://schemas.microsoft.com/office/drawing/2014/main" id="{3A94BAF6-BC8E-D910-ED1C-5095E6B210ED}"/>
              </a:ext>
            </a:extLst>
          </p:cNvPr>
          <p:cNvSpPr/>
          <p:nvPr/>
        </p:nvSpPr>
        <p:spPr bwMode="gray">
          <a:xfrm>
            <a:off x="9687595" y="3729976"/>
            <a:ext cx="2168402" cy="121603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000" b="1">
                <a:solidFill>
                  <a:schemeClr val="tx1"/>
                </a:solidFill>
              </a:rPr>
              <a:t>Unclear governance structure:</a:t>
            </a:r>
            <a:r>
              <a:rPr lang="en-US" sz="1000">
                <a:solidFill>
                  <a:schemeClr val="tx1"/>
                </a:solidFill>
              </a:rPr>
              <a:t> Westinghouse acted as the </a:t>
            </a:r>
            <a:br>
              <a:rPr lang="en-US" sz="1000">
                <a:solidFill>
                  <a:schemeClr val="tx1"/>
                </a:solidFill>
              </a:rPr>
            </a:br>
            <a:r>
              <a:rPr lang="en-US" sz="1000">
                <a:solidFill>
                  <a:schemeClr val="tx1"/>
                </a:solidFill>
              </a:rPr>
              <a:t>1) nuclear system supplier, </a:t>
            </a:r>
            <a:br>
              <a:rPr lang="en-US" sz="1000">
                <a:solidFill>
                  <a:schemeClr val="tx1"/>
                </a:solidFill>
              </a:rPr>
            </a:br>
            <a:r>
              <a:rPr lang="en-US" sz="1000">
                <a:solidFill>
                  <a:schemeClr val="tx1"/>
                </a:solidFill>
              </a:rPr>
              <a:t>2) plant design engineer, and </a:t>
            </a:r>
            <a:br>
              <a:rPr lang="en-US" sz="1000">
                <a:solidFill>
                  <a:schemeClr val="tx1"/>
                </a:solidFill>
              </a:rPr>
            </a:br>
            <a:r>
              <a:rPr lang="en-US" sz="1000">
                <a:solidFill>
                  <a:schemeClr val="tx1"/>
                </a:solidFill>
              </a:rPr>
              <a:t>3) consortium leader.</a:t>
            </a:r>
          </a:p>
          <a:p>
            <a:pPr marL="171450" indent="-171450">
              <a:buFont typeface="Arial" panose="020B0604020202020204" pitchFamily="34" charset="0"/>
              <a:buChar char="•"/>
            </a:pPr>
            <a:r>
              <a:rPr lang="en-US" sz="1000">
                <a:solidFill>
                  <a:schemeClr val="tx1"/>
                </a:solidFill>
              </a:rPr>
              <a:t>Westinghouse declared </a:t>
            </a:r>
            <a:r>
              <a:rPr lang="en-US" sz="1000" b="1">
                <a:solidFill>
                  <a:schemeClr val="tx1"/>
                </a:solidFill>
              </a:rPr>
              <a:t>bankruptcy</a:t>
            </a:r>
            <a:r>
              <a:rPr lang="en-US" sz="1000">
                <a:solidFill>
                  <a:schemeClr val="tx1"/>
                </a:solidFill>
              </a:rPr>
              <a:t> in 2017.</a:t>
            </a:r>
          </a:p>
          <a:p>
            <a:pPr marL="171450" indent="-171450">
              <a:buFont typeface="Arial" panose="020B0604020202020204" pitchFamily="34" charset="0"/>
              <a:buChar char="•"/>
            </a:pPr>
            <a:endParaRPr lang="en-US" sz="1000">
              <a:solidFill>
                <a:schemeClr val="tx1"/>
              </a:solidFill>
            </a:endParaRPr>
          </a:p>
        </p:txBody>
      </p:sp>
      <p:sp>
        <p:nvSpPr>
          <p:cNvPr id="147" name="btfpColumnHeaderBoxText223027">
            <a:extLst>
              <a:ext uri="{FF2B5EF4-FFF2-40B4-BE49-F238E27FC236}">
                <a16:creationId xmlns:a16="http://schemas.microsoft.com/office/drawing/2014/main" id="{C435FF81-E2C3-0B10-6DD0-02B8BEE87CFE}"/>
              </a:ext>
            </a:extLst>
          </p:cNvPr>
          <p:cNvSpPr txBox="1"/>
          <p:nvPr/>
        </p:nvSpPr>
        <p:spPr bwMode="gray">
          <a:xfrm>
            <a:off x="3739713" y="4201643"/>
            <a:ext cx="967406" cy="395941"/>
          </a:xfrm>
          <a:prstGeom prst="rect">
            <a:avLst/>
          </a:prstGeom>
          <a:noFill/>
        </p:spPr>
        <p:txBody>
          <a:bodyPr vert="horz" wrap="square" lIns="0" tIns="36036" rIns="36036" bIns="36036" rtlCol="0" anchor="b">
            <a:spAutoFit/>
          </a:bodyPr>
          <a:lstStyle/>
          <a:p>
            <a:pPr marL="0" indent="0" algn="ctr">
              <a:spcBef>
                <a:spcPts val="0"/>
              </a:spcBef>
              <a:buNone/>
            </a:pPr>
            <a:r>
              <a:rPr lang="en-US" sz="1050" b="1">
                <a:solidFill>
                  <a:srgbClr val="000000"/>
                </a:solidFill>
              </a:rPr>
              <a:t>Cost drivers Vogtle 3 and 4</a:t>
            </a:r>
          </a:p>
        </p:txBody>
      </p:sp>
      <p:cxnSp>
        <p:nvCxnSpPr>
          <p:cNvPr id="148" name="btfpColumnHeaderBoxLine223027">
            <a:extLst>
              <a:ext uri="{FF2B5EF4-FFF2-40B4-BE49-F238E27FC236}">
                <a16:creationId xmlns:a16="http://schemas.microsoft.com/office/drawing/2014/main" id="{FB9A1939-2432-D138-54DE-486098C0417B}"/>
              </a:ext>
            </a:extLst>
          </p:cNvPr>
          <p:cNvCxnSpPr>
            <a:cxnSpLocks/>
          </p:cNvCxnSpPr>
          <p:nvPr/>
        </p:nvCxnSpPr>
        <p:spPr bwMode="gray">
          <a:xfrm>
            <a:off x="436210" y="1762070"/>
            <a:ext cx="356616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9" name="btfpColumnHeaderBoxLine223027">
            <a:extLst>
              <a:ext uri="{FF2B5EF4-FFF2-40B4-BE49-F238E27FC236}">
                <a16:creationId xmlns:a16="http://schemas.microsoft.com/office/drawing/2014/main" id="{E7FCC631-E67D-FD91-888D-315B033C2935}"/>
              </a:ext>
            </a:extLst>
          </p:cNvPr>
          <p:cNvCxnSpPr>
            <a:cxnSpLocks/>
          </p:cNvCxnSpPr>
          <p:nvPr/>
        </p:nvCxnSpPr>
        <p:spPr bwMode="gray">
          <a:xfrm>
            <a:off x="4705522" y="3730752"/>
            <a:ext cx="0" cy="121615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4" name="btfpColumnHeaderBoxText223027">
            <a:extLst>
              <a:ext uri="{FF2B5EF4-FFF2-40B4-BE49-F238E27FC236}">
                <a16:creationId xmlns:a16="http://schemas.microsoft.com/office/drawing/2014/main" id="{79453228-8DD3-7702-CDAA-C060D6CE84DB}"/>
              </a:ext>
            </a:extLst>
          </p:cNvPr>
          <p:cNvSpPr txBox="1"/>
          <p:nvPr/>
        </p:nvSpPr>
        <p:spPr bwMode="gray">
          <a:xfrm>
            <a:off x="3597284" y="5234048"/>
            <a:ext cx="1109835" cy="234359"/>
          </a:xfrm>
          <a:prstGeom prst="rect">
            <a:avLst/>
          </a:prstGeom>
          <a:noFill/>
        </p:spPr>
        <p:txBody>
          <a:bodyPr vert="horz" wrap="square" lIns="0" tIns="36036" rIns="36036" bIns="36036" rtlCol="0" anchor="b">
            <a:spAutoFit/>
          </a:bodyPr>
          <a:lstStyle/>
          <a:p>
            <a:pPr marL="0" indent="0" algn="ctr">
              <a:spcBef>
                <a:spcPts val="0"/>
              </a:spcBef>
              <a:buNone/>
            </a:pPr>
            <a:r>
              <a:rPr lang="en-US" sz="1050" b="1">
                <a:solidFill>
                  <a:srgbClr val="000000"/>
                </a:solidFill>
              </a:rPr>
              <a:t>Key challenges</a:t>
            </a:r>
          </a:p>
        </p:txBody>
      </p:sp>
      <p:cxnSp>
        <p:nvCxnSpPr>
          <p:cNvPr id="155" name="btfpColumnHeaderBoxLine223027">
            <a:extLst>
              <a:ext uri="{FF2B5EF4-FFF2-40B4-BE49-F238E27FC236}">
                <a16:creationId xmlns:a16="http://schemas.microsoft.com/office/drawing/2014/main" id="{ECA903EC-EC39-7E80-6408-7F86870798FB}"/>
              </a:ext>
            </a:extLst>
          </p:cNvPr>
          <p:cNvCxnSpPr>
            <a:cxnSpLocks/>
          </p:cNvCxnSpPr>
          <p:nvPr/>
        </p:nvCxnSpPr>
        <p:spPr bwMode="gray">
          <a:xfrm>
            <a:off x="4705522" y="5111496"/>
            <a:ext cx="0" cy="448056"/>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9" name="Rectangle 158">
            <a:extLst>
              <a:ext uri="{FF2B5EF4-FFF2-40B4-BE49-F238E27FC236}">
                <a16:creationId xmlns:a16="http://schemas.microsoft.com/office/drawing/2014/main" id="{7354A220-0210-827E-A5F6-5BD652F18327}"/>
              </a:ext>
            </a:extLst>
          </p:cNvPr>
          <p:cNvSpPr/>
          <p:nvPr/>
        </p:nvSpPr>
        <p:spPr bwMode="gray">
          <a:xfrm>
            <a:off x="5705120" y="2203461"/>
            <a:ext cx="876625" cy="533763"/>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00">
                <a:solidFill>
                  <a:schemeClr val="tx1"/>
                </a:solidFill>
              </a:rPr>
              <a:t>Design approval from NRC</a:t>
            </a:r>
          </a:p>
        </p:txBody>
      </p:sp>
      <p:sp>
        <p:nvSpPr>
          <p:cNvPr id="209" name="Oval 208">
            <a:extLst>
              <a:ext uri="{FF2B5EF4-FFF2-40B4-BE49-F238E27FC236}">
                <a16:creationId xmlns:a16="http://schemas.microsoft.com/office/drawing/2014/main" id="{EA739E3A-5D49-BB2C-5CF9-9FBEA8D1816D}"/>
              </a:ext>
            </a:extLst>
          </p:cNvPr>
          <p:cNvSpPr/>
          <p:nvPr/>
        </p:nvSpPr>
        <p:spPr bwMode="gray">
          <a:xfrm rot="5400000">
            <a:off x="4799653" y="3045093"/>
            <a:ext cx="129702" cy="134245"/>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accent6"/>
              </a:solidFill>
            </a:endParaRPr>
          </a:p>
        </p:txBody>
      </p:sp>
      <p:sp>
        <p:nvSpPr>
          <p:cNvPr id="161" name="Rectangle 160">
            <a:extLst>
              <a:ext uri="{FF2B5EF4-FFF2-40B4-BE49-F238E27FC236}">
                <a16:creationId xmlns:a16="http://schemas.microsoft.com/office/drawing/2014/main" id="{80B844B6-3E08-9E57-BA23-0928772DD3A7}"/>
              </a:ext>
            </a:extLst>
          </p:cNvPr>
          <p:cNvSpPr/>
          <p:nvPr/>
        </p:nvSpPr>
        <p:spPr bwMode="gray">
          <a:xfrm>
            <a:off x="4721106" y="2835229"/>
            <a:ext cx="683797" cy="3568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50">
                <a:solidFill>
                  <a:schemeClr val="tx1"/>
                </a:solidFill>
              </a:rPr>
              <a:t>July 2008</a:t>
            </a:r>
          </a:p>
        </p:txBody>
      </p:sp>
      <p:sp>
        <p:nvSpPr>
          <p:cNvPr id="165" name="Rectangle 164">
            <a:extLst>
              <a:ext uri="{FF2B5EF4-FFF2-40B4-BE49-F238E27FC236}">
                <a16:creationId xmlns:a16="http://schemas.microsoft.com/office/drawing/2014/main" id="{F77FD0ED-75DF-9960-5DF1-E56115F42D37}"/>
              </a:ext>
            </a:extLst>
          </p:cNvPr>
          <p:cNvSpPr/>
          <p:nvPr/>
        </p:nvSpPr>
        <p:spPr bwMode="gray">
          <a:xfrm>
            <a:off x="4817385" y="2203461"/>
            <a:ext cx="823913" cy="544298"/>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00">
                <a:solidFill>
                  <a:schemeClr val="tx1"/>
                </a:solidFill>
              </a:rPr>
              <a:t>Schedule approval from GPSC</a:t>
            </a:r>
          </a:p>
        </p:txBody>
      </p:sp>
      <p:sp>
        <p:nvSpPr>
          <p:cNvPr id="166" name="Rectangle 165">
            <a:extLst>
              <a:ext uri="{FF2B5EF4-FFF2-40B4-BE49-F238E27FC236}">
                <a16:creationId xmlns:a16="http://schemas.microsoft.com/office/drawing/2014/main" id="{ECB34FE5-F7C4-FF87-D7A4-634C625D4C5E}"/>
              </a:ext>
            </a:extLst>
          </p:cNvPr>
          <p:cNvSpPr/>
          <p:nvPr/>
        </p:nvSpPr>
        <p:spPr bwMode="gray">
          <a:xfrm>
            <a:off x="4830669" y="5107160"/>
            <a:ext cx="1978924" cy="446731"/>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ctr" anchorCtr="0" forceAA="0" compatLnSpc="1">
            <a:prstTxWarp prst="textNoShape">
              <a:avLst/>
            </a:prstTxWarp>
            <a:noAutofit/>
          </a:bodyPr>
          <a:lstStyle/>
          <a:p>
            <a:pPr algn="ctr"/>
            <a:r>
              <a:rPr lang="en-US" sz="1000" b="1">
                <a:solidFill>
                  <a:schemeClr val="tx1"/>
                </a:solidFill>
              </a:rPr>
              <a:t>Construction start with incomplete design</a:t>
            </a:r>
          </a:p>
        </p:txBody>
      </p:sp>
      <p:sp>
        <p:nvSpPr>
          <p:cNvPr id="170" name="Rectangle 169">
            <a:extLst>
              <a:ext uri="{FF2B5EF4-FFF2-40B4-BE49-F238E27FC236}">
                <a16:creationId xmlns:a16="http://schemas.microsoft.com/office/drawing/2014/main" id="{3D0FB1B1-C06D-40A1-F9E7-1C9B3E6DB9CB}"/>
              </a:ext>
            </a:extLst>
          </p:cNvPr>
          <p:cNvSpPr/>
          <p:nvPr/>
        </p:nvSpPr>
        <p:spPr bwMode="gray">
          <a:xfrm>
            <a:off x="7483337" y="2843751"/>
            <a:ext cx="1108648" cy="3568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50">
                <a:solidFill>
                  <a:schemeClr val="tx1"/>
                </a:solidFill>
              </a:rPr>
              <a:t>Dec. 2011</a:t>
            </a:r>
          </a:p>
        </p:txBody>
      </p:sp>
      <p:sp>
        <p:nvSpPr>
          <p:cNvPr id="172" name="Rectangle 171">
            <a:extLst>
              <a:ext uri="{FF2B5EF4-FFF2-40B4-BE49-F238E27FC236}">
                <a16:creationId xmlns:a16="http://schemas.microsoft.com/office/drawing/2014/main" id="{EC49AFAD-51E9-DB81-D717-7BFB5844C475}"/>
              </a:ext>
            </a:extLst>
          </p:cNvPr>
          <p:cNvSpPr/>
          <p:nvPr/>
        </p:nvSpPr>
        <p:spPr bwMode="gray">
          <a:xfrm>
            <a:off x="7842879" y="2203461"/>
            <a:ext cx="754063" cy="533763"/>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00">
                <a:solidFill>
                  <a:schemeClr val="tx1"/>
                </a:solidFill>
              </a:rPr>
              <a:t>Install fuel handling and storage</a:t>
            </a:r>
          </a:p>
        </p:txBody>
      </p:sp>
      <p:sp>
        <p:nvSpPr>
          <p:cNvPr id="173" name="Rectangle 172">
            <a:extLst>
              <a:ext uri="{FF2B5EF4-FFF2-40B4-BE49-F238E27FC236}">
                <a16:creationId xmlns:a16="http://schemas.microsoft.com/office/drawing/2014/main" id="{F5A48937-F060-7AAE-0652-C80DE8689F64}"/>
              </a:ext>
            </a:extLst>
          </p:cNvPr>
          <p:cNvSpPr/>
          <p:nvPr/>
        </p:nvSpPr>
        <p:spPr bwMode="gray">
          <a:xfrm>
            <a:off x="10263196" y="2203461"/>
            <a:ext cx="884174" cy="533763"/>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00">
                <a:solidFill>
                  <a:schemeClr val="tx1"/>
                </a:solidFill>
              </a:rPr>
              <a:t>Begin commercial operation</a:t>
            </a:r>
          </a:p>
        </p:txBody>
      </p:sp>
      <p:sp>
        <p:nvSpPr>
          <p:cNvPr id="174" name="Rectangle 173">
            <a:extLst>
              <a:ext uri="{FF2B5EF4-FFF2-40B4-BE49-F238E27FC236}">
                <a16:creationId xmlns:a16="http://schemas.microsoft.com/office/drawing/2014/main" id="{ED7D8D72-A7F2-8E43-3BC3-DA7843D0662E}"/>
              </a:ext>
            </a:extLst>
          </p:cNvPr>
          <p:cNvSpPr/>
          <p:nvPr/>
        </p:nvSpPr>
        <p:spPr bwMode="gray">
          <a:xfrm>
            <a:off x="10239780" y="2855311"/>
            <a:ext cx="1108648" cy="3568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50">
                <a:solidFill>
                  <a:schemeClr val="tx1"/>
                </a:solidFill>
              </a:rPr>
              <a:t>April 2016</a:t>
            </a:r>
          </a:p>
        </p:txBody>
      </p:sp>
      <p:sp>
        <p:nvSpPr>
          <p:cNvPr id="177" name="Rectangle 176">
            <a:extLst>
              <a:ext uri="{FF2B5EF4-FFF2-40B4-BE49-F238E27FC236}">
                <a16:creationId xmlns:a16="http://schemas.microsoft.com/office/drawing/2014/main" id="{1A1A3831-63B7-2E96-D41B-CEE20C9E9A0D}"/>
              </a:ext>
            </a:extLst>
          </p:cNvPr>
          <p:cNvSpPr/>
          <p:nvPr/>
        </p:nvSpPr>
        <p:spPr bwMode="gray">
          <a:xfrm>
            <a:off x="8273306" y="2841772"/>
            <a:ext cx="1108648" cy="3568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50">
                <a:solidFill>
                  <a:schemeClr val="tx1"/>
                </a:solidFill>
              </a:rPr>
              <a:t>March 2012</a:t>
            </a:r>
          </a:p>
        </p:txBody>
      </p:sp>
      <p:sp>
        <p:nvSpPr>
          <p:cNvPr id="185" name="Rectangle 184">
            <a:extLst>
              <a:ext uri="{FF2B5EF4-FFF2-40B4-BE49-F238E27FC236}">
                <a16:creationId xmlns:a16="http://schemas.microsoft.com/office/drawing/2014/main" id="{A0832CF3-7A66-4994-E1B1-D6D112E96492}"/>
              </a:ext>
            </a:extLst>
          </p:cNvPr>
          <p:cNvSpPr/>
          <p:nvPr/>
        </p:nvSpPr>
        <p:spPr bwMode="gray">
          <a:xfrm>
            <a:off x="4880897" y="3064491"/>
            <a:ext cx="5755775" cy="95449"/>
          </a:xfrm>
          <a:prstGeom prst="rect">
            <a:avLst/>
          </a:prstGeom>
          <a:solidFill>
            <a:srgbClr val="34A3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5" name="Rectangle 214">
            <a:extLst>
              <a:ext uri="{FF2B5EF4-FFF2-40B4-BE49-F238E27FC236}">
                <a16:creationId xmlns:a16="http://schemas.microsoft.com/office/drawing/2014/main" id="{C05463D8-C78E-4F0D-4332-36F62382C171}"/>
              </a:ext>
            </a:extLst>
          </p:cNvPr>
          <p:cNvSpPr/>
          <p:nvPr/>
        </p:nvSpPr>
        <p:spPr bwMode="gray">
          <a:xfrm>
            <a:off x="4880897" y="3491813"/>
            <a:ext cx="5165146" cy="117493"/>
          </a:xfrm>
          <a:prstGeom prst="rect">
            <a:avLst/>
          </a:prstGeom>
          <a:solidFill>
            <a:schemeClr val="accent5">
              <a:alpha val="50196"/>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17" name="Straight Connector 216">
            <a:extLst>
              <a:ext uri="{FF2B5EF4-FFF2-40B4-BE49-F238E27FC236}">
                <a16:creationId xmlns:a16="http://schemas.microsoft.com/office/drawing/2014/main" id="{AD8FE057-8330-7971-CE30-E17244D13322}"/>
              </a:ext>
            </a:extLst>
          </p:cNvPr>
          <p:cNvCxnSpPr>
            <a:cxnSpLocks/>
          </p:cNvCxnSpPr>
          <p:nvPr/>
        </p:nvCxnSpPr>
        <p:spPr bwMode="gray">
          <a:xfrm>
            <a:off x="6002290" y="2742428"/>
            <a:ext cx="0" cy="10330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5281D50A-78D0-9617-A1D4-61D4C1149634}"/>
              </a:ext>
            </a:extLst>
          </p:cNvPr>
          <p:cNvCxnSpPr>
            <a:cxnSpLocks/>
          </p:cNvCxnSpPr>
          <p:nvPr/>
        </p:nvCxnSpPr>
        <p:spPr bwMode="gray">
          <a:xfrm>
            <a:off x="6801903" y="2737224"/>
            <a:ext cx="0" cy="14079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7FD3337D-CAC4-F49C-E384-BF7271EB9CB0}"/>
              </a:ext>
            </a:extLst>
          </p:cNvPr>
          <p:cNvCxnSpPr>
            <a:cxnSpLocks/>
            <a:stCxn id="165" idx="2"/>
          </p:cNvCxnSpPr>
          <p:nvPr/>
        </p:nvCxnSpPr>
        <p:spPr bwMode="gray">
          <a:xfrm>
            <a:off x="5229342" y="2747759"/>
            <a:ext cx="0" cy="10362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19138000-8A72-11B6-6B0C-3F0356470EC8}"/>
              </a:ext>
            </a:extLst>
          </p:cNvPr>
          <p:cNvCxnSpPr>
            <a:cxnSpLocks/>
            <a:stCxn id="193" idx="7"/>
            <a:endCxn id="180" idx="3"/>
          </p:cNvCxnSpPr>
          <p:nvPr/>
        </p:nvCxnSpPr>
        <p:spPr bwMode="gray">
          <a:xfrm>
            <a:off x="6056552" y="3158073"/>
            <a:ext cx="346620" cy="346630"/>
          </a:xfrm>
          <a:prstGeom prst="line">
            <a:avLst/>
          </a:prstGeom>
          <a:ln w="635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07B31534-38F4-A518-E04B-9FDAF2C6B562}"/>
              </a:ext>
            </a:extLst>
          </p:cNvPr>
          <p:cNvCxnSpPr>
            <a:cxnSpLocks/>
            <a:endCxn id="244" idx="2"/>
          </p:cNvCxnSpPr>
          <p:nvPr/>
        </p:nvCxnSpPr>
        <p:spPr bwMode="gray">
          <a:xfrm>
            <a:off x="4864504" y="3202379"/>
            <a:ext cx="0" cy="283330"/>
          </a:xfrm>
          <a:prstGeom prst="line">
            <a:avLst/>
          </a:prstGeom>
          <a:ln w="635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3" name="Oval 192">
            <a:extLst>
              <a:ext uri="{FF2B5EF4-FFF2-40B4-BE49-F238E27FC236}">
                <a16:creationId xmlns:a16="http://schemas.microsoft.com/office/drawing/2014/main" id="{286EE507-E07D-E874-B1C8-9521D7F78B11}"/>
              </a:ext>
            </a:extLst>
          </p:cNvPr>
          <p:cNvSpPr/>
          <p:nvPr/>
        </p:nvSpPr>
        <p:spPr bwMode="gray">
          <a:xfrm rot="5400000">
            <a:off x="5944238" y="3045093"/>
            <a:ext cx="129702" cy="134245"/>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accent6"/>
              </a:solidFill>
            </a:endParaRPr>
          </a:p>
        </p:txBody>
      </p:sp>
      <p:cxnSp>
        <p:nvCxnSpPr>
          <p:cNvPr id="246" name="Straight Connector 245">
            <a:extLst>
              <a:ext uri="{FF2B5EF4-FFF2-40B4-BE49-F238E27FC236}">
                <a16:creationId xmlns:a16="http://schemas.microsoft.com/office/drawing/2014/main" id="{5707328C-996A-7783-B4D7-441DBDEEBD45}"/>
              </a:ext>
            </a:extLst>
          </p:cNvPr>
          <p:cNvCxnSpPr>
            <a:cxnSpLocks/>
            <a:endCxn id="245" idx="3"/>
          </p:cNvCxnSpPr>
          <p:nvPr/>
        </p:nvCxnSpPr>
        <p:spPr bwMode="gray">
          <a:xfrm>
            <a:off x="6825686" y="3176129"/>
            <a:ext cx="236244" cy="328574"/>
          </a:xfrm>
          <a:prstGeom prst="line">
            <a:avLst/>
          </a:prstGeom>
          <a:ln w="635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1" name="Oval 190">
            <a:extLst>
              <a:ext uri="{FF2B5EF4-FFF2-40B4-BE49-F238E27FC236}">
                <a16:creationId xmlns:a16="http://schemas.microsoft.com/office/drawing/2014/main" id="{024EEC52-9E0F-EC7C-48D9-E16CFD992089}"/>
              </a:ext>
            </a:extLst>
          </p:cNvPr>
          <p:cNvSpPr/>
          <p:nvPr/>
        </p:nvSpPr>
        <p:spPr bwMode="gray">
          <a:xfrm rot="5400000">
            <a:off x="6727847" y="3045093"/>
            <a:ext cx="129702" cy="134245"/>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accent6"/>
              </a:solidFill>
            </a:endParaRPr>
          </a:p>
        </p:txBody>
      </p:sp>
      <p:cxnSp>
        <p:nvCxnSpPr>
          <p:cNvPr id="250" name="Straight Connector 249">
            <a:extLst>
              <a:ext uri="{FF2B5EF4-FFF2-40B4-BE49-F238E27FC236}">
                <a16:creationId xmlns:a16="http://schemas.microsoft.com/office/drawing/2014/main" id="{1E922225-D896-C69D-7C35-6A747D03F3B6}"/>
              </a:ext>
            </a:extLst>
          </p:cNvPr>
          <p:cNvCxnSpPr>
            <a:cxnSpLocks/>
            <a:stCxn id="189" idx="7"/>
          </p:cNvCxnSpPr>
          <p:nvPr/>
        </p:nvCxnSpPr>
        <p:spPr bwMode="gray">
          <a:xfrm>
            <a:off x="7844994" y="3158073"/>
            <a:ext cx="717450" cy="339376"/>
          </a:xfrm>
          <a:prstGeom prst="line">
            <a:avLst/>
          </a:prstGeom>
          <a:ln w="635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89" name="Oval 188">
            <a:extLst>
              <a:ext uri="{FF2B5EF4-FFF2-40B4-BE49-F238E27FC236}">
                <a16:creationId xmlns:a16="http://schemas.microsoft.com/office/drawing/2014/main" id="{95BDE76A-669E-84A2-4312-58391EEFED95}"/>
              </a:ext>
            </a:extLst>
          </p:cNvPr>
          <p:cNvSpPr/>
          <p:nvPr/>
        </p:nvSpPr>
        <p:spPr bwMode="gray">
          <a:xfrm rot="5400000">
            <a:off x="7732680" y="3045093"/>
            <a:ext cx="129702" cy="134245"/>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accent6"/>
              </a:solidFill>
            </a:endParaRPr>
          </a:p>
        </p:txBody>
      </p:sp>
      <p:cxnSp>
        <p:nvCxnSpPr>
          <p:cNvPr id="257" name="Straight Connector 256">
            <a:extLst>
              <a:ext uri="{FF2B5EF4-FFF2-40B4-BE49-F238E27FC236}">
                <a16:creationId xmlns:a16="http://schemas.microsoft.com/office/drawing/2014/main" id="{C9E0440E-B900-48E5-B2E9-9B7D1AC4E65F}"/>
              </a:ext>
            </a:extLst>
          </p:cNvPr>
          <p:cNvCxnSpPr>
            <a:cxnSpLocks/>
          </p:cNvCxnSpPr>
          <p:nvPr/>
        </p:nvCxnSpPr>
        <p:spPr bwMode="gray">
          <a:xfrm flipH="1">
            <a:off x="7903380" y="2743706"/>
            <a:ext cx="2351" cy="13274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CB2D9A7E-D0ED-51B0-F75F-31211A0F1029}"/>
              </a:ext>
            </a:extLst>
          </p:cNvPr>
          <p:cNvCxnSpPr>
            <a:cxnSpLocks/>
            <a:stCxn id="173" idx="2"/>
          </p:cNvCxnSpPr>
          <p:nvPr/>
        </p:nvCxnSpPr>
        <p:spPr bwMode="gray">
          <a:xfrm>
            <a:off x="10705283" y="2737224"/>
            <a:ext cx="0" cy="10303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A50CE78D-A6FC-587D-8EE5-797A16BA3113}"/>
              </a:ext>
            </a:extLst>
          </p:cNvPr>
          <p:cNvCxnSpPr>
            <a:cxnSpLocks/>
            <a:stCxn id="176" idx="7"/>
            <a:endCxn id="179" idx="3"/>
          </p:cNvCxnSpPr>
          <p:nvPr/>
        </p:nvCxnSpPr>
        <p:spPr bwMode="gray">
          <a:xfrm>
            <a:off x="8736256" y="3158073"/>
            <a:ext cx="1290412" cy="346630"/>
          </a:xfrm>
          <a:prstGeom prst="line">
            <a:avLst/>
          </a:prstGeom>
          <a:ln w="635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76" name="Oval 175">
            <a:extLst>
              <a:ext uri="{FF2B5EF4-FFF2-40B4-BE49-F238E27FC236}">
                <a16:creationId xmlns:a16="http://schemas.microsoft.com/office/drawing/2014/main" id="{3B12A941-DE91-D1C4-B5C9-894F835BDAA4}"/>
              </a:ext>
            </a:extLst>
          </p:cNvPr>
          <p:cNvSpPr/>
          <p:nvPr/>
        </p:nvSpPr>
        <p:spPr bwMode="gray">
          <a:xfrm rot="5400000">
            <a:off x="8623942" y="3045093"/>
            <a:ext cx="129702" cy="134245"/>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accent6"/>
              </a:solidFill>
            </a:endParaRPr>
          </a:p>
        </p:txBody>
      </p:sp>
      <p:sp>
        <p:nvSpPr>
          <p:cNvPr id="267" name="Rectangle 266">
            <a:extLst>
              <a:ext uri="{FF2B5EF4-FFF2-40B4-BE49-F238E27FC236}">
                <a16:creationId xmlns:a16="http://schemas.microsoft.com/office/drawing/2014/main" id="{890F781D-2F26-5651-EB0E-49BB2749164B}"/>
              </a:ext>
            </a:extLst>
          </p:cNvPr>
          <p:cNvSpPr/>
          <p:nvPr/>
        </p:nvSpPr>
        <p:spPr bwMode="gray">
          <a:xfrm>
            <a:off x="9968779" y="3512499"/>
            <a:ext cx="1673261" cy="53725"/>
          </a:xfrm>
          <a:prstGeom prst="rect">
            <a:avLst/>
          </a:prstGeom>
          <a:noFill/>
          <a:ln w="1270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68" name="btfpColumnHeaderBoxText223027">
            <a:extLst>
              <a:ext uri="{FF2B5EF4-FFF2-40B4-BE49-F238E27FC236}">
                <a16:creationId xmlns:a16="http://schemas.microsoft.com/office/drawing/2014/main" id="{0EF2A0D4-F541-A04E-CAD2-0D522B3CA5CC}"/>
              </a:ext>
            </a:extLst>
          </p:cNvPr>
          <p:cNvSpPr txBox="1"/>
          <p:nvPr/>
        </p:nvSpPr>
        <p:spPr bwMode="gray">
          <a:xfrm>
            <a:off x="4695652" y="1490995"/>
            <a:ext cx="2005361" cy="257442"/>
          </a:xfrm>
          <a:prstGeom prst="rect">
            <a:avLst/>
          </a:prstGeom>
          <a:noFill/>
        </p:spPr>
        <p:txBody>
          <a:bodyPr vert="horz" wrap="square" lIns="0" tIns="36036" rIns="36036" bIns="36036" rtlCol="0" anchor="b">
            <a:spAutoFit/>
          </a:bodyPr>
          <a:lstStyle/>
          <a:p>
            <a:pPr marL="0" indent="0">
              <a:spcBef>
                <a:spcPts val="0"/>
              </a:spcBef>
              <a:buNone/>
            </a:pPr>
            <a:r>
              <a:rPr lang="en-US" sz="1200" b="1" dirty="0">
                <a:solidFill>
                  <a:srgbClr val="000000"/>
                </a:solidFill>
              </a:rPr>
              <a:t>Case study: </a:t>
            </a:r>
            <a:r>
              <a:rPr lang="en-US" sz="1200" b="1" dirty="0" err="1">
                <a:solidFill>
                  <a:srgbClr val="000000"/>
                </a:solidFill>
              </a:rPr>
              <a:t>Voglte</a:t>
            </a:r>
            <a:r>
              <a:rPr lang="en-US" sz="1200" b="1" dirty="0">
                <a:solidFill>
                  <a:srgbClr val="000000"/>
                </a:solidFill>
              </a:rPr>
              <a:t> Unit 3</a:t>
            </a:r>
          </a:p>
        </p:txBody>
      </p:sp>
      <p:cxnSp>
        <p:nvCxnSpPr>
          <p:cNvPr id="269" name="btfpColumnHeaderBoxLine223027">
            <a:extLst>
              <a:ext uri="{FF2B5EF4-FFF2-40B4-BE49-F238E27FC236}">
                <a16:creationId xmlns:a16="http://schemas.microsoft.com/office/drawing/2014/main" id="{4D655C5A-255F-D52B-881C-9FFBF423A2BF}"/>
              </a:ext>
            </a:extLst>
          </p:cNvPr>
          <p:cNvCxnSpPr>
            <a:cxnSpLocks/>
          </p:cNvCxnSpPr>
          <p:nvPr/>
        </p:nvCxnSpPr>
        <p:spPr bwMode="gray">
          <a:xfrm>
            <a:off x="4693026" y="1762070"/>
            <a:ext cx="2194560" cy="730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90" name="Rectangle 289">
            <a:extLst>
              <a:ext uri="{FF2B5EF4-FFF2-40B4-BE49-F238E27FC236}">
                <a16:creationId xmlns:a16="http://schemas.microsoft.com/office/drawing/2014/main" id="{8FE9E8B8-976C-65D9-FC16-10C718BC547D}"/>
              </a:ext>
            </a:extLst>
          </p:cNvPr>
          <p:cNvSpPr/>
          <p:nvPr/>
        </p:nvSpPr>
        <p:spPr bwMode="gray">
          <a:xfrm>
            <a:off x="11382276" y="3211944"/>
            <a:ext cx="664427" cy="3568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50">
                <a:solidFill>
                  <a:schemeClr val="tx1"/>
                </a:solidFill>
              </a:rPr>
              <a:t>July 2023</a:t>
            </a:r>
          </a:p>
        </p:txBody>
      </p:sp>
      <p:cxnSp>
        <p:nvCxnSpPr>
          <p:cNvPr id="291" name="Straight Connector 290">
            <a:extLst>
              <a:ext uri="{FF2B5EF4-FFF2-40B4-BE49-F238E27FC236}">
                <a16:creationId xmlns:a16="http://schemas.microsoft.com/office/drawing/2014/main" id="{F737F766-CE73-FAAE-6F3C-B472B9AFF427}"/>
              </a:ext>
            </a:extLst>
          </p:cNvPr>
          <p:cNvCxnSpPr>
            <a:cxnSpLocks/>
            <a:endCxn id="289" idx="3"/>
          </p:cNvCxnSpPr>
          <p:nvPr/>
        </p:nvCxnSpPr>
        <p:spPr bwMode="gray">
          <a:xfrm>
            <a:off x="10670236" y="3146662"/>
            <a:ext cx="946012" cy="358041"/>
          </a:xfrm>
          <a:prstGeom prst="line">
            <a:avLst/>
          </a:prstGeom>
          <a:ln w="635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93" name="Rectangle 292">
            <a:extLst>
              <a:ext uri="{FF2B5EF4-FFF2-40B4-BE49-F238E27FC236}">
                <a16:creationId xmlns:a16="http://schemas.microsoft.com/office/drawing/2014/main" id="{5C1F78D1-2EEF-EDAE-B24B-2A7EA6A3C9C5}"/>
              </a:ext>
            </a:extLst>
          </p:cNvPr>
          <p:cNvSpPr/>
          <p:nvPr/>
        </p:nvSpPr>
        <p:spPr bwMode="gray">
          <a:xfrm>
            <a:off x="10992239" y="2911079"/>
            <a:ext cx="1219853" cy="5751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850">
                <a:solidFill>
                  <a:schemeClr val="accent5"/>
                </a:solidFill>
              </a:rPr>
              <a:t>+ 7 years 3 months delay (cumulative)</a:t>
            </a:r>
          </a:p>
        </p:txBody>
      </p:sp>
      <p:sp>
        <p:nvSpPr>
          <p:cNvPr id="162" name="Rectangle 161">
            <a:extLst>
              <a:ext uri="{FF2B5EF4-FFF2-40B4-BE49-F238E27FC236}">
                <a16:creationId xmlns:a16="http://schemas.microsoft.com/office/drawing/2014/main" id="{2A49CAEB-8021-BCEF-B3CE-A9804F68D609}"/>
              </a:ext>
            </a:extLst>
          </p:cNvPr>
          <p:cNvSpPr/>
          <p:nvPr/>
        </p:nvSpPr>
        <p:spPr bwMode="gray">
          <a:xfrm>
            <a:off x="5601528" y="2845728"/>
            <a:ext cx="669004" cy="3568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50">
                <a:solidFill>
                  <a:schemeClr val="tx1"/>
                </a:solidFill>
              </a:rPr>
              <a:t>Feb. 2011</a:t>
            </a:r>
          </a:p>
        </p:txBody>
      </p:sp>
      <p:sp>
        <p:nvSpPr>
          <p:cNvPr id="164" name="Rectangle 163">
            <a:extLst>
              <a:ext uri="{FF2B5EF4-FFF2-40B4-BE49-F238E27FC236}">
                <a16:creationId xmlns:a16="http://schemas.microsoft.com/office/drawing/2014/main" id="{D9FE75E1-6277-1D8F-315E-4201FCB6ED2A}"/>
              </a:ext>
            </a:extLst>
          </p:cNvPr>
          <p:cNvSpPr/>
          <p:nvPr/>
        </p:nvSpPr>
        <p:spPr bwMode="gray">
          <a:xfrm>
            <a:off x="6486096" y="2845728"/>
            <a:ext cx="1108648" cy="3568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50">
                <a:solidFill>
                  <a:schemeClr val="tx1"/>
                </a:solidFill>
              </a:rPr>
              <a:t>June 2011</a:t>
            </a:r>
          </a:p>
        </p:txBody>
      </p:sp>
      <p:sp>
        <p:nvSpPr>
          <p:cNvPr id="325" name="Rectangle 324">
            <a:extLst>
              <a:ext uri="{FF2B5EF4-FFF2-40B4-BE49-F238E27FC236}">
                <a16:creationId xmlns:a16="http://schemas.microsoft.com/office/drawing/2014/main" id="{B683DF0D-53CA-CDE0-ACDE-CAF5BBCADC9B}"/>
              </a:ext>
            </a:extLst>
          </p:cNvPr>
          <p:cNvSpPr/>
          <p:nvPr/>
        </p:nvSpPr>
        <p:spPr bwMode="gray">
          <a:xfrm>
            <a:off x="9687595" y="5107161"/>
            <a:ext cx="2168402" cy="452593"/>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000" b="1">
                <a:solidFill>
                  <a:schemeClr val="tx1"/>
                </a:solidFill>
              </a:rPr>
              <a:t>Unclear project governance and project development</a:t>
            </a:r>
          </a:p>
        </p:txBody>
      </p:sp>
      <p:sp>
        <p:nvSpPr>
          <p:cNvPr id="328" name="Rectangle 327">
            <a:extLst>
              <a:ext uri="{FF2B5EF4-FFF2-40B4-BE49-F238E27FC236}">
                <a16:creationId xmlns:a16="http://schemas.microsoft.com/office/drawing/2014/main" id="{FB7152A5-9944-DB28-D5A8-9121E52B9C0D}"/>
              </a:ext>
            </a:extLst>
          </p:cNvPr>
          <p:cNvSpPr/>
          <p:nvPr/>
        </p:nvSpPr>
        <p:spPr bwMode="gray">
          <a:xfrm>
            <a:off x="6931346" y="3729976"/>
            <a:ext cx="2637615" cy="1217632"/>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000" b="1">
                <a:solidFill>
                  <a:schemeClr val="tx1"/>
                </a:solidFill>
              </a:rPr>
              <a:t>FOAK AP1000 </a:t>
            </a:r>
            <a:r>
              <a:rPr lang="en-US" sz="1000">
                <a:solidFill>
                  <a:schemeClr val="tx1"/>
                </a:solidFill>
              </a:rPr>
              <a:t>is first project in 30 years.</a:t>
            </a:r>
            <a:endParaRPr lang="en-US" sz="1000" b="1">
              <a:solidFill>
                <a:schemeClr val="tx1"/>
              </a:solidFill>
            </a:endParaRPr>
          </a:p>
          <a:p>
            <a:pPr marL="171450" indent="-171450">
              <a:buFont typeface="Arial" panose="020B0604020202020204" pitchFamily="34" charset="0"/>
              <a:buChar char="•"/>
            </a:pPr>
            <a:r>
              <a:rPr lang="en-US" sz="1000" b="1">
                <a:solidFill>
                  <a:schemeClr val="tx1"/>
                </a:solidFill>
              </a:rPr>
              <a:t>Supply of knowledgeable engineers</a:t>
            </a:r>
            <a:r>
              <a:rPr lang="en-US" sz="1000">
                <a:solidFill>
                  <a:schemeClr val="tx1"/>
                </a:solidFill>
              </a:rPr>
              <a:t>, superintendents, crafts, and other key personnel was limited.</a:t>
            </a:r>
          </a:p>
          <a:p>
            <a:pPr marL="171450" indent="-171450">
              <a:buFont typeface="Arial" panose="020B0604020202020204" pitchFamily="34" charset="0"/>
              <a:buChar char="•"/>
            </a:pPr>
            <a:r>
              <a:rPr lang="en-US" sz="1000">
                <a:solidFill>
                  <a:schemeClr val="tx1"/>
                </a:solidFill>
              </a:rPr>
              <a:t>Submodule and rebar installation for the nuclear island did not fit design specifications. </a:t>
            </a:r>
          </a:p>
        </p:txBody>
      </p:sp>
      <p:sp>
        <p:nvSpPr>
          <p:cNvPr id="329" name="Rectangle 328">
            <a:extLst>
              <a:ext uri="{FF2B5EF4-FFF2-40B4-BE49-F238E27FC236}">
                <a16:creationId xmlns:a16="http://schemas.microsoft.com/office/drawing/2014/main" id="{86F58DC3-3818-28FD-4F9F-F1CF08721C9E}"/>
              </a:ext>
            </a:extLst>
          </p:cNvPr>
          <p:cNvSpPr/>
          <p:nvPr/>
        </p:nvSpPr>
        <p:spPr bwMode="gray">
          <a:xfrm>
            <a:off x="4828798" y="3729976"/>
            <a:ext cx="1980787" cy="121431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000">
                <a:solidFill>
                  <a:schemeClr val="tx1"/>
                </a:solidFill>
              </a:rPr>
              <a:t>NRC updated safety requirements to protect plants against aircraft impacts.</a:t>
            </a:r>
          </a:p>
          <a:p>
            <a:pPr marL="171450" indent="-171450">
              <a:buFont typeface="Arial" panose="020B0604020202020204" pitchFamily="34" charset="0"/>
              <a:buChar char="•"/>
            </a:pPr>
            <a:r>
              <a:rPr lang="en-US" sz="1000" b="1">
                <a:solidFill>
                  <a:schemeClr val="tx1"/>
                </a:solidFill>
              </a:rPr>
              <a:t>Sixty license amendment requests</a:t>
            </a:r>
            <a:r>
              <a:rPr lang="en-US" sz="1000">
                <a:solidFill>
                  <a:schemeClr val="tx1"/>
                </a:solidFill>
              </a:rPr>
              <a:t> were made to NRC since construction start.</a:t>
            </a:r>
          </a:p>
        </p:txBody>
      </p:sp>
      <p:sp>
        <p:nvSpPr>
          <p:cNvPr id="180" name="Oval 179">
            <a:extLst>
              <a:ext uri="{FF2B5EF4-FFF2-40B4-BE49-F238E27FC236}">
                <a16:creationId xmlns:a16="http://schemas.microsoft.com/office/drawing/2014/main" id="{64B1B283-C30A-A83C-4CB2-1CA1B41A74D3}"/>
              </a:ext>
            </a:extLst>
          </p:cNvPr>
          <p:cNvSpPr/>
          <p:nvPr/>
        </p:nvSpPr>
        <p:spPr bwMode="gray">
          <a:xfrm rot="5400000">
            <a:off x="6385783" y="3483437"/>
            <a:ext cx="129702" cy="134245"/>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accent6"/>
              </a:solidFill>
            </a:endParaRPr>
          </a:p>
        </p:txBody>
      </p:sp>
      <p:sp>
        <p:nvSpPr>
          <p:cNvPr id="184" name="Oval 183">
            <a:extLst>
              <a:ext uri="{FF2B5EF4-FFF2-40B4-BE49-F238E27FC236}">
                <a16:creationId xmlns:a16="http://schemas.microsoft.com/office/drawing/2014/main" id="{3EBE9AEF-FCF5-C1D3-0F2E-FF11FC9ACC84}"/>
              </a:ext>
            </a:extLst>
          </p:cNvPr>
          <p:cNvSpPr/>
          <p:nvPr/>
        </p:nvSpPr>
        <p:spPr bwMode="gray">
          <a:xfrm rot="5400000">
            <a:off x="8553112" y="3483437"/>
            <a:ext cx="129702" cy="134245"/>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accent6"/>
              </a:solidFill>
            </a:endParaRPr>
          </a:p>
        </p:txBody>
      </p:sp>
      <p:sp>
        <p:nvSpPr>
          <p:cNvPr id="245" name="Oval 244">
            <a:extLst>
              <a:ext uri="{FF2B5EF4-FFF2-40B4-BE49-F238E27FC236}">
                <a16:creationId xmlns:a16="http://schemas.microsoft.com/office/drawing/2014/main" id="{142CDDFD-2FC4-0DD3-F455-F513920738F5}"/>
              </a:ext>
            </a:extLst>
          </p:cNvPr>
          <p:cNvSpPr/>
          <p:nvPr/>
        </p:nvSpPr>
        <p:spPr bwMode="gray">
          <a:xfrm rot="5400000">
            <a:off x="7044541" y="3483437"/>
            <a:ext cx="129702" cy="134245"/>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accent6"/>
              </a:solidFill>
            </a:endParaRPr>
          </a:p>
        </p:txBody>
      </p:sp>
      <p:sp>
        <p:nvSpPr>
          <p:cNvPr id="179" name="Oval 178">
            <a:extLst>
              <a:ext uri="{FF2B5EF4-FFF2-40B4-BE49-F238E27FC236}">
                <a16:creationId xmlns:a16="http://schemas.microsoft.com/office/drawing/2014/main" id="{2DF7E214-F56B-72C8-D5F7-DED465798A27}"/>
              </a:ext>
            </a:extLst>
          </p:cNvPr>
          <p:cNvSpPr/>
          <p:nvPr/>
        </p:nvSpPr>
        <p:spPr bwMode="gray">
          <a:xfrm rot="5400000">
            <a:off x="10009279" y="3483437"/>
            <a:ext cx="129702" cy="134245"/>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accent6"/>
              </a:solidFill>
            </a:endParaRPr>
          </a:p>
        </p:txBody>
      </p:sp>
      <p:sp>
        <p:nvSpPr>
          <p:cNvPr id="289" name="Oval 288">
            <a:extLst>
              <a:ext uri="{FF2B5EF4-FFF2-40B4-BE49-F238E27FC236}">
                <a16:creationId xmlns:a16="http://schemas.microsoft.com/office/drawing/2014/main" id="{73567418-CA71-47FF-A669-70141BF5D5FD}"/>
              </a:ext>
            </a:extLst>
          </p:cNvPr>
          <p:cNvSpPr/>
          <p:nvPr/>
        </p:nvSpPr>
        <p:spPr bwMode="gray">
          <a:xfrm rot="5400000">
            <a:off x="11598859" y="3483437"/>
            <a:ext cx="129702" cy="134245"/>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accent6"/>
              </a:solidFill>
            </a:endParaRPr>
          </a:p>
        </p:txBody>
      </p:sp>
      <p:sp>
        <p:nvSpPr>
          <p:cNvPr id="244" name="Oval 243">
            <a:extLst>
              <a:ext uri="{FF2B5EF4-FFF2-40B4-BE49-F238E27FC236}">
                <a16:creationId xmlns:a16="http://schemas.microsoft.com/office/drawing/2014/main" id="{7668C450-3E84-F228-96CF-A667270A8158}"/>
              </a:ext>
            </a:extLst>
          </p:cNvPr>
          <p:cNvSpPr/>
          <p:nvPr/>
        </p:nvSpPr>
        <p:spPr bwMode="gray">
          <a:xfrm rot="5400000">
            <a:off x="4799653" y="3483437"/>
            <a:ext cx="129702" cy="134245"/>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accent6"/>
              </a:solidFill>
            </a:endParaRPr>
          </a:p>
        </p:txBody>
      </p:sp>
      <p:sp>
        <p:nvSpPr>
          <p:cNvPr id="15" name="Rectangle 14">
            <a:extLst>
              <a:ext uri="{FF2B5EF4-FFF2-40B4-BE49-F238E27FC236}">
                <a16:creationId xmlns:a16="http://schemas.microsoft.com/office/drawing/2014/main" id="{DF8A41EA-EC68-7957-A5E1-1D5819BF9F3A}"/>
              </a:ext>
            </a:extLst>
          </p:cNvPr>
          <p:cNvSpPr/>
          <p:nvPr/>
        </p:nvSpPr>
        <p:spPr bwMode="gray">
          <a:xfrm>
            <a:off x="6642454" y="2203461"/>
            <a:ext cx="1108648" cy="533763"/>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00">
                <a:solidFill>
                  <a:schemeClr val="tx1"/>
                </a:solidFill>
              </a:rPr>
              <a:t>Construction and operation license from NRC</a:t>
            </a:r>
          </a:p>
        </p:txBody>
      </p:sp>
      <p:sp>
        <p:nvSpPr>
          <p:cNvPr id="26" name="Rectangle 25">
            <a:extLst>
              <a:ext uri="{FF2B5EF4-FFF2-40B4-BE49-F238E27FC236}">
                <a16:creationId xmlns:a16="http://schemas.microsoft.com/office/drawing/2014/main" id="{2F878FB9-F792-0192-2A51-6146A59CC42C}"/>
              </a:ext>
            </a:extLst>
          </p:cNvPr>
          <p:cNvSpPr/>
          <p:nvPr/>
        </p:nvSpPr>
        <p:spPr bwMode="gray">
          <a:xfrm>
            <a:off x="8639267" y="2203461"/>
            <a:ext cx="870148" cy="523610"/>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00">
                <a:solidFill>
                  <a:schemeClr val="tx1"/>
                </a:solidFill>
              </a:rPr>
              <a:t>Install containment modules</a:t>
            </a:r>
          </a:p>
        </p:txBody>
      </p:sp>
      <p:cxnSp>
        <p:nvCxnSpPr>
          <p:cNvPr id="35" name="Straight Connector 34">
            <a:extLst>
              <a:ext uri="{FF2B5EF4-FFF2-40B4-BE49-F238E27FC236}">
                <a16:creationId xmlns:a16="http://schemas.microsoft.com/office/drawing/2014/main" id="{43511259-64B5-9E7A-AC0F-F2D8B72DB829}"/>
              </a:ext>
            </a:extLst>
          </p:cNvPr>
          <p:cNvCxnSpPr>
            <a:cxnSpLocks/>
          </p:cNvCxnSpPr>
          <p:nvPr/>
        </p:nvCxnSpPr>
        <p:spPr bwMode="gray">
          <a:xfrm>
            <a:off x="8856538" y="2726130"/>
            <a:ext cx="0" cy="15609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9B9FB8D2-525F-F1F5-7E16-4939A162C0D6}"/>
              </a:ext>
            </a:extLst>
          </p:cNvPr>
          <p:cNvSpPr/>
          <p:nvPr/>
        </p:nvSpPr>
        <p:spPr bwMode="gray">
          <a:xfrm rot="5400000">
            <a:off x="10068715" y="1702584"/>
            <a:ext cx="220185" cy="34428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850">
              <a:solidFill>
                <a:schemeClr val="accent5"/>
              </a:solidFill>
            </a:endParaRPr>
          </a:p>
        </p:txBody>
      </p:sp>
      <p:sp>
        <p:nvSpPr>
          <p:cNvPr id="43" name="Rectangle 42">
            <a:extLst>
              <a:ext uri="{FF2B5EF4-FFF2-40B4-BE49-F238E27FC236}">
                <a16:creationId xmlns:a16="http://schemas.microsoft.com/office/drawing/2014/main" id="{0EB2F092-C80D-F5B1-0C52-9D27EA2A1F45}"/>
              </a:ext>
            </a:extLst>
          </p:cNvPr>
          <p:cNvSpPr/>
          <p:nvPr/>
        </p:nvSpPr>
        <p:spPr bwMode="gray">
          <a:xfrm>
            <a:off x="10129013" y="1777694"/>
            <a:ext cx="179388" cy="2429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850" b="1">
                <a:solidFill>
                  <a:schemeClr val="accent5"/>
                </a:solidFill>
              </a:rPr>
              <a:t>x</a:t>
            </a:r>
          </a:p>
        </p:txBody>
      </p:sp>
      <p:grpSp>
        <p:nvGrpSpPr>
          <p:cNvPr id="22" name="Group 21">
            <a:extLst>
              <a:ext uri="{FF2B5EF4-FFF2-40B4-BE49-F238E27FC236}">
                <a16:creationId xmlns:a16="http://schemas.microsoft.com/office/drawing/2014/main" id="{4E3ECD95-E7FF-6FCD-0199-889B1944B173}"/>
              </a:ext>
            </a:extLst>
          </p:cNvPr>
          <p:cNvGrpSpPr/>
          <p:nvPr/>
        </p:nvGrpSpPr>
        <p:grpSpPr>
          <a:xfrm>
            <a:off x="8085378" y="1683745"/>
            <a:ext cx="3654184" cy="586028"/>
            <a:chOff x="8085378" y="1731370"/>
            <a:chExt cx="3654184" cy="586028"/>
          </a:xfrm>
        </p:grpSpPr>
        <p:sp>
          <p:nvSpPr>
            <p:cNvPr id="5" name="Oval 4">
              <a:extLst>
                <a:ext uri="{FF2B5EF4-FFF2-40B4-BE49-F238E27FC236}">
                  <a16:creationId xmlns:a16="http://schemas.microsoft.com/office/drawing/2014/main" id="{78698218-8B44-A737-921C-1488669427C8}"/>
                </a:ext>
              </a:extLst>
            </p:cNvPr>
            <p:cNvSpPr/>
            <p:nvPr/>
          </p:nvSpPr>
          <p:spPr bwMode="gray">
            <a:xfrm rot="5400000">
              <a:off x="8087650" y="1825029"/>
              <a:ext cx="129702" cy="134245"/>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accent6"/>
                </a:solidFill>
              </a:endParaRPr>
            </a:p>
          </p:txBody>
        </p:sp>
        <p:sp>
          <p:nvSpPr>
            <p:cNvPr id="6" name="Oval 5">
              <a:extLst>
                <a:ext uri="{FF2B5EF4-FFF2-40B4-BE49-F238E27FC236}">
                  <a16:creationId xmlns:a16="http://schemas.microsoft.com/office/drawing/2014/main" id="{FD85F3A8-5BC8-D9EA-0412-F1D4A3BA8BE6}"/>
                </a:ext>
              </a:extLst>
            </p:cNvPr>
            <p:cNvSpPr/>
            <p:nvPr/>
          </p:nvSpPr>
          <p:spPr bwMode="gray">
            <a:xfrm rot="5400000">
              <a:off x="8875111" y="1813479"/>
              <a:ext cx="129702" cy="134245"/>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accent6"/>
                </a:solidFill>
              </a:endParaRPr>
            </a:p>
          </p:txBody>
        </p:sp>
        <p:sp>
          <p:nvSpPr>
            <p:cNvPr id="7" name="Rectangle 6">
              <a:extLst>
                <a:ext uri="{FF2B5EF4-FFF2-40B4-BE49-F238E27FC236}">
                  <a16:creationId xmlns:a16="http://schemas.microsoft.com/office/drawing/2014/main" id="{F05336D9-0298-57A1-CDA6-39AABA759645}"/>
                </a:ext>
              </a:extLst>
            </p:cNvPr>
            <p:cNvSpPr/>
            <p:nvPr/>
          </p:nvSpPr>
          <p:spPr bwMode="gray">
            <a:xfrm>
              <a:off x="8215500" y="1742258"/>
              <a:ext cx="807229" cy="5751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850">
                  <a:solidFill>
                    <a:schemeClr val="tx1"/>
                  </a:solidFill>
                </a:rPr>
                <a:t>Expected timeline</a:t>
              </a:r>
            </a:p>
          </p:txBody>
        </p:sp>
        <p:sp>
          <p:nvSpPr>
            <p:cNvPr id="8" name="Rectangle 7">
              <a:extLst>
                <a:ext uri="{FF2B5EF4-FFF2-40B4-BE49-F238E27FC236}">
                  <a16:creationId xmlns:a16="http://schemas.microsoft.com/office/drawing/2014/main" id="{8317557C-190C-06F8-28A7-3BE43E4E8718}"/>
                </a:ext>
              </a:extLst>
            </p:cNvPr>
            <p:cNvSpPr/>
            <p:nvPr/>
          </p:nvSpPr>
          <p:spPr bwMode="gray">
            <a:xfrm>
              <a:off x="9021535" y="1731386"/>
              <a:ext cx="1063916" cy="5751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850">
                  <a:solidFill>
                    <a:schemeClr val="tx1"/>
                  </a:solidFill>
                </a:rPr>
                <a:t>Delayed timeline (non-cumulative)</a:t>
              </a:r>
            </a:p>
          </p:txBody>
        </p:sp>
        <p:sp>
          <p:nvSpPr>
            <p:cNvPr id="52" name="Rectangle 51">
              <a:extLst>
                <a:ext uri="{FF2B5EF4-FFF2-40B4-BE49-F238E27FC236}">
                  <a16:creationId xmlns:a16="http://schemas.microsoft.com/office/drawing/2014/main" id="{73926FC4-A013-B61B-1042-EF2636724537}"/>
                </a:ext>
              </a:extLst>
            </p:cNvPr>
            <p:cNvSpPr/>
            <p:nvPr/>
          </p:nvSpPr>
          <p:spPr bwMode="gray">
            <a:xfrm>
              <a:off x="10362695" y="1731370"/>
              <a:ext cx="1376867" cy="5751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850">
                  <a:solidFill>
                    <a:schemeClr val="tx1"/>
                  </a:solidFill>
                </a:rPr>
                <a:t>Time from expected milestone completion date </a:t>
              </a:r>
            </a:p>
          </p:txBody>
        </p:sp>
      </p:grpSp>
      <p:sp>
        <p:nvSpPr>
          <p:cNvPr id="188" name="Oval 187">
            <a:extLst>
              <a:ext uri="{FF2B5EF4-FFF2-40B4-BE49-F238E27FC236}">
                <a16:creationId xmlns:a16="http://schemas.microsoft.com/office/drawing/2014/main" id="{15275184-EA14-3A07-0618-E8B3FB2705C4}"/>
              </a:ext>
            </a:extLst>
          </p:cNvPr>
          <p:cNvSpPr/>
          <p:nvPr/>
        </p:nvSpPr>
        <p:spPr bwMode="gray">
          <a:xfrm rot="5400000">
            <a:off x="10580986" y="3045093"/>
            <a:ext cx="129702" cy="134245"/>
          </a:xfrm>
          <a:prstGeom prst="ellipse">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accent6"/>
              </a:solidFill>
            </a:endParaRPr>
          </a:p>
        </p:txBody>
      </p:sp>
      <p:sp>
        <p:nvSpPr>
          <p:cNvPr id="9" name="Oval 8">
            <a:extLst>
              <a:ext uri="{FF2B5EF4-FFF2-40B4-BE49-F238E27FC236}">
                <a16:creationId xmlns:a16="http://schemas.microsoft.com/office/drawing/2014/main" id="{BD153C45-0CB7-1F7E-1B1E-89253EE2DDCD}"/>
              </a:ext>
            </a:extLst>
          </p:cNvPr>
          <p:cNvSpPr/>
          <p:nvPr/>
        </p:nvSpPr>
        <p:spPr bwMode="gray">
          <a:xfrm>
            <a:off x="5790321" y="3235648"/>
            <a:ext cx="771892" cy="18879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85" name="Rectangle 284">
            <a:extLst>
              <a:ext uri="{FF2B5EF4-FFF2-40B4-BE49-F238E27FC236}">
                <a16:creationId xmlns:a16="http://schemas.microsoft.com/office/drawing/2014/main" id="{0D473AD7-39B0-E2C5-CC85-DA870E9761DF}"/>
              </a:ext>
            </a:extLst>
          </p:cNvPr>
          <p:cNvSpPr/>
          <p:nvPr/>
        </p:nvSpPr>
        <p:spPr bwMode="gray">
          <a:xfrm>
            <a:off x="5833868" y="3225584"/>
            <a:ext cx="771892" cy="211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850" b="1">
                <a:solidFill>
                  <a:schemeClr val="accent5"/>
                </a:solidFill>
              </a:rPr>
              <a:t>+10 months</a:t>
            </a:r>
          </a:p>
        </p:txBody>
      </p:sp>
      <p:sp>
        <p:nvSpPr>
          <p:cNvPr id="11" name="Oval 10">
            <a:extLst>
              <a:ext uri="{FF2B5EF4-FFF2-40B4-BE49-F238E27FC236}">
                <a16:creationId xmlns:a16="http://schemas.microsoft.com/office/drawing/2014/main" id="{1D782D11-8EA8-6950-F790-F4FF1F34A987}"/>
              </a:ext>
            </a:extLst>
          </p:cNvPr>
          <p:cNvSpPr/>
          <p:nvPr/>
        </p:nvSpPr>
        <p:spPr bwMode="gray">
          <a:xfrm>
            <a:off x="6622766" y="3237528"/>
            <a:ext cx="771892" cy="18879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Oval 11">
            <a:extLst>
              <a:ext uri="{FF2B5EF4-FFF2-40B4-BE49-F238E27FC236}">
                <a16:creationId xmlns:a16="http://schemas.microsoft.com/office/drawing/2014/main" id="{4EFC9B84-E02D-DD19-398C-2A242C5EC7CF}"/>
              </a:ext>
            </a:extLst>
          </p:cNvPr>
          <p:cNvSpPr/>
          <p:nvPr/>
        </p:nvSpPr>
        <p:spPr bwMode="gray">
          <a:xfrm>
            <a:off x="7721553" y="3232785"/>
            <a:ext cx="771892" cy="18879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86" name="Rectangle 285">
            <a:extLst>
              <a:ext uri="{FF2B5EF4-FFF2-40B4-BE49-F238E27FC236}">
                <a16:creationId xmlns:a16="http://schemas.microsoft.com/office/drawing/2014/main" id="{909B424F-941B-08F5-092B-AE5B0F36CF2E}"/>
              </a:ext>
            </a:extLst>
          </p:cNvPr>
          <p:cNvSpPr/>
          <p:nvPr/>
        </p:nvSpPr>
        <p:spPr bwMode="gray">
          <a:xfrm>
            <a:off x="6678221" y="3223292"/>
            <a:ext cx="771892" cy="211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850" b="1">
                <a:solidFill>
                  <a:schemeClr val="accent5"/>
                </a:solidFill>
              </a:rPr>
              <a:t>+ 8 months</a:t>
            </a:r>
          </a:p>
        </p:txBody>
      </p:sp>
      <p:sp>
        <p:nvSpPr>
          <p:cNvPr id="13" name="Oval 12">
            <a:extLst>
              <a:ext uri="{FF2B5EF4-FFF2-40B4-BE49-F238E27FC236}">
                <a16:creationId xmlns:a16="http://schemas.microsoft.com/office/drawing/2014/main" id="{CD74DF24-41CA-68D0-8E55-93FF6E05F73D}"/>
              </a:ext>
            </a:extLst>
          </p:cNvPr>
          <p:cNvSpPr/>
          <p:nvPr/>
        </p:nvSpPr>
        <p:spPr bwMode="gray">
          <a:xfrm>
            <a:off x="8877484" y="3229470"/>
            <a:ext cx="771892" cy="18879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87" name="Rectangle 286">
            <a:extLst>
              <a:ext uri="{FF2B5EF4-FFF2-40B4-BE49-F238E27FC236}">
                <a16:creationId xmlns:a16="http://schemas.microsoft.com/office/drawing/2014/main" id="{4F0CE960-71DD-3543-56EA-D9CECADAE524}"/>
              </a:ext>
            </a:extLst>
          </p:cNvPr>
          <p:cNvSpPr/>
          <p:nvPr/>
        </p:nvSpPr>
        <p:spPr bwMode="gray">
          <a:xfrm>
            <a:off x="7759356" y="3223292"/>
            <a:ext cx="771892" cy="211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850" b="1">
                <a:solidFill>
                  <a:schemeClr val="accent5"/>
                </a:solidFill>
              </a:rPr>
              <a:t>+ 27 months</a:t>
            </a:r>
          </a:p>
        </p:txBody>
      </p:sp>
      <p:sp>
        <p:nvSpPr>
          <p:cNvPr id="288" name="Rectangle 287">
            <a:extLst>
              <a:ext uri="{FF2B5EF4-FFF2-40B4-BE49-F238E27FC236}">
                <a16:creationId xmlns:a16="http://schemas.microsoft.com/office/drawing/2014/main" id="{31F14BD8-2125-B592-2C43-57F0088E21B5}"/>
              </a:ext>
            </a:extLst>
          </p:cNvPr>
          <p:cNvSpPr/>
          <p:nvPr/>
        </p:nvSpPr>
        <p:spPr bwMode="gray">
          <a:xfrm>
            <a:off x="8899670" y="3225584"/>
            <a:ext cx="771892" cy="211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850" b="1">
                <a:solidFill>
                  <a:schemeClr val="accent5"/>
                </a:solidFill>
              </a:rPr>
              <a:t>+ 41 months</a:t>
            </a:r>
          </a:p>
        </p:txBody>
      </p:sp>
      <p:sp>
        <p:nvSpPr>
          <p:cNvPr id="16" name="btfpColumnHeaderBoxText223027">
            <a:extLst>
              <a:ext uri="{FF2B5EF4-FFF2-40B4-BE49-F238E27FC236}">
                <a16:creationId xmlns:a16="http://schemas.microsoft.com/office/drawing/2014/main" id="{D9750C8A-9EA6-CA1A-EFA9-3155907CA69A}"/>
              </a:ext>
            </a:extLst>
          </p:cNvPr>
          <p:cNvSpPr txBox="1"/>
          <p:nvPr/>
        </p:nvSpPr>
        <p:spPr bwMode="gray">
          <a:xfrm>
            <a:off x="3845571" y="2337095"/>
            <a:ext cx="861548" cy="234359"/>
          </a:xfrm>
          <a:prstGeom prst="rect">
            <a:avLst/>
          </a:prstGeom>
          <a:noFill/>
        </p:spPr>
        <p:txBody>
          <a:bodyPr vert="horz" wrap="square" lIns="0" tIns="36036" rIns="36036" bIns="36036" rtlCol="0" anchor="b">
            <a:spAutoFit/>
          </a:bodyPr>
          <a:lstStyle/>
          <a:p>
            <a:pPr marL="0" indent="0" algn="ctr">
              <a:spcBef>
                <a:spcPts val="0"/>
              </a:spcBef>
              <a:buNone/>
            </a:pPr>
            <a:r>
              <a:rPr lang="en-US" sz="1050" b="1">
                <a:solidFill>
                  <a:srgbClr val="000000"/>
                </a:solidFill>
              </a:rPr>
              <a:t>Milestones</a:t>
            </a:r>
          </a:p>
        </p:txBody>
      </p:sp>
      <p:cxnSp>
        <p:nvCxnSpPr>
          <p:cNvPr id="17" name="btfpColumnHeaderBoxLine223027">
            <a:extLst>
              <a:ext uri="{FF2B5EF4-FFF2-40B4-BE49-F238E27FC236}">
                <a16:creationId xmlns:a16="http://schemas.microsoft.com/office/drawing/2014/main" id="{5A9F272A-94D3-E1EE-8FDE-705C0C76910A}"/>
              </a:ext>
            </a:extLst>
          </p:cNvPr>
          <p:cNvCxnSpPr>
            <a:cxnSpLocks/>
          </p:cNvCxnSpPr>
          <p:nvPr/>
        </p:nvCxnSpPr>
        <p:spPr bwMode="gray">
          <a:xfrm>
            <a:off x="4705522" y="2203704"/>
            <a:ext cx="0" cy="91440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 name="btfpColumnHeaderBoxText223027">
            <a:extLst>
              <a:ext uri="{FF2B5EF4-FFF2-40B4-BE49-F238E27FC236}">
                <a16:creationId xmlns:a16="http://schemas.microsoft.com/office/drawing/2014/main" id="{62B6D084-7A0C-D632-6BB7-F473B37F30DD}"/>
              </a:ext>
            </a:extLst>
          </p:cNvPr>
          <p:cNvSpPr txBox="1"/>
          <p:nvPr/>
        </p:nvSpPr>
        <p:spPr bwMode="gray">
          <a:xfrm>
            <a:off x="3826252" y="3233132"/>
            <a:ext cx="880867" cy="395941"/>
          </a:xfrm>
          <a:prstGeom prst="rect">
            <a:avLst/>
          </a:prstGeom>
          <a:noFill/>
        </p:spPr>
        <p:txBody>
          <a:bodyPr vert="horz" wrap="square" lIns="0" tIns="36036" rIns="36036" bIns="36036" rtlCol="0" anchor="b">
            <a:spAutoFit/>
          </a:bodyPr>
          <a:lstStyle/>
          <a:p>
            <a:pPr marL="0" indent="0" algn="ctr">
              <a:spcBef>
                <a:spcPts val="0"/>
              </a:spcBef>
              <a:buNone/>
            </a:pPr>
            <a:r>
              <a:rPr lang="en-US" sz="1050" b="1">
                <a:solidFill>
                  <a:srgbClr val="000000"/>
                </a:solidFill>
              </a:rPr>
              <a:t>Construction delays</a:t>
            </a:r>
          </a:p>
        </p:txBody>
      </p:sp>
      <p:cxnSp>
        <p:nvCxnSpPr>
          <p:cNvPr id="14" name="btfpColumnHeaderBoxLine223027">
            <a:extLst>
              <a:ext uri="{FF2B5EF4-FFF2-40B4-BE49-F238E27FC236}">
                <a16:creationId xmlns:a16="http://schemas.microsoft.com/office/drawing/2014/main" id="{8A2434D8-E210-6FE2-0DA4-50F87E101424}"/>
              </a:ext>
            </a:extLst>
          </p:cNvPr>
          <p:cNvCxnSpPr>
            <a:cxnSpLocks/>
          </p:cNvCxnSpPr>
          <p:nvPr/>
        </p:nvCxnSpPr>
        <p:spPr bwMode="gray">
          <a:xfrm>
            <a:off x="4705522" y="3192579"/>
            <a:ext cx="0" cy="45720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5" name="Rectangular Callout 114">
            <a:extLst>
              <a:ext uri="{FF2B5EF4-FFF2-40B4-BE49-F238E27FC236}">
                <a16:creationId xmlns:a16="http://schemas.microsoft.com/office/drawing/2014/main" id="{FFC39AB7-FD5C-D05D-B550-3E70C8CB1F60}"/>
              </a:ext>
            </a:extLst>
          </p:cNvPr>
          <p:cNvSpPr/>
          <p:nvPr/>
        </p:nvSpPr>
        <p:spPr>
          <a:xfrm flipH="1">
            <a:off x="2217385" y="3246932"/>
            <a:ext cx="1088150" cy="1276303"/>
          </a:xfrm>
          <a:prstGeom prst="wedgeRectCallout">
            <a:avLst>
              <a:gd name="adj1" fmla="val 22569"/>
              <a:gd name="adj2" fmla="val 71517"/>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lang="en-US" sz="1050">
                <a:solidFill>
                  <a:srgbClr val="FFFFFF"/>
                </a:solidFill>
                <a:latin typeface="Arial" panose="020B0604020202020204" pitchFamily="34" charset="0"/>
                <a:cs typeface="Arial" panose="020B0604020202020204" pitchFamily="34" charset="0"/>
              </a:rPr>
              <a:t>Highly focused and intentional national programs drive down costs over time. </a:t>
            </a:r>
          </a:p>
        </p:txBody>
      </p:sp>
    </p:spTree>
    <p:extLst>
      <p:ext uri="{BB962C8B-B14F-4D97-AF65-F5344CB8AC3E}">
        <p14:creationId xmlns:p14="http://schemas.microsoft.com/office/powerpoint/2010/main" val="29616202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C05A084E-EEB5-1ABA-E873-F5B065CD3356}"/>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0D408D8-F9C8-C098-8AB8-10E802B3CA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50" progId="TCLayout.ActiveDocument.1">
                  <p:embed/>
                </p:oleObj>
              </mc:Choice>
              <mc:Fallback>
                <p:oleObj name="think-cell Slide" r:id="rId4" imgW="349" imgH="350" progId="TCLayout.ActiveDocument.1">
                  <p:embed/>
                  <p:pic>
                    <p:nvPicPr>
                      <p:cNvPr id="10" name="think-cell data - do not delete" hidden="1">
                        <a:extLst>
                          <a:ext uri="{FF2B5EF4-FFF2-40B4-BE49-F238E27FC236}">
                            <a16:creationId xmlns:a16="http://schemas.microsoft.com/office/drawing/2014/main" id="{F0D408D8-F9C8-C098-8AB8-10E802B3CA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2B1CE32-80DD-EC53-8691-258615F6822A}"/>
              </a:ext>
            </a:extLst>
          </p:cNvPr>
          <p:cNvSpPr>
            <a:spLocks noGrp="1"/>
          </p:cNvSpPr>
          <p:nvPr>
            <p:ph type="title"/>
          </p:nvPr>
        </p:nvSpPr>
        <p:spPr>
          <a:xfrm>
            <a:off x="330200" y="523318"/>
            <a:ext cx="11861800" cy="659434"/>
          </a:xfrm>
        </p:spPr>
        <p:txBody>
          <a:bodyPr vert="horz">
            <a:normAutofit fontScale="90000"/>
          </a:bodyPr>
          <a:lstStyle/>
          <a:p>
            <a:r>
              <a:rPr lang="en-US"/>
              <a:t>Employing digital tools, streamlined program design, and regulatory collaboration, effective project management cuts complexity, cost overruns </a:t>
            </a:r>
          </a:p>
        </p:txBody>
      </p:sp>
      <p:sp>
        <p:nvSpPr>
          <p:cNvPr id="23" name="Rectangle 22">
            <a:extLst>
              <a:ext uri="{FF2B5EF4-FFF2-40B4-BE49-F238E27FC236}">
                <a16:creationId xmlns:a16="http://schemas.microsoft.com/office/drawing/2014/main" id="{E0EF3ED5-84EA-2142-2619-DB481DBB7D14}"/>
              </a:ext>
            </a:extLst>
          </p:cNvPr>
          <p:cNvSpPr/>
          <p:nvPr/>
        </p:nvSpPr>
        <p:spPr bwMode="gray">
          <a:xfrm>
            <a:off x="5138823" y="2124273"/>
            <a:ext cx="2368019" cy="5464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800">
              <a:solidFill>
                <a:schemeClr val="tx1"/>
              </a:solidFill>
            </a:endParaRPr>
          </a:p>
        </p:txBody>
      </p:sp>
      <p:sp>
        <p:nvSpPr>
          <p:cNvPr id="214" name="Rectangle 213">
            <a:extLst>
              <a:ext uri="{FF2B5EF4-FFF2-40B4-BE49-F238E27FC236}">
                <a16:creationId xmlns:a16="http://schemas.microsoft.com/office/drawing/2014/main" id="{63DC7571-62AD-2D94-A752-244F555CA607}"/>
              </a:ext>
            </a:extLst>
          </p:cNvPr>
          <p:cNvSpPr/>
          <p:nvPr/>
        </p:nvSpPr>
        <p:spPr bwMode="gray">
          <a:xfrm>
            <a:off x="6357156" y="2357994"/>
            <a:ext cx="3638868" cy="718031"/>
          </a:xfrm>
          <a:prstGeom prst="rect">
            <a:avLst/>
          </a:prstGeom>
          <a:solidFill>
            <a:schemeClr val="accent1">
              <a:lumMod val="20000"/>
              <a:lumOff val="8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00" b="1">
                <a:solidFill>
                  <a:srgbClr val="000000"/>
                </a:solidFill>
              </a:rPr>
              <a:t>Horizon (U.K.) </a:t>
            </a:r>
          </a:p>
          <a:p>
            <a:pPr marL="171450" indent="-171450">
              <a:buFont typeface="Arial" panose="020B0604020202020204" pitchFamily="34" charset="0"/>
              <a:buChar char="•"/>
            </a:pPr>
            <a:r>
              <a:rPr lang="en-US" sz="1000">
                <a:solidFill>
                  <a:srgbClr val="000000"/>
                </a:solidFill>
              </a:rPr>
              <a:t>Horizon and U.K. regulators codeveloped “papers of principle” to align on safety case revisions; there was a </a:t>
            </a:r>
            <a:r>
              <a:rPr lang="en-US" sz="1000" b="1">
                <a:solidFill>
                  <a:srgbClr val="000000"/>
                </a:solidFill>
              </a:rPr>
              <a:t>&gt;20% overnight cost reduction </a:t>
            </a:r>
            <a:r>
              <a:rPr lang="en-US" sz="1000">
                <a:solidFill>
                  <a:srgbClr val="000000"/>
                </a:solidFill>
              </a:rPr>
              <a:t>for twin-unit ABWR.</a:t>
            </a:r>
            <a:endParaRPr lang="en-US" sz="1000" b="1">
              <a:solidFill>
                <a:schemeClr val="tx1"/>
              </a:solidFill>
            </a:endParaRPr>
          </a:p>
        </p:txBody>
      </p:sp>
      <p:sp>
        <p:nvSpPr>
          <p:cNvPr id="14" name="Rectangle 13">
            <a:extLst>
              <a:ext uri="{FF2B5EF4-FFF2-40B4-BE49-F238E27FC236}">
                <a16:creationId xmlns:a16="http://schemas.microsoft.com/office/drawing/2014/main" id="{14281058-37E5-66A1-5AAF-86EEDE36214A}"/>
              </a:ext>
            </a:extLst>
          </p:cNvPr>
          <p:cNvSpPr/>
          <p:nvPr/>
        </p:nvSpPr>
        <p:spPr bwMode="gray">
          <a:xfrm>
            <a:off x="864849" y="1505740"/>
            <a:ext cx="5468716" cy="3412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400" b="1">
                <a:solidFill>
                  <a:schemeClr val="tx1"/>
                </a:solidFill>
              </a:rPr>
              <a:t>Enablers and strategies for reducing project complexity</a:t>
            </a:r>
          </a:p>
        </p:txBody>
      </p:sp>
      <p:sp>
        <p:nvSpPr>
          <p:cNvPr id="20" name="Rectangle 19">
            <a:extLst>
              <a:ext uri="{FF2B5EF4-FFF2-40B4-BE49-F238E27FC236}">
                <a16:creationId xmlns:a16="http://schemas.microsoft.com/office/drawing/2014/main" id="{C39204E1-6909-A0F6-4C36-BF5192374B09}"/>
              </a:ext>
            </a:extLst>
          </p:cNvPr>
          <p:cNvSpPr/>
          <p:nvPr/>
        </p:nvSpPr>
        <p:spPr bwMode="gray">
          <a:xfrm>
            <a:off x="6346139" y="1538743"/>
            <a:ext cx="3271467" cy="3097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400" b="1">
                <a:solidFill>
                  <a:schemeClr val="tx1"/>
                </a:solidFill>
              </a:rPr>
              <a:t>Case studies</a:t>
            </a:r>
          </a:p>
        </p:txBody>
      </p:sp>
      <p:sp>
        <p:nvSpPr>
          <p:cNvPr id="49" name="btfpNotesBox111697">
            <a:extLst>
              <a:ext uri="{FF2B5EF4-FFF2-40B4-BE49-F238E27FC236}">
                <a16:creationId xmlns:a16="http://schemas.microsoft.com/office/drawing/2014/main" id="{E3E61339-8FCB-BABE-36EB-40F8378F5829}"/>
              </a:ext>
            </a:extLst>
          </p:cNvPr>
          <p:cNvSpPr txBox="1"/>
          <p:nvPr/>
        </p:nvSpPr>
        <p:spPr bwMode="gray">
          <a:xfrm>
            <a:off x="330200" y="6186256"/>
            <a:ext cx="9202738" cy="615553"/>
          </a:xfrm>
          <a:prstGeom prst="rect">
            <a:avLst/>
          </a:prstGeom>
          <a:noFill/>
        </p:spPr>
        <p:txBody>
          <a:bodyPr vert="horz" wrap="square" lIns="0" tIns="0" rIns="0" bIns="0"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lvl="0" indent="0">
              <a:buNone/>
              <a:defRPr/>
            </a:pPr>
            <a:r>
              <a:rPr lang="en-US" sz="800" dirty="0">
                <a:solidFill>
                  <a:srgbClr val="000000"/>
                </a:solidFill>
                <a:latin typeface="Arial" panose="020B0604020202020204" pitchFamily="34" charset="0"/>
                <a:cs typeface="Arial" panose="020B0604020202020204" pitchFamily="34" charset="0"/>
              </a:rPr>
              <a:t>Definitions: ABWR: advanced boiling water reactor; MBSE: model-based systems engineering; NPP: nuclear power plant; PLM: product lifecycle management.</a:t>
            </a:r>
            <a:br>
              <a:rPr lang="en-US" sz="800" dirty="0">
                <a:solidFill>
                  <a:srgbClr val="000000"/>
                </a:solidFill>
                <a:latin typeface="Arial" panose="020B0604020202020204" pitchFamily="34" charset="0"/>
                <a:cs typeface="Arial" panose="020B0604020202020204" pitchFamily="34" charset="0"/>
              </a:rPr>
            </a:b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s: OECD, NEA,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hlinkClick r:id="rId6"/>
              </a:rPr>
              <a:t>Unlocking Reductions in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hlinkClick r:id="rId6"/>
              </a:rPr>
              <a:t>th</a:t>
            </a:r>
            <a:r>
              <a:rPr lang="en-US" sz="800" dirty="0">
                <a:solidFill>
                  <a:srgbClr val="000000"/>
                </a:solidFill>
                <a:latin typeface="Arial" panose="020B0604020202020204" pitchFamily="34" charset="0"/>
                <a:cs typeface="Arial" panose="020B0604020202020204" pitchFamily="34" charset="0"/>
                <a:hlinkClick r:id="rId6"/>
              </a:rPr>
              <a:t>e Construction Costs of Nuclear</a:t>
            </a:r>
            <a:r>
              <a:rPr lang="en-US" sz="800" dirty="0">
                <a:solidFill>
                  <a:srgbClr val="000000"/>
                </a:solidFill>
                <a:latin typeface="Arial" panose="020B0604020202020204" pitchFamily="34" charset="0"/>
                <a:cs typeface="Arial" panose="020B0604020202020204" pitchFamily="34" charset="0"/>
              </a:rPr>
              <a:t> (2020); Galois, </a:t>
            </a:r>
            <a:r>
              <a:rPr lang="en-US" sz="800" dirty="0">
                <a:solidFill>
                  <a:srgbClr val="000000"/>
                </a:solidFill>
                <a:latin typeface="Arial" panose="020B0604020202020204" pitchFamily="34" charset="0"/>
                <a:cs typeface="Arial" panose="020B0604020202020204" pitchFamily="34" charset="0"/>
                <a:hlinkClick r:id="rId7"/>
              </a:rPr>
              <a:t>Demonstrating Rigorous Digital Engineering for Nuclear Power Plant Systems</a:t>
            </a:r>
            <a:r>
              <a:rPr lang="en-US" sz="800" dirty="0">
                <a:solidFill>
                  <a:srgbClr val="000000"/>
                </a:solidFill>
                <a:latin typeface="Arial" panose="020B0604020202020204" pitchFamily="34" charset="0"/>
                <a:cs typeface="Arial" panose="020B0604020202020204" pitchFamily="34" charset="0"/>
              </a:rPr>
              <a:t> (2024); Galois, </a:t>
            </a:r>
            <a:r>
              <a:rPr lang="en-US" sz="800" dirty="0">
                <a:solidFill>
                  <a:srgbClr val="000000"/>
                </a:solidFill>
                <a:latin typeface="Arial" panose="020B0604020202020204" pitchFamily="34" charset="0"/>
                <a:cs typeface="Arial" panose="020B0604020202020204" pitchFamily="34" charset="0"/>
                <a:hlinkClick r:id="rId8"/>
              </a:rPr>
              <a:t>How Do You Modernize Safety Critical Designs in Nuclear</a:t>
            </a:r>
            <a:r>
              <a:rPr lang="en-US" sz="800" dirty="0">
                <a:solidFill>
                  <a:srgbClr val="000000"/>
                </a:solidFill>
                <a:latin typeface="Arial" panose="020B0604020202020204" pitchFamily="34" charset="0"/>
                <a:cs typeface="Arial" panose="020B0604020202020204" pitchFamily="34" charset="0"/>
              </a:rPr>
              <a:t> (2024); The Nuclear Institute, </a:t>
            </a:r>
            <a:r>
              <a:rPr lang="en-US" sz="800" dirty="0">
                <a:solidFill>
                  <a:srgbClr val="000000"/>
                </a:solidFill>
                <a:latin typeface="Arial" panose="020B0604020202020204" pitchFamily="34" charset="0"/>
                <a:cs typeface="Arial" panose="020B0604020202020204" pitchFamily="34" charset="0"/>
                <a:hlinkClick r:id="rId9"/>
              </a:rPr>
              <a:t>Why Nuclear Projects Suffer from Poor Predictability</a:t>
            </a:r>
            <a:r>
              <a:rPr lang="en-US" sz="800" dirty="0">
                <a:solidFill>
                  <a:srgbClr val="000000"/>
                </a:solidFill>
                <a:latin typeface="Arial" panose="020B0604020202020204" pitchFamily="34" charset="0"/>
                <a:cs typeface="Arial" panose="020B0604020202020204" pitchFamily="34" charset="0"/>
              </a:rPr>
              <a:t> (2019); Locatelli, </a:t>
            </a:r>
            <a:r>
              <a:rPr lang="en-US" sz="800" dirty="0">
                <a:solidFill>
                  <a:srgbClr val="000000"/>
                </a:solidFill>
                <a:latin typeface="Arial" panose="020B0604020202020204" pitchFamily="34" charset="0"/>
                <a:cs typeface="Arial" panose="020B0604020202020204" pitchFamily="34" charset="0"/>
                <a:hlinkClick r:id="rId10"/>
              </a:rPr>
              <a:t>Why Are Megaprojects Delivered Over Budget and Late? </a:t>
            </a:r>
            <a:r>
              <a:rPr lang="en-US" sz="800" dirty="0">
                <a:solidFill>
                  <a:srgbClr val="000000"/>
                </a:solidFill>
                <a:latin typeface="Arial" panose="020B0604020202020204" pitchFamily="34" charset="0"/>
                <a:cs typeface="Arial" panose="020B0604020202020204" pitchFamily="34" charset="0"/>
              </a:rPr>
              <a:t>(2018); ETI, </a:t>
            </a:r>
            <a:r>
              <a:rPr lang="en-US" sz="800" dirty="0">
                <a:solidFill>
                  <a:srgbClr val="000000"/>
                </a:solidFill>
                <a:latin typeface="Arial" panose="020B0604020202020204" pitchFamily="34" charset="0"/>
                <a:cs typeface="Arial" panose="020B0604020202020204" pitchFamily="34" charset="0"/>
                <a:hlinkClick r:id="rId11"/>
              </a:rPr>
              <a:t>Nuclear Cost Drivers Report </a:t>
            </a:r>
            <a:r>
              <a:rPr lang="en-US" sz="800" dirty="0">
                <a:solidFill>
                  <a:srgbClr val="000000"/>
                </a:solidFill>
                <a:latin typeface="Arial" panose="020B0604020202020204" pitchFamily="34" charset="0"/>
                <a:cs typeface="Arial" panose="020B0604020202020204" pitchFamily="34" charset="0"/>
              </a:rPr>
              <a:t>(2018); Lyons, </a:t>
            </a:r>
            <a:r>
              <a:rPr lang="en-US" sz="800" dirty="0">
                <a:solidFill>
                  <a:srgbClr val="000000"/>
                </a:solidFill>
                <a:latin typeface="Arial" panose="020B0604020202020204" pitchFamily="34" charset="0"/>
                <a:cs typeface="Arial" panose="020B0604020202020204" pitchFamily="34" charset="0"/>
                <a:hlinkClick r:id="rId12"/>
              </a:rPr>
              <a:t>Production Learning in an SMR Supply Chain</a:t>
            </a:r>
            <a:r>
              <a:rPr lang="en-US" sz="800" dirty="0">
                <a:solidFill>
                  <a:srgbClr val="000000"/>
                </a:solidFill>
                <a:latin typeface="Arial" panose="020B0604020202020204" pitchFamily="34" charset="0"/>
                <a:cs typeface="Arial" panose="020B0604020202020204" pitchFamily="34" charset="0"/>
              </a:rPr>
              <a:t> (2019); ENEC, </a:t>
            </a:r>
            <a:r>
              <a:rPr lang="en-US" sz="800" dirty="0">
                <a:solidFill>
                  <a:srgbClr val="000000"/>
                </a:solidFill>
                <a:latin typeface="Arial" panose="020B0604020202020204" pitchFamily="34" charset="0"/>
                <a:cs typeface="Arial" panose="020B0604020202020204" pitchFamily="34" charset="0"/>
                <a:hlinkClick r:id="rId13"/>
              </a:rPr>
              <a:t>Unit 4 start-up at </a:t>
            </a:r>
            <a:r>
              <a:rPr lang="en-US" sz="800" dirty="0" err="1">
                <a:solidFill>
                  <a:srgbClr val="000000"/>
                </a:solidFill>
                <a:latin typeface="Arial" panose="020B0604020202020204" pitchFamily="34" charset="0"/>
                <a:cs typeface="Arial" panose="020B0604020202020204" pitchFamily="34" charset="0"/>
                <a:hlinkClick r:id="rId13"/>
              </a:rPr>
              <a:t>Barakah</a:t>
            </a:r>
            <a:r>
              <a:rPr lang="en-US" sz="800" dirty="0">
                <a:solidFill>
                  <a:srgbClr val="000000"/>
                </a:solidFill>
                <a:latin typeface="Arial" panose="020B0604020202020204" pitchFamily="34" charset="0"/>
                <a:cs typeface="Arial" panose="020B0604020202020204" pitchFamily="34" charset="0"/>
                <a:hlinkClick r:id="rId13"/>
              </a:rPr>
              <a:t> Plant accelerates UAE towards net zero </a:t>
            </a:r>
            <a:r>
              <a:rPr lang="en-US" sz="800" dirty="0">
                <a:solidFill>
                  <a:srgbClr val="000000"/>
                </a:solidFill>
                <a:latin typeface="Arial" panose="020B0604020202020204" pitchFamily="34" charset="0"/>
                <a:cs typeface="Arial" panose="020B0604020202020204" pitchFamily="34" charset="0"/>
              </a:rPr>
              <a:t>(2024).</a:t>
            </a:r>
            <a:br>
              <a:rPr kumimoji="0" lang="en-ID"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Khande</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Jae Fisher, </a:t>
            </a:r>
            <a:r>
              <a:rPr lang="en-US" sz="800" dirty="0">
                <a:solidFill>
                  <a:srgbClr val="000000"/>
                </a:solidFill>
              </a:rPr>
              <a:t>Isabel </a:t>
            </a:r>
            <a:r>
              <a:rPr lang="en-US" sz="800" dirty="0" err="1">
                <a:solidFill>
                  <a:srgbClr val="000000"/>
                </a:solidFill>
              </a:rPr>
              <a:t>Hoyos</a:t>
            </a:r>
            <a:r>
              <a:rPr lang="en-US" sz="800" dirty="0">
                <a:solidFill>
                  <a:srgbClr val="000000"/>
                </a:solidFill>
              </a:rPr>
              <a:t>, </a:t>
            </a:r>
            <a:r>
              <a:rPr lang="en-US" sz="800" dirty="0" err="1">
                <a:solidFill>
                  <a:srgbClr val="000000"/>
                </a:solidFill>
              </a:rPr>
              <a:t>Hyae</a:t>
            </a:r>
            <a:r>
              <a:rPr lang="en-US" sz="800" dirty="0">
                <a:solidFill>
                  <a:srgbClr val="000000"/>
                </a:solidFill>
              </a:rPr>
              <a:t> </a:t>
            </a:r>
            <a:r>
              <a:rPr lang="en-US" sz="800" dirty="0" err="1">
                <a:solidFill>
                  <a:srgbClr val="000000"/>
                </a:solidFill>
              </a:rPr>
              <a:t>Ryung</a:t>
            </a:r>
            <a:r>
              <a:rPr lang="en-US" sz="800" dirty="0">
                <a:solidFill>
                  <a:srgbClr val="000000"/>
                </a:solidFill>
              </a:rPr>
              <a:t> Kim, and </a:t>
            </a:r>
            <a:r>
              <a:rPr lang="en-US" sz="800" dirty="0">
                <a:hlinkClick r:id="rId14"/>
              </a:rPr>
              <a:t>Gernot Wagner.</a:t>
            </a:r>
            <a:r>
              <a:rPr lang="en-US" sz="800" dirty="0">
                <a:solidFill>
                  <a:srgbClr val="000000"/>
                </a:solidFill>
              </a:rPr>
              <a:t>  Share with </a:t>
            </a:r>
            <a:r>
              <a:rPr lang="en-US" sz="800" dirty="0">
                <a:solidFill>
                  <a:srgbClr val="000000"/>
                </a:solidFill>
                <a:hlinkClick r:id="rId15"/>
              </a:rPr>
              <a:t>attribution</a:t>
            </a:r>
            <a:r>
              <a:rPr lang="en-US" sz="800" dirty="0">
                <a:solidFill>
                  <a:srgbClr val="000000"/>
                </a:solidFill>
              </a:rPr>
              <a:t>: </a:t>
            </a:r>
            <a:r>
              <a:rPr lang="en-US" sz="800" dirty="0" err="1">
                <a:solidFill>
                  <a:srgbClr val="000000"/>
                </a:solidFill>
              </a:rPr>
              <a:t>Houwink</a:t>
            </a:r>
            <a:r>
              <a:rPr lang="en-US" sz="800" dirty="0">
                <a:solidFill>
                  <a:srgbClr val="000000"/>
                </a:solidFill>
              </a:rPr>
              <a:t> et al., "Reenergizing Nuclear" (23 September 2025).</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 name="Rectangle 7">
            <a:extLst>
              <a:ext uri="{FF2B5EF4-FFF2-40B4-BE49-F238E27FC236}">
                <a16:creationId xmlns:a16="http://schemas.microsoft.com/office/drawing/2014/main" id="{1C8D976A-FC1A-5941-2F57-23BAD7F69B09}"/>
              </a:ext>
            </a:extLst>
          </p:cNvPr>
          <p:cNvSpPr/>
          <p:nvPr/>
        </p:nvSpPr>
        <p:spPr bwMode="gray">
          <a:xfrm>
            <a:off x="6357156" y="4724687"/>
            <a:ext cx="3638867" cy="864019"/>
          </a:xfrm>
          <a:prstGeom prst="rect">
            <a:avLst/>
          </a:prstGeom>
          <a:solidFill>
            <a:schemeClr val="accent1">
              <a:lumMod val="75000"/>
            </a:schemeClr>
          </a:solid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00" b="1">
                <a:solidFill>
                  <a:schemeClr val="bg1"/>
                </a:solidFill>
              </a:rPr>
              <a:t>Galois (U.S.)</a:t>
            </a:r>
          </a:p>
          <a:p>
            <a:pPr marL="171450" indent="-171450">
              <a:buFont typeface="Arial" panose="020B0604020202020204" pitchFamily="34" charset="0"/>
              <a:buChar char="•"/>
            </a:pPr>
            <a:r>
              <a:rPr lang="en-US" sz="1000">
                <a:solidFill>
                  <a:schemeClr val="bg1"/>
                </a:solidFill>
              </a:rPr>
              <a:t>Leveraged </a:t>
            </a:r>
            <a:r>
              <a:rPr lang="en-US" sz="1000" b="1">
                <a:solidFill>
                  <a:schemeClr val="bg1"/>
                </a:solidFill>
              </a:rPr>
              <a:t>MBSE </a:t>
            </a:r>
            <a:r>
              <a:rPr lang="en-US" sz="1000">
                <a:solidFill>
                  <a:schemeClr val="bg1"/>
                </a:solidFill>
              </a:rPr>
              <a:t>to develop a digital instrumentation and control system with </a:t>
            </a:r>
            <a:r>
              <a:rPr lang="en-US" sz="1000" b="1">
                <a:solidFill>
                  <a:schemeClr val="bg1"/>
                </a:solidFill>
              </a:rPr>
              <a:t>enhanced traceability and optimized timelines </a:t>
            </a:r>
            <a:r>
              <a:rPr lang="en-US" sz="1000">
                <a:solidFill>
                  <a:schemeClr val="bg1"/>
                </a:solidFill>
              </a:rPr>
              <a:t>in under nine months; developed at a fraction of the cost of traditional control systems.</a:t>
            </a:r>
          </a:p>
        </p:txBody>
      </p:sp>
      <p:sp>
        <p:nvSpPr>
          <p:cNvPr id="22" name="Rectangle 21">
            <a:extLst>
              <a:ext uri="{FF2B5EF4-FFF2-40B4-BE49-F238E27FC236}">
                <a16:creationId xmlns:a16="http://schemas.microsoft.com/office/drawing/2014/main" id="{4CD08F7C-2BC9-3F76-1352-ADC417FF0BE6}"/>
              </a:ext>
            </a:extLst>
          </p:cNvPr>
          <p:cNvSpPr/>
          <p:nvPr/>
        </p:nvSpPr>
        <p:spPr bwMode="gray">
          <a:xfrm>
            <a:off x="6357156" y="3315381"/>
            <a:ext cx="3638867" cy="1169954"/>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000" b="1">
                <a:solidFill>
                  <a:schemeClr val="bg1"/>
                </a:solidFill>
              </a:rPr>
              <a:t>KEPCO APR1400 (Korea)</a:t>
            </a:r>
          </a:p>
          <a:p>
            <a:pPr marL="171450" indent="-171450">
              <a:buFont typeface="Arial" panose="020B0604020202020204" pitchFamily="34" charset="0"/>
              <a:buChar char="•"/>
            </a:pPr>
            <a:r>
              <a:rPr lang="en-US" sz="1000" b="1">
                <a:solidFill>
                  <a:schemeClr val="bg1"/>
                </a:solidFill>
              </a:rPr>
              <a:t>Streamlined delivery time and efficiency</a:t>
            </a:r>
            <a:r>
              <a:rPr lang="en-US" sz="1000">
                <a:solidFill>
                  <a:schemeClr val="bg1"/>
                </a:solidFill>
              </a:rPr>
              <a:t> through an </a:t>
            </a:r>
            <a:r>
              <a:rPr lang="en-US" sz="1000" b="1">
                <a:solidFill>
                  <a:schemeClr val="bg1"/>
                </a:solidFill>
              </a:rPr>
              <a:t>integrated delivery chain; received standard design approval </a:t>
            </a:r>
            <a:r>
              <a:rPr lang="en-US" sz="1000">
                <a:solidFill>
                  <a:schemeClr val="bg1"/>
                </a:solidFill>
              </a:rPr>
              <a:t>from U.S. NRC in 2019.</a:t>
            </a:r>
          </a:p>
          <a:p>
            <a:pPr marL="171450" indent="-171450">
              <a:buFont typeface="Arial" panose="020B0604020202020204" pitchFamily="34" charset="0"/>
              <a:buChar char="•"/>
            </a:pPr>
            <a:r>
              <a:rPr lang="en-US" sz="1000">
                <a:solidFill>
                  <a:schemeClr val="bg1"/>
                </a:solidFill>
              </a:rPr>
              <a:t>Barakah plant completed construction for the first unit </a:t>
            </a:r>
            <a:r>
              <a:rPr lang="en-US" sz="1000" b="1">
                <a:solidFill>
                  <a:schemeClr val="bg1"/>
                </a:solidFill>
              </a:rPr>
              <a:t>in five years; </a:t>
            </a:r>
            <a:r>
              <a:rPr lang="en-US" sz="1000">
                <a:solidFill>
                  <a:schemeClr val="bg1"/>
                </a:solidFill>
              </a:rPr>
              <a:t>Unit 3 was delivered four and five months faster than Unit 2 and 1, respectively.</a:t>
            </a:r>
          </a:p>
        </p:txBody>
      </p:sp>
      <p:pic>
        <p:nvPicPr>
          <p:cNvPr id="1026" name="Picture 2" descr="Horizon Nuclear Power - Wikipedia">
            <a:extLst>
              <a:ext uri="{FF2B5EF4-FFF2-40B4-BE49-F238E27FC236}">
                <a16:creationId xmlns:a16="http://schemas.microsoft.com/office/drawing/2014/main" id="{9B72A680-8BE8-A495-6788-8148AB3F03B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209248" y="2409564"/>
            <a:ext cx="1280160" cy="51898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B44388C-D702-9028-B366-F9E784D3F148}"/>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209249" y="3741678"/>
            <a:ext cx="1371600" cy="26896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the galois team">
            <a:extLst>
              <a:ext uri="{FF2B5EF4-FFF2-40B4-BE49-F238E27FC236}">
                <a16:creationId xmlns:a16="http://schemas.microsoft.com/office/drawing/2014/main" id="{B25B13ED-0CD6-E6E2-97CC-C21BAE9D7D54}"/>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22917" t="41486" r="22051" b="40748"/>
          <a:stretch>
            <a:fillRect/>
          </a:stretch>
        </p:blipFill>
        <p:spPr bwMode="auto">
          <a:xfrm>
            <a:off x="10209249" y="4926261"/>
            <a:ext cx="1382630" cy="446368"/>
          </a:xfrm>
          <a:prstGeom prst="rect">
            <a:avLst/>
          </a:prstGeom>
          <a:noFill/>
          <a:extLst>
            <a:ext uri="{909E8E84-426E-40DD-AFC4-6F175D3DCCD1}">
              <a14:hiddenFill xmlns:a14="http://schemas.microsoft.com/office/drawing/2010/main">
                <a:solidFill>
                  <a:srgbClr val="FFFFFF"/>
                </a:solidFill>
              </a14:hiddenFill>
            </a:ext>
          </a:extLst>
        </p:spPr>
      </p:pic>
      <p:cxnSp>
        <p:nvCxnSpPr>
          <p:cNvPr id="38" name="Straight Connector 37">
            <a:extLst>
              <a:ext uri="{FF2B5EF4-FFF2-40B4-BE49-F238E27FC236}">
                <a16:creationId xmlns:a16="http://schemas.microsoft.com/office/drawing/2014/main" id="{8A41F48D-BCA1-6B05-D312-71727B1D89EF}"/>
              </a:ext>
            </a:extLst>
          </p:cNvPr>
          <p:cNvCxnSpPr>
            <a:cxnSpLocks/>
          </p:cNvCxnSpPr>
          <p:nvPr/>
        </p:nvCxnSpPr>
        <p:spPr bwMode="gray">
          <a:xfrm>
            <a:off x="863004" y="1821208"/>
            <a:ext cx="457200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456F97B-B73F-29F4-0C5F-5609050675B5}"/>
              </a:ext>
            </a:extLst>
          </p:cNvPr>
          <p:cNvCxnSpPr>
            <a:cxnSpLocks/>
          </p:cNvCxnSpPr>
          <p:nvPr/>
        </p:nvCxnSpPr>
        <p:spPr bwMode="gray">
          <a:xfrm>
            <a:off x="6378617" y="1821208"/>
            <a:ext cx="356616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C887733F-969A-9631-23FB-888CC1254B1D}"/>
              </a:ext>
            </a:extLst>
          </p:cNvPr>
          <p:cNvGrpSpPr/>
          <p:nvPr/>
        </p:nvGrpSpPr>
        <p:grpSpPr>
          <a:xfrm>
            <a:off x="1289652" y="2059268"/>
            <a:ext cx="4402005" cy="987022"/>
            <a:chOff x="2007759" y="1940504"/>
            <a:chExt cx="4840081" cy="987022"/>
          </a:xfrm>
        </p:grpSpPr>
        <p:sp>
          <p:nvSpPr>
            <p:cNvPr id="6" name="Rectangle 5">
              <a:extLst>
                <a:ext uri="{FF2B5EF4-FFF2-40B4-BE49-F238E27FC236}">
                  <a16:creationId xmlns:a16="http://schemas.microsoft.com/office/drawing/2014/main" id="{04F43184-9444-4637-BF67-A14661C61D80}"/>
                </a:ext>
              </a:extLst>
            </p:cNvPr>
            <p:cNvSpPr/>
            <p:nvPr/>
          </p:nvSpPr>
          <p:spPr bwMode="gray">
            <a:xfrm>
              <a:off x="2012864" y="2250247"/>
              <a:ext cx="4834976" cy="677279"/>
            </a:xfrm>
            <a:prstGeom prst="rect">
              <a:avLst/>
            </a:prstGeom>
            <a:no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000" b="1">
                  <a:solidFill>
                    <a:schemeClr val="tx1"/>
                  </a:solidFill>
                </a:rPr>
                <a:t>Early and robust engagement with regulators</a:t>
              </a:r>
              <a:endParaRPr lang="en-US" sz="1000">
                <a:solidFill>
                  <a:schemeClr val="tx1"/>
                </a:solidFill>
              </a:endParaRPr>
            </a:p>
            <a:p>
              <a:pPr marL="171450" indent="-171450">
                <a:buFont typeface="Arial" panose="020B0604020202020204" pitchFamily="34" charset="0"/>
                <a:buChar char="•"/>
              </a:pPr>
              <a:r>
                <a:rPr lang="en-US" sz="1000">
                  <a:solidFill>
                    <a:schemeClr val="tx1"/>
                  </a:solidFill>
                </a:rPr>
                <a:t>Preapproval of standardized designs</a:t>
              </a:r>
            </a:p>
            <a:p>
              <a:pPr marL="171450" indent="-171450">
                <a:buFont typeface="Arial" panose="020B0604020202020204" pitchFamily="34" charset="0"/>
                <a:buChar char="•"/>
              </a:pPr>
              <a:r>
                <a:rPr lang="en-US" sz="1000">
                  <a:solidFill>
                    <a:schemeClr val="tx1"/>
                  </a:solidFill>
                </a:rPr>
                <a:t>Workforce development</a:t>
              </a:r>
            </a:p>
            <a:p>
              <a:pPr marL="171450" indent="-171450">
                <a:buFont typeface="Arial" panose="020B0604020202020204" pitchFamily="34" charset="0"/>
                <a:buChar char="•"/>
              </a:pPr>
              <a:r>
                <a:rPr lang="en-US" sz="1000">
                  <a:solidFill>
                    <a:schemeClr val="tx1"/>
                  </a:solidFill>
                </a:rPr>
                <a:t>Public funding for NPPs</a:t>
              </a:r>
            </a:p>
          </p:txBody>
        </p:sp>
        <p:sp>
          <p:nvSpPr>
            <p:cNvPr id="3" name="Pentagon 2">
              <a:extLst>
                <a:ext uri="{FF2B5EF4-FFF2-40B4-BE49-F238E27FC236}">
                  <a16:creationId xmlns:a16="http://schemas.microsoft.com/office/drawing/2014/main" id="{187CF159-9201-0C80-5E96-4B987BCBF8E1}"/>
                </a:ext>
              </a:extLst>
            </p:cNvPr>
            <p:cNvSpPr/>
            <p:nvPr/>
          </p:nvSpPr>
          <p:spPr bwMode="gray">
            <a:xfrm>
              <a:off x="2007759" y="1940504"/>
              <a:ext cx="3247438" cy="309743"/>
            </a:xfrm>
            <a:prstGeom prst="homePlat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a:solidFill>
                    <a:schemeClr val="tx1"/>
                  </a:solidFill>
                </a:rPr>
                <a:t>Regulatory collaboration</a:t>
              </a:r>
            </a:p>
          </p:txBody>
        </p:sp>
      </p:grpSp>
      <p:grpSp>
        <p:nvGrpSpPr>
          <p:cNvPr id="25" name="Group 24">
            <a:extLst>
              <a:ext uri="{FF2B5EF4-FFF2-40B4-BE49-F238E27FC236}">
                <a16:creationId xmlns:a16="http://schemas.microsoft.com/office/drawing/2014/main" id="{A1AC35BB-CAA4-D7B5-0649-3F1120585627}"/>
              </a:ext>
            </a:extLst>
          </p:cNvPr>
          <p:cNvGrpSpPr/>
          <p:nvPr/>
        </p:nvGrpSpPr>
        <p:grpSpPr>
          <a:xfrm>
            <a:off x="1289653" y="3239664"/>
            <a:ext cx="4402004" cy="984333"/>
            <a:chOff x="2007760" y="3024887"/>
            <a:chExt cx="4840080" cy="984333"/>
          </a:xfrm>
        </p:grpSpPr>
        <p:sp>
          <p:nvSpPr>
            <p:cNvPr id="2" name="Rectangle 1">
              <a:extLst>
                <a:ext uri="{FF2B5EF4-FFF2-40B4-BE49-F238E27FC236}">
                  <a16:creationId xmlns:a16="http://schemas.microsoft.com/office/drawing/2014/main" id="{36E82EF3-18F5-AC41-EBDC-05DCCC617A38}"/>
                </a:ext>
              </a:extLst>
            </p:cNvPr>
            <p:cNvSpPr/>
            <p:nvPr/>
          </p:nvSpPr>
          <p:spPr bwMode="gray">
            <a:xfrm>
              <a:off x="2012864" y="3331941"/>
              <a:ext cx="4834976" cy="67727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000">
                  <a:solidFill>
                    <a:schemeClr val="tx1"/>
                  </a:solidFill>
                </a:rPr>
                <a:t>90%+ completed designs </a:t>
              </a:r>
            </a:p>
            <a:p>
              <a:pPr marL="171450" indent="-171450">
                <a:buFont typeface="Arial" panose="020B0604020202020204" pitchFamily="34" charset="0"/>
                <a:buChar char="•"/>
              </a:pPr>
              <a:r>
                <a:rPr lang="en-US" sz="1000" b="1">
                  <a:solidFill>
                    <a:schemeClr val="tx1"/>
                  </a:solidFill>
                </a:rPr>
                <a:t>Design standardization</a:t>
              </a:r>
              <a:endParaRPr lang="en-US" sz="1000">
                <a:solidFill>
                  <a:schemeClr val="tx1"/>
                </a:solidFill>
              </a:endParaRPr>
            </a:p>
            <a:p>
              <a:pPr marL="171450" indent="-171450">
                <a:buFont typeface="Arial" panose="020B0604020202020204" pitchFamily="34" charset="0"/>
                <a:buChar char="•"/>
              </a:pPr>
              <a:r>
                <a:rPr lang="en-US" sz="1000" b="1">
                  <a:solidFill>
                    <a:schemeClr val="tx1"/>
                  </a:solidFill>
                </a:rPr>
                <a:t>Clear, </a:t>
              </a:r>
              <a:r>
                <a:rPr lang="en-US" sz="1000">
                  <a:solidFill>
                    <a:schemeClr val="tx1"/>
                  </a:solidFill>
                </a:rPr>
                <a:t>incentive-based </a:t>
              </a:r>
              <a:r>
                <a:rPr lang="en-US" sz="1000" b="1">
                  <a:solidFill>
                    <a:schemeClr val="tx1"/>
                  </a:solidFill>
                </a:rPr>
                <a:t>governance and contracting structures</a:t>
              </a:r>
              <a:endParaRPr lang="en-US" sz="1000">
                <a:solidFill>
                  <a:schemeClr val="tx1"/>
                </a:solidFill>
              </a:endParaRPr>
            </a:p>
            <a:p>
              <a:pPr marL="171450" indent="-171450">
                <a:buFont typeface="Arial" panose="020B0604020202020204" pitchFamily="34" charset="0"/>
                <a:buChar char="•"/>
              </a:pPr>
              <a:r>
                <a:rPr lang="en-US" sz="1000" b="1">
                  <a:solidFill>
                    <a:schemeClr val="tx1"/>
                  </a:solidFill>
                </a:rPr>
                <a:t>Repeatable and experienced delivery chain</a:t>
              </a:r>
              <a:endParaRPr lang="en-US" sz="1000">
                <a:solidFill>
                  <a:schemeClr val="tx1"/>
                </a:solidFill>
              </a:endParaRPr>
            </a:p>
          </p:txBody>
        </p:sp>
        <p:sp>
          <p:nvSpPr>
            <p:cNvPr id="19" name="Pentagon 18">
              <a:extLst>
                <a:ext uri="{FF2B5EF4-FFF2-40B4-BE49-F238E27FC236}">
                  <a16:creationId xmlns:a16="http://schemas.microsoft.com/office/drawing/2014/main" id="{DFFAFD64-C026-69E7-285F-AF2561D89194}"/>
                </a:ext>
              </a:extLst>
            </p:cNvPr>
            <p:cNvSpPr/>
            <p:nvPr/>
          </p:nvSpPr>
          <p:spPr bwMode="gray">
            <a:xfrm>
              <a:off x="2007760" y="3024887"/>
              <a:ext cx="3248718" cy="309743"/>
            </a:xfrm>
            <a:prstGeom prst="homePlat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a:solidFill>
                    <a:schemeClr val="bg1"/>
                  </a:solidFill>
                </a:rPr>
                <a:t>Streamlined project design &amp; delivery</a:t>
              </a:r>
            </a:p>
          </p:txBody>
        </p:sp>
      </p:grpSp>
      <p:grpSp>
        <p:nvGrpSpPr>
          <p:cNvPr id="36" name="Group 35">
            <a:extLst>
              <a:ext uri="{FF2B5EF4-FFF2-40B4-BE49-F238E27FC236}">
                <a16:creationId xmlns:a16="http://schemas.microsoft.com/office/drawing/2014/main" id="{42B9E094-BA7E-7B2D-4438-0F85DD2CA621}"/>
              </a:ext>
            </a:extLst>
          </p:cNvPr>
          <p:cNvGrpSpPr/>
          <p:nvPr/>
        </p:nvGrpSpPr>
        <p:grpSpPr>
          <a:xfrm>
            <a:off x="1304655" y="4486076"/>
            <a:ext cx="4402005" cy="990906"/>
            <a:chOff x="2007759" y="4281405"/>
            <a:chExt cx="4840081" cy="990906"/>
          </a:xfrm>
        </p:grpSpPr>
        <p:sp>
          <p:nvSpPr>
            <p:cNvPr id="4" name="Rectangle 3">
              <a:extLst>
                <a:ext uri="{FF2B5EF4-FFF2-40B4-BE49-F238E27FC236}">
                  <a16:creationId xmlns:a16="http://schemas.microsoft.com/office/drawing/2014/main" id="{53C5EEBB-DA76-83EA-2902-F0CDAD19A43B}"/>
                </a:ext>
              </a:extLst>
            </p:cNvPr>
            <p:cNvSpPr/>
            <p:nvPr/>
          </p:nvSpPr>
          <p:spPr bwMode="gray">
            <a:xfrm>
              <a:off x="2012864" y="4591148"/>
              <a:ext cx="4834976" cy="681163"/>
            </a:xfrm>
            <a:prstGeom prst="rect">
              <a:avLst/>
            </a:prstGeom>
            <a:noFill/>
            <a:ln w="952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000" b="1">
                  <a:solidFill>
                    <a:schemeClr val="tx1"/>
                  </a:solidFill>
                </a:rPr>
                <a:t>Digitally enhanced execution and oversight tools, </a:t>
              </a:r>
              <a:r>
                <a:rPr lang="en-US" sz="1000">
                  <a:solidFill>
                    <a:schemeClr val="tx1"/>
                  </a:solidFill>
                </a:rPr>
                <a:t>including</a:t>
              </a:r>
              <a:r>
                <a:rPr lang="en-US" sz="1000" b="1">
                  <a:solidFill>
                    <a:schemeClr val="tx1"/>
                  </a:solidFill>
                </a:rPr>
                <a:t> </a:t>
              </a:r>
              <a:r>
                <a:rPr lang="en-US" sz="1000">
                  <a:solidFill>
                    <a:schemeClr val="tx1"/>
                  </a:solidFill>
                </a:rPr>
                <a:t>MBSE, digital twins, advanced modeling, PLM systems, machine learning</a:t>
              </a:r>
            </a:p>
            <a:p>
              <a:pPr marL="171450" indent="-171450">
                <a:buFont typeface="Arial" panose="020B0604020202020204" pitchFamily="34" charset="0"/>
                <a:buChar char="•"/>
              </a:pPr>
              <a:r>
                <a:rPr lang="en-US" sz="1000">
                  <a:solidFill>
                    <a:schemeClr val="tx1"/>
                  </a:solidFill>
                </a:rPr>
                <a:t>Front-end engineering and systems-based modeling</a:t>
              </a:r>
            </a:p>
          </p:txBody>
        </p:sp>
        <p:sp>
          <p:nvSpPr>
            <p:cNvPr id="24" name="Pentagon 23">
              <a:extLst>
                <a:ext uri="{FF2B5EF4-FFF2-40B4-BE49-F238E27FC236}">
                  <a16:creationId xmlns:a16="http://schemas.microsoft.com/office/drawing/2014/main" id="{5FEEB168-17D4-7CB6-1834-306A9B22573E}"/>
                </a:ext>
              </a:extLst>
            </p:cNvPr>
            <p:cNvSpPr/>
            <p:nvPr/>
          </p:nvSpPr>
          <p:spPr bwMode="gray">
            <a:xfrm>
              <a:off x="2007759" y="4281405"/>
              <a:ext cx="3247438" cy="309743"/>
            </a:xfrm>
            <a:prstGeom prst="homePlate">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a:solidFill>
                    <a:schemeClr val="bg1"/>
                  </a:solidFill>
                </a:rPr>
                <a:t>Digital &amp; systems engineering</a:t>
              </a:r>
            </a:p>
          </p:txBody>
        </p:sp>
      </p:grpSp>
      <p:sp>
        <p:nvSpPr>
          <p:cNvPr id="43" name="Left Bracket 42">
            <a:extLst>
              <a:ext uri="{FF2B5EF4-FFF2-40B4-BE49-F238E27FC236}">
                <a16:creationId xmlns:a16="http://schemas.microsoft.com/office/drawing/2014/main" id="{97309D1E-26AF-2159-55FA-6F2A0CDB45E0}"/>
              </a:ext>
            </a:extLst>
          </p:cNvPr>
          <p:cNvSpPr/>
          <p:nvPr/>
        </p:nvSpPr>
        <p:spPr bwMode="gray">
          <a:xfrm>
            <a:off x="894283" y="4486076"/>
            <a:ext cx="97907" cy="990906"/>
          </a:xfrm>
          <a:prstGeom prst="leftBracket">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Left Bracket 43">
            <a:extLst>
              <a:ext uri="{FF2B5EF4-FFF2-40B4-BE49-F238E27FC236}">
                <a16:creationId xmlns:a16="http://schemas.microsoft.com/office/drawing/2014/main" id="{E3E17457-8619-DBE4-533E-3CF9466FF39B}"/>
              </a:ext>
            </a:extLst>
          </p:cNvPr>
          <p:cNvSpPr/>
          <p:nvPr/>
        </p:nvSpPr>
        <p:spPr bwMode="gray">
          <a:xfrm>
            <a:off x="901151" y="2074335"/>
            <a:ext cx="91040" cy="2149662"/>
          </a:xfrm>
          <a:prstGeom prst="leftBracket">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Rectangle 44">
            <a:extLst>
              <a:ext uri="{FF2B5EF4-FFF2-40B4-BE49-F238E27FC236}">
                <a16:creationId xmlns:a16="http://schemas.microsoft.com/office/drawing/2014/main" id="{DB66D9E3-646B-5377-F476-5A524000E16F}"/>
              </a:ext>
            </a:extLst>
          </p:cNvPr>
          <p:cNvSpPr/>
          <p:nvPr/>
        </p:nvSpPr>
        <p:spPr bwMode="gray">
          <a:xfrm rot="16200000">
            <a:off x="104529" y="4852352"/>
            <a:ext cx="1218334" cy="2813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lgn="ctr">
              <a:defRPr/>
            </a:pPr>
            <a:r>
              <a:rPr lang="en-US" sz="1000" b="1" kern="0">
                <a:solidFill>
                  <a:schemeClr val="tx1"/>
                </a:solidFill>
              </a:rPr>
              <a:t>Technical</a:t>
            </a:r>
          </a:p>
          <a:p>
            <a:pPr lvl="0" algn="ctr">
              <a:defRPr/>
            </a:pPr>
            <a:endParaRPr lang="en-US" sz="900" b="1" kern="0">
              <a:solidFill>
                <a:schemeClr val="tx1"/>
              </a:solidFill>
            </a:endParaRPr>
          </a:p>
        </p:txBody>
      </p:sp>
      <p:sp>
        <p:nvSpPr>
          <p:cNvPr id="46" name="Rectangle 45">
            <a:extLst>
              <a:ext uri="{FF2B5EF4-FFF2-40B4-BE49-F238E27FC236}">
                <a16:creationId xmlns:a16="http://schemas.microsoft.com/office/drawing/2014/main" id="{6BA492F6-D38A-BE97-77A8-E6619FC6652E}"/>
              </a:ext>
            </a:extLst>
          </p:cNvPr>
          <p:cNvSpPr/>
          <p:nvPr/>
        </p:nvSpPr>
        <p:spPr bwMode="gray">
          <a:xfrm rot="16200000">
            <a:off x="-121202" y="3004461"/>
            <a:ext cx="1669797" cy="2601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lgn="ctr">
              <a:defRPr/>
            </a:pPr>
            <a:r>
              <a:rPr lang="en-US" sz="1000" b="1" kern="0">
                <a:solidFill>
                  <a:schemeClr val="tx1"/>
                </a:solidFill>
              </a:rPr>
              <a:t>Organizational</a:t>
            </a:r>
          </a:p>
          <a:p>
            <a:pPr lvl="0" algn="ctr">
              <a:defRPr/>
            </a:pPr>
            <a:endParaRPr lang="en-US" sz="900" b="1" kern="0">
              <a:solidFill>
                <a:schemeClr val="tx1"/>
              </a:solidFill>
            </a:endParaRPr>
          </a:p>
        </p:txBody>
      </p:sp>
      <p:sp>
        <p:nvSpPr>
          <p:cNvPr id="47" name="Up Arrow 46">
            <a:extLst>
              <a:ext uri="{FF2B5EF4-FFF2-40B4-BE49-F238E27FC236}">
                <a16:creationId xmlns:a16="http://schemas.microsoft.com/office/drawing/2014/main" id="{2C647BC6-B59D-B4EB-7E99-1B302773F28E}"/>
              </a:ext>
            </a:extLst>
          </p:cNvPr>
          <p:cNvSpPr/>
          <p:nvPr/>
        </p:nvSpPr>
        <p:spPr bwMode="gray">
          <a:xfrm>
            <a:off x="4848897" y="4223997"/>
            <a:ext cx="238194" cy="571821"/>
          </a:xfrm>
          <a:prstGeom prst="upArrow">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0" name="Rectangle 49">
            <a:extLst>
              <a:ext uri="{FF2B5EF4-FFF2-40B4-BE49-F238E27FC236}">
                <a16:creationId xmlns:a16="http://schemas.microsoft.com/office/drawing/2014/main" id="{E4B539C3-7B84-A585-2D5F-113081B8FF4F}"/>
              </a:ext>
            </a:extLst>
          </p:cNvPr>
          <p:cNvSpPr/>
          <p:nvPr/>
        </p:nvSpPr>
        <p:spPr bwMode="gray">
          <a:xfrm>
            <a:off x="4814572" y="4432419"/>
            <a:ext cx="1218334" cy="2813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lgn="ctr">
              <a:defRPr/>
            </a:pPr>
            <a:r>
              <a:rPr lang="en-US" sz="1000" b="1" kern="0">
                <a:solidFill>
                  <a:schemeClr val="tx1">
                    <a:lumMod val="50000"/>
                    <a:lumOff val="50000"/>
                  </a:schemeClr>
                </a:solidFill>
              </a:rPr>
              <a:t>Reinforces</a:t>
            </a:r>
          </a:p>
          <a:p>
            <a:pPr lvl="0" algn="ctr">
              <a:defRPr/>
            </a:pPr>
            <a:endParaRPr lang="en-US" sz="900" b="1" kern="0">
              <a:solidFill>
                <a:schemeClr val="tx1"/>
              </a:solidFill>
            </a:endParaRPr>
          </a:p>
        </p:txBody>
      </p:sp>
      <p:sp>
        <p:nvSpPr>
          <p:cNvPr id="51" name="Rectangle 50">
            <a:extLst>
              <a:ext uri="{FF2B5EF4-FFF2-40B4-BE49-F238E27FC236}">
                <a16:creationId xmlns:a16="http://schemas.microsoft.com/office/drawing/2014/main" id="{954C7BD9-8A08-0777-52AC-8CBF82061F0B}"/>
              </a:ext>
            </a:extLst>
          </p:cNvPr>
          <p:cNvSpPr/>
          <p:nvPr/>
        </p:nvSpPr>
        <p:spPr bwMode="gray">
          <a:xfrm>
            <a:off x="4803003" y="3174726"/>
            <a:ext cx="1218334" cy="2813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lgn="ctr">
              <a:defRPr/>
            </a:pPr>
            <a:r>
              <a:rPr lang="en-US" sz="1000" b="1" kern="0">
                <a:solidFill>
                  <a:schemeClr val="tx1">
                    <a:lumMod val="50000"/>
                    <a:lumOff val="50000"/>
                  </a:schemeClr>
                </a:solidFill>
              </a:rPr>
              <a:t>Supports</a:t>
            </a:r>
          </a:p>
          <a:p>
            <a:pPr lvl="0" algn="ctr">
              <a:defRPr/>
            </a:pPr>
            <a:endParaRPr lang="en-US" sz="900" b="1" kern="0">
              <a:solidFill>
                <a:schemeClr val="tx1"/>
              </a:solidFill>
            </a:endParaRPr>
          </a:p>
        </p:txBody>
      </p:sp>
      <p:sp>
        <p:nvSpPr>
          <p:cNvPr id="52" name="Speech Bubble: Rectangle 4">
            <a:extLst>
              <a:ext uri="{FF2B5EF4-FFF2-40B4-BE49-F238E27FC236}">
                <a16:creationId xmlns:a16="http://schemas.microsoft.com/office/drawing/2014/main" id="{5EAC1759-4798-AB1A-5BE3-23061A27D9F1}"/>
              </a:ext>
            </a:extLst>
          </p:cNvPr>
          <p:cNvSpPr/>
          <p:nvPr/>
        </p:nvSpPr>
        <p:spPr bwMode="gray">
          <a:xfrm>
            <a:off x="1289653" y="5650714"/>
            <a:ext cx="4474699" cy="410350"/>
          </a:xfrm>
          <a:prstGeom prst="wedgeRectCallout">
            <a:avLst>
              <a:gd name="adj1" fmla="val -20977"/>
              <a:gd name="adj2" fmla="val -87702"/>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800">
                <a:solidFill>
                  <a:schemeClr val="tx1"/>
                </a:solidFill>
              </a:rPr>
              <a:t>Gen III+ </a:t>
            </a:r>
            <a:r>
              <a:rPr lang="en-US" sz="800" b="1">
                <a:solidFill>
                  <a:schemeClr val="tx1"/>
                </a:solidFill>
              </a:rPr>
              <a:t>construction learning curves are transferrable </a:t>
            </a:r>
            <a:r>
              <a:rPr lang="en-US" sz="800">
                <a:solidFill>
                  <a:schemeClr val="tx1"/>
                </a:solidFill>
              </a:rPr>
              <a:t>to SMRs; </a:t>
            </a:r>
            <a:r>
              <a:rPr lang="en-US" sz="800" b="1">
                <a:solidFill>
                  <a:schemeClr val="tx1"/>
                </a:solidFill>
              </a:rPr>
              <a:t>modularization, simplified design, and standardization </a:t>
            </a:r>
            <a:r>
              <a:rPr lang="en-US" sz="800">
                <a:solidFill>
                  <a:schemeClr val="tx1"/>
                </a:solidFill>
              </a:rPr>
              <a:t>can offset diseconomies of scale, particularly with multiunit and serial builds.</a:t>
            </a:r>
          </a:p>
        </p:txBody>
      </p:sp>
      <p:sp>
        <p:nvSpPr>
          <p:cNvPr id="53" name="Up Arrow 52">
            <a:extLst>
              <a:ext uri="{FF2B5EF4-FFF2-40B4-BE49-F238E27FC236}">
                <a16:creationId xmlns:a16="http://schemas.microsoft.com/office/drawing/2014/main" id="{8D6AF354-DAC7-A73C-677D-7CEFF56994C4}"/>
              </a:ext>
            </a:extLst>
          </p:cNvPr>
          <p:cNvSpPr/>
          <p:nvPr/>
        </p:nvSpPr>
        <p:spPr bwMode="gray">
          <a:xfrm>
            <a:off x="4848896" y="3039409"/>
            <a:ext cx="238194" cy="507309"/>
          </a:xfrm>
          <a:prstGeom prst="upArrow">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extLst>
      <p:ext uri="{BB962C8B-B14F-4D97-AF65-F5344CB8AC3E}">
        <p14:creationId xmlns:p14="http://schemas.microsoft.com/office/powerpoint/2010/main" val="38593061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think-cell data - do not delete" hidden="1">
            <a:extLst>
              <a:ext uri="{FF2B5EF4-FFF2-40B4-BE49-F238E27FC236}">
                <a16:creationId xmlns:a16="http://schemas.microsoft.com/office/drawing/2014/main" id="{7B689E39-C261-AF89-81C4-08669729A79F}"/>
              </a:ext>
            </a:extLst>
          </p:cNvPr>
          <p:cNvGraphicFramePr>
            <a:graphicFrameLocks noChangeAspect="1"/>
          </p:cNvGraphicFramePr>
          <p:nvPr>
            <p:custDataLst>
              <p:tags r:id="rId1"/>
            </p:custDataLst>
            <p:extLst>
              <p:ext uri="{D42A27DB-BD31-4B8C-83A1-F6EECF244321}">
                <p14:modId xmlns:p14="http://schemas.microsoft.com/office/powerpoint/2010/main" val="35570060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1" imgW="7772400" imgH="10058400" progId="TCLayout.ActiveDocument.1">
                  <p:embed/>
                </p:oleObj>
              </mc:Choice>
              <mc:Fallback>
                <p:oleObj name="think-cell Slide" r:id="rId51" imgW="7772400" imgH="10058400" progId="TCLayout.ActiveDocument.1">
                  <p:embed/>
                  <p:pic>
                    <p:nvPicPr>
                      <p:cNvPr id="83" name="think-cell data - do not delete" hidden="1">
                        <a:extLst>
                          <a:ext uri="{FF2B5EF4-FFF2-40B4-BE49-F238E27FC236}">
                            <a16:creationId xmlns:a16="http://schemas.microsoft.com/office/drawing/2014/main" id="{7B689E39-C261-AF89-81C4-08669729A79F}"/>
                          </a:ext>
                        </a:extLst>
                      </p:cNvPr>
                      <p:cNvPicPr/>
                      <p:nvPr/>
                    </p:nvPicPr>
                    <p:blipFill>
                      <a:blip r:embed="rId52"/>
                      <a:stretch>
                        <a:fillRect/>
                      </a:stretch>
                    </p:blipFill>
                    <p:spPr>
                      <a:xfrm>
                        <a:off x="1588" y="1588"/>
                        <a:ext cx="1227" cy="1588"/>
                      </a:xfrm>
                      <a:prstGeom prst="rect">
                        <a:avLst/>
                      </a:prstGeom>
                    </p:spPr>
                  </p:pic>
                </p:oleObj>
              </mc:Fallback>
            </mc:AlternateContent>
          </a:graphicData>
        </a:graphic>
      </p:graphicFrame>
      <p:sp>
        <p:nvSpPr>
          <p:cNvPr id="221" name="Title 3">
            <a:extLst>
              <a:ext uri="{FF2B5EF4-FFF2-40B4-BE49-F238E27FC236}">
                <a16:creationId xmlns:a16="http://schemas.microsoft.com/office/drawing/2014/main" id="{FAD3EBD9-B8FE-DBAF-2B34-1A8354371DCE}"/>
              </a:ext>
            </a:extLst>
          </p:cNvPr>
          <p:cNvSpPr>
            <a:spLocks noGrp="1"/>
          </p:cNvSpPr>
          <p:nvPr>
            <p:ph type="title"/>
          </p:nvPr>
        </p:nvSpPr>
        <p:spPr/>
        <p:txBody>
          <a:bodyPr vert="horz">
            <a:noAutofit/>
          </a:bodyPr>
          <a:lstStyle/>
          <a:p>
            <a:r>
              <a:rPr lang="en-US"/>
              <a:t>Improvements in design and delivery of NPPs lower the risk profile and significantly reduce costs across the nuclear project lifecycle</a:t>
            </a:r>
          </a:p>
        </p:txBody>
      </p:sp>
      <p:sp>
        <p:nvSpPr>
          <p:cNvPr id="220" name="Footer Placeholder 1">
            <a:extLst>
              <a:ext uri="{FF2B5EF4-FFF2-40B4-BE49-F238E27FC236}">
                <a16:creationId xmlns:a16="http://schemas.microsoft.com/office/drawing/2014/main" id="{F9C712F6-EE06-D775-3935-986F697DBE08}"/>
              </a:ext>
            </a:extLst>
          </p:cNvPr>
          <p:cNvSpPr>
            <a:spLocks noGrp="1"/>
          </p:cNvSpPr>
          <p:nvPr>
            <p:ph type="ftr" sz="quarter" idx="4294967295"/>
          </p:nvPr>
        </p:nvSpPr>
        <p:spPr>
          <a:xfrm>
            <a:off x="329184" y="6308725"/>
            <a:ext cx="9277350" cy="274638"/>
          </a:xfrm>
        </p:spPr>
        <p:txBody>
          <a:bodyPr lIns="0" tIns="0" rIns="0" bIns="0"/>
          <a:lstStyle/>
          <a:p>
            <a:endParaRPr lang="en-US" sz="800" dirty="0">
              <a:solidFill>
                <a:srgbClr val="000000"/>
              </a:solidFill>
              <a:latin typeface="Arial" panose="020B0604020202020204" pitchFamily="34" charset="0"/>
              <a:cs typeface="Arial" panose="020B0604020202020204" pitchFamily="34" charset="0"/>
            </a:endParaRPr>
          </a:p>
          <a:p>
            <a:r>
              <a:rPr lang="en-US" sz="800" dirty="0">
                <a:solidFill>
                  <a:srgbClr val="000000"/>
                </a:solidFill>
                <a:latin typeface="Arial" panose="020B0604020202020204" pitchFamily="34" charset="0"/>
                <a:cs typeface="Arial" panose="020B0604020202020204" pitchFamily="34" charset="0"/>
              </a:rPr>
              <a:t>Sources: OECD, NEA, </a:t>
            </a:r>
            <a:r>
              <a:rPr lang="en-US" sz="800" dirty="0">
                <a:solidFill>
                  <a:srgbClr val="000000"/>
                </a:solidFill>
                <a:latin typeface="Arial" panose="020B0604020202020204" pitchFamily="34" charset="0"/>
                <a:cs typeface="Arial" panose="020B0604020202020204" pitchFamily="34" charset="0"/>
                <a:hlinkClick r:id="rId53"/>
              </a:rPr>
              <a:t>Unlocking Reductions in the Construction Costs of Nuclear </a:t>
            </a:r>
            <a:r>
              <a:rPr lang="en-US" sz="800" dirty="0">
                <a:solidFill>
                  <a:srgbClr val="000000"/>
                </a:solidFill>
                <a:latin typeface="Arial" panose="020B0604020202020204" pitchFamily="34" charset="0"/>
                <a:cs typeface="Arial" panose="020B0604020202020204" pitchFamily="34" charset="0"/>
              </a:rPr>
              <a:t>(2020); Galois, </a:t>
            </a:r>
            <a:r>
              <a:rPr lang="en-US" sz="800" dirty="0">
                <a:solidFill>
                  <a:srgbClr val="000000"/>
                </a:solidFill>
                <a:latin typeface="Arial" panose="020B0604020202020204" pitchFamily="34" charset="0"/>
                <a:cs typeface="Arial" panose="020B0604020202020204" pitchFamily="34" charset="0"/>
                <a:hlinkClick r:id="rId54"/>
              </a:rPr>
              <a:t>Demonstrating Rigorous Digital Engineering for Nuclear Power Plant Systems</a:t>
            </a:r>
            <a:r>
              <a:rPr lang="en-US" sz="800" dirty="0">
                <a:solidFill>
                  <a:srgbClr val="000000"/>
                </a:solidFill>
                <a:latin typeface="Arial" panose="020B0604020202020204" pitchFamily="34" charset="0"/>
                <a:cs typeface="Arial" panose="020B0604020202020204" pitchFamily="34" charset="0"/>
              </a:rPr>
              <a:t> (2024); The Nuclear Institute, </a:t>
            </a:r>
            <a:r>
              <a:rPr lang="en-US" sz="800" dirty="0">
                <a:solidFill>
                  <a:srgbClr val="000000"/>
                </a:solidFill>
                <a:latin typeface="Arial" panose="020B0604020202020204" pitchFamily="34" charset="0"/>
                <a:cs typeface="Arial" panose="020B0604020202020204" pitchFamily="34" charset="0"/>
                <a:hlinkClick r:id="rId55"/>
              </a:rPr>
              <a:t>Why Nuclear Projects Suffer from Poor Predictability</a:t>
            </a:r>
            <a:r>
              <a:rPr lang="en-US" sz="800" dirty="0">
                <a:solidFill>
                  <a:srgbClr val="000000"/>
                </a:solidFill>
                <a:latin typeface="Arial" panose="020B0604020202020204" pitchFamily="34" charset="0"/>
                <a:cs typeface="Arial" panose="020B0604020202020204" pitchFamily="34" charset="0"/>
              </a:rPr>
              <a:t> (2019); Locatelli, </a:t>
            </a:r>
            <a:r>
              <a:rPr lang="en-US" sz="800" dirty="0">
                <a:solidFill>
                  <a:srgbClr val="000000"/>
                </a:solidFill>
                <a:latin typeface="Arial" panose="020B0604020202020204" pitchFamily="34" charset="0"/>
                <a:cs typeface="Arial" panose="020B0604020202020204" pitchFamily="34" charset="0"/>
                <a:hlinkClick r:id="rId56"/>
              </a:rPr>
              <a:t>Why Are Megaprojects Delivered Over Budget and Late?</a:t>
            </a:r>
            <a:r>
              <a:rPr lang="en-US" sz="800" dirty="0">
                <a:solidFill>
                  <a:srgbClr val="000000"/>
                </a:solidFill>
                <a:latin typeface="Arial" panose="020B0604020202020204" pitchFamily="34" charset="0"/>
                <a:cs typeface="Arial" panose="020B0604020202020204" pitchFamily="34" charset="0"/>
              </a:rPr>
              <a:t> (2018); ETI, </a:t>
            </a:r>
            <a:r>
              <a:rPr lang="en-US" sz="800" dirty="0">
                <a:solidFill>
                  <a:srgbClr val="000000"/>
                </a:solidFill>
                <a:latin typeface="Arial" panose="020B0604020202020204" pitchFamily="34" charset="0"/>
                <a:cs typeface="Arial" panose="020B0604020202020204" pitchFamily="34" charset="0"/>
                <a:hlinkClick r:id="rId57"/>
              </a:rPr>
              <a:t>Nuclear Cost Drivers Report </a:t>
            </a:r>
            <a:r>
              <a:rPr lang="en-US" sz="800" dirty="0">
                <a:solidFill>
                  <a:srgbClr val="000000"/>
                </a:solidFill>
                <a:latin typeface="Arial" panose="020B0604020202020204" pitchFamily="34" charset="0"/>
                <a:cs typeface="Arial" panose="020B0604020202020204" pitchFamily="34" charset="0"/>
              </a:rPr>
              <a:t>(2018)</a:t>
            </a:r>
            <a:endParaRPr lang="en-US" sz="800" dirty="0">
              <a:solidFill>
                <a:srgbClr val="000000"/>
              </a:solidFill>
            </a:endParaRPr>
          </a:p>
          <a:p>
            <a:r>
              <a:rPr lang="en-US" sz="800" dirty="0">
                <a:solidFill>
                  <a:srgbClr val="000000"/>
                </a:solidFill>
              </a:rPr>
              <a:t>Credit: </a:t>
            </a:r>
            <a:r>
              <a:rPr lang="en-US" sz="800" dirty="0" err="1">
                <a:solidFill>
                  <a:srgbClr val="000000"/>
                </a:solidFill>
                <a:latin typeface="Arial" panose="020B0604020202020204" pitchFamily="34" charset="0"/>
              </a:rPr>
              <a:t>Khande</a:t>
            </a:r>
            <a:r>
              <a:rPr lang="en-US" sz="800" dirty="0">
                <a:solidFill>
                  <a:srgbClr val="000000"/>
                </a:solidFill>
                <a:latin typeface="Arial" panose="020B0604020202020204" pitchFamily="34" charset="0"/>
              </a:rPr>
              <a:t>-Jae Fisher, Isabel </a:t>
            </a:r>
            <a:r>
              <a:rPr lang="en-US" sz="800" dirty="0" err="1">
                <a:solidFill>
                  <a:srgbClr val="000000"/>
                </a:solidFill>
                <a:latin typeface="Arial" panose="020B0604020202020204" pitchFamily="34" charset="0"/>
              </a:rPr>
              <a:t>Hoyos</a:t>
            </a:r>
            <a:r>
              <a:rPr lang="en-US" sz="800" dirty="0">
                <a:solidFill>
                  <a:srgbClr val="000000"/>
                </a:solidFill>
                <a:latin typeface="Arial" panose="020B0604020202020204" pitchFamily="34" charset="0"/>
              </a:rPr>
              <a:t>, Helen Kim, and </a:t>
            </a:r>
            <a:r>
              <a:rPr lang="en-US" sz="800" u="sng" dirty="0">
                <a:solidFill>
                  <a:srgbClr val="467886"/>
                </a:solidFill>
                <a:latin typeface="Arial" panose="020B0604020202020204" pitchFamily="34" charset="0"/>
                <a:hlinkClick r:id="rId58"/>
              </a:rPr>
              <a:t>Gernot Wagner</a:t>
            </a:r>
            <a:r>
              <a:rPr lang="en-US" sz="800" dirty="0">
                <a:solidFill>
                  <a:srgbClr val="000000"/>
                </a:solidFill>
                <a:latin typeface="Arial" panose="020B0604020202020204" pitchFamily="34" charset="0"/>
              </a:rPr>
              <a:t>. Share with </a:t>
            </a:r>
            <a:r>
              <a:rPr lang="en-US" sz="800" u="sng" dirty="0">
                <a:solidFill>
                  <a:srgbClr val="467886"/>
                </a:solidFill>
                <a:latin typeface="Arial" panose="020B0604020202020204" pitchFamily="34" charset="0"/>
                <a:hlinkClick r:id="rId59"/>
              </a:rPr>
              <a:t>attribution</a:t>
            </a:r>
            <a:r>
              <a:rPr lang="en-US" sz="800" dirty="0">
                <a:solidFill>
                  <a:srgbClr val="000000"/>
                </a:solidFill>
                <a:latin typeface="Arial" panose="020B0604020202020204" pitchFamily="34" charset="0"/>
              </a:rPr>
              <a:t>: </a:t>
            </a:r>
            <a:r>
              <a:rPr lang="en-US" sz="800" dirty="0" err="1">
                <a:solidFill>
                  <a:srgbClr val="000000"/>
                </a:solidFill>
                <a:latin typeface="Arial" panose="020B0604020202020204" pitchFamily="34" charset="0"/>
              </a:rPr>
              <a:t>Houwink</a:t>
            </a:r>
            <a:r>
              <a:rPr lang="en-US" sz="800" dirty="0">
                <a:solidFill>
                  <a:srgbClr val="000000"/>
                </a:solidFill>
                <a:latin typeface="Arial" panose="020B0604020202020204" pitchFamily="34" charset="0"/>
              </a:rPr>
              <a:t> et al., "Reenergizing Nuclear" (23 September 2025).</a:t>
            </a:r>
            <a:endParaRPr lang="en-US" sz="800" dirty="0">
              <a:solidFill>
                <a:srgbClr val="000000"/>
              </a:solidFill>
            </a:endParaRPr>
          </a:p>
        </p:txBody>
      </p:sp>
      <p:sp>
        <p:nvSpPr>
          <p:cNvPr id="222" name="Text Placeholder 51">
            <a:extLst>
              <a:ext uri="{FF2B5EF4-FFF2-40B4-BE49-F238E27FC236}">
                <a16:creationId xmlns:a16="http://schemas.microsoft.com/office/drawing/2014/main" id="{8A40E69A-F5C8-43B0-6D2A-43E1E1689F82}"/>
              </a:ext>
            </a:extLst>
          </p:cNvPr>
          <p:cNvSpPr>
            <a:spLocks noGrp="1"/>
          </p:cNvSpPr>
          <p:nvPr>
            <p:ph type="body" sz="quarter" idx="4294967295"/>
          </p:nvPr>
        </p:nvSpPr>
        <p:spPr>
          <a:xfrm>
            <a:off x="9640888" y="1554163"/>
            <a:ext cx="2220912" cy="4479925"/>
          </a:xfrm>
          <a:solidFill>
            <a:srgbClr val="E3E8EE"/>
          </a:solidFill>
        </p:spPr>
        <p:txBody>
          <a:bodyPr lIns="137160" tIns="137160" rIns="137160" bIns="137160">
            <a:normAutofit lnSpcReduction="10000"/>
          </a:bodyPr>
          <a:lstStyle/>
          <a:p>
            <a:pPr marL="0" indent="0">
              <a:spcBef>
                <a:spcPts val="0"/>
              </a:spcBef>
              <a:spcAft>
                <a:spcPts val="600"/>
              </a:spcAft>
              <a:buNone/>
            </a:pPr>
            <a:r>
              <a:rPr lang="en-US" sz="1250" b="1" dirty="0">
                <a:latin typeface="Arial" panose="020B0604020202020204" pitchFamily="34" charset="0"/>
                <a:cs typeface="Arial" panose="020B0604020202020204" pitchFamily="34" charset="0"/>
              </a:rPr>
              <a:t>Observations</a:t>
            </a:r>
          </a:p>
          <a:p>
            <a:pPr>
              <a:spcBef>
                <a:spcPts val="0"/>
              </a:spcBef>
              <a:spcAft>
                <a:spcPts val="400"/>
              </a:spcAft>
            </a:pPr>
            <a:r>
              <a:rPr lang="en-US" sz="1050" b="0" dirty="0"/>
              <a:t>Countries that report lower project costs, such as Korea and Japan, typically begin construction with designs 90%+ completed and plan for standardized, repeatable designs through multiunit and/or serial builds. </a:t>
            </a:r>
          </a:p>
          <a:p>
            <a:pPr>
              <a:spcBef>
                <a:spcPts val="0"/>
              </a:spcBef>
              <a:spcAft>
                <a:spcPts val="400"/>
              </a:spcAft>
            </a:pPr>
            <a:r>
              <a:rPr lang="en-US" sz="1050" b="0" dirty="0">
                <a:latin typeface="Arial" panose="020B0604020202020204" pitchFamily="34" charset="0"/>
                <a:cs typeface="Arial" panose="020B0604020202020204" pitchFamily="34" charset="0"/>
              </a:rPr>
              <a:t>Multiunit sites </a:t>
            </a:r>
            <a:r>
              <a:rPr lang="en-US" sz="1050" dirty="0">
                <a:latin typeface="Arial" panose="020B0604020202020204" pitchFamily="34" charset="0"/>
                <a:cs typeface="Arial" panose="020B0604020202020204" pitchFamily="34" charset="0"/>
              </a:rPr>
              <a:t>reduce complexity and unit costs </a:t>
            </a:r>
            <a:r>
              <a:rPr lang="en-US" sz="1050" b="0" dirty="0">
                <a:latin typeface="Arial" panose="020B0604020202020204" pitchFamily="34" charset="0"/>
                <a:cs typeface="Arial" panose="020B0604020202020204" pitchFamily="34" charset="0"/>
              </a:rPr>
              <a:t>by sharing resources and site-specific regulatory, planning, and infrastructure expenses.</a:t>
            </a:r>
          </a:p>
          <a:p>
            <a:pPr>
              <a:spcBef>
                <a:spcPts val="0"/>
              </a:spcBef>
              <a:spcAft>
                <a:spcPts val="400"/>
              </a:spcAft>
            </a:pPr>
            <a:r>
              <a:rPr lang="en-US" sz="1050" b="0" dirty="0">
                <a:latin typeface="Arial" panose="020B0604020202020204" pitchFamily="34" charset="0"/>
                <a:cs typeface="Arial" panose="020B0604020202020204" pitchFamily="34" charset="0"/>
              </a:rPr>
              <a:t>Systems engineering </a:t>
            </a:r>
            <a:r>
              <a:rPr lang="en-US" sz="1050" dirty="0">
                <a:latin typeface="Arial" panose="020B0604020202020204" pitchFamily="34" charset="0"/>
                <a:cs typeface="Arial" panose="020B0604020202020204" pitchFamily="34" charset="0"/>
              </a:rPr>
              <a:t>enables effective coordination </a:t>
            </a:r>
            <a:r>
              <a:rPr lang="en-US" sz="1050" b="0" dirty="0">
                <a:latin typeface="Arial" panose="020B0604020202020204" pitchFamily="34" charset="0"/>
                <a:cs typeface="Arial" panose="020B0604020202020204" pitchFamily="34" charset="0"/>
              </a:rPr>
              <a:t>between teams, saving </a:t>
            </a:r>
            <a:r>
              <a:rPr lang="en-US" sz="1050" dirty="0">
                <a:latin typeface="Arial" panose="020B0604020202020204" pitchFamily="34" charset="0"/>
                <a:cs typeface="Arial" panose="020B0604020202020204" pitchFamily="34" charset="0"/>
              </a:rPr>
              <a:t>up to 19% </a:t>
            </a:r>
            <a:r>
              <a:rPr lang="en-US" sz="1050" b="0" dirty="0">
                <a:latin typeface="Arial" panose="020B0604020202020204" pitchFamily="34" charset="0"/>
                <a:cs typeface="Arial" panose="020B0604020202020204" pitchFamily="34" charset="0"/>
              </a:rPr>
              <a:t>in overall time and costs.</a:t>
            </a:r>
          </a:p>
          <a:p>
            <a:pPr>
              <a:spcBef>
                <a:spcPts val="0"/>
              </a:spcBef>
              <a:spcAft>
                <a:spcPts val="400"/>
              </a:spcAft>
            </a:pPr>
            <a:r>
              <a:rPr lang="en-US" sz="1050" b="0" dirty="0">
                <a:latin typeface="Arial" panose="020B0604020202020204" pitchFamily="34" charset="0"/>
                <a:cs typeface="Arial" panose="020B0604020202020204" pitchFamily="34" charset="0"/>
              </a:rPr>
              <a:t>Notable companies that have used a </a:t>
            </a:r>
            <a:r>
              <a:rPr lang="en-US" sz="1050" dirty="0">
                <a:latin typeface="Arial" panose="020B0604020202020204" pitchFamily="34" charset="0"/>
                <a:cs typeface="Arial" panose="020B0604020202020204" pitchFamily="34" charset="0"/>
              </a:rPr>
              <a:t>90%+ </a:t>
            </a:r>
            <a:r>
              <a:rPr lang="en-US" sz="1050" b="0" dirty="0">
                <a:latin typeface="Arial" panose="020B0604020202020204" pitchFamily="34" charset="0"/>
                <a:cs typeface="Arial" panose="020B0604020202020204" pitchFamily="34" charset="0"/>
              </a:rPr>
              <a:t>design completion approach include </a:t>
            </a:r>
            <a:r>
              <a:rPr lang="en-US" sz="1050" dirty="0">
                <a:latin typeface="Arial" panose="020B0604020202020204" pitchFamily="34" charset="0"/>
                <a:cs typeface="Arial" panose="020B0604020202020204" pitchFamily="34" charset="0"/>
              </a:rPr>
              <a:t>GE Hitachi</a:t>
            </a:r>
            <a:r>
              <a:rPr lang="en-US" sz="1050" b="0" dirty="0">
                <a:latin typeface="Arial" panose="020B0604020202020204" pitchFamily="34" charset="0"/>
                <a:cs typeface="Arial" panose="020B0604020202020204" pitchFamily="34" charset="0"/>
              </a:rPr>
              <a:t>, which </a:t>
            </a:r>
            <a:r>
              <a:rPr lang="en-US" sz="1050" dirty="0">
                <a:latin typeface="Arial" panose="020B0604020202020204" pitchFamily="34" charset="0"/>
                <a:cs typeface="Arial" panose="020B0604020202020204" pitchFamily="34" charset="0"/>
              </a:rPr>
              <a:t>reduced rework </a:t>
            </a:r>
            <a:r>
              <a:rPr lang="en-US" sz="1050" b="0" dirty="0">
                <a:latin typeface="Arial" panose="020B0604020202020204" pitchFamily="34" charset="0"/>
                <a:cs typeface="Arial" panose="020B0604020202020204" pitchFamily="34" charset="0"/>
              </a:rPr>
              <a:t>for projects </a:t>
            </a:r>
            <a:r>
              <a:rPr lang="en-US" sz="1050" dirty="0">
                <a:latin typeface="Arial" panose="020B0604020202020204" pitchFamily="34" charset="0"/>
                <a:cs typeface="Arial" panose="020B0604020202020204" pitchFamily="34" charset="0"/>
              </a:rPr>
              <a:t>by up to 20x.</a:t>
            </a:r>
            <a:endParaRPr lang="en-US" sz="1050" b="0" dirty="0"/>
          </a:p>
          <a:p>
            <a:pPr marL="0" indent="0">
              <a:buNone/>
            </a:pPr>
            <a:endParaRPr lang="en-US" sz="1050" dirty="0"/>
          </a:p>
        </p:txBody>
      </p:sp>
      <p:graphicFrame>
        <p:nvGraphicFramePr>
          <p:cNvPr id="74" name="Chart 73"/>
          <p:cNvGraphicFramePr/>
          <p:nvPr>
            <p:custDataLst>
              <p:tags r:id="rId2"/>
            </p:custDataLst>
            <p:extLst>
              <p:ext uri="{D42A27DB-BD31-4B8C-83A1-F6EECF244321}">
                <p14:modId xmlns:p14="http://schemas.microsoft.com/office/powerpoint/2010/main" val="650784819"/>
              </p:ext>
            </p:extLst>
          </p:nvPr>
        </p:nvGraphicFramePr>
        <p:xfrm>
          <a:off x="774700" y="1905000"/>
          <a:ext cx="4305300" cy="1984375"/>
        </p:xfrm>
        <a:graphic>
          <a:graphicData uri="http://schemas.openxmlformats.org/drawingml/2006/chart">
            <c:chart xmlns:c="http://schemas.openxmlformats.org/drawingml/2006/chart" xmlns:r="http://schemas.openxmlformats.org/officeDocument/2006/relationships" r:id="rId60"/>
          </a:graphicData>
        </a:graphic>
      </p:graphicFrame>
      <p:sp>
        <p:nvSpPr>
          <p:cNvPr id="231" name="Text Placeholder 10">
            <a:extLst>
              <a:ext uri="{FF2B5EF4-FFF2-40B4-BE49-F238E27FC236}">
                <a16:creationId xmlns:a16="http://schemas.microsoft.com/office/drawing/2014/main" id="{CCD26D0B-9116-0A1E-8FE1-FF3C9F97347F}"/>
              </a:ext>
            </a:extLst>
          </p:cNvPr>
          <p:cNvSpPr txBox="1">
            <a:spLocks/>
          </p:cNvSpPr>
          <p:nvPr>
            <p:custDataLst>
              <p:tags r:id="rId3"/>
            </p:custDataLst>
          </p:nvPr>
        </p:nvSpPr>
        <p:spPr bwMode="gray">
          <a:xfrm>
            <a:off x="414338" y="37306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22FD471-A0C1-4D5A-9A11-8B45FA5B7777}" type="datetime'''''''''1''''''''''''''.''''''''0''''00'">
              <a:rPr lang="en-US" altLang="en-US" sz="1000" smtClean="0"/>
              <a:pPr marL="0" indent="0" algn="r">
                <a:spcBef>
                  <a:spcPct val="0"/>
                </a:spcBef>
                <a:spcAft>
                  <a:spcPct val="0"/>
                </a:spcAft>
                <a:buNone/>
              </a:pPr>
              <a:t>1.000</a:t>
            </a:fld>
            <a:endParaRPr lang="en-US" sz="1000"/>
          </a:p>
        </p:txBody>
      </p:sp>
      <p:sp>
        <p:nvSpPr>
          <p:cNvPr id="224" name="Text Placeholder 10">
            <a:extLst>
              <a:ext uri="{FF2B5EF4-FFF2-40B4-BE49-F238E27FC236}">
                <a16:creationId xmlns:a16="http://schemas.microsoft.com/office/drawing/2014/main" id="{0C4F687B-5034-39FD-DCFE-3E1CF16A9CF6}"/>
              </a:ext>
            </a:extLst>
          </p:cNvPr>
          <p:cNvSpPr txBox="1">
            <a:spLocks/>
          </p:cNvSpPr>
          <p:nvPr>
            <p:custDataLst>
              <p:tags r:id="rId4"/>
            </p:custDataLst>
          </p:nvPr>
        </p:nvSpPr>
        <p:spPr bwMode="gray">
          <a:xfrm>
            <a:off x="414338" y="35290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9A125D-F547-4080-A842-8398893866B4}" type="datetime'''''''''''1''.''''''''''''''''5''''''''0''0'''''''''''">
              <a:rPr lang="en-US" altLang="en-US" sz="1000" smtClean="0"/>
              <a:pPr marL="0" indent="0" algn="r">
                <a:spcBef>
                  <a:spcPct val="0"/>
                </a:spcBef>
                <a:spcAft>
                  <a:spcPct val="0"/>
                </a:spcAft>
                <a:buNone/>
              </a:pPr>
              <a:t>1.500</a:t>
            </a:fld>
            <a:endParaRPr lang="en-US" sz="1000"/>
          </a:p>
        </p:txBody>
      </p:sp>
      <p:sp>
        <p:nvSpPr>
          <p:cNvPr id="225" name="Text Placeholder 10">
            <a:extLst>
              <a:ext uri="{FF2B5EF4-FFF2-40B4-BE49-F238E27FC236}">
                <a16:creationId xmlns:a16="http://schemas.microsoft.com/office/drawing/2014/main" id="{EA3F8295-0B59-8A84-6CC0-B72E1EAE96F0}"/>
              </a:ext>
            </a:extLst>
          </p:cNvPr>
          <p:cNvSpPr txBox="1">
            <a:spLocks/>
          </p:cNvSpPr>
          <p:nvPr>
            <p:custDataLst>
              <p:tags r:id="rId5"/>
            </p:custDataLst>
          </p:nvPr>
        </p:nvSpPr>
        <p:spPr bwMode="gray">
          <a:xfrm>
            <a:off x="414338" y="33258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7673B66-3D4F-4076-AF89-E9D1BBB0B245}" type="datetime'''2''''''''''''''''''''''''''.''0''''''''''00'''">
              <a:rPr lang="en-US" altLang="en-US" sz="1000" smtClean="0"/>
              <a:pPr marL="0" indent="0" algn="r">
                <a:spcBef>
                  <a:spcPct val="0"/>
                </a:spcBef>
                <a:spcAft>
                  <a:spcPct val="0"/>
                </a:spcAft>
                <a:buNone/>
              </a:pPr>
              <a:t>2.000</a:t>
            </a:fld>
            <a:endParaRPr lang="en-US" sz="1000"/>
          </a:p>
        </p:txBody>
      </p:sp>
      <p:sp>
        <p:nvSpPr>
          <p:cNvPr id="226" name="Text Placeholder 10">
            <a:extLst>
              <a:ext uri="{FF2B5EF4-FFF2-40B4-BE49-F238E27FC236}">
                <a16:creationId xmlns:a16="http://schemas.microsoft.com/office/drawing/2014/main" id="{5A5B6CE6-6450-DA24-BC4A-784D30968F45}"/>
              </a:ext>
            </a:extLst>
          </p:cNvPr>
          <p:cNvSpPr txBox="1">
            <a:spLocks/>
          </p:cNvSpPr>
          <p:nvPr>
            <p:custDataLst>
              <p:tags r:id="rId6"/>
            </p:custDataLst>
          </p:nvPr>
        </p:nvSpPr>
        <p:spPr bwMode="gray">
          <a:xfrm>
            <a:off x="414338" y="31242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91EADC-639D-4192-AF71-22984BA5D4DF}" type="datetime'''''''''''2''.5''''''''''''0''''''''''''0'''''''''''">
              <a:rPr lang="en-US" altLang="en-US" sz="1000" smtClean="0"/>
              <a:pPr marL="0" indent="0" algn="r">
                <a:spcBef>
                  <a:spcPct val="0"/>
                </a:spcBef>
                <a:spcAft>
                  <a:spcPct val="0"/>
                </a:spcAft>
                <a:buNone/>
              </a:pPr>
              <a:t>2.500</a:t>
            </a:fld>
            <a:endParaRPr lang="en-US" sz="1000"/>
          </a:p>
        </p:txBody>
      </p:sp>
      <p:sp>
        <p:nvSpPr>
          <p:cNvPr id="227" name="Text Placeholder 10">
            <a:extLst>
              <a:ext uri="{FF2B5EF4-FFF2-40B4-BE49-F238E27FC236}">
                <a16:creationId xmlns:a16="http://schemas.microsoft.com/office/drawing/2014/main" id="{123C05CA-BF5F-1BA4-C9C3-248A5F15C529}"/>
              </a:ext>
            </a:extLst>
          </p:cNvPr>
          <p:cNvSpPr txBox="1">
            <a:spLocks/>
          </p:cNvSpPr>
          <p:nvPr>
            <p:custDataLst>
              <p:tags r:id="rId7"/>
            </p:custDataLst>
          </p:nvPr>
        </p:nvSpPr>
        <p:spPr bwMode="gray">
          <a:xfrm>
            <a:off x="414338" y="29225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49F15D9-4337-4A4B-933F-6AD9C4B9444C}" type="datetime'''''''3''''''''''''.''0''''''''''''00'''">
              <a:rPr lang="en-US" altLang="en-US" sz="1000" smtClean="0"/>
              <a:pPr marL="0" indent="0" algn="r">
                <a:spcBef>
                  <a:spcPct val="0"/>
                </a:spcBef>
                <a:spcAft>
                  <a:spcPct val="0"/>
                </a:spcAft>
                <a:buNone/>
              </a:pPr>
              <a:t>3.000</a:t>
            </a:fld>
            <a:endParaRPr lang="en-US" sz="1000"/>
          </a:p>
        </p:txBody>
      </p:sp>
      <p:sp>
        <p:nvSpPr>
          <p:cNvPr id="228" name="Text Placeholder 10">
            <a:extLst>
              <a:ext uri="{FF2B5EF4-FFF2-40B4-BE49-F238E27FC236}">
                <a16:creationId xmlns:a16="http://schemas.microsoft.com/office/drawing/2014/main" id="{B0B07243-D82E-4642-CEA0-8AF4449BED5C}"/>
              </a:ext>
            </a:extLst>
          </p:cNvPr>
          <p:cNvSpPr txBox="1">
            <a:spLocks/>
          </p:cNvSpPr>
          <p:nvPr>
            <p:custDataLst>
              <p:tags r:id="rId8"/>
            </p:custDataLst>
          </p:nvPr>
        </p:nvSpPr>
        <p:spPr bwMode="gray">
          <a:xfrm>
            <a:off x="414338" y="27193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3FF0BF5-0F1C-46F9-9B17-97AF57726802}" type="datetime'''3''''.''''''''''''''''''''''''''5''''''0''0'''''">
              <a:rPr lang="en-US" altLang="en-US" sz="1000" smtClean="0"/>
              <a:pPr marL="0" indent="0" algn="r">
                <a:spcBef>
                  <a:spcPct val="0"/>
                </a:spcBef>
                <a:spcAft>
                  <a:spcPct val="0"/>
                </a:spcAft>
                <a:buNone/>
              </a:pPr>
              <a:t>3.500</a:t>
            </a:fld>
            <a:endParaRPr lang="en-US" sz="1000"/>
          </a:p>
        </p:txBody>
      </p:sp>
      <p:sp>
        <p:nvSpPr>
          <p:cNvPr id="229" name="Text Placeholder 10">
            <a:extLst>
              <a:ext uri="{FF2B5EF4-FFF2-40B4-BE49-F238E27FC236}">
                <a16:creationId xmlns:a16="http://schemas.microsoft.com/office/drawing/2014/main" id="{76F3D53C-4DBA-DE51-7E71-7BB1817BCAD6}"/>
              </a:ext>
            </a:extLst>
          </p:cNvPr>
          <p:cNvSpPr txBox="1">
            <a:spLocks/>
          </p:cNvSpPr>
          <p:nvPr>
            <p:custDataLst>
              <p:tags r:id="rId9"/>
            </p:custDataLst>
          </p:nvPr>
        </p:nvSpPr>
        <p:spPr bwMode="gray">
          <a:xfrm>
            <a:off x="414338" y="25177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1A8D58E-039B-4C04-8A9B-785218E3D507}" type="datetime'''''''''''4''''''''''''''.''''0''''''''''''0''''''''''0'''''">
              <a:rPr lang="en-US" altLang="en-US" sz="1000" smtClean="0"/>
              <a:pPr marL="0" indent="0" algn="r">
                <a:spcBef>
                  <a:spcPct val="0"/>
                </a:spcBef>
                <a:spcAft>
                  <a:spcPct val="0"/>
                </a:spcAft>
                <a:buNone/>
              </a:pPr>
              <a:t>4.000</a:t>
            </a:fld>
            <a:endParaRPr lang="en-US" sz="1000"/>
          </a:p>
        </p:txBody>
      </p:sp>
      <p:sp>
        <p:nvSpPr>
          <p:cNvPr id="230" name="Text Placeholder 10">
            <a:extLst>
              <a:ext uri="{FF2B5EF4-FFF2-40B4-BE49-F238E27FC236}">
                <a16:creationId xmlns:a16="http://schemas.microsoft.com/office/drawing/2014/main" id="{061ECD9B-C246-545A-A577-95CE87E16DE6}"/>
              </a:ext>
            </a:extLst>
          </p:cNvPr>
          <p:cNvSpPr txBox="1">
            <a:spLocks/>
          </p:cNvSpPr>
          <p:nvPr>
            <p:custDataLst>
              <p:tags r:id="rId10"/>
            </p:custDataLst>
          </p:nvPr>
        </p:nvSpPr>
        <p:spPr bwMode="gray">
          <a:xfrm>
            <a:off x="414338" y="23161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6242A65-BA7F-4BF1-9E11-5DF418B04719}" type="datetime'''4''''''''''''''.''''''''''''''''''50''''''''0'''''''''">
              <a:rPr lang="en-US" altLang="en-US" sz="1000" smtClean="0"/>
              <a:pPr marL="0" indent="0" algn="r">
                <a:spcBef>
                  <a:spcPct val="0"/>
                </a:spcBef>
                <a:spcAft>
                  <a:spcPct val="0"/>
                </a:spcAft>
                <a:buNone/>
              </a:pPr>
              <a:t>4.500</a:t>
            </a:fld>
            <a:endParaRPr lang="en-US" sz="1000"/>
          </a:p>
        </p:txBody>
      </p:sp>
      <p:sp>
        <p:nvSpPr>
          <p:cNvPr id="233" name="Text Placeholder 10">
            <a:extLst>
              <a:ext uri="{FF2B5EF4-FFF2-40B4-BE49-F238E27FC236}">
                <a16:creationId xmlns:a16="http://schemas.microsoft.com/office/drawing/2014/main" id="{ABC2A29C-7FD8-BA76-E68D-2F523DFEA9AA}"/>
              </a:ext>
            </a:extLst>
          </p:cNvPr>
          <p:cNvSpPr txBox="1">
            <a:spLocks/>
          </p:cNvSpPr>
          <p:nvPr>
            <p:custDataLst>
              <p:tags r:id="rId11"/>
            </p:custDataLst>
          </p:nvPr>
        </p:nvSpPr>
        <p:spPr bwMode="gray">
          <a:xfrm>
            <a:off x="414338" y="21129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45A0E5A-AE63-40DF-AA22-A13EB0457CC0}" type="datetime'''''5''''''''''.''''''''''''''''''''0''''''00'''''''''''">
              <a:rPr lang="en-US" altLang="en-US" sz="1000" smtClean="0"/>
              <a:pPr marL="0" indent="0" algn="r">
                <a:spcBef>
                  <a:spcPct val="0"/>
                </a:spcBef>
                <a:spcAft>
                  <a:spcPct val="0"/>
                </a:spcAft>
                <a:buNone/>
              </a:pPr>
              <a:t>5.000</a:t>
            </a:fld>
            <a:endParaRPr lang="en-US" sz="1000"/>
          </a:p>
        </p:txBody>
      </p:sp>
      <p:sp>
        <p:nvSpPr>
          <p:cNvPr id="232" name="Text Placeholder 10">
            <a:extLst>
              <a:ext uri="{FF2B5EF4-FFF2-40B4-BE49-F238E27FC236}">
                <a16:creationId xmlns:a16="http://schemas.microsoft.com/office/drawing/2014/main" id="{91857D79-3E35-2DFC-0CAA-9864DC2A1779}"/>
              </a:ext>
            </a:extLst>
          </p:cNvPr>
          <p:cNvSpPr txBox="1">
            <a:spLocks/>
          </p:cNvSpPr>
          <p:nvPr>
            <p:custDataLst>
              <p:tags r:id="rId12"/>
            </p:custDataLst>
          </p:nvPr>
        </p:nvSpPr>
        <p:spPr bwMode="gray">
          <a:xfrm>
            <a:off x="414338" y="19113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46E4527-9A5F-4D37-8532-D7CAE7D85B20}" type="datetime'5.5''''''''''''''''''''0''''''''''''''''0'''">
              <a:rPr lang="en-US" altLang="en-US" sz="1000" smtClean="0"/>
              <a:pPr marL="0" indent="0" algn="r">
                <a:spcBef>
                  <a:spcPct val="0"/>
                </a:spcBef>
                <a:spcAft>
                  <a:spcPct val="0"/>
                </a:spcAft>
                <a:buNone/>
              </a:pPr>
              <a:t>5.500</a:t>
            </a:fld>
            <a:endParaRPr lang="en-US" sz="1000"/>
          </a:p>
        </p:txBody>
      </p:sp>
      <p:sp>
        <p:nvSpPr>
          <p:cNvPr id="238" name="Text Placeholder 10">
            <a:extLst>
              <a:ext uri="{FF2B5EF4-FFF2-40B4-BE49-F238E27FC236}">
                <a16:creationId xmlns:a16="http://schemas.microsoft.com/office/drawing/2014/main" id="{3053BC0A-B1CB-83D5-7611-89F15C27134B}"/>
              </a:ext>
            </a:extLst>
          </p:cNvPr>
          <p:cNvSpPr txBox="1">
            <a:spLocks/>
          </p:cNvSpPr>
          <p:nvPr>
            <p:custDataLst>
              <p:tags r:id="rId13"/>
            </p:custDataLst>
          </p:nvPr>
        </p:nvSpPr>
        <p:spPr bwMode="auto">
          <a:xfrm>
            <a:off x="685800" y="3840163"/>
            <a:ext cx="3429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3C9A8B4-24E3-4003-B49F-7F3D1FAD5B4B}" type="datetime'''''''1''''''st'''''''''''' ''u''''n''''''''''''''i''''''t'">
              <a:rPr lang="en-US" altLang="en-US" sz="800" smtClean="0"/>
              <a:pPr marL="0" indent="0" algn="ctr">
                <a:spcBef>
                  <a:spcPct val="0"/>
                </a:spcBef>
                <a:spcAft>
                  <a:spcPct val="0"/>
                </a:spcAft>
                <a:buNone/>
              </a:pPr>
              <a:t>1st unit</a:t>
            </a:fld>
            <a:endParaRPr lang="en-US" sz="800"/>
          </a:p>
        </p:txBody>
      </p:sp>
      <p:sp>
        <p:nvSpPr>
          <p:cNvPr id="234" name="Text Placeholder 10">
            <a:extLst>
              <a:ext uri="{FF2B5EF4-FFF2-40B4-BE49-F238E27FC236}">
                <a16:creationId xmlns:a16="http://schemas.microsoft.com/office/drawing/2014/main" id="{B6214C17-1390-BA32-EB4E-FB1613B360A5}"/>
              </a:ext>
            </a:extLst>
          </p:cNvPr>
          <p:cNvSpPr txBox="1">
            <a:spLocks/>
          </p:cNvSpPr>
          <p:nvPr>
            <p:custDataLst>
              <p:tags r:id="rId14"/>
            </p:custDataLst>
          </p:nvPr>
        </p:nvSpPr>
        <p:spPr bwMode="auto">
          <a:xfrm>
            <a:off x="1703388" y="3840163"/>
            <a:ext cx="3778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A361BE7-68BB-456F-BC52-D728EECEA4AA}" type="datetime'2''''''''''''''n''d'''''''''' ''''''''''un''''''''i''''''t'">
              <a:rPr lang="en-US" altLang="en-US" sz="800" smtClean="0"/>
              <a:pPr marL="0" indent="0" algn="ctr">
                <a:spcBef>
                  <a:spcPct val="0"/>
                </a:spcBef>
                <a:spcAft>
                  <a:spcPct val="0"/>
                </a:spcAft>
                <a:buNone/>
              </a:pPr>
              <a:t>2nd unit</a:t>
            </a:fld>
            <a:endParaRPr lang="en-US" sz="800"/>
          </a:p>
        </p:txBody>
      </p:sp>
      <p:sp>
        <p:nvSpPr>
          <p:cNvPr id="235" name="Text Placeholder 10">
            <a:extLst>
              <a:ext uri="{FF2B5EF4-FFF2-40B4-BE49-F238E27FC236}">
                <a16:creationId xmlns:a16="http://schemas.microsoft.com/office/drawing/2014/main" id="{AC6EF45D-9C67-8B5A-1687-DF72751E1986}"/>
              </a:ext>
            </a:extLst>
          </p:cNvPr>
          <p:cNvSpPr txBox="1">
            <a:spLocks/>
          </p:cNvSpPr>
          <p:nvPr>
            <p:custDataLst>
              <p:tags r:id="rId15"/>
            </p:custDataLst>
          </p:nvPr>
        </p:nvSpPr>
        <p:spPr bwMode="auto">
          <a:xfrm>
            <a:off x="2752725" y="3840163"/>
            <a:ext cx="349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B0DF8EB-2460-476A-935C-05CBC9BC6DED}" type="datetime'''''4''t''''''''h'' ''''''''''''''''''''''''''''''''u''nit'''">
              <a:rPr lang="en-US" altLang="en-US" sz="800" smtClean="0"/>
              <a:pPr marL="0" indent="0" algn="ctr">
                <a:spcBef>
                  <a:spcPct val="0"/>
                </a:spcBef>
                <a:spcAft>
                  <a:spcPct val="0"/>
                </a:spcAft>
                <a:buNone/>
              </a:pPr>
              <a:t>4th unit</a:t>
            </a:fld>
            <a:endParaRPr lang="en-US" sz="800"/>
          </a:p>
        </p:txBody>
      </p:sp>
      <p:sp>
        <p:nvSpPr>
          <p:cNvPr id="236" name="Text Placeholder 10">
            <a:extLst>
              <a:ext uri="{FF2B5EF4-FFF2-40B4-BE49-F238E27FC236}">
                <a16:creationId xmlns:a16="http://schemas.microsoft.com/office/drawing/2014/main" id="{3C564BCC-888E-C487-6AE0-9BD2DA7B074C}"/>
              </a:ext>
            </a:extLst>
          </p:cNvPr>
          <p:cNvSpPr txBox="1">
            <a:spLocks/>
          </p:cNvSpPr>
          <p:nvPr>
            <p:custDataLst>
              <p:tags r:id="rId16"/>
            </p:custDataLst>
          </p:nvPr>
        </p:nvSpPr>
        <p:spPr bwMode="auto">
          <a:xfrm>
            <a:off x="3787775" y="3840163"/>
            <a:ext cx="349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F4F8689-2D38-4E19-99FD-575235222912}" type="datetime'''''6''''th'''''''''''''''' ''u''''''''''n''''''''''it'''''">
              <a:rPr lang="en-US" altLang="en-US" sz="800" smtClean="0"/>
              <a:pPr marL="0" indent="0" algn="ctr">
                <a:spcBef>
                  <a:spcPct val="0"/>
                </a:spcBef>
                <a:spcAft>
                  <a:spcPct val="0"/>
                </a:spcAft>
                <a:buNone/>
              </a:pPr>
              <a:t>6th unit</a:t>
            </a:fld>
            <a:endParaRPr lang="en-US" sz="800"/>
          </a:p>
        </p:txBody>
      </p:sp>
      <p:sp>
        <p:nvSpPr>
          <p:cNvPr id="237" name="Text Placeholder 10">
            <a:extLst>
              <a:ext uri="{FF2B5EF4-FFF2-40B4-BE49-F238E27FC236}">
                <a16:creationId xmlns:a16="http://schemas.microsoft.com/office/drawing/2014/main" id="{1571EE7E-ABB8-23ED-9B3F-109C233587A1}"/>
              </a:ext>
            </a:extLst>
          </p:cNvPr>
          <p:cNvSpPr txBox="1">
            <a:spLocks/>
          </p:cNvSpPr>
          <p:nvPr>
            <p:custDataLst>
              <p:tags r:id="rId17"/>
            </p:custDataLst>
          </p:nvPr>
        </p:nvSpPr>
        <p:spPr bwMode="auto">
          <a:xfrm>
            <a:off x="4822825" y="3840163"/>
            <a:ext cx="349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4F836D5-3A48-42D1-A1B4-3AD648D67B16}" type="datetime'''8''''''t''''''''''''''h'' ''''''''''''''u''''n''''''i''t'''">
              <a:rPr lang="en-US" altLang="en-US" sz="800" smtClean="0"/>
              <a:pPr marL="0" indent="0" algn="ctr">
                <a:spcBef>
                  <a:spcPct val="0"/>
                </a:spcBef>
                <a:spcAft>
                  <a:spcPct val="0"/>
                </a:spcAft>
                <a:buNone/>
              </a:pPr>
              <a:t>8th unit</a:t>
            </a:fld>
            <a:endParaRPr lang="en-US" sz="800"/>
          </a:p>
        </p:txBody>
      </p:sp>
      <p:cxnSp>
        <p:nvCxnSpPr>
          <p:cNvPr id="241" name="Straight Connector 240">
            <a:extLst>
              <a:ext uri="{FF2B5EF4-FFF2-40B4-BE49-F238E27FC236}">
                <a16:creationId xmlns:a16="http://schemas.microsoft.com/office/drawing/2014/main" id="{2FB4EB72-BBBF-6643-9994-A339DD62E55E}"/>
              </a:ext>
            </a:extLst>
          </p:cNvPr>
          <p:cNvCxnSpPr/>
          <p:nvPr>
            <p:custDataLst>
              <p:tags r:id="rId18"/>
            </p:custDataLst>
          </p:nvPr>
        </p:nvCxnSpPr>
        <p:spPr bwMode="gray">
          <a:xfrm>
            <a:off x="976313" y="3103563"/>
            <a:ext cx="222250"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9AC70E91-6486-BDC1-85CE-F288C7722701}"/>
              </a:ext>
            </a:extLst>
          </p:cNvPr>
          <p:cNvCxnSpPr/>
          <p:nvPr>
            <p:custDataLst>
              <p:tags r:id="rId19"/>
            </p:custDataLst>
          </p:nvPr>
        </p:nvCxnSpPr>
        <p:spPr bwMode="gray">
          <a:xfrm>
            <a:off x="976313" y="3276600"/>
            <a:ext cx="222250"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EB50875D-9032-63C7-9FCD-0ED8FFE8FD9C}"/>
              </a:ext>
            </a:extLst>
          </p:cNvPr>
          <p:cNvCxnSpPr/>
          <p:nvPr>
            <p:custDataLst>
              <p:tags r:id="rId20"/>
            </p:custDataLst>
          </p:nvPr>
        </p:nvCxnSpPr>
        <p:spPr bwMode="gray">
          <a:xfrm>
            <a:off x="976313" y="3449638"/>
            <a:ext cx="222250"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FC0BA654-BC97-E542-10BE-06E78523351D}"/>
              </a:ext>
            </a:extLst>
          </p:cNvPr>
          <p:cNvCxnSpPr/>
          <p:nvPr>
            <p:custDataLst>
              <p:tags r:id="rId21"/>
            </p:custDataLst>
          </p:nvPr>
        </p:nvCxnSpPr>
        <p:spPr bwMode="gray">
          <a:xfrm>
            <a:off x="976313" y="3622675"/>
            <a:ext cx="222250" cy="0"/>
          </a:xfrm>
          <a:prstGeom prst="line">
            <a:avLst/>
          </a:prstGeom>
          <a:ln w="1905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45" name="Triangle 244">
            <a:extLst>
              <a:ext uri="{FF2B5EF4-FFF2-40B4-BE49-F238E27FC236}">
                <a16:creationId xmlns:a16="http://schemas.microsoft.com/office/drawing/2014/main" id="{74BE390A-D3C8-ACB6-3868-4EA1AEEB3587}"/>
              </a:ext>
            </a:extLst>
          </p:cNvPr>
          <p:cNvSpPr/>
          <p:nvPr>
            <p:custDataLst>
              <p:tags r:id="rId22"/>
            </p:custDataLst>
          </p:nvPr>
        </p:nvSpPr>
        <p:spPr bwMode="auto">
          <a:xfrm>
            <a:off x="1042988" y="3059113"/>
            <a:ext cx="88900" cy="88900"/>
          </a:xfrm>
          <a:prstGeom prst="triangl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43" name="Triangle 242">
            <a:extLst>
              <a:ext uri="{FF2B5EF4-FFF2-40B4-BE49-F238E27FC236}">
                <a16:creationId xmlns:a16="http://schemas.microsoft.com/office/drawing/2014/main" id="{1FC0D229-61A1-A9AB-68E5-A702F39A4245}"/>
              </a:ext>
            </a:extLst>
          </p:cNvPr>
          <p:cNvSpPr/>
          <p:nvPr>
            <p:custDataLst>
              <p:tags r:id="rId23"/>
            </p:custDataLst>
          </p:nvPr>
        </p:nvSpPr>
        <p:spPr bwMode="auto">
          <a:xfrm>
            <a:off x="1042988" y="3232150"/>
            <a:ext cx="88900" cy="88900"/>
          </a:xfrm>
          <a:prstGeom prst="triangle">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46" name="Triangle 245">
            <a:extLst>
              <a:ext uri="{FF2B5EF4-FFF2-40B4-BE49-F238E27FC236}">
                <a16:creationId xmlns:a16="http://schemas.microsoft.com/office/drawing/2014/main" id="{17659F3A-9497-B8E1-74E1-D3758C9790BE}"/>
              </a:ext>
            </a:extLst>
          </p:cNvPr>
          <p:cNvSpPr/>
          <p:nvPr>
            <p:custDataLst>
              <p:tags r:id="rId24"/>
            </p:custDataLst>
          </p:nvPr>
        </p:nvSpPr>
        <p:spPr bwMode="auto">
          <a:xfrm>
            <a:off x="1042988" y="3405188"/>
            <a:ext cx="88900" cy="88900"/>
          </a:xfrm>
          <a:prstGeom prst="triangle">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44" name="Triangle 243">
            <a:extLst>
              <a:ext uri="{FF2B5EF4-FFF2-40B4-BE49-F238E27FC236}">
                <a16:creationId xmlns:a16="http://schemas.microsoft.com/office/drawing/2014/main" id="{9BEC09CE-EE4B-A9BA-3827-55EABCF803B4}"/>
              </a:ext>
            </a:extLst>
          </p:cNvPr>
          <p:cNvSpPr/>
          <p:nvPr>
            <p:custDataLst>
              <p:tags r:id="rId25"/>
            </p:custDataLst>
          </p:nvPr>
        </p:nvSpPr>
        <p:spPr bwMode="auto">
          <a:xfrm>
            <a:off x="1042988" y="3578225"/>
            <a:ext cx="88900" cy="88900"/>
          </a:xfrm>
          <a:prstGeom prst="triangle">
            <a:avLst/>
          </a:prstGeom>
          <a:solidFill>
            <a:schemeClr val="accent4"/>
          </a:solidFill>
          <a:ln w="9525"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47" name="Text Placeholder 10">
            <a:extLst>
              <a:ext uri="{FF2B5EF4-FFF2-40B4-BE49-F238E27FC236}">
                <a16:creationId xmlns:a16="http://schemas.microsoft.com/office/drawing/2014/main" id="{233A72EE-676C-6B6D-0851-93342EE40239}"/>
              </a:ext>
            </a:extLst>
          </p:cNvPr>
          <p:cNvSpPr txBox="1">
            <a:spLocks/>
          </p:cNvSpPr>
          <p:nvPr>
            <p:custDataLst>
              <p:tags r:id="rId26"/>
            </p:custDataLst>
          </p:nvPr>
        </p:nvSpPr>
        <p:spPr bwMode="auto">
          <a:xfrm>
            <a:off x="1258888" y="3046413"/>
            <a:ext cx="438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FE4D56E-7FC0-4AB1-8918-E620A60D7C78}" type="datetime'''''''''''1'''' u''n''it/''s''i''''''''t''e'''''">
              <a:rPr lang="en-US" altLang="en-US" sz="800" smtClean="0"/>
              <a:pPr marL="0" indent="0">
                <a:spcBef>
                  <a:spcPct val="0"/>
                </a:spcBef>
                <a:spcAft>
                  <a:spcPct val="0"/>
                </a:spcAft>
                <a:buNone/>
              </a:pPr>
              <a:t>1 unit/site</a:t>
            </a:fld>
            <a:endParaRPr lang="en-US" sz="800"/>
          </a:p>
        </p:txBody>
      </p:sp>
      <p:sp>
        <p:nvSpPr>
          <p:cNvPr id="249" name="Text Placeholder 10">
            <a:extLst>
              <a:ext uri="{FF2B5EF4-FFF2-40B4-BE49-F238E27FC236}">
                <a16:creationId xmlns:a16="http://schemas.microsoft.com/office/drawing/2014/main" id="{8AD5AF8E-25A8-1BB6-B2F7-8AE7F76928F6}"/>
              </a:ext>
            </a:extLst>
          </p:cNvPr>
          <p:cNvSpPr txBox="1">
            <a:spLocks/>
          </p:cNvSpPr>
          <p:nvPr>
            <p:custDataLst>
              <p:tags r:id="rId27"/>
            </p:custDataLst>
          </p:nvPr>
        </p:nvSpPr>
        <p:spPr bwMode="auto">
          <a:xfrm>
            <a:off x="1258888" y="3219450"/>
            <a:ext cx="4889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7E86D90-9C18-4889-AA15-A3636FB1910E}" type="datetime'''2 ''u''''n''''i''''t''s''/''''''''''s''it''''''e'">
              <a:rPr lang="en-US" altLang="en-US" sz="800" smtClean="0"/>
              <a:pPr marL="0" indent="0">
                <a:spcBef>
                  <a:spcPct val="0"/>
                </a:spcBef>
                <a:spcAft>
                  <a:spcPct val="0"/>
                </a:spcAft>
                <a:buNone/>
              </a:pPr>
              <a:t>2 units/site</a:t>
            </a:fld>
            <a:endParaRPr lang="en-US" sz="800"/>
          </a:p>
        </p:txBody>
      </p:sp>
      <p:sp>
        <p:nvSpPr>
          <p:cNvPr id="250" name="Text Placeholder 10">
            <a:extLst>
              <a:ext uri="{FF2B5EF4-FFF2-40B4-BE49-F238E27FC236}">
                <a16:creationId xmlns:a16="http://schemas.microsoft.com/office/drawing/2014/main" id="{510D5957-1EEE-6097-0721-71C23F2475EA}"/>
              </a:ext>
            </a:extLst>
          </p:cNvPr>
          <p:cNvSpPr txBox="1">
            <a:spLocks/>
          </p:cNvSpPr>
          <p:nvPr>
            <p:custDataLst>
              <p:tags r:id="rId28"/>
            </p:custDataLst>
          </p:nvPr>
        </p:nvSpPr>
        <p:spPr bwMode="auto">
          <a:xfrm>
            <a:off x="1258888" y="3392488"/>
            <a:ext cx="5461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6A990A7-ADAC-4016-9493-6ACACE5485A1}" type="datetime''''''''' 4 u''''''''''''''ni''ts''/s''''ite'''' '''''''''''">
              <a:rPr lang="en-US" altLang="en-US" sz="800" smtClean="0"/>
              <a:pPr marL="0" indent="0">
                <a:spcBef>
                  <a:spcPct val="0"/>
                </a:spcBef>
                <a:spcAft>
                  <a:spcPct val="0"/>
                </a:spcAft>
                <a:buNone/>
              </a:pPr>
              <a:t> 4 units/site </a:t>
            </a:fld>
            <a:endParaRPr lang="en-US" sz="800"/>
          </a:p>
        </p:txBody>
      </p:sp>
      <p:sp>
        <p:nvSpPr>
          <p:cNvPr id="248" name="Text Placeholder 10">
            <a:extLst>
              <a:ext uri="{FF2B5EF4-FFF2-40B4-BE49-F238E27FC236}">
                <a16:creationId xmlns:a16="http://schemas.microsoft.com/office/drawing/2014/main" id="{F125415A-9E8E-E95C-6786-D58DDE43B7E9}"/>
              </a:ext>
            </a:extLst>
          </p:cNvPr>
          <p:cNvSpPr txBox="1">
            <a:spLocks/>
          </p:cNvSpPr>
          <p:nvPr>
            <p:custDataLst>
              <p:tags r:id="rId29"/>
            </p:custDataLst>
          </p:nvPr>
        </p:nvSpPr>
        <p:spPr bwMode="auto">
          <a:xfrm>
            <a:off x="1258888" y="3565525"/>
            <a:ext cx="4095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4B0F961-E333-4BB8-904F-7200B78A7766}" type="datetime'''''''''''''''''''''Bar''''''''''a''''k''''ah '''''''''''''">
              <a:rPr lang="en-US" altLang="en-US" sz="800" smtClean="0"/>
              <a:pPr marL="0" indent="0">
                <a:spcBef>
                  <a:spcPct val="0"/>
                </a:spcBef>
                <a:spcAft>
                  <a:spcPct val="0"/>
                </a:spcAft>
                <a:buNone/>
              </a:pPr>
              <a:t>Barakah </a:t>
            </a:fld>
            <a:endParaRPr lang="en-US" sz="800"/>
          </a:p>
        </p:txBody>
      </p:sp>
      <p:sp>
        <p:nvSpPr>
          <p:cNvPr id="251" name="Rectangle 250">
            <a:extLst>
              <a:ext uri="{FF2B5EF4-FFF2-40B4-BE49-F238E27FC236}">
                <a16:creationId xmlns:a16="http://schemas.microsoft.com/office/drawing/2014/main" id="{502032B8-341F-97F1-DD4E-C54DE32D15C4}"/>
              </a:ext>
            </a:extLst>
          </p:cNvPr>
          <p:cNvSpPr/>
          <p:nvPr/>
        </p:nvSpPr>
        <p:spPr bwMode="gray">
          <a:xfrm>
            <a:off x="1051432" y="1900114"/>
            <a:ext cx="4214306" cy="2742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lgn="ctr">
              <a:defRPr/>
            </a:pPr>
            <a:endParaRPr lang="en-US" sz="1100" b="1" kern="0">
              <a:solidFill>
                <a:schemeClr val="tx1"/>
              </a:solidFill>
            </a:endParaRPr>
          </a:p>
        </p:txBody>
      </p:sp>
      <p:sp>
        <p:nvSpPr>
          <p:cNvPr id="252" name="Rectangle 251">
            <a:extLst>
              <a:ext uri="{FF2B5EF4-FFF2-40B4-BE49-F238E27FC236}">
                <a16:creationId xmlns:a16="http://schemas.microsoft.com/office/drawing/2014/main" id="{B8A175B0-78DA-B212-1FD1-F6A4570BB94D}"/>
              </a:ext>
            </a:extLst>
          </p:cNvPr>
          <p:cNvSpPr/>
          <p:nvPr/>
        </p:nvSpPr>
        <p:spPr bwMode="gray">
          <a:xfrm rot="16200000">
            <a:off x="-701916" y="2810247"/>
            <a:ext cx="1997593" cy="2409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lgn="ctr">
              <a:defRPr/>
            </a:pPr>
            <a:r>
              <a:rPr lang="en-US" sz="900" kern="0" dirty="0">
                <a:solidFill>
                  <a:schemeClr val="tx1"/>
                </a:solidFill>
              </a:rPr>
              <a:t>OCC ($/</a:t>
            </a:r>
            <a:r>
              <a:rPr lang="en-US" sz="900" kern="0" dirty="0" err="1">
                <a:solidFill>
                  <a:schemeClr val="tx1"/>
                </a:solidFill>
              </a:rPr>
              <a:t>kWe</a:t>
            </a:r>
            <a:r>
              <a:rPr lang="en-US" sz="900" kern="0" dirty="0">
                <a:solidFill>
                  <a:schemeClr val="tx1"/>
                </a:solidFill>
              </a:rPr>
              <a:t>)</a:t>
            </a:r>
          </a:p>
          <a:p>
            <a:pPr lvl="0" algn="ctr">
              <a:defRPr/>
            </a:pPr>
            <a:endParaRPr lang="en-US" sz="800" kern="0" dirty="0">
              <a:solidFill>
                <a:schemeClr val="tx1"/>
              </a:solidFill>
            </a:endParaRPr>
          </a:p>
        </p:txBody>
      </p:sp>
      <p:sp>
        <p:nvSpPr>
          <p:cNvPr id="253" name="Rectangle 252">
            <a:extLst>
              <a:ext uri="{FF2B5EF4-FFF2-40B4-BE49-F238E27FC236}">
                <a16:creationId xmlns:a16="http://schemas.microsoft.com/office/drawing/2014/main" id="{DB2823E7-EB2E-1F43-D5B3-9909375F213C}"/>
              </a:ext>
            </a:extLst>
          </p:cNvPr>
          <p:cNvSpPr/>
          <p:nvPr/>
        </p:nvSpPr>
        <p:spPr bwMode="gray">
          <a:xfrm>
            <a:off x="6126956" y="1920875"/>
            <a:ext cx="2992438"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lgn="ctr">
              <a:defRPr/>
            </a:pPr>
            <a:endParaRPr lang="en-US" sz="1100" b="1" kern="0">
              <a:solidFill>
                <a:schemeClr val="tx1"/>
              </a:solidFill>
            </a:endParaRPr>
          </a:p>
        </p:txBody>
      </p:sp>
      <p:sp>
        <p:nvSpPr>
          <p:cNvPr id="254" name="Speech Bubble: Rectangle 4">
            <a:extLst>
              <a:ext uri="{FF2B5EF4-FFF2-40B4-BE49-F238E27FC236}">
                <a16:creationId xmlns:a16="http://schemas.microsoft.com/office/drawing/2014/main" id="{F34EA4C9-5442-1497-87D0-1CC5A278FE5D}"/>
              </a:ext>
            </a:extLst>
          </p:cNvPr>
          <p:cNvSpPr/>
          <p:nvPr/>
        </p:nvSpPr>
        <p:spPr bwMode="gray">
          <a:xfrm>
            <a:off x="3207409" y="2963863"/>
            <a:ext cx="1760537" cy="771525"/>
          </a:xfrm>
          <a:prstGeom prst="wedgeRectCallout">
            <a:avLst>
              <a:gd name="adj1" fmla="val -76004"/>
              <a:gd name="adj2" fmla="val -24073"/>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600"/>
              </a:spcBef>
              <a:spcAft>
                <a:spcPts val="600"/>
              </a:spcAft>
            </a:pPr>
            <a:r>
              <a:rPr lang="en-US" sz="800">
                <a:solidFill>
                  <a:schemeClr val="tx1"/>
                </a:solidFill>
              </a:rPr>
              <a:t>The Barakah four-unit project was successful due to a partnership with an experienced consortium, offering a proven supply chain, strong governance, and positive learning effects from a multiunit build.</a:t>
            </a:r>
          </a:p>
        </p:txBody>
      </p:sp>
      <p:graphicFrame>
        <p:nvGraphicFramePr>
          <p:cNvPr id="69" name="Chart 68"/>
          <p:cNvGraphicFramePr/>
          <p:nvPr>
            <p:custDataLst>
              <p:tags r:id="rId30"/>
            </p:custDataLst>
            <p:extLst>
              <p:ext uri="{D42A27DB-BD31-4B8C-83A1-F6EECF244321}">
                <p14:modId xmlns:p14="http://schemas.microsoft.com/office/powerpoint/2010/main" val="1867501591"/>
              </p:ext>
            </p:extLst>
          </p:nvPr>
        </p:nvGraphicFramePr>
        <p:xfrm>
          <a:off x="693738" y="4572000"/>
          <a:ext cx="4524375" cy="1838325"/>
        </p:xfrm>
        <a:graphic>
          <a:graphicData uri="http://schemas.openxmlformats.org/drawingml/2006/chart">
            <c:chart xmlns:c="http://schemas.openxmlformats.org/drawingml/2006/chart" xmlns:r="http://schemas.openxmlformats.org/officeDocument/2006/relationships" r:id="rId61"/>
          </a:graphicData>
        </a:graphic>
      </p:graphicFrame>
      <p:sp>
        <p:nvSpPr>
          <p:cNvPr id="256" name="Text Placeholder 10">
            <a:extLst>
              <a:ext uri="{FF2B5EF4-FFF2-40B4-BE49-F238E27FC236}">
                <a16:creationId xmlns:a16="http://schemas.microsoft.com/office/drawing/2014/main" id="{BCBEE767-1CD6-0E1E-CD3F-FF26578995B9}"/>
              </a:ext>
            </a:extLst>
          </p:cNvPr>
          <p:cNvSpPr txBox="1">
            <a:spLocks/>
          </p:cNvSpPr>
          <p:nvPr>
            <p:custDataLst>
              <p:tags r:id="rId31"/>
            </p:custDataLst>
          </p:nvPr>
        </p:nvSpPr>
        <p:spPr bwMode="gray">
          <a:xfrm>
            <a:off x="658813" y="60340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B728FD1-786E-4056-AFC4-F10D6008FDD7}" type="datetime'''''''''''''''''''''0'''''''''''''''''''''">
              <a:rPr lang="en-US" altLang="en-US" sz="1000" smtClean="0"/>
              <a:pPr marL="0" indent="0" algn="r">
                <a:spcBef>
                  <a:spcPct val="0"/>
                </a:spcBef>
                <a:spcAft>
                  <a:spcPct val="0"/>
                </a:spcAft>
                <a:buNone/>
              </a:pPr>
              <a:t>0</a:t>
            </a:fld>
            <a:endParaRPr lang="en-US" sz="1000"/>
          </a:p>
        </p:txBody>
      </p:sp>
      <p:sp>
        <p:nvSpPr>
          <p:cNvPr id="257" name="Text Placeholder 10">
            <a:extLst>
              <a:ext uri="{FF2B5EF4-FFF2-40B4-BE49-F238E27FC236}">
                <a16:creationId xmlns:a16="http://schemas.microsoft.com/office/drawing/2014/main" id="{59002367-7703-0E12-F882-999626972F3D}"/>
              </a:ext>
            </a:extLst>
          </p:cNvPr>
          <p:cNvSpPr txBox="1">
            <a:spLocks/>
          </p:cNvSpPr>
          <p:nvPr>
            <p:custDataLst>
              <p:tags r:id="rId32"/>
            </p:custDataLst>
          </p:nvPr>
        </p:nvSpPr>
        <p:spPr bwMode="gray">
          <a:xfrm>
            <a:off x="414338" y="55483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A70EC79-D421-4D0E-8DB8-4F4E79890AF1}" type="datetime'''''''''''''5''.''''''''''''''''''''''''0''''00'''">
              <a:rPr lang="en-US" altLang="en-US" sz="1000" smtClean="0"/>
              <a:pPr marL="0" indent="0" algn="r">
                <a:spcBef>
                  <a:spcPct val="0"/>
                </a:spcBef>
                <a:spcAft>
                  <a:spcPct val="0"/>
                </a:spcAft>
                <a:buNone/>
              </a:pPr>
              <a:t>5.000</a:t>
            </a:fld>
            <a:endParaRPr lang="en-US" sz="1000"/>
          </a:p>
        </p:txBody>
      </p:sp>
      <p:sp>
        <p:nvSpPr>
          <p:cNvPr id="258" name="Text Placeholder 10">
            <a:extLst>
              <a:ext uri="{FF2B5EF4-FFF2-40B4-BE49-F238E27FC236}">
                <a16:creationId xmlns:a16="http://schemas.microsoft.com/office/drawing/2014/main" id="{5FD4C8D3-BC79-C706-7A60-44951A469B5D}"/>
              </a:ext>
            </a:extLst>
          </p:cNvPr>
          <p:cNvSpPr txBox="1">
            <a:spLocks/>
          </p:cNvSpPr>
          <p:nvPr>
            <p:custDataLst>
              <p:tags r:id="rId33"/>
            </p:custDataLst>
          </p:nvPr>
        </p:nvSpPr>
        <p:spPr bwMode="gray">
          <a:xfrm>
            <a:off x="344488" y="5064125"/>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F7D921B-F6CF-488D-BAA7-9F43ABBC9686}" type="datetime'''1''''''''''0''''''''.''''''''0''''''''0''''0'''''''''''''''">
              <a:rPr lang="en-US" altLang="en-US" sz="1000" smtClean="0"/>
              <a:pPr marL="0" indent="0" algn="r">
                <a:spcBef>
                  <a:spcPct val="0"/>
                </a:spcBef>
                <a:spcAft>
                  <a:spcPct val="0"/>
                </a:spcAft>
                <a:buNone/>
              </a:pPr>
              <a:t>10.000</a:t>
            </a:fld>
            <a:endParaRPr lang="en-US" sz="1000"/>
          </a:p>
        </p:txBody>
      </p:sp>
      <p:sp>
        <p:nvSpPr>
          <p:cNvPr id="259" name="Text Placeholder 10">
            <a:extLst>
              <a:ext uri="{FF2B5EF4-FFF2-40B4-BE49-F238E27FC236}">
                <a16:creationId xmlns:a16="http://schemas.microsoft.com/office/drawing/2014/main" id="{0E6B115C-6DE6-9C64-AC52-8809E9A61824}"/>
              </a:ext>
            </a:extLst>
          </p:cNvPr>
          <p:cNvSpPr txBox="1">
            <a:spLocks/>
          </p:cNvSpPr>
          <p:nvPr>
            <p:custDataLst>
              <p:tags r:id="rId34"/>
            </p:custDataLst>
          </p:nvPr>
        </p:nvSpPr>
        <p:spPr bwMode="gray">
          <a:xfrm>
            <a:off x="344488" y="4578350"/>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522D6C6-65D8-4268-B9DE-7C851062E604}" type="datetime'''''''''''''''''''''''''''''''''1''5.''''''0''''''00'''''">
              <a:rPr lang="en-US" altLang="en-US" sz="1000" smtClean="0"/>
              <a:pPr marL="0" indent="0" algn="r">
                <a:spcBef>
                  <a:spcPct val="0"/>
                </a:spcBef>
                <a:spcAft>
                  <a:spcPct val="0"/>
                </a:spcAft>
                <a:buNone/>
              </a:pPr>
              <a:t>15.000</a:t>
            </a:fld>
            <a:endParaRPr lang="en-US" sz="1000"/>
          </a:p>
        </p:txBody>
      </p:sp>
      <p:cxnSp>
        <p:nvCxnSpPr>
          <p:cNvPr id="260" name="Straight Connector 259">
            <a:extLst>
              <a:ext uri="{FF2B5EF4-FFF2-40B4-BE49-F238E27FC236}">
                <a16:creationId xmlns:a16="http://schemas.microsoft.com/office/drawing/2014/main" id="{76815D60-C663-CD03-4B58-9B20022C89D1}"/>
              </a:ext>
            </a:extLst>
          </p:cNvPr>
          <p:cNvCxnSpPr/>
          <p:nvPr>
            <p:custDataLst>
              <p:tags r:id="rId35"/>
            </p:custDataLst>
          </p:nvPr>
        </p:nvCxnSpPr>
        <p:spPr bwMode="auto">
          <a:xfrm>
            <a:off x="2098676" y="4962525"/>
            <a:ext cx="2898775" cy="909638"/>
          </a:xfrm>
          <a:prstGeom prst="line">
            <a:avLst/>
          </a:prstGeom>
          <a:ln w="190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61" name="Text Placeholder 10">
            <a:extLst>
              <a:ext uri="{FF2B5EF4-FFF2-40B4-BE49-F238E27FC236}">
                <a16:creationId xmlns:a16="http://schemas.microsoft.com/office/drawing/2014/main" id="{3CF6BF84-B228-4BB3-EAC0-B36280910B16}"/>
              </a:ext>
            </a:extLst>
          </p:cNvPr>
          <p:cNvSpPr txBox="1">
            <a:spLocks/>
          </p:cNvSpPr>
          <p:nvPr>
            <p:custDataLst>
              <p:tags r:id="rId36"/>
            </p:custDataLst>
          </p:nvPr>
        </p:nvSpPr>
        <p:spPr bwMode="auto">
          <a:xfrm>
            <a:off x="5145088" y="6049963"/>
            <a:ext cx="904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a:effectLst/>
              </a:rPr>
              <a:t>%</a:t>
            </a:r>
            <a:endParaRPr lang="en-US" sz="800"/>
          </a:p>
        </p:txBody>
      </p:sp>
      <p:sp>
        <p:nvSpPr>
          <p:cNvPr id="262" name="Rectangle 261">
            <a:extLst>
              <a:ext uri="{FF2B5EF4-FFF2-40B4-BE49-F238E27FC236}">
                <a16:creationId xmlns:a16="http://schemas.microsoft.com/office/drawing/2014/main" id="{963A6D0E-107B-4EB1-50B7-DBF25A828AEA}"/>
              </a:ext>
            </a:extLst>
          </p:cNvPr>
          <p:cNvSpPr/>
          <p:nvPr/>
        </p:nvSpPr>
        <p:spPr bwMode="gray">
          <a:xfrm>
            <a:off x="298849" y="4058729"/>
            <a:ext cx="4846320" cy="2742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defRPr/>
            </a:pPr>
            <a:r>
              <a:rPr lang="en-US" sz="1200" b="1" kern="0">
                <a:solidFill>
                  <a:schemeClr val="tx1"/>
                </a:solidFill>
              </a:rPr>
              <a:t>Design completion of 90%+ at construction reduces total capital costs by up to 70% </a:t>
            </a:r>
          </a:p>
        </p:txBody>
      </p:sp>
      <p:sp>
        <p:nvSpPr>
          <p:cNvPr id="263" name="Rectangle 262">
            <a:extLst>
              <a:ext uri="{FF2B5EF4-FFF2-40B4-BE49-F238E27FC236}">
                <a16:creationId xmlns:a16="http://schemas.microsoft.com/office/drawing/2014/main" id="{E39A16BB-CCEE-E304-9B4E-EBBE61F3D7C8}"/>
              </a:ext>
            </a:extLst>
          </p:cNvPr>
          <p:cNvSpPr/>
          <p:nvPr/>
        </p:nvSpPr>
        <p:spPr bwMode="gray">
          <a:xfrm rot="16200000">
            <a:off x="-740015" y="5216232"/>
            <a:ext cx="1997593" cy="2409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lgn="ctr">
              <a:defRPr/>
            </a:pPr>
            <a:r>
              <a:rPr lang="en-US" sz="900" kern="0" dirty="0">
                <a:solidFill>
                  <a:schemeClr val="tx1"/>
                </a:solidFill>
              </a:rPr>
              <a:t>TCC ($/kW)</a:t>
            </a:r>
          </a:p>
          <a:p>
            <a:pPr lvl="0" algn="ctr">
              <a:defRPr/>
            </a:pPr>
            <a:endParaRPr lang="en-US" sz="800" kern="0" dirty="0">
              <a:solidFill>
                <a:schemeClr val="tx1"/>
              </a:solidFill>
            </a:endParaRPr>
          </a:p>
        </p:txBody>
      </p:sp>
      <p:sp>
        <p:nvSpPr>
          <p:cNvPr id="264" name="Left Brace 263">
            <a:extLst>
              <a:ext uri="{FF2B5EF4-FFF2-40B4-BE49-F238E27FC236}">
                <a16:creationId xmlns:a16="http://schemas.microsoft.com/office/drawing/2014/main" id="{DC508E9A-A256-697D-8F68-82BB878A7816}"/>
              </a:ext>
            </a:extLst>
          </p:cNvPr>
          <p:cNvSpPr/>
          <p:nvPr/>
        </p:nvSpPr>
        <p:spPr bwMode="gray">
          <a:xfrm rot="5400000">
            <a:off x="4611527" y="4993466"/>
            <a:ext cx="272225" cy="686594"/>
          </a:xfrm>
          <a:prstGeom prst="lef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5" name="Rectangle 264">
            <a:extLst>
              <a:ext uri="{FF2B5EF4-FFF2-40B4-BE49-F238E27FC236}">
                <a16:creationId xmlns:a16="http://schemas.microsoft.com/office/drawing/2014/main" id="{510AEEF7-2E9F-D66C-7106-CCC3DF2850DA}"/>
              </a:ext>
            </a:extLst>
          </p:cNvPr>
          <p:cNvSpPr/>
          <p:nvPr/>
        </p:nvSpPr>
        <p:spPr bwMode="gray">
          <a:xfrm>
            <a:off x="3731258" y="4940339"/>
            <a:ext cx="1997593" cy="2409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lgn="ctr">
              <a:defRPr/>
            </a:pPr>
            <a:r>
              <a:rPr lang="en-US" sz="900" b="1" kern="0">
                <a:solidFill>
                  <a:schemeClr val="tx1"/>
                </a:solidFill>
              </a:rPr>
              <a:t>70%+ reduction</a:t>
            </a:r>
          </a:p>
          <a:p>
            <a:pPr lvl="0" algn="ctr">
              <a:defRPr/>
            </a:pPr>
            <a:endParaRPr lang="en-US" sz="800" b="1" kern="0">
              <a:solidFill>
                <a:schemeClr val="tx1"/>
              </a:solidFill>
            </a:endParaRPr>
          </a:p>
        </p:txBody>
      </p:sp>
      <p:cxnSp>
        <p:nvCxnSpPr>
          <p:cNvPr id="266" name="Straight Connector 265">
            <a:extLst>
              <a:ext uri="{FF2B5EF4-FFF2-40B4-BE49-F238E27FC236}">
                <a16:creationId xmlns:a16="http://schemas.microsoft.com/office/drawing/2014/main" id="{3C4E5248-D86D-F64C-EE06-9B76BCF5B005}"/>
              </a:ext>
            </a:extLst>
          </p:cNvPr>
          <p:cNvCxnSpPr/>
          <p:nvPr>
            <p:custDataLst>
              <p:tags r:id="rId37"/>
            </p:custDataLst>
          </p:nvPr>
        </p:nvCxnSpPr>
        <p:spPr bwMode="auto">
          <a:xfrm>
            <a:off x="6842125" y="2187575"/>
            <a:ext cx="407988" cy="7096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71" name="Chart 70"/>
          <p:cNvGraphicFramePr/>
          <p:nvPr>
            <p:custDataLst>
              <p:tags r:id="rId38"/>
            </p:custDataLst>
            <p:extLst>
              <p:ext uri="{D42A27DB-BD31-4B8C-83A1-F6EECF244321}">
                <p14:modId xmlns:p14="http://schemas.microsoft.com/office/powerpoint/2010/main" val="111517097"/>
              </p:ext>
            </p:extLst>
          </p:nvPr>
        </p:nvGraphicFramePr>
        <p:xfrm>
          <a:off x="5918200" y="1920875"/>
          <a:ext cx="2254250" cy="4271963"/>
        </p:xfrm>
        <a:graphic>
          <a:graphicData uri="http://schemas.openxmlformats.org/drawingml/2006/chart">
            <c:chart xmlns:c="http://schemas.openxmlformats.org/drawingml/2006/chart" xmlns:r="http://schemas.openxmlformats.org/officeDocument/2006/relationships" r:id="rId62"/>
          </a:graphicData>
        </a:graphic>
      </p:graphicFrame>
      <p:sp>
        <p:nvSpPr>
          <p:cNvPr id="268" name="Text Placeholder 10">
            <a:extLst>
              <a:ext uri="{FF2B5EF4-FFF2-40B4-BE49-F238E27FC236}">
                <a16:creationId xmlns:a16="http://schemas.microsoft.com/office/drawing/2014/main" id="{51E9D4DE-82D3-6BDF-1207-F77B1F4E88B1}"/>
              </a:ext>
            </a:extLst>
          </p:cNvPr>
          <p:cNvSpPr txBox="1">
            <a:spLocks/>
          </p:cNvSpPr>
          <p:nvPr>
            <p:custDataLst>
              <p:tags r:id="rId39"/>
            </p:custDataLst>
          </p:nvPr>
        </p:nvSpPr>
        <p:spPr bwMode="auto">
          <a:xfrm>
            <a:off x="6283325" y="5969000"/>
            <a:ext cx="603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98175F-FD0D-49A7-BF08-0551242150EF}" type="datetime'''T''r''''''''''''''''a''''di''''tio''''''''na''''''l'''''">
              <a:rPr lang="en-US" altLang="en-US" sz="1000" smtClean="0"/>
              <a:pPr marL="0" indent="0" algn="ctr">
                <a:spcBef>
                  <a:spcPct val="0"/>
                </a:spcBef>
                <a:spcAft>
                  <a:spcPct val="0"/>
                </a:spcAft>
                <a:buNone/>
              </a:pPr>
              <a:t>Traditional</a:t>
            </a:fld>
            <a:endParaRPr lang="en-US" sz="1000"/>
          </a:p>
        </p:txBody>
      </p:sp>
      <p:sp>
        <p:nvSpPr>
          <p:cNvPr id="269" name="Text Placeholder 10">
            <a:extLst>
              <a:ext uri="{FF2B5EF4-FFF2-40B4-BE49-F238E27FC236}">
                <a16:creationId xmlns:a16="http://schemas.microsoft.com/office/drawing/2014/main" id="{CB138DB2-5184-EA01-D6D2-3986A95E3F08}"/>
              </a:ext>
            </a:extLst>
          </p:cNvPr>
          <p:cNvSpPr txBox="1">
            <a:spLocks/>
          </p:cNvSpPr>
          <p:nvPr>
            <p:custDataLst>
              <p:tags r:id="rId40"/>
            </p:custDataLst>
          </p:nvPr>
        </p:nvSpPr>
        <p:spPr bwMode="auto">
          <a:xfrm>
            <a:off x="7162800" y="5969000"/>
            <a:ext cx="6858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Systems engineering</a:t>
            </a:r>
            <a:endParaRPr lang="en-US" sz="1000"/>
          </a:p>
        </p:txBody>
      </p:sp>
      <p:sp>
        <p:nvSpPr>
          <p:cNvPr id="271" name="Rectangle 270">
            <a:extLst>
              <a:ext uri="{FF2B5EF4-FFF2-40B4-BE49-F238E27FC236}">
                <a16:creationId xmlns:a16="http://schemas.microsoft.com/office/drawing/2014/main" id="{C3B32423-D500-DD84-90C8-B172D5918511}"/>
              </a:ext>
            </a:extLst>
          </p:cNvPr>
          <p:cNvSpPr/>
          <p:nvPr>
            <p:custDataLst>
              <p:tags r:id="rId41"/>
            </p:custDataLst>
          </p:nvPr>
        </p:nvSpPr>
        <p:spPr bwMode="auto">
          <a:xfrm>
            <a:off x="7415213" y="198437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3" name="Rectangle 272">
            <a:extLst>
              <a:ext uri="{FF2B5EF4-FFF2-40B4-BE49-F238E27FC236}">
                <a16:creationId xmlns:a16="http://schemas.microsoft.com/office/drawing/2014/main" id="{F75E29AA-78CC-06DD-E764-0C0D67642F1F}"/>
              </a:ext>
            </a:extLst>
          </p:cNvPr>
          <p:cNvSpPr/>
          <p:nvPr>
            <p:custDataLst>
              <p:tags r:id="rId42"/>
            </p:custDataLst>
          </p:nvPr>
        </p:nvSpPr>
        <p:spPr bwMode="auto">
          <a:xfrm>
            <a:off x="7415213" y="2187575"/>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2" name="Rectangle 271">
            <a:extLst>
              <a:ext uri="{FF2B5EF4-FFF2-40B4-BE49-F238E27FC236}">
                <a16:creationId xmlns:a16="http://schemas.microsoft.com/office/drawing/2014/main" id="{1F63F0E7-A91F-EB43-F63C-4F3F4A342A05}"/>
              </a:ext>
            </a:extLst>
          </p:cNvPr>
          <p:cNvSpPr/>
          <p:nvPr>
            <p:custDataLst>
              <p:tags r:id="rId43"/>
            </p:custDataLst>
          </p:nvPr>
        </p:nvSpPr>
        <p:spPr bwMode="auto">
          <a:xfrm>
            <a:off x="7415213" y="2390775"/>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0" name="Rectangle 269">
            <a:extLst>
              <a:ext uri="{FF2B5EF4-FFF2-40B4-BE49-F238E27FC236}">
                <a16:creationId xmlns:a16="http://schemas.microsoft.com/office/drawing/2014/main" id="{AA36B969-48A9-062A-F0A5-BB0CD06BA8A1}"/>
              </a:ext>
            </a:extLst>
          </p:cNvPr>
          <p:cNvSpPr/>
          <p:nvPr>
            <p:custDataLst>
              <p:tags r:id="rId44"/>
            </p:custDataLst>
          </p:nvPr>
        </p:nvSpPr>
        <p:spPr bwMode="auto">
          <a:xfrm>
            <a:off x="7415213" y="2593975"/>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4" name="Text Placeholder 10">
            <a:extLst>
              <a:ext uri="{FF2B5EF4-FFF2-40B4-BE49-F238E27FC236}">
                <a16:creationId xmlns:a16="http://schemas.microsoft.com/office/drawing/2014/main" id="{41D027B5-A7DA-4F56-EFC6-0D336D59217B}"/>
              </a:ext>
            </a:extLst>
          </p:cNvPr>
          <p:cNvSpPr txBox="1">
            <a:spLocks/>
          </p:cNvSpPr>
          <p:nvPr>
            <p:custDataLst>
              <p:tags r:id="rId45"/>
            </p:custDataLst>
          </p:nvPr>
        </p:nvSpPr>
        <p:spPr bwMode="auto">
          <a:xfrm>
            <a:off x="7645400" y="1979613"/>
            <a:ext cx="1312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5E5C106-DD91-4B6A-9896-BB6A316F42D3}" type="datetime'''''Veri''f''ic''ation'''' ''&amp; ''v''a''''''l''i''d''a''t''ion'">
              <a:rPr lang="en-US" altLang="en-US" sz="1000" smtClean="0"/>
              <a:pPr marL="0" indent="0">
                <a:spcBef>
                  <a:spcPct val="0"/>
                </a:spcBef>
                <a:spcAft>
                  <a:spcPct val="0"/>
                </a:spcAft>
                <a:buNone/>
              </a:pPr>
              <a:t>Verification &amp; validation</a:t>
            </a:fld>
            <a:endParaRPr lang="en-US" sz="1000"/>
          </a:p>
        </p:txBody>
      </p:sp>
      <p:sp>
        <p:nvSpPr>
          <p:cNvPr id="275" name="Text Placeholder 10">
            <a:extLst>
              <a:ext uri="{FF2B5EF4-FFF2-40B4-BE49-F238E27FC236}">
                <a16:creationId xmlns:a16="http://schemas.microsoft.com/office/drawing/2014/main" id="{01ED045E-8BE5-D645-FD27-E9A80C72103C}"/>
              </a:ext>
            </a:extLst>
          </p:cNvPr>
          <p:cNvSpPr txBox="1">
            <a:spLocks/>
          </p:cNvSpPr>
          <p:nvPr>
            <p:custDataLst>
              <p:tags r:id="rId46"/>
            </p:custDataLst>
          </p:nvPr>
        </p:nvSpPr>
        <p:spPr bwMode="auto">
          <a:xfrm>
            <a:off x="7645400" y="2182813"/>
            <a:ext cx="1612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Integration &amp; implementation</a:t>
            </a:r>
            <a:endParaRPr lang="en-US" sz="1000"/>
          </a:p>
        </p:txBody>
      </p:sp>
      <p:sp>
        <p:nvSpPr>
          <p:cNvPr id="277" name="Text Placeholder 10">
            <a:extLst>
              <a:ext uri="{FF2B5EF4-FFF2-40B4-BE49-F238E27FC236}">
                <a16:creationId xmlns:a16="http://schemas.microsoft.com/office/drawing/2014/main" id="{9ECA9601-82CF-E9F9-B75C-21ECA8C5BDAB}"/>
              </a:ext>
            </a:extLst>
          </p:cNvPr>
          <p:cNvSpPr txBox="1">
            <a:spLocks/>
          </p:cNvSpPr>
          <p:nvPr>
            <p:custDataLst>
              <p:tags r:id="rId47"/>
            </p:custDataLst>
          </p:nvPr>
        </p:nvSpPr>
        <p:spPr bwMode="auto">
          <a:xfrm>
            <a:off x="7645400" y="2386013"/>
            <a:ext cx="892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Detailed design</a:t>
            </a:r>
            <a:endParaRPr lang="en-US" sz="1000"/>
          </a:p>
        </p:txBody>
      </p:sp>
      <p:sp>
        <p:nvSpPr>
          <p:cNvPr id="276" name="Text Placeholder 10">
            <a:extLst>
              <a:ext uri="{FF2B5EF4-FFF2-40B4-BE49-F238E27FC236}">
                <a16:creationId xmlns:a16="http://schemas.microsoft.com/office/drawing/2014/main" id="{6421F346-E836-1699-B58D-CFD20BAB9184}"/>
              </a:ext>
            </a:extLst>
          </p:cNvPr>
          <p:cNvSpPr txBox="1">
            <a:spLocks/>
          </p:cNvSpPr>
          <p:nvPr>
            <p:custDataLst>
              <p:tags r:id="rId48"/>
            </p:custDataLst>
          </p:nvPr>
        </p:nvSpPr>
        <p:spPr bwMode="auto">
          <a:xfrm>
            <a:off x="7645400" y="2589213"/>
            <a:ext cx="850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System design</a:t>
            </a:r>
            <a:endParaRPr lang="en-US" sz="1000"/>
          </a:p>
        </p:txBody>
      </p:sp>
      <p:sp>
        <p:nvSpPr>
          <p:cNvPr id="278" name="Oval 277">
            <a:extLst>
              <a:ext uri="{FF2B5EF4-FFF2-40B4-BE49-F238E27FC236}">
                <a16:creationId xmlns:a16="http://schemas.microsoft.com/office/drawing/2014/main" id="{70869EC7-93EE-65DD-849D-61FC69FE56B0}"/>
              </a:ext>
            </a:extLst>
          </p:cNvPr>
          <p:cNvSpPr/>
          <p:nvPr/>
        </p:nvSpPr>
        <p:spPr bwMode="gray">
          <a:xfrm>
            <a:off x="6910048" y="2451100"/>
            <a:ext cx="466951" cy="30058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b="1">
                <a:solidFill>
                  <a:schemeClr val="tx1"/>
                </a:solidFill>
              </a:rPr>
              <a:t>-20%</a:t>
            </a:r>
          </a:p>
        </p:txBody>
      </p:sp>
      <p:cxnSp>
        <p:nvCxnSpPr>
          <p:cNvPr id="279" name="Straight Connector 278">
            <a:extLst>
              <a:ext uri="{FF2B5EF4-FFF2-40B4-BE49-F238E27FC236}">
                <a16:creationId xmlns:a16="http://schemas.microsoft.com/office/drawing/2014/main" id="{DB46C7E6-2D43-19B2-98D9-CFD572DB8954}"/>
              </a:ext>
            </a:extLst>
          </p:cNvPr>
          <p:cNvCxnSpPr/>
          <p:nvPr/>
        </p:nvCxnSpPr>
        <p:spPr bwMode="gray">
          <a:xfrm>
            <a:off x="329184" y="1828800"/>
            <a:ext cx="47548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0C4A886F-A5E8-02EF-0A5D-F41C49FEE466}"/>
              </a:ext>
            </a:extLst>
          </p:cNvPr>
          <p:cNvCxnSpPr/>
          <p:nvPr/>
        </p:nvCxnSpPr>
        <p:spPr bwMode="gray">
          <a:xfrm>
            <a:off x="5446173" y="1828800"/>
            <a:ext cx="374904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2" name="TextBox 281">
            <a:extLst>
              <a:ext uri="{FF2B5EF4-FFF2-40B4-BE49-F238E27FC236}">
                <a16:creationId xmlns:a16="http://schemas.microsoft.com/office/drawing/2014/main" id="{A08FFCDB-7938-A84E-FC65-4F48113C48BB}"/>
              </a:ext>
            </a:extLst>
          </p:cNvPr>
          <p:cNvSpPr txBox="1"/>
          <p:nvPr/>
        </p:nvSpPr>
        <p:spPr bwMode="gray">
          <a:xfrm>
            <a:off x="5311707" y="1295212"/>
            <a:ext cx="3840480" cy="892552"/>
          </a:xfrm>
          <a:prstGeom prst="rect">
            <a:avLst/>
          </a:prstGeom>
          <a:noFill/>
        </p:spPr>
        <p:txBody>
          <a:bodyPr wrap="square" lIns="137160" tIns="137160" rIns="274320" bIns="137160" rtlCol="0">
            <a:spAutoFit/>
          </a:bodyPr>
          <a:lstStyle/>
          <a:p>
            <a:pPr lvl="0">
              <a:defRPr/>
            </a:pPr>
            <a:r>
              <a:rPr lang="en-US" sz="1200" b="1" kern="0"/>
              <a:t>Systems engineering reduces time and budget costs by up to ~20%</a:t>
            </a:r>
          </a:p>
          <a:p>
            <a:pPr marL="0" indent="0">
              <a:spcBef>
                <a:spcPts val="600"/>
              </a:spcBef>
              <a:spcAft>
                <a:spcPts val="600"/>
              </a:spcAft>
              <a:buNone/>
            </a:pPr>
            <a:endParaRPr lang="en-US" sz="1100" b="1"/>
          </a:p>
        </p:txBody>
      </p:sp>
      <p:cxnSp>
        <p:nvCxnSpPr>
          <p:cNvPr id="283" name="Straight Connector 282">
            <a:extLst>
              <a:ext uri="{FF2B5EF4-FFF2-40B4-BE49-F238E27FC236}">
                <a16:creationId xmlns:a16="http://schemas.microsoft.com/office/drawing/2014/main" id="{C134AE52-E980-B22A-0F8C-050E983ECC39}"/>
              </a:ext>
            </a:extLst>
          </p:cNvPr>
          <p:cNvCxnSpPr/>
          <p:nvPr/>
        </p:nvCxnSpPr>
        <p:spPr bwMode="gray">
          <a:xfrm>
            <a:off x="329183" y="4485275"/>
            <a:ext cx="47548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6A7B7DC5-7161-4460-B511-95DD3154C645}"/>
              </a:ext>
            </a:extLst>
          </p:cNvPr>
          <p:cNvSpPr txBox="1"/>
          <p:nvPr/>
        </p:nvSpPr>
        <p:spPr bwMode="gray">
          <a:xfrm>
            <a:off x="196614" y="1301597"/>
            <a:ext cx="4925709" cy="892552"/>
          </a:xfrm>
          <a:prstGeom prst="rect">
            <a:avLst/>
          </a:prstGeom>
          <a:noFill/>
        </p:spPr>
        <p:txBody>
          <a:bodyPr wrap="square" lIns="137160" tIns="137160" rIns="274320" bIns="137160" rtlCol="0">
            <a:spAutoFit/>
          </a:bodyPr>
          <a:lstStyle/>
          <a:p>
            <a:pPr lvl="0">
              <a:defRPr/>
            </a:pPr>
            <a:r>
              <a:rPr lang="en-US" sz="1200" b="1" kern="0"/>
              <a:t>Standardization decreases unit costs in multiunit builds like the ENEC Barakah nuclear plant</a:t>
            </a:r>
          </a:p>
          <a:p>
            <a:pPr marL="0" indent="0">
              <a:spcBef>
                <a:spcPts val="600"/>
              </a:spcBef>
              <a:spcAft>
                <a:spcPts val="600"/>
              </a:spcAft>
              <a:buNone/>
            </a:pPr>
            <a:endParaRPr lang="en-US" sz="1100" b="1"/>
          </a:p>
        </p:txBody>
      </p:sp>
    </p:spTree>
    <p:extLst>
      <p:ext uri="{BB962C8B-B14F-4D97-AF65-F5344CB8AC3E}">
        <p14:creationId xmlns:p14="http://schemas.microsoft.com/office/powerpoint/2010/main" val="25303373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A7199-C7E0-2367-3166-46F4164D084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0C43A0F-569C-ADB4-F496-02B68991984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592" imgH="591" progId="TCLayout.ActiveDocument.1">
                  <p:embed/>
                </p:oleObj>
              </mc:Choice>
              <mc:Fallback>
                <p:oleObj name="think-cell Slide" r:id="rId32" imgW="592" imgH="591" progId="TCLayout.ActiveDocument.1">
                  <p:embed/>
                  <p:pic>
                    <p:nvPicPr>
                      <p:cNvPr id="7" name="think-cell data - do not delete" hidden="1">
                        <a:extLst>
                          <a:ext uri="{FF2B5EF4-FFF2-40B4-BE49-F238E27FC236}">
                            <a16:creationId xmlns:a16="http://schemas.microsoft.com/office/drawing/2014/main" id="{B0C43A0F-569C-ADB4-F496-02B689919846}"/>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408E2E7-9DBA-774B-0916-99B67D9C04D9}"/>
              </a:ext>
            </a:extLst>
          </p:cNvPr>
          <p:cNvSpPr>
            <a:spLocks noGrp="1"/>
          </p:cNvSpPr>
          <p:nvPr>
            <p:ph type="title"/>
          </p:nvPr>
        </p:nvSpPr>
        <p:spPr>
          <a:xfrm>
            <a:off x="330200" y="523318"/>
            <a:ext cx="11531600" cy="882788"/>
          </a:xfrm>
        </p:spPr>
        <p:txBody>
          <a:bodyPr vert="horz">
            <a:noAutofit/>
          </a:bodyPr>
          <a:lstStyle/>
          <a:p>
            <a:r>
              <a:rPr lang="en-US" b="1">
                <a:latin typeface="Arial" panose="020B0604020202020204" pitchFamily="34" charset="0"/>
                <a:cs typeface="Arial" panose="020B0604020202020204" pitchFamily="34" charset="0"/>
              </a:rPr>
              <a:t>SMRs have the potential to close the cost gap with large reactors but only if shorter construction times are achieved</a:t>
            </a:r>
          </a:p>
        </p:txBody>
      </p:sp>
      <p:sp>
        <p:nvSpPr>
          <p:cNvPr id="417" name="btfpNotesBox111697">
            <a:extLst>
              <a:ext uri="{FF2B5EF4-FFF2-40B4-BE49-F238E27FC236}">
                <a16:creationId xmlns:a16="http://schemas.microsoft.com/office/drawing/2014/main" id="{026D3F31-EF98-8FB1-4DA8-1054F036920C}"/>
              </a:ext>
            </a:extLst>
          </p:cNvPr>
          <p:cNvSpPr txBox="1"/>
          <p:nvPr/>
        </p:nvSpPr>
        <p:spPr bwMode="gray">
          <a:xfrm>
            <a:off x="330200" y="6309360"/>
            <a:ext cx="9296337" cy="492443"/>
          </a:xfrm>
          <a:prstGeom prst="rect">
            <a:avLst/>
          </a:prstGeom>
          <a:noFill/>
        </p:spPr>
        <p:txBody>
          <a:bodyPr vert="horz" wrap="square" lIns="0" tIns="0" rIns="0" bIns="0"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fontAlgn="base">
              <a:spcBef>
                <a:spcPts val="0"/>
              </a:spcBef>
              <a:buNone/>
            </a:pPr>
            <a:endParaRPr lang="en-US" sz="800" dirty="0">
              <a:solidFill>
                <a:srgbClr val="000000"/>
              </a:solidFill>
              <a:latin typeface="Arial" panose="020B0604020202020204" pitchFamily="34" charset="0"/>
              <a:cs typeface="Arial" panose="020B0604020202020204" pitchFamily="34" charset="0"/>
            </a:endParaRPr>
          </a:p>
          <a:p>
            <a:pPr marL="0" indent="0" fontAlgn="base">
              <a:spcBef>
                <a:spcPts val="0"/>
              </a:spcBef>
              <a:buNone/>
            </a:pPr>
            <a:endParaRPr lang="en-US" sz="800" dirty="0">
              <a:solidFill>
                <a:srgbClr val="000000"/>
              </a:solidFill>
              <a:latin typeface="Arial" panose="020B0604020202020204" pitchFamily="34" charset="0"/>
              <a:cs typeface="Arial" panose="020B0604020202020204" pitchFamily="34" charset="0"/>
            </a:endParaRPr>
          </a:p>
          <a:p>
            <a:pPr marL="0" indent="0" fontAlgn="base">
              <a:spcBef>
                <a:spcPts val="0"/>
              </a:spcBef>
              <a:buNone/>
            </a:pPr>
            <a:r>
              <a:rPr lang="en-US" sz="800" dirty="0">
                <a:solidFill>
                  <a:srgbClr val="000000"/>
                </a:solidFill>
                <a:latin typeface="Arial" panose="020B0604020202020204" pitchFamily="34" charset="0"/>
                <a:cs typeface="Arial" panose="020B0604020202020204" pitchFamily="34" charset="0"/>
              </a:rPr>
              <a:t>Sources: </a:t>
            </a:r>
            <a:r>
              <a:rPr lang="en-ID" sz="800" dirty="0">
                <a:latin typeface="Arial" panose="020B0604020202020204" pitchFamily="34" charset="0"/>
                <a:cs typeface="Arial" panose="020B0604020202020204" pitchFamily="34" charset="0"/>
              </a:rPr>
              <a:t>GAIN, </a:t>
            </a:r>
            <a:r>
              <a:rPr lang="en-ID" sz="800" dirty="0">
                <a:latin typeface="Arial" panose="020B0604020202020204" pitchFamily="34" charset="0"/>
                <a:cs typeface="Arial" panose="020B0604020202020204" pitchFamily="34" charset="0"/>
                <a:hlinkClick r:id="rId34"/>
              </a:rPr>
              <a:t>Meta-Analysis of Advanced Nuclear Reactor Cost Estimations</a:t>
            </a:r>
            <a:r>
              <a:rPr lang="en-US" sz="800" dirty="0">
                <a:solidFill>
                  <a:srgbClr val="000000"/>
                </a:solidFill>
                <a:latin typeface="Arial" panose="020B0604020202020204" pitchFamily="34" charset="0"/>
                <a:cs typeface="Arial" panose="020B0604020202020204" pitchFamily="34" charset="0"/>
              </a:rPr>
              <a:t> </a:t>
            </a:r>
            <a:r>
              <a:rPr lang="en-ID" sz="800" dirty="0">
                <a:latin typeface="Arial" panose="020B0604020202020204" pitchFamily="34" charset="0"/>
                <a:cs typeface="Arial" panose="020B0604020202020204" pitchFamily="34" charset="0"/>
              </a:rPr>
              <a:t>(2024); Institute for Energy Economics, </a:t>
            </a:r>
            <a:r>
              <a:rPr lang="en-ID" sz="800" dirty="0">
                <a:latin typeface="Arial" panose="020B0604020202020204" pitchFamily="34" charset="0"/>
                <a:cs typeface="Arial" panose="020B0604020202020204" pitchFamily="34" charset="0"/>
                <a:hlinkClick r:id="rId35"/>
              </a:rPr>
              <a:t>Small Modular Reactors: Still Too Expensive, Too Slow and Too Risky</a:t>
            </a:r>
            <a:r>
              <a:rPr lang="en-ID" sz="800" dirty="0">
                <a:latin typeface="Arial" panose="020B0604020202020204" pitchFamily="34" charset="0"/>
                <a:cs typeface="Arial" panose="020B0604020202020204" pitchFamily="34" charset="0"/>
              </a:rPr>
              <a:t> (2024).</a:t>
            </a:r>
            <a:br>
              <a:rPr lang="en-US" sz="800" dirty="0">
                <a:solidFill>
                  <a:srgbClr val="000000"/>
                </a:solidFill>
                <a:latin typeface="Arial" panose="020B0604020202020204" pitchFamily="34" charset="0"/>
                <a:cs typeface="Arial" panose="020B0604020202020204" pitchFamily="34" charset="0"/>
              </a:rPr>
            </a:br>
            <a:r>
              <a:rPr lang="en-US" sz="800" b="0" i="0" u="none" strike="noStrike" dirty="0">
                <a:solidFill>
                  <a:srgbClr val="000000"/>
                </a:solidFill>
                <a:effectLst/>
                <a:latin typeface="Arial" panose="020B0604020202020204" pitchFamily="34" charset="0"/>
                <a:cs typeface="Arial" panose="020B0604020202020204" pitchFamily="34" charset="0"/>
              </a:rPr>
              <a:t>Credit: Christian </a:t>
            </a:r>
            <a:r>
              <a:rPr lang="en-US" sz="800" b="0" i="0" u="none" strike="noStrike" dirty="0" err="1">
                <a:solidFill>
                  <a:srgbClr val="000000"/>
                </a:solidFill>
                <a:effectLst/>
                <a:latin typeface="Arial" panose="020B0604020202020204" pitchFamily="34" charset="0"/>
                <a:cs typeface="Arial" panose="020B0604020202020204" pitchFamily="34" charset="0"/>
              </a:rPr>
              <a:t>Sandjaja</a:t>
            </a:r>
            <a:r>
              <a:rPr lang="en-US" sz="800" b="0" i="0" u="none" strike="noStrike" dirty="0">
                <a:solidFill>
                  <a:srgbClr val="000000"/>
                </a:solidFill>
                <a:effectLst/>
                <a:latin typeface="Arial" panose="020B0604020202020204" pitchFamily="34" charset="0"/>
                <a:cs typeface="Arial" panose="020B0604020202020204" pitchFamily="34" charset="0"/>
              </a:rPr>
              <a:t>, Quint </a:t>
            </a:r>
            <a:r>
              <a:rPr lang="en-US" sz="800" b="0" i="0" u="none" strike="noStrike" dirty="0" err="1">
                <a:solidFill>
                  <a:srgbClr val="000000"/>
                </a:solidFill>
                <a:effectLst/>
                <a:latin typeface="Arial" panose="020B0604020202020204" pitchFamily="34" charset="0"/>
                <a:cs typeface="Arial" panose="020B0604020202020204" pitchFamily="34" charset="0"/>
              </a:rPr>
              <a:t>Houwink</a:t>
            </a:r>
            <a:r>
              <a:rPr lang="en-US" sz="800" b="0" i="0" u="none" strike="noStrike" dirty="0">
                <a:solidFill>
                  <a:srgbClr val="000000"/>
                </a:solidFill>
                <a:effectLst/>
                <a:latin typeface="Arial" panose="020B0604020202020204" pitchFamily="34" charset="0"/>
                <a:cs typeface="Arial" panose="020B0604020202020204" pitchFamily="34" charset="0"/>
              </a:rPr>
              <a:t>, and </a:t>
            </a:r>
            <a:r>
              <a:rPr lang="en-US" sz="800" b="0" i="0" u="sng" strike="noStrike" dirty="0">
                <a:solidFill>
                  <a:srgbClr val="46647B"/>
                </a:solidFill>
                <a:effectLst/>
                <a:latin typeface="Arial" panose="020B0604020202020204" pitchFamily="34" charset="0"/>
                <a:cs typeface="Arial" panose="020B0604020202020204" pitchFamily="34" charset="0"/>
                <a:hlinkClick r:id="rId36"/>
              </a:rPr>
              <a:t>Gernot Wagner</a:t>
            </a:r>
            <a:r>
              <a:rPr lang="en-US" sz="800" b="0" i="0" u="none" strike="noStrike" dirty="0">
                <a:solidFill>
                  <a:srgbClr val="000000"/>
                </a:solidFill>
                <a:effectLst/>
                <a:latin typeface="Arial" panose="020B0604020202020204" pitchFamily="34" charset="0"/>
                <a:cs typeface="Arial" panose="020B0604020202020204" pitchFamily="34" charset="0"/>
              </a:rPr>
              <a:t>. Share with </a:t>
            </a:r>
            <a:r>
              <a:rPr lang="en-US" sz="800" b="0" i="0" u="sng" strike="noStrike" dirty="0">
                <a:solidFill>
                  <a:srgbClr val="46647B"/>
                </a:solidFill>
                <a:effectLst/>
                <a:latin typeface="Arial" panose="020B0604020202020204" pitchFamily="34" charset="0"/>
                <a:cs typeface="Arial" panose="020B0604020202020204" pitchFamily="34" charset="0"/>
                <a:hlinkClick r:id="rId37"/>
              </a:rPr>
              <a:t>attribution</a:t>
            </a:r>
            <a:r>
              <a:rPr lang="en-US" sz="800" b="0" i="0" u="none" strike="noStrike" dirty="0">
                <a:solidFill>
                  <a:srgbClr val="000000"/>
                </a:solidFill>
                <a:effectLst/>
                <a:latin typeface="Arial" panose="020B0604020202020204" pitchFamily="34" charset="0"/>
                <a:cs typeface="Arial" panose="020B0604020202020204" pitchFamily="34" charset="0"/>
              </a:rPr>
              <a:t>: </a:t>
            </a:r>
            <a:r>
              <a:rPr lang="en-US" sz="800" b="0" i="0" u="none" strike="noStrike" dirty="0" err="1">
                <a:solidFill>
                  <a:srgbClr val="000000"/>
                </a:solidFill>
                <a:effectLst/>
                <a:latin typeface="Arial" panose="020B0604020202020204" pitchFamily="34" charset="0"/>
                <a:cs typeface="Arial" panose="020B0604020202020204" pitchFamily="34" charset="0"/>
              </a:rPr>
              <a:t>Houwink</a:t>
            </a:r>
            <a:r>
              <a:rPr lang="en-US" sz="800" b="0" i="0" u="none" strike="noStrike" dirty="0">
                <a:solidFill>
                  <a:srgbClr val="000000"/>
                </a:solidFill>
                <a:effectLst/>
                <a:latin typeface="Arial" panose="020B0604020202020204" pitchFamily="34" charset="0"/>
                <a:cs typeface="Arial" panose="020B0604020202020204" pitchFamily="34" charset="0"/>
              </a:rPr>
              <a:t> </a:t>
            </a:r>
            <a:r>
              <a:rPr lang="en-US" sz="800" b="0" u="none" strike="noStrike" dirty="0">
                <a:solidFill>
                  <a:srgbClr val="000000"/>
                </a:solidFill>
                <a:effectLst/>
                <a:latin typeface="Arial" panose="020B0604020202020204" pitchFamily="34" charset="0"/>
                <a:cs typeface="Arial" panose="020B0604020202020204" pitchFamily="34" charset="0"/>
              </a:rPr>
              <a:t>et al., </a:t>
            </a:r>
            <a:r>
              <a:rPr lang="en-US" sz="800" b="0" i="0" u="none" strike="noStrike" dirty="0">
                <a:solidFill>
                  <a:srgbClr val="000000"/>
                </a:solidFill>
                <a:effectLst/>
                <a:latin typeface="Arial" panose="020B0604020202020204" pitchFamily="34" charset="0"/>
                <a:cs typeface="Arial" panose="020B0604020202020204" pitchFamily="34" charset="0"/>
              </a:rPr>
              <a:t>"Reenergizing Nuclear" (23 September 2025).</a:t>
            </a:r>
            <a:r>
              <a:rPr lang="en-US" sz="800" b="0" i="0" dirty="0">
                <a:solidFill>
                  <a:srgbClr val="000000"/>
                </a:solidFill>
                <a:effectLst/>
                <a:latin typeface="Arial" panose="020B0604020202020204" pitchFamily="34" charset="0"/>
                <a:cs typeface="Arial" panose="020B0604020202020204" pitchFamily="34" charset="0"/>
              </a:rPr>
              <a:t>​</a:t>
            </a:r>
          </a:p>
        </p:txBody>
      </p:sp>
      <p:sp>
        <p:nvSpPr>
          <p:cNvPr id="45" name="TextBox 44">
            <a:extLst>
              <a:ext uri="{FF2B5EF4-FFF2-40B4-BE49-F238E27FC236}">
                <a16:creationId xmlns:a16="http://schemas.microsoft.com/office/drawing/2014/main" id="{C901AA04-6385-EBB5-D4A9-045C91A60040}"/>
              </a:ext>
            </a:extLst>
          </p:cNvPr>
          <p:cNvSpPr txBox="1"/>
          <p:nvPr/>
        </p:nvSpPr>
        <p:spPr bwMode="gray">
          <a:xfrm>
            <a:off x="6096000" y="1549629"/>
            <a:ext cx="5022850" cy="288925"/>
          </a:xfrm>
          <a:prstGeom prst="rect">
            <a:avLst/>
          </a:prstGeom>
          <a:noFill/>
        </p:spPr>
        <p:txBody>
          <a:bodyPr wrap="square" lIns="36000" tIns="36000" rIns="36000" bIns="36000" rtlCol="0" anchor="t">
            <a:spAutoFit/>
          </a:bodyPr>
          <a:lstStyle/>
          <a:p>
            <a:r>
              <a:rPr lang="en-ID" sz="1400" b="1">
                <a:latin typeface="Arial" panose="020B0604020202020204" pitchFamily="34" charset="0"/>
                <a:cs typeface="Arial" panose="020B0604020202020204" pitchFamily="34" charset="0"/>
              </a:rPr>
              <a:t>Overnight capital cost evolution, </a:t>
            </a:r>
            <a:r>
              <a:rPr lang="en-ID" sz="1400">
                <a:latin typeface="Arial" panose="020B0604020202020204" pitchFamily="34" charset="0"/>
                <a:cs typeface="Arial" panose="020B0604020202020204" pitchFamily="34" charset="0"/>
              </a:rPr>
              <a:t>2022 $/</a:t>
            </a:r>
            <a:r>
              <a:rPr lang="en-ID" sz="1400" err="1">
                <a:latin typeface="Arial" panose="020B0604020202020204" pitchFamily="34" charset="0"/>
                <a:cs typeface="Arial" panose="020B0604020202020204" pitchFamily="34" charset="0"/>
              </a:rPr>
              <a:t>kWe</a:t>
            </a:r>
            <a:endParaRPr lang="en-US" sz="1400">
              <a:latin typeface="Arial" panose="020B0604020202020204" pitchFamily="34" charset="0"/>
              <a:cs typeface="Arial" panose="020B0604020202020204" pitchFamily="34" charset="0"/>
            </a:endParaRPr>
          </a:p>
        </p:txBody>
      </p:sp>
      <p:cxnSp>
        <p:nvCxnSpPr>
          <p:cNvPr id="46" name="btfpColumnHeaderBoxLine912903">
            <a:extLst>
              <a:ext uri="{FF2B5EF4-FFF2-40B4-BE49-F238E27FC236}">
                <a16:creationId xmlns:a16="http://schemas.microsoft.com/office/drawing/2014/main" id="{D234D136-7DD8-7381-7D89-DB79E9784759}"/>
              </a:ext>
            </a:extLst>
          </p:cNvPr>
          <p:cNvCxnSpPr>
            <a:cxnSpLocks/>
          </p:cNvCxnSpPr>
          <p:nvPr/>
        </p:nvCxnSpPr>
        <p:spPr bwMode="gray">
          <a:xfrm>
            <a:off x="6096000" y="1827213"/>
            <a:ext cx="492125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FB2E1C4-A932-705B-9637-2B355328EDD9}"/>
              </a:ext>
            </a:extLst>
          </p:cNvPr>
          <p:cNvSpPr txBox="1"/>
          <p:nvPr/>
        </p:nvSpPr>
        <p:spPr bwMode="gray">
          <a:xfrm>
            <a:off x="419894" y="1981885"/>
            <a:ext cx="5226163" cy="1850113"/>
          </a:xfrm>
          <a:prstGeom prst="rect">
            <a:avLst/>
          </a:prstGeom>
          <a:noFill/>
        </p:spPr>
        <p:txBody>
          <a:bodyPr wrap="square" lIns="36000" tIns="36000" rIns="36000" bIns="36000" rtlCol="0" anchor="t">
            <a:spAutoFit/>
          </a:bodyPr>
          <a:lstStyle/>
          <a:p>
            <a:pPr marL="285750" indent="-285750">
              <a:buFont typeface="Arial" panose="020B0604020202020204" pitchFamily="34" charset="0"/>
              <a:buChar char="•"/>
            </a:pPr>
            <a:r>
              <a:rPr lang="en-ID" sz="1050">
                <a:latin typeface="Arial" panose="020B0604020202020204" pitchFamily="34" charset="0"/>
                <a:cs typeface="Arial" panose="020B0604020202020204" pitchFamily="34" charset="0"/>
              </a:rPr>
              <a:t>No SMRs have been commercially deployed in the United States as of May 2025; all cost and learning estimates are based on literature, not real-world data.</a:t>
            </a:r>
          </a:p>
          <a:p>
            <a:pPr marL="285750" indent="-285750">
              <a:buFont typeface="Arial" panose="020B0604020202020204" pitchFamily="34" charset="0"/>
              <a:buChar char="•"/>
            </a:pPr>
            <a:r>
              <a:rPr lang="en-ID" sz="1050">
                <a:latin typeface="Arial" panose="020B0604020202020204" pitchFamily="34" charset="0"/>
                <a:cs typeface="Arial" panose="020B0604020202020204" pitchFamily="34" charset="0"/>
              </a:rPr>
              <a:t>SMRs are expected to enable </a:t>
            </a:r>
            <a:r>
              <a:rPr lang="en-ID" sz="1050" b="1">
                <a:latin typeface="Arial" panose="020B0604020202020204" pitchFamily="34" charset="0"/>
                <a:cs typeface="Arial" panose="020B0604020202020204" pitchFamily="34" charset="0"/>
              </a:rPr>
              <a:t>faster learning rate </a:t>
            </a:r>
            <a:r>
              <a:rPr lang="en-ID" sz="1050">
                <a:latin typeface="Arial" panose="020B0604020202020204" pitchFamily="34" charset="0"/>
                <a:cs typeface="Arial" panose="020B0604020202020204" pitchFamily="34" charset="0"/>
              </a:rPr>
              <a:t>and </a:t>
            </a:r>
            <a:r>
              <a:rPr lang="en-ID" sz="1050" b="1">
                <a:latin typeface="Arial" panose="020B0604020202020204" pitchFamily="34" charset="0"/>
                <a:cs typeface="Arial" panose="020B0604020202020204" pitchFamily="34" charset="0"/>
              </a:rPr>
              <a:t>cost reductions </a:t>
            </a:r>
            <a:r>
              <a:rPr lang="en-ID" sz="1050">
                <a:latin typeface="Arial" panose="020B0604020202020204" pitchFamily="34" charset="0"/>
                <a:cs typeface="Arial" panose="020B0604020202020204" pitchFamily="34" charset="0"/>
              </a:rPr>
              <a:t>through modularity, factory fabrication, and the production of many standardized units.</a:t>
            </a:r>
          </a:p>
          <a:p>
            <a:pPr marL="285750" indent="-285750">
              <a:buFont typeface="Arial" panose="020B0604020202020204" pitchFamily="34" charset="0"/>
              <a:buChar char="•"/>
            </a:pPr>
            <a:r>
              <a:rPr lang="en-ID" sz="1050">
                <a:latin typeface="Arial" panose="020B0604020202020204" pitchFamily="34" charset="0"/>
                <a:cs typeface="Arial" panose="020B0604020202020204" pitchFamily="34" charset="0"/>
              </a:rPr>
              <a:t>Faster learning rates (9.5% vs. 8%) and shorter construction times (55 vs. 82 months) are projected to </a:t>
            </a:r>
            <a:r>
              <a:rPr lang="en-ID" sz="1050" b="1">
                <a:latin typeface="Arial" panose="020B0604020202020204" pitchFamily="34" charset="0"/>
                <a:cs typeface="Arial" panose="020B0604020202020204" pitchFamily="34" charset="0"/>
              </a:rPr>
              <a:t>reduce both OCC per </a:t>
            </a:r>
            <a:r>
              <a:rPr lang="en-ID" sz="1050" b="1" err="1">
                <a:latin typeface="Arial" panose="020B0604020202020204" pitchFamily="34" charset="0"/>
                <a:cs typeface="Arial" panose="020B0604020202020204" pitchFamily="34" charset="0"/>
              </a:rPr>
              <a:t>kWe</a:t>
            </a:r>
            <a:r>
              <a:rPr lang="en-ID" sz="1050" b="1">
                <a:latin typeface="Arial" panose="020B0604020202020204" pitchFamily="34" charset="0"/>
                <a:cs typeface="Arial" panose="020B0604020202020204" pitchFamily="34" charset="0"/>
              </a:rPr>
              <a:t> and LCOE </a:t>
            </a:r>
            <a:r>
              <a:rPr lang="en-ID" sz="1050">
                <a:latin typeface="Arial" panose="020B0604020202020204" pitchFamily="34" charset="0"/>
                <a:cs typeface="Arial" panose="020B0604020202020204" pitchFamily="34" charset="0"/>
              </a:rPr>
              <a:t>over time.</a:t>
            </a:r>
          </a:p>
          <a:p>
            <a:pPr marL="285750" indent="-285750">
              <a:buFont typeface="Arial" panose="020B0604020202020204" pitchFamily="34" charset="0"/>
              <a:buChar char="•"/>
            </a:pPr>
            <a:r>
              <a:rPr lang="en-ID" sz="1050">
                <a:latin typeface="Arial" panose="020B0604020202020204" pitchFamily="34" charset="0"/>
                <a:cs typeface="Arial" panose="020B0604020202020204" pitchFamily="34" charset="0"/>
              </a:rPr>
              <a:t>Despite these advantages, </a:t>
            </a:r>
            <a:r>
              <a:rPr lang="en-ID" sz="1050" b="1">
                <a:latin typeface="Arial" panose="020B0604020202020204" pitchFamily="34" charset="0"/>
                <a:cs typeface="Arial" panose="020B0604020202020204" pitchFamily="34" charset="0"/>
              </a:rPr>
              <a:t>SMRs are currently projected to have higher initial OCC </a:t>
            </a:r>
            <a:r>
              <a:rPr lang="en-ID" sz="1050">
                <a:latin typeface="Arial" panose="020B0604020202020204" pitchFamily="34" charset="0"/>
                <a:cs typeface="Arial" panose="020B0604020202020204" pitchFamily="34" charset="0"/>
              </a:rPr>
              <a:t>($8,000/</a:t>
            </a:r>
            <a:r>
              <a:rPr lang="en-ID" sz="1050" err="1">
                <a:latin typeface="Arial" panose="020B0604020202020204" pitchFamily="34" charset="0"/>
                <a:cs typeface="Arial" panose="020B0604020202020204" pitchFamily="34" charset="0"/>
              </a:rPr>
              <a:t>kWe</a:t>
            </a:r>
            <a:r>
              <a:rPr lang="en-ID" sz="1050">
                <a:latin typeface="Arial" panose="020B0604020202020204" pitchFamily="34" charset="0"/>
                <a:cs typeface="Arial" panose="020B0604020202020204" pitchFamily="34" charset="0"/>
              </a:rPr>
              <a:t>) than large reactors ($5,750/</a:t>
            </a:r>
            <a:r>
              <a:rPr lang="en-ID" sz="1050" err="1">
                <a:latin typeface="Arial" panose="020B0604020202020204" pitchFamily="34" charset="0"/>
                <a:cs typeface="Arial" panose="020B0604020202020204" pitchFamily="34" charset="0"/>
              </a:rPr>
              <a:t>kWe</a:t>
            </a:r>
            <a:r>
              <a:rPr lang="en-ID" sz="1050">
                <a:latin typeface="Arial" panose="020B0604020202020204" pitchFamily="34" charset="0"/>
                <a:cs typeface="Arial" panose="020B0604020202020204" pitchFamily="34" charset="0"/>
              </a:rPr>
              <a:t>) by 2030.</a:t>
            </a:r>
          </a:p>
          <a:p>
            <a:pPr marL="285750" indent="-285750">
              <a:buFont typeface="Arial" panose="020B0604020202020204" pitchFamily="34" charset="0"/>
              <a:buChar char="•"/>
            </a:pPr>
            <a:r>
              <a:rPr lang="en-ID" sz="1050">
                <a:latin typeface="Arial" panose="020B0604020202020204" pitchFamily="34" charset="0"/>
                <a:cs typeface="Arial" panose="020B0604020202020204" pitchFamily="34" charset="0"/>
              </a:rPr>
              <a:t>However, SMRs' shorter construction </a:t>
            </a:r>
            <a:r>
              <a:rPr lang="en-ID" sz="1050" b="1">
                <a:latin typeface="Arial" panose="020B0604020202020204" pitchFamily="34" charset="0"/>
                <a:cs typeface="Arial" panose="020B0604020202020204" pitchFamily="34" charset="0"/>
              </a:rPr>
              <a:t>reduces financing costs, which narrows the LCOE gap.</a:t>
            </a:r>
            <a:r>
              <a:rPr lang="en-ID" sz="1050">
                <a:latin typeface="Arial" panose="020B0604020202020204" pitchFamily="34" charset="0"/>
                <a:cs typeface="Arial" panose="020B0604020202020204" pitchFamily="34" charset="0"/>
              </a:rPr>
              <a:t> SMRs can be potentially more competitive under higher financing rates.</a:t>
            </a:r>
          </a:p>
        </p:txBody>
      </p:sp>
      <p:graphicFrame>
        <p:nvGraphicFramePr>
          <p:cNvPr id="503" name="Chart 502">
            <a:extLst>
              <a:ext uri="{FF2B5EF4-FFF2-40B4-BE49-F238E27FC236}">
                <a16:creationId xmlns:a16="http://schemas.microsoft.com/office/drawing/2014/main" id="{ED6D4D30-6DE8-B9CA-EE7A-A49BC8FEB927}"/>
              </a:ext>
            </a:extLst>
          </p:cNvPr>
          <p:cNvGraphicFramePr/>
          <p:nvPr>
            <p:custDataLst>
              <p:tags r:id="rId3"/>
            </p:custDataLst>
          </p:nvPr>
        </p:nvGraphicFramePr>
        <p:xfrm>
          <a:off x="5940425" y="1879600"/>
          <a:ext cx="5857875" cy="3716338"/>
        </p:xfrm>
        <a:graphic>
          <a:graphicData uri="http://schemas.openxmlformats.org/drawingml/2006/chart">
            <c:chart xmlns:c="http://schemas.openxmlformats.org/drawingml/2006/chart" xmlns:r="http://schemas.openxmlformats.org/officeDocument/2006/relationships" r:id="rId38"/>
          </a:graphicData>
        </a:graphic>
      </p:graphicFrame>
      <p:cxnSp>
        <p:nvCxnSpPr>
          <p:cNvPr id="487" name="Straight Connector 486">
            <a:extLst>
              <a:ext uri="{FF2B5EF4-FFF2-40B4-BE49-F238E27FC236}">
                <a16:creationId xmlns:a16="http://schemas.microsoft.com/office/drawing/2014/main" id="{13CC4835-59D2-ECA3-F5F2-0385CAD48250}"/>
              </a:ext>
            </a:extLst>
          </p:cNvPr>
          <p:cNvCxnSpPr/>
          <p:nvPr>
            <p:custDataLst>
              <p:tags r:id="rId4"/>
            </p:custDataLst>
          </p:nvPr>
        </p:nvCxnSpPr>
        <p:spPr bwMode="gray">
          <a:xfrm>
            <a:off x="9228138" y="6021388"/>
            <a:ext cx="514350" cy="0"/>
          </a:xfrm>
          <a:prstGeom prst="line">
            <a:avLst/>
          </a:prstGeom>
          <a:ln w="28575" cap="rnd" cmpd="sng" algn="ctr">
            <a:solidFill>
              <a:srgbClr val="D1227D"/>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2" name="Straight Connector 481">
            <a:extLst>
              <a:ext uri="{FF2B5EF4-FFF2-40B4-BE49-F238E27FC236}">
                <a16:creationId xmlns:a16="http://schemas.microsoft.com/office/drawing/2014/main" id="{E278C83C-4189-D8AD-EC0B-DF78F6F212F4}"/>
              </a:ext>
            </a:extLst>
          </p:cNvPr>
          <p:cNvCxnSpPr/>
          <p:nvPr>
            <p:custDataLst>
              <p:tags r:id="rId5"/>
            </p:custDataLst>
          </p:nvPr>
        </p:nvCxnSpPr>
        <p:spPr bwMode="gray">
          <a:xfrm>
            <a:off x="6453188" y="5614988"/>
            <a:ext cx="514350" cy="0"/>
          </a:xfrm>
          <a:prstGeom prst="line">
            <a:avLst/>
          </a:prstGeom>
          <a:ln w="28575" cap="rnd" cmpd="sng" algn="ctr">
            <a:solidFill>
              <a:srgbClr val="359BDB"/>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6" name="Straight Connector 485">
            <a:extLst>
              <a:ext uri="{FF2B5EF4-FFF2-40B4-BE49-F238E27FC236}">
                <a16:creationId xmlns:a16="http://schemas.microsoft.com/office/drawing/2014/main" id="{064D08B1-B99F-2746-3CA0-5BA948D25592}"/>
              </a:ext>
            </a:extLst>
          </p:cNvPr>
          <p:cNvCxnSpPr/>
          <p:nvPr>
            <p:custDataLst>
              <p:tags r:id="rId6"/>
            </p:custDataLst>
          </p:nvPr>
        </p:nvCxnSpPr>
        <p:spPr bwMode="gray">
          <a:xfrm>
            <a:off x="9228138" y="5818188"/>
            <a:ext cx="514350" cy="0"/>
          </a:xfrm>
          <a:prstGeom prst="line">
            <a:avLst/>
          </a:prstGeom>
          <a:ln w="28575" cap="rnd" cmpd="sng" algn="ctr">
            <a:solidFill>
              <a:srgbClr val="D1227D"/>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3" name="Straight Connector 482">
            <a:extLst>
              <a:ext uri="{FF2B5EF4-FFF2-40B4-BE49-F238E27FC236}">
                <a16:creationId xmlns:a16="http://schemas.microsoft.com/office/drawing/2014/main" id="{5ADC4394-284B-8923-2548-0666E06E60FE}"/>
              </a:ext>
            </a:extLst>
          </p:cNvPr>
          <p:cNvCxnSpPr/>
          <p:nvPr>
            <p:custDataLst>
              <p:tags r:id="rId7"/>
            </p:custDataLst>
          </p:nvPr>
        </p:nvCxnSpPr>
        <p:spPr bwMode="gray">
          <a:xfrm>
            <a:off x="6453188" y="5818188"/>
            <a:ext cx="514350" cy="0"/>
          </a:xfrm>
          <a:prstGeom prst="line">
            <a:avLst/>
          </a:prstGeom>
          <a:ln w="28575" cap="rnd" cmpd="sng" algn="ctr">
            <a:solidFill>
              <a:srgbClr val="359BDB"/>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5" name="Straight Connector 484">
            <a:extLst>
              <a:ext uri="{FF2B5EF4-FFF2-40B4-BE49-F238E27FC236}">
                <a16:creationId xmlns:a16="http://schemas.microsoft.com/office/drawing/2014/main" id="{9D2E8E84-2971-0536-D0D9-17BE70ABDE0C}"/>
              </a:ext>
            </a:extLst>
          </p:cNvPr>
          <p:cNvCxnSpPr/>
          <p:nvPr>
            <p:custDataLst>
              <p:tags r:id="rId8"/>
            </p:custDataLst>
          </p:nvPr>
        </p:nvCxnSpPr>
        <p:spPr bwMode="gray">
          <a:xfrm>
            <a:off x="9228138" y="5614988"/>
            <a:ext cx="514350" cy="0"/>
          </a:xfrm>
          <a:prstGeom prst="line">
            <a:avLst/>
          </a:prstGeom>
          <a:ln w="28575" cap="rnd" cmpd="sng" algn="ctr">
            <a:solidFill>
              <a:srgbClr val="FF930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4" name="Straight Connector 483">
            <a:extLst>
              <a:ext uri="{FF2B5EF4-FFF2-40B4-BE49-F238E27FC236}">
                <a16:creationId xmlns:a16="http://schemas.microsoft.com/office/drawing/2014/main" id="{B8410F36-90B4-390C-8EE1-5A2211327A6E}"/>
              </a:ext>
            </a:extLst>
          </p:cNvPr>
          <p:cNvCxnSpPr/>
          <p:nvPr>
            <p:custDataLst>
              <p:tags r:id="rId9"/>
            </p:custDataLst>
          </p:nvPr>
        </p:nvCxnSpPr>
        <p:spPr bwMode="gray">
          <a:xfrm>
            <a:off x="6453188" y="6021388"/>
            <a:ext cx="514350" cy="0"/>
          </a:xfrm>
          <a:prstGeom prst="line">
            <a:avLst/>
          </a:prstGeom>
          <a:ln w="28575" cap="rnd" cmpd="sng" algn="ctr">
            <a:solidFill>
              <a:srgbClr val="FF9300"/>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0" name="Text Placeholder 2">
            <a:extLst>
              <a:ext uri="{FF2B5EF4-FFF2-40B4-BE49-F238E27FC236}">
                <a16:creationId xmlns:a16="http://schemas.microsoft.com/office/drawing/2014/main" id="{DF30DF1F-2E08-0C95-AF0B-E1F14F292E9D}"/>
              </a:ext>
            </a:extLst>
          </p:cNvPr>
          <p:cNvSpPr txBox="1">
            <a:spLocks/>
          </p:cNvSpPr>
          <p:nvPr>
            <p:custDataLst>
              <p:tags r:id="rId10"/>
            </p:custDataLst>
          </p:nvPr>
        </p:nvSpPr>
        <p:spPr bwMode="auto">
          <a:xfrm>
            <a:off x="7032625" y="5553075"/>
            <a:ext cx="20796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6C585D6-A223-439E-9B77-1C1BE4EBB2AA}" type="datetime'Co''n''''ser''''vat''ive ''- ''Large'' Rea''cto''''r ''OC''C'">
              <a:rPr lang="en-US" altLang="en-US" sz="1050" smtClean="0">
                <a:effectLst/>
                <a:latin typeface="Arial" panose="020B0604020202020204" pitchFamily="34" charset="0"/>
                <a:cs typeface="Arial" panose="020B0604020202020204" pitchFamily="34" charset="0"/>
                <a:sym typeface="Arial" panose="020B0604020202020204" pitchFamily="34" charset="0"/>
              </a:rPr>
              <a:pPr marL="0" indent="0">
                <a:spcBef>
                  <a:spcPct val="0"/>
                </a:spcBef>
                <a:spcAft>
                  <a:spcPct val="0"/>
                </a:spcAft>
                <a:buNone/>
              </a:pPr>
              <a:t>Conservative - Large Reactor OCC</a:t>
            </a:fld>
            <a:endParaRPr lang="en-US" sz="1050">
              <a:latin typeface="Arial" panose="020B0604020202020204" pitchFamily="34" charset="0"/>
              <a:cs typeface="Arial" panose="020B0604020202020204" pitchFamily="34" charset="0"/>
              <a:sym typeface="Arial" panose="020B0604020202020204" pitchFamily="34" charset="0"/>
            </a:endParaRPr>
          </a:p>
        </p:txBody>
      </p:sp>
      <p:sp>
        <p:nvSpPr>
          <p:cNvPr id="478" name="Text Placeholder 2">
            <a:extLst>
              <a:ext uri="{FF2B5EF4-FFF2-40B4-BE49-F238E27FC236}">
                <a16:creationId xmlns:a16="http://schemas.microsoft.com/office/drawing/2014/main" id="{382F65B9-F164-E81E-6256-CF3E30DCFD2A}"/>
              </a:ext>
            </a:extLst>
          </p:cNvPr>
          <p:cNvSpPr txBox="1">
            <a:spLocks/>
          </p:cNvSpPr>
          <p:nvPr>
            <p:custDataLst>
              <p:tags r:id="rId11"/>
            </p:custDataLst>
          </p:nvPr>
        </p:nvSpPr>
        <p:spPr bwMode="auto">
          <a:xfrm>
            <a:off x="7032625" y="5959475"/>
            <a:ext cx="18637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0473936-DBB6-49E2-B036-5F37194B8C14}" type="datetime'''M''ode''''rate'' ''''- L''''arg''''e'' Reac''to''''r'' OCC'">
              <a:rPr lang="en-US" altLang="en-US" sz="1050" smtClean="0">
                <a:effectLst/>
                <a:latin typeface="Arial" panose="020B0604020202020204" pitchFamily="34" charset="0"/>
                <a:cs typeface="Arial" panose="020B0604020202020204" pitchFamily="34" charset="0"/>
                <a:sym typeface="Arial" panose="020B0604020202020204" pitchFamily="34" charset="0"/>
              </a:rPr>
              <a:pPr marL="0" indent="0">
                <a:spcBef>
                  <a:spcPct val="0"/>
                </a:spcBef>
                <a:spcAft>
                  <a:spcPct val="0"/>
                </a:spcAft>
                <a:buNone/>
              </a:pPr>
              <a:t>Moderate - Large Reactor OCC</a:t>
            </a:fld>
            <a:endParaRPr lang="en-US" sz="1050">
              <a:latin typeface="Arial" panose="020B0604020202020204" pitchFamily="34" charset="0"/>
              <a:cs typeface="Arial" panose="020B0604020202020204" pitchFamily="34" charset="0"/>
              <a:sym typeface="Arial" panose="020B0604020202020204" pitchFamily="34" charset="0"/>
            </a:endParaRPr>
          </a:p>
        </p:txBody>
      </p:sp>
      <p:sp>
        <p:nvSpPr>
          <p:cNvPr id="474" name="Text Placeholder 2">
            <a:extLst>
              <a:ext uri="{FF2B5EF4-FFF2-40B4-BE49-F238E27FC236}">
                <a16:creationId xmlns:a16="http://schemas.microsoft.com/office/drawing/2014/main" id="{A4828938-189E-DE9B-C726-7270E065E56E}"/>
              </a:ext>
            </a:extLst>
          </p:cNvPr>
          <p:cNvSpPr txBox="1">
            <a:spLocks/>
          </p:cNvSpPr>
          <p:nvPr>
            <p:custDataLst>
              <p:tags r:id="rId12"/>
            </p:custDataLst>
          </p:nvPr>
        </p:nvSpPr>
        <p:spPr bwMode="auto">
          <a:xfrm>
            <a:off x="9807575" y="5756275"/>
            <a:ext cx="189388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9270A7C-22E0-4E01-B2B1-5E0A236CBE4B}" type="datetime'Adva''''nce''d -'' ''L''''ar''g''e Re''''actor'''''' ''O''CC'">
              <a:rPr lang="en-US" altLang="en-US" sz="1050" smtClean="0">
                <a:effectLst/>
                <a:latin typeface="Arial" panose="020B0604020202020204" pitchFamily="34" charset="0"/>
                <a:cs typeface="Arial" panose="020B0604020202020204" pitchFamily="34" charset="0"/>
                <a:sym typeface="Arial" panose="020B0604020202020204" pitchFamily="34" charset="0"/>
              </a:rPr>
              <a:pPr marL="0" indent="0">
                <a:spcBef>
                  <a:spcPct val="0"/>
                </a:spcBef>
                <a:spcAft>
                  <a:spcPct val="0"/>
                </a:spcAft>
                <a:buNone/>
              </a:pPr>
              <a:t>Advanced - Large Reactor OCC</a:t>
            </a:fld>
            <a:endParaRPr lang="en-US" sz="1050">
              <a:latin typeface="Arial" panose="020B0604020202020204" pitchFamily="34" charset="0"/>
              <a:cs typeface="Arial" panose="020B0604020202020204" pitchFamily="34" charset="0"/>
              <a:sym typeface="Arial" panose="020B0604020202020204" pitchFamily="34" charset="0"/>
            </a:endParaRPr>
          </a:p>
        </p:txBody>
      </p:sp>
      <p:sp>
        <p:nvSpPr>
          <p:cNvPr id="479" name="Text Placeholder 2">
            <a:extLst>
              <a:ext uri="{FF2B5EF4-FFF2-40B4-BE49-F238E27FC236}">
                <a16:creationId xmlns:a16="http://schemas.microsoft.com/office/drawing/2014/main" id="{14CCFD2B-30F5-C4F8-BA07-2E6EDC672E2D}"/>
              </a:ext>
            </a:extLst>
          </p:cNvPr>
          <p:cNvSpPr txBox="1">
            <a:spLocks/>
          </p:cNvSpPr>
          <p:nvPr>
            <p:custDataLst>
              <p:tags r:id="rId13"/>
            </p:custDataLst>
          </p:nvPr>
        </p:nvSpPr>
        <p:spPr bwMode="auto">
          <a:xfrm>
            <a:off x="7032625" y="5756275"/>
            <a:ext cx="152876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DA201A5-5A0B-4FB8-986A-72382AF9E521}" type="datetime'C''o''ns''e''''''rv''a''ti''ve'' ''-'' S''M''R'''' ''OC''C'''">
              <a:rPr lang="en-US" altLang="en-US" sz="1050" smtClean="0">
                <a:effectLst/>
                <a:latin typeface="Arial" panose="020B0604020202020204" pitchFamily="34" charset="0"/>
                <a:cs typeface="Arial" panose="020B0604020202020204" pitchFamily="34" charset="0"/>
                <a:sym typeface="Arial" panose="020B0604020202020204" pitchFamily="34" charset="0"/>
              </a:rPr>
              <a:pPr marL="0" indent="0">
                <a:spcBef>
                  <a:spcPct val="0"/>
                </a:spcBef>
                <a:spcAft>
                  <a:spcPct val="0"/>
                </a:spcAft>
                <a:buNone/>
              </a:pPr>
              <a:t>Conservative - SMR OCC</a:t>
            </a:fld>
            <a:endParaRPr lang="en-US" sz="1050">
              <a:latin typeface="Arial" panose="020B0604020202020204" pitchFamily="34" charset="0"/>
              <a:cs typeface="Arial" panose="020B0604020202020204" pitchFamily="34" charset="0"/>
              <a:sym typeface="Arial" panose="020B0604020202020204" pitchFamily="34" charset="0"/>
            </a:endParaRPr>
          </a:p>
        </p:txBody>
      </p:sp>
      <p:sp>
        <p:nvSpPr>
          <p:cNvPr id="476" name="Text Placeholder 2">
            <a:extLst>
              <a:ext uri="{FF2B5EF4-FFF2-40B4-BE49-F238E27FC236}">
                <a16:creationId xmlns:a16="http://schemas.microsoft.com/office/drawing/2014/main" id="{2284E37C-3AA5-585A-C25C-BEAC8660A3B1}"/>
              </a:ext>
            </a:extLst>
          </p:cNvPr>
          <p:cNvSpPr txBox="1">
            <a:spLocks/>
          </p:cNvSpPr>
          <p:nvPr>
            <p:custDataLst>
              <p:tags r:id="rId14"/>
            </p:custDataLst>
          </p:nvPr>
        </p:nvSpPr>
        <p:spPr bwMode="auto">
          <a:xfrm>
            <a:off x="9807575" y="5959475"/>
            <a:ext cx="13430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415E6A8-DA03-479C-8021-752324CBCE1A}" type="datetime'Ad''v''''anced'' ''-'' ''''''S''''M''''''''R ''''O''C''C'">
              <a:rPr lang="en-US" altLang="en-US" sz="1050" smtClean="0">
                <a:effectLst/>
                <a:latin typeface="Arial" panose="020B0604020202020204" pitchFamily="34" charset="0"/>
                <a:cs typeface="Arial" panose="020B0604020202020204" pitchFamily="34" charset="0"/>
                <a:sym typeface="Arial" panose="020B0604020202020204" pitchFamily="34" charset="0"/>
              </a:rPr>
              <a:pPr marL="0" indent="0">
                <a:spcBef>
                  <a:spcPct val="0"/>
                </a:spcBef>
                <a:spcAft>
                  <a:spcPct val="0"/>
                </a:spcAft>
                <a:buNone/>
              </a:pPr>
              <a:t>Advanced - SMR OCC</a:t>
            </a:fld>
            <a:endParaRPr lang="en-US" sz="1050">
              <a:latin typeface="Arial" panose="020B0604020202020204" pitchFamily="34" charset="0"/>
              <a:cs typeface="Arial" panose="020B0604020202020204" pitchFamily="34" charset="0"/>
              <a:sym typeface="Arial" panose="020B0604020202020204" pitchFamily="34" charset="0"/>
            </a:endParaRPr>
          </a:p>
        </p:txBody>
      </p:sp>
      <p:sp>
        <p:nvSpPr>
          <p:cNvPr id="477" name="Text Placeholder 2">
            <a:extLst>
              <a:ext uri="{FF2B5EF4-FFF2-40B4-BE49-F238E27FC236}">
                <a16:creationId xmlns:a16="http://schemas.microsoft.com/office/drawing/2014/main" id="{7EB90969-59CE-9251-EC42-21B03DB16561}"/>
              </a:ext>
            </a:extLst>
          </p:cNvPr>
          <p:cNvSpPr txBox="1">
            <a:spLocks/>
          </p:cNvSpPr>
          <p:nvPr>
            <p:custDataLst>
              <p:tags r:id="rId15"/>
            </p:custDataLst>
          </p:nvPr>
        </p:nvSpPr>
        <p:spPr bwMode="auto">
          <a:xfrm>
            <a:off x="9807575" y="5553075"/>
            <a:ext cx="131286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6AB151D-E3A0-4722-902D-42B2C36E356D}" type="datetime'''M''''''od''e''''''''''''rate ''-'' S''''''M''''''R'' OC''C'">
              <a:rPr lang="en-US" altLang="en-US" sz="1050" smtClean="0">
                <a:effectLst/>
                <a:latin typeface="Arial" panose="020B0604020202020204" pitchFamily="34" charset="0"/>
                <a:cs typeface="Arial" panose="020B0604020202020204" pitchFamily="34" charset="0"/>
                <a:sym typeface="Arial" panose="020B0604020202020204" pitchFamily="34" charset="0"/>
              </a:rPr>
              <a:pPr marL="0" indent="0">
                <a:spcBef>
                  <a:spcPct val="0"/>
                </a:spcBef>
                <a:spcAft>
                  <a:spcPct val="0"/>
                </a:spcAft>
                <a:buNone/>
              </a:pPr>
              <a:t>Moderate - SMR OCC</a:t>
            </a:fld>
            <a:endParaRPr lang="en-US" sz="1050">
              <a:latin typeface="Arial" panose="020B0604020202020204" pitchFamily="34" charset="0"/>
              <a:cs typeface="Arial" panose="020B0604020202020204" pitchFamily="34" charset="0"/>
              <a:sym typeface="Arial" panose="020B0604020202020204" pitchFamily="34" charset="0"/>
            </a:endParaRPr>
          </a:p>
        </p:txBody>
      </p:sp>
      <p:sp>
        <p:nvSpPr>
          <p:cNvPr id="497" name="TextBox 496">
            <a:extLst>
              <a:ext uri="{FF2B5EF4-FFF2-40B4-BE49-F238E27FC236}">
                <a16:creationId xmlns:a16="http://schemas.microsoft.com/office/drawing/2014/main" id="{B9F2D478-27CA-7DB9-23C9-C56D8C0E5298}"/>
              </a:ext>
            </a:extLst>
          </p:cNvPr>
          <p:cNvSpPr txBox="1"/>
          <p:nvPr/>
        </p:nvSpPr>
        <p:spPr bwMode="gray">
          <a:xfrm>
            <a:off x="419894" y="1557818"/>
            <a:ext cx="5226163" cy="288147"/>
          </a:xfrm>
          <a:prstGeom prst="rect">
            <a:avLst/>
          </a:prstGeom>
          <a:noFill/>
        </p:spPr>
        <p:txBody>
          <a:bodyPr wrap="square" lIns="36000" tIns="36000" rIns="36000" bIns="36000" rtlCol="0" anchor="t">
            <a:spAutoFit/>
          </a:bodyPr>
          <a:lstStyle/>
          <a:p>
            <a:r>
              <a:rPr lang="en-ID" sz="1400" b="1">
                <a:latin typeface="Arial" panose="020B0604020202020204" pitchFamily="34" charset="0"/>
                <a:cs typeface="Arial" panose="020B0604020202020204" pitchFamily="34" charset="0"/>
              </a:rPr>
              <a:t>Current status</a:t>
            </a:r>
            <a:r>
              <a:rPr lang="en-ID" sz="1400">
                <a:latin typeface="Arial" panose="020B0604020202020204" pitchFamily="34" charset="0"/>
                <a:cs typeface="Arial" panose="020B0604020202020204" pitchFamily="34" charset="0"/>
              </a:rPr>
              <a:t>: Early-stage deployment, no commercial ops</a:t>
            </a:r>
            <a:endParaRPr lang="en-US" sz="1400">
              <a:latin typeface="Arial" panose="020B0604020202020204" pitchFamily="34" charset="0"/>
              <a:cs typeface="Arial" panose="020B0604020202020204" pitchFamily="34" charset="0"/>
            </a:endParaRPr>
          </a:p>
        </p:txBody>
      </p:sp>
      <p:cxnSp>
        <p:nvCxnSpPr>
          <p:cNvPr id="498" name="btfpColumnHeaderBoxLine912903">
            <a:extLst>
              <a:ext uri="{FF2B5EF4-FFF2-40B4-BE49-F238E27FC236}">
                <a16:creationId xmlns:a16="http://schemas.microsoft.com/office/drawing/2014/main" id="{013E1A74-57C1-E109-B366-AFE4FA85C012}"/>
              </a:ext>
            </a:extLst>
          </p:cNvPr>
          <p:cNvCxnSpPr>
            <a:cxnSpLocks/>
          </p:cNvCxnSpPr>
          <p:nvPr/>
        </p:nvCxnSpPr>
        <p:spPr bwMode="gray">
          <a:xfrm>
            <a:off x="419894" y="1851025"/>
            <a:ext cx="5226163"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459" name="Chart 458">
            <a:extLst>
              <a:ext uri="{FF2B5EF4-FFF2-40B4-BE49-F238E27FC236}">
                <a16:creationId xmlns:a16="http://schemas.microsoft.com/office/drawing/2014/main" id="{4EAA11CF-DC9F-1450-FFBF-F70B6D59CAD2}"/>
              </a:ext>
            </a:extLst>
          </p:cNvPr>
          <p:cNvGraphicFramePr/>
          <p:nvPr>
            <p:custDataLst>
              <p:tags r:id="rId16"/>
            </p:custDataLst>
          </p:nvPr>
        </p:nvGraphicFramePr>
        <p:xfrm>
          <a:off x="2800350" y="4033838"/>
          <a:ext cx="3187700" cy="1927225"/>
        </p:xfrm>
        <a:graphic>
          <a:graphicData uri="http://schemas.openxmlformats.org/drawingml/2006/chart">
            <c:chart xmlns:c="http://schemas.openxmlformats.org/drawingml/2006/chart" xmlns:r="http://schemas.openxmlformats.org/officeDocument/2006/relationships" r:id="rId39"/>
          </a:graphicData>
        </a:graphic>
      </p:graphicFrame>
      <p:sp>
        <p:nvSpPr>
          <p:cNvPr id="2" name="TextBox 1">
            <a:extLst>
              <a:ext uri="{FF2B5EF4-FFF2-40B4-BE49-F238E27FC236}">
                <a16:creationId xmlns:a16="http://schemas.microsoft.com/office/drawing/2014/main" id="{8F138CCB-817B-BDF1-B664-D6BEA2E31E6E}"/>
              </a:ext>
            </a:extLst>
          </p:cNvPr>
          <p:cNvSpPr txBox="1"/>
          <p:nvPr/>
        </p:nvSpPr>
        <p:spPr bwMode="gray">
          <a:xfrm>
            <a:off x="419894" y="3846513"/>
            <a:ext cx="2791619" cy="234950"/>
          </a:xfrm>
          <a:prstGeom prst="rect">
            <a:avLst/>
          </a:prstGeom>
          <a:noFill/>
        </p:spPr>
        <p:txBody>
          <a:bodyPr wrap="square" lIns="36000" tIns="36000" rIns="36000" bIns="36000" rtlCol="0" anchor="t">
            <a:spAutoFit/>
          </a:bodyPr>
          <a:lstStyle/>
          <a:p>
            <a:r>
              <a:rPr lang="en-US" sz="1050" b="1">
                <a:latin typeface="Arial" panose="020B0604020202020204" pitchFamily="34" charset="0"/>
                <a:cs typeface="Arial" panose="020B0604020202020204" pitchFamily="34" charset="0"/>
              </a:rPr>
              <a:t>Est. 2030 LCOE</a:t>
            </a:r>
            <a:r>
              <a:rPr lang="en-US" sz="1050">
                <a:latin typeface="Arial" panose="020B0604020202020204" pitchFamily="34" charset="0"/>
                <a:cs typeface="Arial" panose="020B0604020202020204" pitchFamily="34" charset="0"/>
              </a:rPr>
              <a:t>; $/MWh, 7.5% WACC</a:t>
            </a:r>
          </a:p>
        </p:txBody>
      </p:sp>
      <p:cxnSp>
        <p:nvCxnSpPr>
          <p:cNvPr id="3" name="btfpColumnHeaderBoxLine912903">
            <a:extLst>
              <a:ext uri="{FF2B5EF4-FFF2-40B4-BE49-F238E27FC236}">
                <a16:creationId xmlns:a16="http://schemas.microsoft.com/office/drawing/2014/main" id="{91963DA0-029E-09EB-A0B4-B61852922775}"/>
              </a:ext>
            </a:extLst>
          </p:cNvPr>
          <p:cNvCxnSpPr>
            <a:cxnSpLocks/>
          </p:cNvCxnSpPr>
          <p:nvPr/>
        </p:nvCxnSpPr>
        <p:spPr bwMode="gray">
          <a:xfrm>
            <a:off x="419894" y="4140200"/>
            <a:ext cx="234711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6AFCE90-8C05-F5AB-2651-875368A321CE}"/>
              </a:ext>
            </a:extLst>
          </p:cNvPr>
          <p:cNvSpPr txBox="1"/>
          <p:nvPr/>
        </p:nvSpPr>
        <p:spPr bwMode="gray">
          <a:xfrm>
            <a:off x="2882362" y="3844925"/>
            <a:ext cx="3138487" cy="234286"/>
          </a:xfrm>
          <a:prstGeom prst="rect">
            <a:avLst/>
          </a:prstGeom>
          <a:noFill/>
        </p:spPr>
        <p:txBody>
          <a:bodyPr wrap="square" lIns="36000" tIns="36000" rIns="36000" bIns="36000" rtlCol="0" anchor="t">
            <a:spAutoFit/>
          </a:bodyPr>
          <a:lstStyle/>
          <a:p>
            <a:r>
              <a:rPr lang="en-US" sz="1050" b="1">
                <a:latin typeface="Arial" panose="020B0604020202020204" pitchFamily="34" charset="0"/>
                <a:cs typeface="Arial" panose="020B0604020202020204" pitchFamily="34" charset="0"/>
              </a:rPr>
              <a:t>Est. 2030 LCOE</a:t>
            </a:r>
            <a:r>
              <a:rPr lang="en-US" sz="1050">
                <a:latin typeface="Arial" panose="020B0604020202020204" pitchFamily="34" charset="0"/>
                <a:cs typeface="Arial" panose="020B0604020202020204" pitchFamily="34" charset="0"/>
              </a:rPr>
              <a:t>; $/MWh, 7.5% WACC + 40% ITC</a:t>
            </a:r>
          </a:p>
        </p:txBody>
      </p:sp>
      <p:cxnSp>
        <p:nvCxnSpPr>
          <p:cNvPr id="9" name="btfpColumnHeaderBoxLine912903">
            <a:extLst>
              <a:ext uri="{FF2B5EF4-FFF2-40B4-BE49-F238E27FC236}">
                <a16:creationId xmlns:a16="http://schemas.microsoft.com/office/drawing/2014/main" id="{2D6FB6BD-EF81-D327-9B59-4F14C8173AFC}"/>
              </a:ext>
            </a:extLst>
          </p:cNvPr>
          <p:cNvCxnSpPr>
            <a:cxnSpLocks/>
          </p:cNvCxnSpPr>
          <p:nvPr/>
        </p:nvCxnSpPr>
        <p:spPr bwMode="gray">
          <a:xfrm>
            <a:off x="2882363" y="4138613"/>
            <a:ext cx="302353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456" name="Chart 455">
            <a:extLst>
              <a:ext uri="{FF2B5EF4-FFF2-40B4-BE49-F238E27FC236}">
                <a16:creationId xmlns:a16="http://schemas.microsoft.com/office/drawing/2014/main" id="{ECF37A65-EA18-9BFD-CB1E-2283A11EC229}"/>
              </a:ext>
            </a:extLst>
          </p:cNvPr>
          <p:cNvGraphicFramePr/>
          <p:nvPr>
            <p:custDataLst>
              <p:tags r:id="rId17"/>
            </p:custDataLst>
          </p:nvPr>
        </p:nvGraphicFramePr>
        <p:xfrm>
          <a:off x="338138" y="4040188"/>
          <a:ext cx="2511425" cy="1927225"/>
        </p:xfrm>
        <a:graphic>
          <a:graphicData uri="http://schemas.openxmlformats.org/drawingml/2006/chart">
            <c:chart xmlns:c="http://schemas.openxmlformats.org/drawingml/2006/chart" xmlns:r="http://schemas.openxmlformats.org/officeDocument/2006/relationships" r:id="rId40"/>
          </a:graphicData>
        </a:graphic>
      </p:graphicFrame>
      <p:sp>
        <p:nvSpPr>
          <p:cNvPr id="34" name="Rectangle 33">
            <a:extLst>
              <a:ext uri="{FF2B5EF4-FFF2-40B4-BE49-F238E27FC236}">
                <a16:creationId xmlns:a16="http://schemas.microsoft.com/office/drawing/2014/main" id="{6F69B582-8BF9-FB03-ABFF-1C9DEE6F13B1}"/>
              </a:ext>
            </a:extLst>
          </p:cNvPr>
          <p:cNvSpPr/>
          <p:nvPr>
            <p:custDataLst>
              <p:tags r:id="rId18"/>
            </p:custDataLst>
          </p:nvPr>
        </p:nvSpPr>
        <p:spPr bwMode="auto">
          <a:xfrm>
            <a:off x="3738563" y="6002338"/>
            <a:ext cx="142875" cy="106363"/>
          </a:xfrm>
          <a:prstGeom prst="rect">
            <a:avLst/>
          </a:prstGeom>
          <a:solidFill>
            <a:srgbClr val="F78C98"/>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7A91E790-28AC-EDFE-4AB8-250D234856EE}"/>
              </a:ext>
            </a:extLst>
          </p:cNvPr>
          <p:cNvSpPr/>
          <p:nvPr>
            <p:custDataLst>
              <p:tags r:id="rId19"/>
            </p:custDataLst>
          </p:nvPr>
        </p:nvSpPr>
        <p:spPr bwMode="auto">
          <a:xfrm>
            <a:off x="1670050" y="5837238"/>
            <a:ext cx="142875" cy="106363"/>
          </a:xfrm>
          <a:prstGeom prst="rect">
            <a:avLst/>
          </a:prstGeom>
          <a:solidFill>
            <a:srgbClr val="359BDB"/>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9F61D3E9-D49A-3627-8C60-CB43173B6AD1}"/>
              </a:ext>
            </a:extLst>
          </p:cNvPr>
          <p:cNvSpPr/>
          <p:nvPr>
            <p:custDataLst>
              <p:tags r:id="rId20"/>
            </p:custDataLst>
          </p:nvPr>
        </p:nvSpPr>
        <p:spPr bwMode="auto">
          <a:xfrm>
            <a:off x="3738563" y="5837238"/>
            <a:ext cx="142875" cy="106363"/>
          </a:xfrm>
          <a:prstGeom prst="rect">
            <a:avLst/>
          </a:prstGeom>
          <a:solidFill>
            <a:srgbClr val="805BCA"/>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60FD4541-B655-1C0F-A314-BF2E6E581904}"/>
              </a:ext>
            </a:extLst>
          </p:cNvPr>
          <p:cNvSpPr/>
          <p:nvPr>
            <p:custDataLst>
              <p:tags r:id="rId21"/>
            </p:custDataLst>
          </p:nvPr>
        </p:nvSpPr>
        <p:spPr bwMode="auto">
          <a:xfrm>
            <a:off x="1670050" y="6002338"/>
            <a:ext cx="142875" cy="106363"/>
          </a:xfrm>
          <a:prstGeom prst="rect">
            <a:avLst/>
          </a:prstGeom>
          <a:solidFill>
            <a:srgbClr val="D1227D"/>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34E72AA2-4059-F32E-9048-640135BE3A6A}"/>
              </a:ext>
            </a:extLst>
          </p:cNvPr>
          <p:cNvSpPr/>
          <p:nvPr>
            <p:custDataLst>
              <p:tags r:id="rId22"/>
            </p:custDataLst>
          </p:nvPr>
        </p:nvSpPr>
        <p:spPr bwMode="auto">
          <a:xfrm>
            <a:off x="2716213" y="6002338"/>
            <a:ext cx="142875" cy="106363"/>
          </a:xfrm>
          <a:prstGeom prst="rect">
            <a:avLst/>
          </a:prstGeom>
          <a:solidFill>
            <a:srgbClr val="FF930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C27B3B59-C849-246C-2E3D-8AB9B3668907}"/>
              </a:ext>
            </a:extLst>
          </p:cNvPr>
          <p:cNvSpPr/>
          <p:nvPr>
            <p:custDataLst>
              <p:tags r:id="rId23"/>
            </p:custDataLst>
          </p:nvPr>
        </p:nvSpPr>
        <p:spPr bwMode="auto">
          <a:xfrm>
            <a:off x="2716213" y="5837238"/>
            <a:ext cx="142875" cy="106363"/>
          </a:xfrm>
          <a:prstGeom prst="rect">
            <a:avLst/>
          </a:prstGeom>
          <a:solidFill>
            <a:srgbClr val="1D6088"/>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 Placeholder 2">
            <a:extLst>
              <a:ext uri="{FF2B5EF4-FFF2-40B4-BE49-F238E27FC236}">
                <a16:creationId xmlns:a16="http://schemas.microsoft.com/office/drawing/2014/main" id="{9881CD9B-CA48-080A-1BDC-FB90A5010AF8}"/>
              </a:ext>
            </a:extLst>
          </p:cNvPr>
          <p:cNvSpPr txBox="1">
            <a:spLocks/>
          </p:cNvSpPr>
          <p:nvPr>
            <p:custDataLst>
              <p:tags r:id="rId24"/>
            </p:custDataLst>
          </p:nvPr>
        </p:nvSpPr>
        <p:spPr bwMode="auto">
          <a:xfrm>
            <a:off x="1863725" y="5842000"/>
            <a:ext cx="7508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3A26EAC-6B45-49A1-B2F0-580BB8155FF2}" type="datetime'L''''''''a''''''''''r''''g''e''-''''Adv''an''''ce''''''''''d'">
              <a:rPr lang="en-US" altLang="en-US" sz="800" smtClean="0">
                <a:latin typeface="Arial" panose="020B0604020202020204" pitchFamily="34" charset="0"/>
              </a:rPr>
              <a:pPr marL="0" indent="0">
                <a:spcBef>
                  <a:spcPct val="0"/>
                </a:spcBef>
                <a:spcAft>
                  <a:spcPct val="0"/>
                </a:spcAft>
                <a:buNone/>
              </a:pPr>
              <a:t>Large-Advanced</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41" name="Text Placeholder 2">
            <a:extLst>
              <a:ext uri="{FF2B5EF4-FFF2-40B4-BE49-F238E27FC236}">
                <a16:creationId xmlns:a16="http://schemas.microsoft.com/office/drawing/2014/main" id="{8B86776A-1171-C642-D49C-8E94D501009D}"/>
              </a:ext>
            </a:extLst>
          </p:cNvPr>
          <p:cNvSpPr txBox="1">
            <a:spLocks/>
          </p:cNvSpPr>
          <p:nvPr>
            <p:custDataLst>
              <p:tags r:id="rId25"/>
            </p:custDataLst>
          </p:nvPr>
        </p:nvSpPr>
        <p:spPr bwMode="auto">
          <a:xfrm>
            <a:off x="2909888" y="5842000"/>
            <a:ext cx="7270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C650884-48E3-4551-BF0F-06C91CD0BB19}" type="datetime'L''''''''''''ar''g''''''e''-M''''o''''''der''''at''''''''e'">
              <a:rPr lang="en-US" altLang="en-US" sz="800" smtClean="0">
                <a:latin typeface="Arial" panose="020B0604020202020204" pitchFamily="34" charset="0"/>
              </a:rPr>
              <a:pPr marL="0" indent="0">
                <a:spcBef>
                  <a:spcPct val="0"/>
                </a:spcBef>
                <a:spcAft>
                  <a:spcPct val="0"/>
                </a:spcAft>
                <a:buNone/>
              </a:pPr>
              <a:t>Large-Moderate</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42" name="Text Placeholder 2">
            <a:extLst>
              <a:ext uri="{FF2B5EF4-FFF2-40B4-BE49-F238E27FC236}">
                <a16:creationId xmlns:a16="http://schemas.microsoft.com/office/drawing/2014/main" id="{F9C0DEA3-9ED1-B29B-A0C7-E24E75FD1A3E}"/>
              </a:ext>
            </a:extLst>
          </p:cNvPr>
          <p:cNvSpPr txBox="1">
            <a:spLocks/>
          </p:cNvSpPr>
          <p:nvPr>
            <p:custDataLst>
              <p:tags r:id="rId26"/>
            </p:custDataLst>
          </p:nvPr>
        </p:nvSpPr>
        <p:spPr bwMode="auto">
          <a:xfrm>
            <a:off x="3932238" y="5842000"/>
            <a:ext cx="8905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5510C03-CF6C-45BA-9DED-485B5A91ED67}" type="datetime'L''ar''''''ge-C''''''on''''s''e''rv''''''ati''v''''''''''e'''">
              <a:rPr lang="en-US" altLang="en-US" sz="800" smtClean="0">
                <a:latin typeface="Arial" panose="020B0604020202020204" pitchFamily="34" charset="0"/>
              </a:rPr>
              <a:pPr marL="0" indent="0">
                <a:spcBef>
                  <a:spcPct val="0"/>
                </a:spcBef>
                <a:spcAft>
                  <a:spcPct val="0"/>
                </a:spcAft>
                <a:buNone/>
              </a:pPr>
              <a:t>Large-Conservative</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43" name="Text Placeholder 2">
            <a:extLst>
              <a:ext uri="{FF2B5EF4-FFF2-40B4-BE49-F238E27FC236}">
                <a16:creationId xmlns:a16="http://schemas.microsoft.com/office/drawing/2014/main" id="{5665AAC3-D919-83C8-3F1A-3A4AE39DA15E}"/>
              </a:ext>
            </a:extLst>
          </p:cNvPr>
          <p:cNvSpPr txBox="1">
            <a:spLocks/>
          </p:cNvSpPr>
          <p:nvPr>
            <p:custDataLst>
              <p:tags r:id="rId27"/>
            </p:custDataLst>
          </p:nvPr>
        </p:nvSpPr>
        <p:spPr bwMode="auto">
          <a:xfrm>
            <a:off x="1863725" y="6007100"/>
            <a:ext cx="7143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7C4C9BF-FB49-4938-A8D6-5CEEF3B4224F}" type="datetime'''''''''S''''''''M''R-A''''d''v''''''an''''ce''''''''''''''d'">
              <a:rPr lang="en-US" altLang="en-US" sz="800" smtClean="0">
                <a:latin typeface="Arial" panose="020B0604020202020204" pitchFamily="34" charset="0"/>
              </a:rPr>
              <a:pPr marL="0" indent="0">
                <a:spcBef>
                  <a:spcPct val="0"/>
                </a:spcBef>
                <a:spcAft>
                  <a:spcPct val="0"/>
                </a:spcAft>
                <a:buNone/>
              </a:pPr>
              <a:t>SMR-Advanced</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44" name="Text Placeholder 2">
            <a:extLst>
              <a:ext uri="{FF2B5EF4-FFF2-40B4-BE49-F238E27FC236}">
                <a16:creationId xmlns:a16="http://schemas.microsoft.com/office/drawing/2014/main" id="{8B42EBC3-DDF6-E662-8E54-C5890C386C32}"/>
              </a:ext>
            </a:extLst>
          </p:cNvPr>
          <p:cNvSpPr txBox="1">
            <a:spLocks/>
          </p:cNvSpPr>
          <p:nvPr>
            <p:custDataLst>
              <p:tags r:id="rId28"/>
            </p:custDataLst>
          </p:nvPr>
        </p:nvSpPr>
        <p:spPr bwMode="auto">
          <a:xfrm>
            <a:off x="3932238" y="6007100"/>
            <a:ext cx="8540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EEEE81A-3BF7-472F-8B5C-A31585577DB0}" type="datetime'''''SM''''''R''''-Con''''s''''''e''''r''va''''''ti''ve'''''">
              <a:rPr lang="en-US" altLang="en-US" sz="800" smtClean="0">
                <a:latin typeface="Arial" panose="020B0604020202020204" pitchFamily="34" charset="0"/>
              </a:rPr>
              <a:pPr marL="0" indent="0">
                <a:spcBef>
                  <a:spcPct val="0"/>
                </a:spcBef>
                <a:spcAft>
                  <a:spcPct val="0"/>
                </a:spcAft>
                <a:buNone/>
              </a:pPr>
              <a:t>SMR-Conservative</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47" name="Text Placeholder 2">
            <a:extLst>
              <a:ext uri="{FF2B5EF4-FFF2-40B4-BE49-F238E27FC236}">
                <a16:creationId xmlns:a16="http://schemas.microsoft.com/office/drawing/2014/main" id="{1B8B7D5C-692D-B894-9DC3-34DE6DEF8851}"/>
              </a:ext>
            </a:extLst>
          </p:cNvPr>
          <p:cNvSpPr txBox="1">
            <a:spLocks/>
          </p:cNvSpPr>
          <p:nvPr>
            <p:custDataLst>
              <p:tags r:id="rId29"/>
            </p:custDataLst>
          </p:nvPr>
        </p:nvSpPr>
        <p:spPr bwMode="auto">
          <a:xfrm>
            <a:off x="2909888" y="6007100"/>
            <a:ext cx="6905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A7A4C9B-22BB-45E5-AD12-CE4EB6BF66F7}" type="datetime'''''S''M''''''R-''''M''o''''''''d''''e''rate'''''''''''">
              <a:rPr lang="en-US" altLang="en-US" sz="800" smtClean="0">
                <a:latin typeface="Arial" panose="020B0604020202020204" pitchFamily="34" charset="0"/>
              </a:rPr>
              <a:pPr marL="0" indent="0">
                <a:spcBef>
                  <a:spcPct val="0"/>
                </a:spcBef>
                <a:spcAft>
                  <a:spcPct val="0"/>
                </a:spcAft>
                <a:buNone/>
              </a:pPr>
              <a:t>SMR-Moderate</a:t>
            </a:fld>
            <a:endParaRPr lang="en-US" sz="800">
              <a:latin typeface="Arial" panose="020B0604020202020204" pitchFamily="34" charset="0"/>
              <a:cs typeface="Arial" panose="020B0604020202020204" pitchFamily="34" charset="0"/>
              <a:sym typeface="Arial" panose="020B0604020202020204" pitchFamily="34" charset="0"/>
            </a:endParaRPr>
          </a:p>
        </p:txBody>
      </p:sp>
    </p:spTree>
    <p:custDataLst>
      <p:tags r:id="rId1"/>
    </p:custDataLst>
    <p:extLst>
      <p:ext uri="{BB962C8B-B14F-4D97-AF65-F5344CB8AC3E}">
        <p14:creationId xmlns:p14="http://schemas.microsoft.com/office/powerpoint/2010/main" val="39128311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DDCD37-6AA3-1443-2CD8-576DF2D2F8D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25BD4EC-3785-B355-C23B-F6E346E7442D}"/>
              </a:ext>
            </a:extLst>
          </p:cNvPr>
          <p:cNvGraphicFramePr>
            <a:graphicFrameLocks noChangeAspect="1"/>
          </p:cNvGraphicFramePr>
          <p:nvPr>
            <p:custDataLst>
              <p:tags r:id="rId2"/>
            </p:custDataLst>
            <p:extLst>
              <p:ext uri="{D42A27DB-BD31-4B8C-83A1-F6EECF244321}">
                <p14:modId xmlns:p14="http://schemas.microsoft.com/office/powerpoint/2010/main" val="460137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C25BD4EC-3785-B355-C23B-F6E346E7442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23" name="Connector: Elbow 1051">
            <a:extLst>
              <a:ext uri="{FF2B5EF4-FFF2-40B4-BE49-F238E27FC236}">
                <a16:creationId xmlns:a16="http://schemas.microsoft.com/office/drawing/2014/main" id="{295CC028-0FFA-572B-7A64-FC84BE81BE56}"/>
              </a:ext>
            </a:extLst>
          </p:cNvPr>
          <p:cNvCxnSpPr>
            <a:cxnSpLocks/>
            <a:endCxn id="69" idx="2"/>
          </p:cNvCxnSpPr>
          <p:nvPr/>
        </p:nvCxnSpPr>
        <p:spPr bwMode="gray">
          <a:xfrm flipV="1">
            <a:off x="1324064" y="3250874"/>
            <a:ext cx="4482568" cy="213606"/>
          </a:xfrm>
          <a:prstGeom prst="bentConnector2">
            <a:avLst/>
          </a:prstGeom>
          <a:ln w="76200" cap="flat">
            <a:solidFill>
              <a:srgbClr val="D2217D"/>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176C666C-1FFC-E1EF-9AB6-1DB0571A681A}"/>
              </a:ext>
            </a:extLst>
          </p:cNvPr>
          <p:cNvSpPr>
            <a:spLocks noGrp="1"/>
          </p:cNvSpPr>
          <p:nvPr>
            <p:ph type="title"/>
          </p:nvPr>
        </p:nvSpPr>
        <p:spPr/>
        <p:txBody>
          <a:bodyPr vert="horz">
            <a:noAutofit/>
          </a:bodyPr>
          <a:lstStyle/>
          <a:p>
            <a:r>
              <a:rPr lang="en-US" b="1">
                <a:latin typeface="Arial" panose="020B0604020202020204" pitchFamily="34" charset="0"/>
                <a:ea typeface="+mj-lt"/>
                <a:cs typeface="Arial" panose="020B0604020202020204" pitchFamily="34" charset="0"/>
              </a:rPr>
              <a:t>Deep geological </a:t>
            </a:r>
            <a:r>
              <a:rPr lang="en-US">
                <a:latin typeface="Arial" panose="020B0604020202020204" pitchFamily="34" charset="0"/>
                <a:ea typeface="+mj-lt"/>
                <a:cs typeface="Arial" panose="020B0604020202020204" pitchFamily="34" charset="0"/>
              </a:rPr>
              <a:t>d</a:t>
            </a:r>
            <a:r>
              <a:rPr lang="en-US" b="1">
                <a:latin typeface="Arial" panose="020B0604020202020204" pitchFamily="34" charset="0"/>
                <a:ea typeface="+mj-lt"/>
                <a:cs typeface="Arial" panose="020B0604020202020204" pitchFamily="34" charset="0"/>
              </a:rPr>
              <a:t>isposal remains the preferred option for high</a:t>
            </a:r>
            <a:r>
              <a:rPr lang="en-US">
                <a:latin typeface="Arial" panose="020B0604020202020204" pitchFamily="34" charset="0"/>
                <a:ea typeface="+mj-lt"/>
                <a:cs typeface="Arial" panose="020B0604020202020204" pitchFamily="34" charset="0"/>
              </a:rPr>
              <a:t>-</a:t>
            </a:r>
            <a:r>
              <a:rPr lang="en-US" b="1">
                <a:latin typeface="Arial" panose="020B0604020202020204" pitchFamily="34" charset="0"/>
                <a:ea typeface="+mj-lt"/>
                <a:cs typeface="Arial" panose="020B0604020202020204" pitchFamily="34" charset="0"/>
              </a:rPr>
              <a:t>level </a:t>
            </a:r>
            <a:r>
              <a:rPr lang="en-US">
                <a:latin typeface="Arial" panose="020B0604020202020204" pitchFamily="34" charset="0"/>
                <a:ea typeface="+mj-lt"/>
                <a:cs typeface="Arial" panose="020B0604020202020204" pitchFamily="34" charset="0"/>
              </a:rPr>
              <a:t>(radioactive) </a:t>
            </a:r>
            <a:r>
              <a:rPr lang="en-US" b="1">
                <a:latin typeface="Arial" panose="020B0604020202020204" pitchFamily="34" charset="0"/>
                <a:ea typeface="+mj-lt"/>
                <a:cs typeface="Arial" panose="020B0604020202020204" pitchFamily="34" charset="0"/>
              </a:rPr>
              <a:t>nuclear waste management</a:t>
            </a:r>
            <a:endParaRPr lang="en-US" b="1">
              <a:latin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id="{0CC857BF-55D1-AEB6-59E1-DB2B3C20DC36}"/>
              </a:ext>
            </a:extLst>
          </p:cNvPr>
          <p:cNvSpPr txBox="1"/>
          <p:nvPr/>
        </p:nvSpPr>
        <p:spPr bwMode="gray">
          <a:xfrm>
            <a:off x="2578523" y="4552111"/>
            <a:ext cx="2007202" cy="184666"/>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termediate-level </a:t>
            </a:r>
            <a:r>
              <a:rPr lang="en-US" sz="1200">
                <a:solidFill>
                  <a:srgbClr val="000000"/>
                </a:solidFill>
                <a:latin typeface="Arial" panose="020B0604020202020204" pitchFamily="34" charset="0"/>
                <a:cs typeface="Arial" panose="020B0604020202020204" pitchFamily="34" charset="0"/>
              </a:rPr>
              <a:t>w</a:t>
            </a:r>
            <a:r>
              <a:rPr kumimoji="0" lang="en-US"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aste</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 name="TextBox 53">
            <a:extLst>
              <a:ext uri="{FF2B5EF4-FFF2-40B4-BE49-F238E27FC236}">
                <a16:creationId xmlns:a16="http://schemas.microsoft.com/office/drawing/2014/main" id="{877D4B87-D09A-BFC8-FC47-34C33D149A22}"/>
              </a:ext>
            </a:extLst>
          </p:cNvPr>
          <p:cNvSpPr txBox="1"/>
          <p:nvPr/>
        </p:nvSpPr>
        <p:spPr bwMode="gray">
          <a:xfrm>
            <a:off x="2348242" y="3490748"/>
            <a:ext cx="1711927" cy="184666"/>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pent fuel</a:t>
            </a:r>
          </a:p>
        </p:txBody>
      </p:sp>
      <p:sp>
        <p:nvSpPr>
          <p:cNvPr id="55" name="TextBox 54">
            <a:extLst>
              <a:ext uri="{FF2B5EF4-FFF2-40B4-BE49-F238E27FC236}">
                <a16:creationId xmlns:a16="http://schemas.microsoft.com/office/drawing/2014/main" id="{3BCBBEA1-F9CB-C295-2E49-06139CA1038C}"/>
              </a:ext>
            </a:extLst>
          </p:cNvPr>
          <p:cNvSpPr txBox="1"/>
          <p:nvPr/>
        </p:nvSpPr>
        <p:spPr bwMode="gray">
          <a:xfrm>
            <a:off x="3807905" y="3088648"/>
            <a:ext cx="1311304" cy="184666"/>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High-level </a:t>
            </a:r>
            <a:r>
              <a:rPr lang="en-US" sz="1200">
                <a:solidFill>
                  <a:srgbClr val="000000"/>
                </a:solidFill>
                <a:latin typeface="Arial" panose="020B0604020202020204" pitchFamily="34" charset="0"/>
                <a:cs typeface="Arial" panose="020B0604020202020204" pitchFamily="34" charset="0"/>
              </a:rPr>
              <a:t>w</a:t>
            </a:r>
            <a:r>
              <a:rPr kumimoji="0" lang="en-US"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aste</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6" name="TextBox 55">
            <a:extLst>
              <a:ext uri="{FF2B5EF4-FFF2-40B4-BE49-F238E27FC236}">
                <a16:creationId xmlns:a16="http://schemas.microsoft.com/office/drawing/2014/main" id="{27748AA9-8517-E290-D6EF-0F1E8B0D0A4B}"/>
              </a:ext>
            </a:extLst>
          </p:cNvPr>
          <p:cNvSpPr txBox="1"/>
          <p:nvPr/>
        </p:nvSpPr>
        <p:spPr bwMode="gray">
          <a:xfrm>
            <a:off x="721308" y="2124984"/>
            <a:ext cx="1454740" cy="184666"/>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ew fuel </a:t>
            </a:r>
            <a:r>
              <a:rPr lang="en-US" sz="1200">
                <a:solidFill>
                  <a:srgbClr val="000000"/>
                </a:solidFill>
                <a:latin typeface="Arial" panose="020B0604020202020204" pitchFamily="34" charset="0"/>
                <a:cs typeface="Arial" panose="020B0604020202020204" pitchFamily="34" charset="0"/>
              </a:rPr>
              <a:t>e</a:t>
            </a:r>
            <a:r>
              <a:rPr kumimoji="0" lang="en-US"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lement</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77" name="Group 76">
            <a:extLst>
              <a:ext uri="{FF2B5EF4-FFF2-40B4-BE49-F238E27FC236}">
                <a16:creationId xmlns:a16="http://schemas.microsoft.com/office/drawing/2014/main" id="{010C8201-5CDC-F78B-2017-F112609B9D57}"/>
              </a:ext>
            </a:extLst>
          </p:cNvPr>
          <p:cNvGrpSpPr/>
          <p:nvPr/>
        </p:nvGrpSpPr>
        <p:grpSpPr>
          <a:xfrm>
            <a:off x="556890" y="3658402"/>
            <a:ext cx="1534347" cy="1095792"/>
            <a:chOff x="556890" y="3668027"/>
            <a:chExt cx="1534347" cy="1095792"/>
          </a:xfrm>
        </p:grpSpPr>
        <p:sp>
          <p:nvSpPr>
            <p:cNvPr id="22" name="Rectangle: Rounded Corners 1061">
              <a:extLst>
                <a:ext uri="{FF2B5EF4-FFF2-40B4-BE49-F238E27FC236}">
                  <a16:creationId xmlns:a16="http://schemas.microsoft.com/office/drawing/2014/main" id="{9857C9EB-D4CE-A58A-E701-FE0D7646B9BC}"/>
                </a:ext>
              </a:extLst>
            </p:cNvPr>
            <p:cNvSpPr/>
            <p:nvPr/>
          </p:nvSpPr>
          <p:spPr bwMode="gray">
            <a:xfrm>
              <a:off x="556890" y="3668027"/>
              <a:ext cx="1534347" cy="1095792"/>
            </a:xfrm>
            <a:prstGeom prst="roundRect">
              <a:avLst>
                <a:gd name="adj" fmla="val 16667"/>
              </a:avLst>
            </a:prstGeom>
            <a:solidFill>
              <a:schemeClr val="bg1"/>
            </a:solidFill>
            <a:ln w="28575">
              <a:solidFill>
                <a:srgbClr val="05222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9" name="Picture 8">
              <a:extLst>
                <a:ext uri="{FF2B5EF4-FFF2-40B4-BE49-F238E27FC236}">
                  <a16:creationId xmlns:a16="http://schemas.microsoft.com/office/drawing/2014/main" id="{86EC81C7-44CA-0E4D-BDFA-DFA67F2A35BF}"/>
                </a:ext>
              </a:extLst>
            </p:cNvPr>
            <p:cNvPicPr>
              <a:picLocks noChangeAspect="1"/>
            </p:cNvPicPr>
            <p:nvPr/>
          </p:nvPicPr>
          <p:blipFill>
            <a:blip r:embed="rId8" cstate="screen">
              <a:extLst>
                <a:ext uri="{28A0092B-C50C-407E-A947-70E740481C1C}">
                  <a14:useLocalDpi xmlns:a14="http://schemas.microsoft.com/office/drawing/2010/main"/>
                </a:ext>
              </a:extLst>
            </a:blip>
            <a:srcRect r="-483"/>
            <a:stretch/>
          </p:blipFill>
          <p:spPr>
            <a:xfrm>
              <a:off x="871448" y="4014842"/>
              <a:ext cx="832107" cy="689673"/>
            </a:xfrm>
            <a:prstGeom prst="rect">
              <a:avLst/>
            </a:prstGeom>
          </p:spPr>
        </p:pic>
        <p:sp>
          <p:nvSpPr>
            <p:cNvPr id="2" name="TextBox 1">
              <a:extLst>
                <a:ext uri="{FF2B5EF4-FFF2-40B4-BE49-F238E27FC236}">
                  <a16:creationId xmlns:a16="http://schemas.microsoft.com/office/drawing/2014/main" id="{E31A1918-7233-1E7B-92DF-BE79E0C57510}"/>
                </a:ext>
              </a:extLst>
            </p:cNvPr>
            <p:cNvSpPr txBox="1"/>
            <p:nvPr/>
          </p:nvSpPr>
          <p:spPr bwMode="gray">
            <a:xfrm>
              <a:off x="638785" y="3689355"/>
              <a:ext cx="1376034" cy="384721"/>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ower Plant Operation</a:t>
              </a:r>
            </a:p>
          </p:txBody>
        </p:sp>
      </p:grpSp>
      <p:grpSp>
        <p:nvGrpSpPr>
          <p:cNvPr id="39" name="Group 38">
            <a:extLst>
              <a:ext uri="{FF2B5EF4-FFF2-40B4-BE49-F238E27FC236}">
                <a16:creationId xmlns:a16="http://schemas.microsoft.com/office/drawing/2014/main" id="{FFEFC4C7-631F-DB47-F162-359D3275CA6C}"/>
              </a:ext>
            </a:extLst>
          </p:cNvPr>
          <p:cNvGrpSpPr/>
          <p:nvPr/>
        </p:nvGrpSpPr>
        <p:grpSpPr>
          <a:xfrm>
            <a:off x="5440931" y="3760071"/>
            <a:ext cx="1534347" cy="1072631"/>
            <a:chOff x="-876676" y="4586811"/>
            <a:chExt cx="1534347" cy="1278623"/>
          </a:xfrm>
        </p:grpSpPr>
        <p:sp>
          <p:nvSpPr>
            <p:cNvPr id="27" name="Rectangle: Rounded Corners 1061">
              <a:extLst>
                <a:ext uri="{FF2B5EF4-FFF2-40B4-BE49-F238E27FC236}">
                  <a16:creationId xmlns:a16="http://schemas.microsoft.com/office/drawing/2014/main" id="{1FAE29F1-DC1F-1945-9390-994DFF787D1A}"/>
                </a:ext>
              </a:extLst>
            </p:cNvPr>
            <p:cNvSpPr/>
            <p:nvPr/>
          </p:nvSpPr>
          <p:spPr bwMode="gray">
            <a:xfrm>
              <a:off x="-876676" y="4586811"/>
              <a:ext cx="1534347" cy="1278623"/>
            </a:xfrm>
            <a:prstGeom prst="roundRect">
              <a:avLst>
                <a:gd name="adj" fmla="val 16667"/>
              </a:avLst>
            </a:prstGeom>
            <a:solidFill>
              <a:schemeClr val="bg1"/>
            </a:solidFill>
            <a:ln w="28575">
              <a:solidFill>
                <a:srgbClr val="05222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5944F285-1BC1-73E6-2912-760C50883D63}"/>
                </a:ext>
              </a:extLst>
            </p:cNvPr>
            <p:cNvSpPr txBox="1"/>
            <p:nvPr/>
          </p:nvSpPr>
          <p:spPr bwMode="gray">
            <a:xfrm>
              <a:off x="-769146" y="4637914"/>
              <a:ext cx="1376034" cy="384721"/>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hielded Interim Storage</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18" name="Picture 17" descr="A black and white logo&#10;&#10;AI-generated content may be incorrect.">
              <a:extLst>
                <a:ext uri="{FF2B5EF4-FFF2-40B4-BE49-F238E27FC236}">
                  <a16:creationId xmlns:a16="http://schemas.microsoft.com/office/drawing/2014/main" id="{7CFA696B-D079-DF06-CBE9-6C85D4E4787D}"/>
                </a:ext>
              </a:extLst>
            </p:cNvPr>
            <p:cNvPicPr>
              <a:picLocks noChangeAspect="1"/>
            </p:cNvPicPr>
            <p:nvPr/>
          </p:nvPicPr>
          <p:blipFill>
            <a:blip r:embed="rId9"/>
            <a:srcRect t="10629" b="33090"/>
            <a:stretch/>
          </p:blipFill>
          <p:spPr>
            <a:xfrm>
              <a:off x="-589759" y="5202838"/>
              <a:ext cx="1017260" cy="558044"/>
            </a:xfrm>
            <a:prstGeom prst="rect">
              <a:avLst/>
            </a:prstGeom>
          </p:spPr>
        </p:pic>
      </p:grpSp>
      <p:cxnSp>
        <p:nvCxnSpPr>
          <p:cNvPr id="40" name="Connector: Elbow 1051">
            <a:extLst>
              <a:ext uri="{FF2B5EF4-FFF2-40B4-BE49-F238E27FC236}">
                <a16:creationId xmlns:a16="http://schemas.microsoft.com/office/drawing/2014/main" id="{62A962AF-DCE9-7FF0-26D8-934917386338}"/>
              </a:ext>
            </a:extLst>
          </p:cNvPr>
          <p:cNvCxnSpPr>
            <a:cxnSpLocks/>
            <a:stCxn id="22" idx="3"/>
            <a:endCxn id="27" idx="1"/>
          </p:cNvCxnSpPr>
          <p:nvPr/>
        </p:nvCxnSpPr>
        <p:spPr bwMode="gray">
          <a:xfrm>
            <a:off x="2091237" y="4206298"/>
            <a:ext cx="3349694" cy="90089"/>
          </a:xfrm>
          <a:prstGeom prst="bentConnector3">
            <a:avLst>
              <a:gd name="adj1" fmla="val 50000"/>
            </a:avLst>
          </a:prstGeom>
          <a:ln w="76200" cap="flat">
            <a:solidFill>
              <a:srgbClr val="33A398"/>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1051">
            <a:extLst>
              <a:ext uri="{FF2B5EF4-FFF2-40B4-BE49-F238E27FC236}">
                <a16:creationId xmlns:a16="http://schemas.microsoft.com/office/drawing/2014/main" id="{BFE42D95-BD8D-89F4-499A-5F3FA13D6672}"/>
              </a:ext>
            </a:extLst>
          </p:cNvPr>
          <p:cNvCxnSpPr>
            <a:cxnSpLocks/>
            <a:stCxn id="22" idx="0"/>
            <a:endCxn id="57" idx="1"/>
          </p:cNvCxnSpPr>
          <p:nvPr/>
        </p:nvCxnSpPr>
        <p:spPr bwMode="gray">
          <a:xfrm rot="5400000" flipH="1" flipV="1">
            <a:off x="1288708" y="2761280"/>
            <a:ext cx="932479" cy="861767"/>
          </a:xfrm>
          <a:prstGeom prst="bentConnector2">
            <a:avLst/>
          </a:prstGeom>
          <a:ln w="76200" cap="flat">
            <a:solidFill>
              <a:srgbClr val="002060"/>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57" name="Rectangle: Rounded Corners 1061">
            <a:extLst>
              <a:ext uri="{FF2B5EF4-FFF2-40B4-BE49-F238E27FC236}">
                <a16:creationId xmlns:a16="http://schemas.microsoft.com/office/drawing/2014/main" id="{B40350ED-FD07-4980-7990-BC0F24921007}"/>
              </a:ext>
            </a:extLst>
          </p:cNvPr>
          <p:cNvSpPr/>
          <p:nvPr/>
        </p:nvSpPr>
        <p:spPr bwMode="gray">
          <a:xfrm>
            <a:off x="2185831" y="2181925"/>
            <a:ext cx="1534347" cy="1087995"/>
          </a:xfrm>
          <a:prstGeom prst="roundRect">
            <a:avLst>
              <a:gd name="adj" fmla="val 16667"/>
            </a:avLst>
          </a:prstGeom>
          <a:solidFill>
            <a:schemeClr val="bg1"/>
          </a:solidFill>
          <a:ln w="28575">
            <a:solidFill>
              <a:srgbClr val="05222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2" name="TextBox 61">
            <a:extLst>
              <a:ext uri="{FF2B5EF4-FFF2-40B4-BE49-F238E27FC236}">
                <a16:creationId xmlns:a16="http://schemas.microsoft.com/office/drawing/2014/main" id="{E07323CA-09D5-EFC8-0F41-AAC008070822}"/>
              </a:ext>
            </a:extLst>
          </p:cNvPr>
          <p:cNvSpPr txBox="1"/>
          <p:nvPr/>
        </p:nvSpPr>
        <p:spPr bwMode="gray">
          <a:xfrm>
            <a:off x="2192698" y="2209028"/>
            <a:ext cx="1534347" cy="577081"/>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Reprocessing </a:t>
            </a:r>
            <a:br>
              <a:rPr kumimoji="0" lang="en-US" sz="12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br>
            <a:r>
              <a:rPr kumimoji="0" lang="en-US" sz="12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Fuel Element Fabrication </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10" name="Picture 9">
            <a:extLst>
              <a:ext uri="{FF2B5EF4-FFF2-40B4-BE49-F238E27FC236}">
                <a16:creationId xmlns:a16="http://schemas.microsoft.com/office/drawing/2014/main" id="{3C9C8462-C85F-5CC6-0576-8C811B66FADC}"/>
              </a:ext>
            </a:extLst>
          </p:cNvPr>
          <p:cNvPicPr>
            <a:picLocks noChangeAspect="1"/>
          </p:cNvPicPr>
          <p:nvPr/>
        </p:nvPicPr>
        <p:blipFill>
          <a:blip r:embed="rId10" cstate="screen">
            <a:extLst>
              <a:ext uri="{28A0092B-C50C-407E-A947-70E740481C1C}">
                <a14:useLocalDpi xmlns:a14="http://schemas.microsoft.com/office/drawing/2010/main"/>
              </a:ext>
            </a:extLst>
          </a:blip>
          <a:srcRect r="-763"/>
          <a:stretch/>
        </p:blipFill>
        <p:spPr>
          <a:xfrm>
            <a:off x="2661371" y="2723987"/>
            <a:ext cx="584282" cy="562662"/>
          </a:xfrm>
          <a:prstGeom prst="rect">
            <a:avLst/>
          </a:prstGeom>
        </p:spPr>
      </p:pic>
      <p:cxnSp>
        <p:nvCxnSpPr>
          <p:cNvPr id="66" name="Connector: Elbow 1051">
            <a:extLst>
              <a:ext uri="{FF2B5EF4-FFF2-40B4-BE49-F238E27FC236}">
                <a16:creationId xmlns:a16="http://schemas.microsoft.com/office/drawing/2014/main" id="{C707AF9B-E179-3437-E389-4326B33D8C23}"/>
              </a:ext>
            </a:extLst>
          </p:cNvPr>
          <p:cNvCxnSpPr>
            <a:cxnSpLocks/>
            <a:stCxn id="57" idx="3"/>
            <a:endCxn id="69" idx="1"/>
          </p:cNvCxnSpPr>
          <p:nvPr/>
        </p:nvCxnSpPr>
        <p:spPr bwMode="gray">
          <a:xfrm flipV="1">
            <a:off x="3720178" y="2718575"/>
            <a:ext cx="1319280" cy="7348"/>
          </a:xfrm>
          <a:prstGeom prst="bentConnector3">
            <a:avLst>
              <a:gd name="adj1" fmla="val 50000"/>
            </a:avLst>
          </a:prstGeom>
          <a:ln w="76200" cap="flat">
            <a:solidFill>
              <a:srgbClr val="002060"/>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C547227A-A700-5E96-B16B-9DD2A03A46E1}"/>
              </a:ext>
            </a:extLst>
          </p:cNvPr>
          <p:cNvGrpSpPr/>
          <p:nvPr/>
        </p:nvGrpSpPr>
        <p:grpSpPr>
          <a:xfrm>
            <a:off x="5039458" y="2186276"/>
            <a:ext cx="1534347" cy="1064598"/>
            <a:chOff x="5295218" y="1273291"/>
            <a:chExt cx="1534347" cy="1278623"/>
          </a:xfrm>
        </p:grpSpPr>
        <p:sp>
          <p:nvSpPr>
            <p:cNvPr id="69" name="Rectangle: Rounded Corners 1061">
              <a:extLst>
                <a:ext uri="{FF2B5EF4-FFF2-40B4-BE49-F238E27FC236}">
                  <a16:creationId xmlns:a16="http://schemas.microsoft.com/office/drawing/2014/main" id="{07FCFBA7-A4E1-3D2C-A391-0F9DF4871C10}"/>
                </a:ext>
              </a:extLst>
            </p:cNvPr>
            <p:cNvSpPr/>
            <p:nvPr/>
          </p:nvSpPr>
          <p:spPr bwMode="gray">
            <a:xfrm>
              <a:off x="5295218" y="1273291"/>
              <a:ext cx="1534347" cy="1278623"/>
            </a:xfrm>
            <a:prstGeom prst="roundRect">
              <a:avLst>
                <a:gd name="adj" fmla="val 16667"/>
              </a:avLst>
            </a:prstGeom>
            <a:solidFill>
              <a:schemeClr val="bg1"/>
            </a:solidFill>
            <a:ln w="28575">
              <a:solidFill>
                <a:srgbClr val="05222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0" name="TextBox 69">
              <a:extLst>
                <a:ext uri="{FF2B5EF4-FFF2-40B4-BE49-F238E27FC236}">
                  <a16:creationId xmlns:a16="http://schemas.microsoft.com/office/drawing/2014/main" id="{4EC024F2-8220-F116-2C10-CC7CE23DA673}"/>
                </a:ext>
              </a:extLst>
            </p:cNvPr>
            <p:cNvSpPr txBox="1"/>
            <p:nvPr/>
          </p:nvSpPr>
          <p:spPr bwMode="gray">
            <a:xfrm>
              <a:off x="5402748" y="1324394"/>
              <a:ext cx="1376034" cy="384721"/>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ool Interim Storage</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17" name="Picture 16" descr="A black and white sign with text&#10;&#10;AI-generated content may be incorrect.">
              <a:extLst>
                <a:ext uri="{FF2B5EF4-FFF2-40B4-BE49-F238E27FC236}">
                  <a16:creationId xmlns:a16="http://schemas.microsoft.com/office/drawing/2014/main" id="{5F37038D-6F35-FC59-6144-462D494D2E57}"/>
                </a:ext>
              </a:extLst>
            </p:cNvPr>
            <p:cNvPicPr>
              <a:picLocks noChangeAspect="1"/>
            </p:cNvPicPr>
            <p:nvPr/>
          </p:nvPicPr>
          <p:blipFill>
            <a:blip r:embed="rId11"/>
            <a:srcRect b="29444"/>
            <a:stretch/>
          </p:blipFill>
          <p:spPr>
            <a:xfrm>
              <a:off x="5540586" y="1735225"/>
              <a:ext cx="1100358" cy="697944"/>
            </a:xfrm>
            <a:prstGeom prst="rect">
              <a:avLst/>
            </a:prstGeom>
          </p:spPr>
        </p:pic>
      </p:grpSp>
      <p:cxnSp>
        <p:nvCxnSpPr>
          <p:cNvPr id="73" name="Connector: Elbow 1051">
            <a:extLst>
              <a:ext uri="{FF2B5EF4-FFF2-40B4-BE49-F238E27FC236}">
                <a16:creationId xmlns:a16="http://schemas.microsoft.com/office/drawing/2014/main" id="{88712307-1ED0-5FCE-DB77-8FE97EB1408E}"/>
              </a:ext>
            </a:extLst>
          </p:cNvPr>
          <p:cNvCxnSpPr>
            <a:cxnSpLocks/>
          </p:cNvCxnSpPr>
          <p:nvPr/>
        </p:nvCxnSpPr>
        <p:spPr bwMode="gray">
          <a:xfrm rot="5400000">
            <a:off x="955017" y="2396479"/>
            <a:ext cx="1257178" cy="1190716"/>
          </a:xfrm>
          <a:prstGeom prst="bentConnector3">
            <a:avLst>
              <a:gd name="adj1" fmla="val 1766"/>
            </a:avLst>
          </a:prstGeom>
          <a:ln w="76200" cap="flat">
            <a:solidFill>
              <a:srgbClr val="9EB1CF"/>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3A9E5673-2E75-8404-7CFB-5FC3E42C97DC}"/>
              </a:ext>
            </a:extLst>
          </p:cNvPr>
          <p:cNvGrpSpPr/>
          <p:nvPr/>
        </p:nvGrpSpPr>
        <p:grpSpPr>
          <a:xfrm>
            <a:off x="5076686" y="5102867"/>
            <a:ext cx="1534347" cy="1066334"/>
            <a:chOff x="-876676" y="4586811"/>
            <a:chExt cx="1534347" cy="1278623"/>
          </a:xfrm>
        </p:grpSpPr>
        <p:sp>
          <p:nvSpPr>
            <p:cNvPr id="84" name="Rectangle: Rounded Corners 1061">
              <a:extLst>
                <a:ext uri="{FF2B5EF4-FFF2-40B4-BE49-F238E27FC236}">
                  <a16:creationId xmlns:a16="http://schemas.microsoft.com/office/drawing/2014/main" id="{72FE16E3-493D-EAB7-C897-55EFFB8E3299}"/>
                </a:ext>
              </a:extLst>
            </p:cNvPr>
            <p:cNvSpPr/>
            <p:nvPr/>
          </p:nvSpPr>
          <p:spPr bwMode="gray">
            <a:xfrm>
              <a:off x="-876676" y="4586811"/>
              <a:ext cx="1534347" cy="1278623"/>
            </a:xfrm>
            <a:prstGeom prst="roundRect">
              <a:avLst>
                <a:gd name="adj" fmla="val 16667"/>
              </a:avLst>
            </a:prstGeom>
            <a:solidFill>
              <a:schemeClr val="bg1"/>
            </a:solidFill>
            <a:ln w="28575">
              <a:solidFill>
                <a:srgbClr val="05222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 name="TextBox 84">
              <a:extLst>
                <a:ext uri="{FF2B5EF4-FFF2-40B4-BE49-F238E27FC236}">
                  <a16:creationId xmlns:a16="http://schemas.microsoft.com/office/drawing/2014/main" id="{4DC3D7A2-E08E-FC22-79C2-930BB78EDC91}"/>
                </a:ext>
              </a:extLst>
            </p:cNvPr>
            <p:cNvSpPr txBox="1"/>
            <p:nvPr/>
          </p:nvSpPr>
          <p:spPr bwMode="gray">
            <a:xfrm>
              <a:off x="-769146" y="4637914"/>
              <a:ext cx="1376034" cy="384721"/>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mpacted Interim Storage</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cxnSp>
        <p:nvCxnSpPr>
          <p:cNvPr id="87" name="Connector: Elbow 1051">
            <a:extLst>
              <a:ext uri="{FF2B5EF4-FFF2-40B4-BE49-F238E27FC236}">
                <a16:creationId xmlns:a16="http://schemas.microsoft.com/office/drawing/2014/main" id="{3257DB8B-BE23-385A-FE59-AC4179EDE1F9}"/>
              </a:ext>
            </a:extLst>
          </p:cNvPr>
          <p:cNvCxnSpPr>
            <a:cxnSpLocks/>
            <a:stCxn id="22" idx="2"/>
            <a:endCxn id="84" idx="1"/>
          </p:cNvCxnSpPr>
          <p:nvPr/>
        </p:nvCxnSpPr>
        <p:spPr bwMode="gray">
          <a:xfrm rot="16200000" flipH="1">
            <a:off x="2759455" y="3318803"/>
            <a:ext cx="881840" cy="3752622"/>
          </a:xfrm>
          <a:prstGeom prst="bentConnector2">
            <a:avLst/>
          </a:prstGeom>
          <a:ln w="76200" cap="flat">
            <a:solidFill>
              <a:srgbClr val="349BDC"/>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1" name="Connector: Elbow 1051">
            <a:extLst>
              <a:ext uri="{FF2B5EF4-FFF2-40B4-BE49-F238E27FC236}">
                <a16:creationId xmlns:a16="http://schemas.microsoft.com/office/drawing/2014/main" id="{F41B80B1-D5F7-D23D-0669-60DA8AA6632E}"/>
              </a:ext>
            </a:extLst>
          </p:cNvPr>
          <p:cNvCxnSpPr>
            <a:cxnSpLocks/>
            <a:stCxn id="84" idx="3"/>
            <a:endCxn id="95" idx="1"/>
          </p:cNvCxnSpPr>
          <p:nvPr/>
        </p:nvCxnSpPr>
        <p:spPr bwMode="gray">
          <a:xfrm flipV="1">
            <a:off x="6611033" y="5635167"/>
            <a:ext cx="1361803" cy="867"/>
          </a:xfrm>
          <a:prstGeom prst="bentConnector3">
            <a:avLst>
              <a:gd name="adj1" fmla="val 50000"/>
            </a:avLst>
          </a:prstGeom>
          <a:ln w="76200" cap="flat">
            <a:solidFill>
              <a:srgbClr val="349BDC"/>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DF210098-FA64-01CC-1F27-6D84E34922FC}"/>
              </a:ext>
            </a:extLst>
          </p:cNvPr>
          <p:cNvGrpSpPr/>
          <p:nvPr/>
        </p:nvGrpSpPr>
        <p:grpSpPr>
          <a:xfrm>
            <a:off x="7972836" y="5102867"/>
            <a:ext cx="1534347" cy="1064599"/>
            <a:chOff x="-408988" y="4979566"/>
            <a:chExt cx="1534347" cy="1278623"/>
          </a:xfrm>
        </p:grpSpPr>
        <p:sp>
          <p:nvSpPr>
            <p:cNvPr id="95" name="Rectangle: Rounded Corners 1061">
              <a:extLst>
                <a:ext uri="{FF2B5EF4-FFF2-40B4-BE49-F238E27FC236}">
                  <a16:creationId xmlns:a16="http://schemas.microsoft.com/office/drawing/2014/main" id="{86BDCD1C-B428-8C33-285D-4BE426313222}"/>
                </a:ext>
              </a:extLst>
            </p:cNvPr>
            <p:cNvSpPr/>
            <p:nvPr/>
          </p:nvSpPr>
          <p:spPr bwMode="gray">
            <a:xfrm>
              <a:off x="-408988" y="4979566"/>
              <a:ext cx="1534347" cy="1278623"/>
            </a:xfrm>
            <a:prstGeom prst="roundRect">
              <a:avLst>
                <a:gd name="adj" fmla="val 16667"/>
              </a:avLst>
            </a:prstGeom>
            <a:solidFill>
              <a:schemeClr val="bg1"/>
            </a:solidFill>
            <a:ln w="28575">
              <a:solidFill>
                <a:srgbClr val="05222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6" name="TextBox 95">
              <a:extLst>
                <a:ext uri="{FF2B5EF4-FFF2-40B4-BE49-F238E27FC236}">
                  <a16:creationId xmlns:a16="http://schemas.microsoft.com/office/drawing/2014/main" id="{682A9D93-FB8C-28A5-CAED-415A222D96B3}"/>
                </a:ext>
              </a:extLst>
            </p:cNvPr>
            <p:cNvSpPr txBox="1"/>
            <p:nvPr/>
          </p:nvSpPr>
          <p:spPr bwMode="gray">
            <a:xfrm>
              <a:off x="-301458" y="5030669"/>
              <a:ext cx="1376034" cy="384721"/>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ear-Surface Disposal</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3" name="Picture 22" descr="A black line drawing of a car&#10;&#10;AI-generated content may be incorrect.">
              <a:extLst>
                <a:ext uri="{FF2B5EF4-FFF2-40B4-BE49-F238E27FC236}">
                  <a16:creationId xmlns:a16="http://schemas.microsoft.com/office/drawing/2014/main" id="{8818BA82-8577-8E61-BABC-52B0D92CE272}"/>
                </a:ext>
              </a:extLst>
            </p:cNvPr>
            <p:cNvPicPr>
              <a:picLocks noChangeAspect="1"/>
            </p:cNvPicPr>
            <p:nvPr/>
          </p:nvPicPr>
          <p:blipFill>
            <a:blip r:embed="rId12"/>
            <a:srcRect l="-695" t="21805" r="694" b="28819"/>
            <a:stretch/>
          </p:blipFill>
          <p:spPr>
            <a:xfrm>
              <a:off x="-121480" y="5649227"/>
              <a:ext cx="1020173" cy="546687"/>
            </a:xfrm>
            <a:prstGeom prst="rect">
              <a:avLst/>
            </a:prstGeom>
          </p:spPr>
        </p:pic>
      </p:grpSp>
      <p:grpSp>
        <p:nvGrpSpPr>
          <p:cNvPr id="106" name="Group 105">
            <a:extLst>
              <a:ext uri="{FF2B5EF4-FFF2-40B4-BE49-F238E27FC236}">
                <a16:creationId xmlns:a16="http://schemas.microsoft.com/office/drawing/2014/main" id="{D9FFCF8B-DAA2-2B7A-DAAA-520A7C113EED}"/>
              </a:ext>
            </a:extLst>
          </p:cNvPr>
          <p:cNvGrpSpPr/>
          <p:nvPr/>
        </p:nvGrpSpPr>
        <p:grpSpPr>
          <a:xfrm>
            <a:off x="7972836" y="2177325"/>
            <a:ext cx="1534347" cy="1064599"/>
            <a:chOff x="9940457" y="1303290"/>
            <a:chExt cx="1534347" cy="1278623"/>
          </a:xfrm>
        </p:grpSpPr>
        <p:sp>
          <p:nvSpPr>
            <p:cNvPr id="103" name="Rectangle: Rounded Corners 1061">
              <a:extLst>
                <a:ext uri="{FF2B5EF4-FFF2-40B4-BE49-F238E27FC236}">
                  <a16:creationId xmlns:a16="http://schemas.microsoft.com/office/drawing/2014/main" id="{7F16A3B5-82D5-5B39-85A7-41F406957259}"/>
                </a:ext>
              </a:extLst>
            </p:cNvPr>
            <p:cNvSpPr/>
            <p:nvPr/>
          </p:nvSpPr>
          <p:spPr bwMode="gray">
            <a:xfrm>
              <a:off x="9940457" y="1303290"/>
              <a:ext cx="1534347" cy="1278623"/>
            </a:xfrm>
            <a:prstGeom prst="roundRect">
              <a:avLst>
                <a:gd name="adj" fmla="val 16667"/>
              </a:avLst>
            </a:prstGeom>
            <a:solidFill>
              <a:schemeClr val="bg1"/>
            </a:solidFill>
            <a:ln w="28575">
              <a:solidFill>
                <a:srgbClr val="05222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 name="TextBox 103">
              <a:extLst>
                <a:ext uri="{FF2B5EF4-FFF2-40B4-BE49-F238E27FC236}">
                  <a16:creationId xmlns:a16="http://schemas.microsoft.com/office/drawing/2014/main" id="{E61A2E23-2C89-D303-FF07-62F42E8EA94D}"/>
                </a:ext>
              </a:extLst>
            </p:cNvPr>
            <p:cNvSpPr txBox="1"/>
            <p:nvPr/>
          </p:nvSpPr>
          <p:spPr bwMode="gray">
            <a:xfrm>
              <a:off x="10047987" y="1354393"/>
              <a:ext cx="1376034" cy="384721"/>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ep Geological Disposal</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0" name="Picture 19" descr="A black and white image of a line&#10;&#10;AI-generated content may be incorrect.">
              <a:extLst>
                <a:ext uri="{FF2B5EF4-FFF2-40B4-BE49-F238E27FC236}">
                  <a16:creationId xmlns:a16="http://schemas.microsoft.com/office/drawing/2014/main" id="{30854EBB-7BA3-FF1C-E80C-748EBABF3CF8}"/>
                </a:ext>
              </a:extLst>
            </p:cNvPr>
            <p:cNvPicPr>
              <a:picLocks noChangeAspect="1"/>
            </p:cNvPicPr>
            <p:nvPr/>
          </p:nvPicPr>
          <p:blipFill>
            <a:blip r:embed="rId13"/>
            <a:srcRect l="-22" t="24123" b="22224"/>
            <a:stretch/>
          </p:blipFill>
          <p:spPr>
            <a:xfrm>
              <a:off x="10055768" y="1760360"/>
              <a:ext cx="1357843" cy="748052"/>
            </a:xfrm>
            <a:prstGeom prst="rect">
              <a:avLst/>
            </a:prstGeom>
          </p:spPr>
        </p:pic>
      </p:grpSp>
      <p:cxnSp>
        <p:nvCxnSpPr>
          <p:cNvPr id="108" name="Connector: Elbow 1051">
            <a:extLst>
              <a:ext uri="{FF2B5EF4-FFF2-40B4-BE49-F238E27FC236}">
                <a16:creationId xmlns:a16="http://schemas.microsoft.com/office/drawing/2014/main" id="{B797F7D3-5331-7E2D-360C-B7B5B688C7B8}"/>
              </a:ext>
            </a:extLst>
          </p:cNvPr>
          <p:cNvCxnSpPr>
            <a:cxnSpLocks/>
            <a:stCxn id="69" idx="3"/>
          </p:cNvCxnSpPr>
          <p:nvPr/>
        </p:nvCxnSpPr>
        <p:spPr bwMode="gray">
          <a:xfrm>
            <a:off x="6573805" y="2718575"/>
            <a:ext cx="1408742" cy="105802"/>
          </a:xfrm>
          <a:prstGeom prst="bentConnector3">
            <a:avLst>
              <a:gd name="adj1" fmla="val 50000"/>
            </a:avLst>
          </a:prstGeom>
          <a:ln w="76200" cap="flat">
            <a:solidFill>
              <a:srgbClr val="002060"/>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3" name="Connector: Elbow 1051">
            <a:extLst>
              <a:ext uri="{FF2B5EF4-FFF2-40B4-BE49-F238E27FC236}">
                <a16:creationId xmlns:a16="http://schemas.microsoft.com/office/drawing/2014/main" id="{8CB822C0-57A4-9429-9842-4CF488F59334}"/>
              </a:ext>
            </a:extLst>
          </p:cNvPr>
          <p:cNvCxnSpPr>
            <a:cxnSpLocks/>
            <a:stCxn id="27" idx="3"/>
            <a:endCxn id="103" idx="2"/>
          </p:cNvCxnSpPr>
          <p:nvPr/>
        </p:nvCxnSpPr>
        <p:spPr bwMode="gray">
          <a:xfrm flipV="1">
            <a:off x="6975278" y="3241924"/>
            <a:ext cx="1764732" cy="1054463"/>
          </a:xfrm>
          <a:prstGeom prst="bentConnector2">
            <a:avLst/>
          </a:prstGeom>
          <a:ln w="76200" cap="flat">
            <a:solidFill>
              <a:srgbClr val="33A398"/>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9" name="Connector: Elbow 1051">
            <a:extLst>
              <a:ext uri="{FF2B5EF4-FFF2-40B4-BE49-F238E27FC236}">
                <a16:creationId xmlns:a16="http://schemas.microsoft.com/office/drawing/2014/main" id="{36A690A5-2B54-BFEE-6CAC-1ED38EDD4D4C}"/>
              </a:ext>
            </a:extLst>
          </p:cNvPr>
          <p:cNvCxnSpPr>
            <a:cxnSpLocks/>
          </p:cNvCxnSpPr>
          <p:nvPr/>
        </p:nvCxnSpPr>
        <p:spPr bwMode="gray">
          <a:xfrm>
            <a:off x="6560250" y="2908328"/>
            <a:ext cx="1412586" cy="0"/>
          </a:xfrm>
          <a:prstGeom prst="straightConnector1">
            <a:avLst/>
          </a:prstGeom>
          <a:ln w="76200" cap="flat">
            <a:solidFill>
              <a:srgbClr val="D2217D"/>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49" name="Rectangular Callout 148">
            <a:extLst>
              <a:ext uri="{FF2B5EF4-FFF2-40B4-BE49-F238E27FC236}">
                <a16:creationId xmlns:a16="http://schemas.microsoft.com/office/drawing/2014/main" id="{9D64422C-B276-C82D-09C6-89E6B9AE0F72}"/>
              </a:ext>
            </a:extLst>
          </p:cNvPr>
          <p:cNvSpPr/>
          <p:nvPr/>
        </p:nvSpPr>
        <p:spPr>
          <a:xfrm>
            <a:off x="9775112" y="2177326"/>
            <a:ext cx="2097158" cy="1887126"/>
          </a:xfrm>
          <a:prstGeom prst="wedgeRectCallout">
            <a:avLst>
              <a:gd name="adj1" fmla="val -55794"/>
              <a:gd name="adj2" fmla="val -2289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0">
              <a:lnSpc>
                <a:spcPts val="1350"/>
              </a:lnSpc>
              <a:spcBef>
                <a:spcPts val="600"/>
              </a:spcBef>
              <a:spcAft>
                <a:spcPts val="600"/>
              </a:spcAft>
              <a:defRPr/>
            </a:pPr>
            <a:r>
              <a:rPr kumimoji="0" lang="en-US" sz="105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High- and intermediate-level </a:t>
            </a:r>
            <a:r>
              <a:rPr lang="en-US" sz="1050" b="1">
                <a:solidFill>
                  <a:schemeClr val="bg1"/>
                </a:solidFill>
                <a:latin typeface="Arial" panose="020B0604020202020204" pitchFamily="34" charset="0"/>
                <a:cs typeface="Arial" panose="020B0604020202020204" pitchFamily="34" charset="0"/>
              </a:rPr>
              <a:t>(radioactive) </a:t>
            </a:r>
            <a:r>
              <a:rPr kumimoji="0" lang="en-US" sz="105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waste is stored in deep isolation </a:t>
            </a:r>
            <a:r>
              <a:rPr kumimoji="0" lang="en-US" sz="105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for non-human intervention.​</a:t>
            </a:r>
            <a:r>
              <a:rPr kumimoji="0" lang="en-US" sz="1050" b="0" i="0" u="none" strike="noStrike" kern="1200" cap="none" spc="0" normalizeH="0" noProof="0">
                <a:ln>
                  <a:noFill/>
                </a:ln>
                <a:solidFill>
                  <a:schemeClr val="bg1"/>
                </a:solidFill>
                <a:effectLst/>
                <a:uLnTx/>
                <a:uFillTx/>
                <a:latin typeface="Arial" panose="020B0604020202020204" pitchFamily="34" charset="0"/>
                <a:ea typeface="+mn-ea"/>
                <a:cs typeface="Arial" panose="020B0604020202020204" pitchFamily="34" charset="0"/>
              </a:rPr>
              <a:t> </a:t>
            </a:r>
            <a:r>
              <a:rPr kumimoji="0" lang="en-US" sz="105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Deep geological </a:t>
            </a:r>
            <a:r>
              <a:rPr lang="en-US" sz="1050">
                <a:solidFill>
                  <a:schemeClr val="bg1"/>
                </a:solidFill>
                <a:latin typeface="Arial" panose="020B0604020202020204" pitchFamily="34" charset="0"/>
                <a:cs typeface="Arial" panose="020B0604020202020204" pitchFamily="34" charset="0"/>
              </a:rPr>
              <a:t>d</a:t>
            </a:r>
            <a:r>
              <a:rPr kumimoji="0" lang="en-US" sz="1050" b="0" i="0" u="none" strike="noStrike" kern="1200" cap="none" spc="0" normalizeH="0" baseline="0" noProof="0" err="1">
                <a:ln>
                  <a:noFill/>
                </a:ln>
                <a:solidFill>
                  <a:schemeClr val="bg1"/>
                </a:solidFill>
                <a:effectLst/>
                <a:uLnTx/>
                <a:uFillTx/>
                <a:latin typeface="Arial" panose="020B0604020202020204" pitchFamily="34" charset="0"/>
                <a:ea typeface="+mn-ea"/>
                <a:cs typeface="Arial" panose="020B0604020202020204" pitchFamily="34" charset="0"/>
              </a:rPr>
              <a:t>isposal</a:t>
            </a:r>
            <a:r>
              <a:rPr kumimoji="0" lang="en-US" sz="105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DGD) involves storing hazardous materials deep underground in stable geological formations, typically </a:t>
            </a:r>
            <a:r>
              <a:rPr kumimoji="0" lang="en-US" sz="105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200 to 1,000 meters below the surface.​</a:t>
            </a:r>
          </a:p>
        </p:txBody>
      </p:sp>
      <p:sp>
        <p:nvSpPr>
          <p:cNvPr id="155" name="btfpNotesBox368131">
            <a:hlinkClick r:id="rId14"/>
            <a:extLst>
              <a:ext uri="{FF2B5EF4-FFF2-40B4-BE49-F238E27FC236}">
                <a16:creationId xmlns:a16="http://schemas.microsoft.com/office/drawing/2014/main" id="{8632DE25-3F8F-A1E2-2142-53417AB4FE92}"/>
              </a:ext>
            </a:extLst>
          </p:cNvPr>
          <p:cNvSpPr txBox="1"/>
          <p:nvPr>
            <p:custDataLst>
              <p:tags r:id="rId3"/>
            </p:custDataLst>
          </p:nvPr>
        </p:nvSpPr>
        <p:spPr bwMode="gray">
          <a:xfrm>
            <a:off x="330199" y="6309360"/>
            <a:ext cx="9030971"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cs typeface="Arial"/>
              </a:rPr>
              <a:t>Sources: </a:t>
            </a:r>
            <a:r>
              <a:rPr lang="en-US" sz="800" dirty="0">
                <a:solidFill>
                  <a:srgbClr val="000000"/>
                </a:solidFill>
                <a:latin typeface="Arial"/>
                <a:ea typeface="+mn-lt"/>
                <a:cs typeface="Arial"/>
              </a:rPr>
              <a:t>DoE</a:t>
            </a:r>
            <a:r>
              <a:rPr kumimoji="0" lang="en-US" sz="800" b="0" i="0" u="none" strike="noStrike" kern="1200" cap="none" spc="0" normalizeH="0" baseline="0" noProof="0" dirty="0">
                <a:ln>
                  <a:noFill/>
                </a:ln>
                <a:solidFill>
                  <a:srgbClr val="000000"/>
                </a:solidFill>
                <a:effectLst/>
                <a:uLnTx/>
                <a:uFillTx/>
                <a:latin typeface="Arial"/>
                <a:ea typeface="+mn-lt"/>
                <a:cs typeface="Arial"/>
              </a:rPr>
              <a:t>,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15"/>
              </a:rPr>
              <a:t>Pathways to Commercial Liftoff: Advanced Nuclear</a:t>
            </a:r>
            <a:r>
              <a:rPr kumimoji="0" lang="en-US" sz="800" b="0" i="0" u="none" strike="noStrike" kern="1200" cap="none" spc="0" normalizeH="0" baseline="0" noProof="0" dirty="0">
                <a:ln>
                  <a:noFill/>
                </a:ln>
                <a:solidFill>
                  <a:srgbClr val="000000"/>
                </a:solidFill>
                <a:effectLst/>
                <a:uLnTx/>
                <a:uFillTx/>
                <a:latin typeface="Arial"/>
                <a:ea typeface="+mn-lt"/>
                <a:cs typeface="Arial"/>
              </a:rPr>
              <a:t> (2023); World Nuclear Association,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16"/>
              </a:rPr>
              <a:t>Radioactive Waste: Myths and Realities</a:t>
            </a:r>
            <a:r>
              <a:rPr kumimoji="0" lang="en-US" sz="800" b="0" i="0" u="none" strike="noStrike" kern="1200" cap="none" spc="0" normalizeH="0" baseline="0" noProof="0" dirty="0">
                <a:ln>
                  <a:noFill/>
                </a:ln>
                <a:solidFill>
                  <a:srgbClr val="000000"/>
                </a:solidFill>
                <a:effectLst/>
                <a:uLnTx/>
                <a:uFillTx/>
                <a:latin typeface="Arial"/>
                <a:ea typeface="+mn-lt"/>
                <a:cs typeface="Arial"/>
              </a:rPr>
              <a:t> (2022); World Nuclear Association,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17"/>
              </a:rPr>
              <a:t>Storage and Disposal of Radioactive Waste</a:t>
            </a:r>
            <a:r>
              <a:rPr kumimoji="0" lang="en-US" sz="800" b="0" i="0" u="none" strike="noStrike" kern="1200" cap="none" spc="0" normalizeH="0" baseline="0" noProof="0" dirty="0">
                <a:ln>
                  <a:noFill/>
                </a:ln>
                <a:solidFill>
                  <a:srgbClr val="000000"/>
                </a:solidFill>
                <a:effectLst/>
                <a:uLnTx/>
                <a:uFillTx/>
                <a:latin typeface="Arial"/>
                <a:ea typeface="+mn-lt"/>
                <a:cs typeface="Arial"/>
              </a:rPr>
              <a:t> (2022).</a:t>
            </a:r>
            <a:endParaRPr lang="en-US" sz="800" b="0" i="0" u="none" strike="noStrike" kern="1200" cap="none" spc="0" normalizeH="0" baseline="0" noProof="0" dirty="0">
              <a:ln>
                <a:noFill/>
              </a:ln>
              <a:solidFill>
                <a:srgbClr val="000000"/>
              </a:solidFill>
              <a:effectLst/>
              <a:uLnTx/>
              <a:uFillTx/>
              <a:latin typeface="Arial"/>
              <a:ea typeface="+mn-lt"/>
              <a:cs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redit: Christian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andjaja</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Quint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ouwink</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18"/>
              </a:rPr>
              <a:t>Gernot Wagner</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hare with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19"/>
              </a:rPr>
              <a:t>attribution</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ouwink</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800" b="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t al.,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energizing Nuclear" (23 September 2025).</a:t>
            </a:r>
          </a:p>
        </p:txBody>
      </p:sp>
      <p:sp>
        <p:nvSpPr>
          <p:cNvPr id="14" name="TextBox 13">
            <a:extLst>
              <a:ext uri="{FF2B5EF4-FFF2-40B4-BE49-F238E27FC236}">
                <a16:creationId xmlns:a16="http://schemas.microsoft.com/office/drawing/2014/main" id="{B621DF1B-DC58-3542-9414-D80554E22B9B}"/>
              </a:ext>
            </a:extLst>
          </p:cNvPr>
          <p:cNvSpPr txBox="1"/>
          <p:nvPr/>
        </p:nvSpPr>
        <p:spPr bwMode="gray">
          <a:xfrm>
            <a:off x="5292389" y="1980655"/>
            <a:ext cx="1117933" cy="184666"/>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40-50 years</a:t>
            </a:r>
          </a:p>
        </p:txBody>
      </p:sp>
      <p:sp>
        <p:nvSpPr>
          <p:cNvPr id="16" name="TextBox 15">
            <a:extLst>
              <a:ext uri="{FF2B5EF4-FFF2-40B4-BE49-F238E27FC236}">
                <a16:creationId xmlns:a16="http://schemas.microsoft.com/office/drawing/2014/main" id="{54901FBA-633F-ACC2-AFE5-D79BADC1A721}"/>
              </a:ext>
            </a:extLst>
          </p:cNvPr>
          <p:cNvSpPr txBox="1"/>
          <p:nvPr/>
        </p:nvSpPr>
        <p:spPr bwMode="gray">
          <a:xfrm>
            <a:off x="5843859" y="3464480"/>
            <a:ext cx="1117933" cy="184666"/>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0-50 years</a:t>
            </a:r>
          </a:p>
        </p:txBody>
      </p:sp>
      <p:sp>
        <p:nvSpPr>
          <p:cNvPr id="19" name="TextBox 18">
            <a:extLst>
              <a:ext uri="{FF2B5EF4-FFF2-40B4-BE49-F238E27FC236}">
                <a16:creationId xmlns:a16="http://schemas.microsoft.com/office/drawing/2014/main" id="{D2E62B6C-6EBC-21F8-98A6-C38C99CDC300}"/>
              </a:ext>
            </a:extLst>
          </p:cNvPr>
          <p:cNvSpPr txBox="1"/>
          <p:nvPr/>
        </p:nvSpPr>
        <p:spPr bwMode="gray">
          <a:xfrm>
            <a:off x="5264017" y="4897039"/>
            <a:ext cx="1117933" cy="184666"/>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t;10 years</a:t>
            </a:r>
          </a:p>
        </p:txBody>
      </p:sp>
      <p:sp>
        <p:nvSpPr>
          <p:cNvPr id="26" name="Data 25">
            <a:extLst>
              <a:ext uri="{FF2B5EF4-FFF2-40B4-BE49-F238E27FC236}">
                <a16:creationId xmlns:a16="http://schemas.microsoft.com/office/drawing/2014/main" id="{DD5E17C1-59E5-0CC5-D614-DAF74A80BDEF}"/>
              </a:ext>
            </a:extLst>
          </p:cNvPr>
          <p:cNvSpPr/>
          <p:nvPr/>
        </p:nvSpPr>
        <p:spPr>
          <a:xfrm>
            <a:off x="7154897" y="3867339"/>
            <a:ext cx="997835" cy="565494"/>
          </a:xfrm>
          <a:prstGeom prst="flowChartInputOutput">
            <a:avLst/>
          </a:prstGeom>
          <a:solidFill>
            <a:schemeClr val="bg1"/>
          </a:solidFill>
          <a:ln w="28575">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671,000</a:t>
            </a:r>
            <a:br>
              <a:rPr kumimoji="0" lang="en-ID"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ID"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t>
            </a:r>
            <a:r>
              <a:rPr kumimoji="0" lang="en-ID" sz="11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3</a:t>
            </a:r>
            <a:endParaRPr kumimoji="0" lang="en-US" sz="11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556DF067-7826-ACA1-D2F1-BCF4DDD3BBCD}"/>
              </a:ext>
            </a:extLst>
          </p:cNvPr>
          <p:cNvSpPr txBox="1"/>
          <p:nvPr/>
        </p:nvSpPr>
        <p:spPr bwMode="gray">
          <a:xfrm>
            <a:off x="2419548" y="5966933"/>
            <a:ext cx="1711353" cy="184666"/>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ow-level </a:t>
            </a:r>
            <a:r>
              <a:rPr lang="en-US" sz="1200">
                <a:solidFill>
                  <a:srgbClr val="000000"/>
                </a:solidFill>
                <a:latin typeface="Arial" panose="020B0604020202020204" pitchFamily="34" charset="0"/>
                <a:cs typeface="Arial" panose="020B0604020202020204" pitchFamily="34" charset="0"/>
              </a:rPr>
              <a:t>w</a:t>
            </a:r>
            <a:r>
              <a:rPr kumimoji="0" lang="en-US"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aste</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 name="Data 28">
            <a:extLst>
              <a:ext uri="{FF2B5EF4-FFF2-40B4-BE49-F238E27FC236}">
                <a16:creationId xmlns:a16="http://schemas.microsoft.com/office/drawing/2014/main" id="{197A6C40-F32E-CA6C-5E20-BB6DF190EC2A}"/>
              </a:ext>
            </a:extLst>
          </p:cNvPr>
          <p:cNvSpPr/>
          <p:nvPr/>
        </p:nvSpPr>
        <p:spPr>
          <a:xfrm>
            <a:off x="6732209" y="5348809"/>
            <a:ext cx="1060647" cy="491836"/>
          </a:xfrm>
          <a:prstGeom prst="flowChartInputOutput">
            <a:avLst/>
          </a:prstGeom>
          <a:solidFill>
            <a:schemeClr val="bg1"/>
          </a:solidFill>
          <a:ln w="28575">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585,000</a:t>
            </a:r>
            <a:br>
              <a:rPr kumimoji="0" lang="en-ID"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ID"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t>
            </a:r>
            <a:r>
              <a:rPr kumimoji="0" lang="en-ID" sz="11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3</a:t>
            </a:r>
            <a:endParaRPr kumimoji="0" lang="en-US" sz="11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 name="Data 31">
            <a:extLst>
              <a:ext uri="{FF2B5EF4-FFF2-40B4-BE49-F238E27FC236}">
                <a16:creationId xmlns:a16="http://schemas.microsoft.com/office/drawing/2014/main" id="{D9593196-E5DF-4FCB-D668-292ABC1EF26E}"/>
              </a:ext>
            </a:extLst>
          </p:cNvPr>
          <p:cNvSpPr/>
          <p:nvPr/>
        </p:nvSpPr>
        <p:spPr>
          <a:xfrm>
            <a:off x="3026212" y="3856500"/>
            <a:ext cx="1076829" cy="587413"/>
          </a:xfrm>
          <a:prstGeom prst="flowChartInputOutput">
            <a:avLst/>
          </a:prstGeom>
          <a:solidFill>
            <a:schemeClr val="bg1"/>
          </a:solidFill>
          <a:ln w="28575">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02,000</a:t>
            </a:r>
            <a:br>
              <a:rPr kumimoji="0" lang="en-ID"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ID"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t>
            </a:r>
            <a:r>
              <a:rPr kumimoji="0" lang="en-ID" sz="11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3</a:t>
            </a:r>
            <a:endParaRPr kumimoji="0" lang="en-US" sz="11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 name="Data 32">
            <a:extLst>
              <a:ext uri="{FF2B5EF4-FFF2-40B4-BE49-F238E27FC236}">
                <a16:creationId xmlns:a16="http://schemas.microsoft.com/office/drawing/2014/main" id="{8B43B538-6624-EB4E-3F4B-07F0257F418B}"/>
              </a:ext>
            </a:extLst>
          </p:cNvPr>
          <p:cNvSpPr/>
          <p:nvPr/>
        </p:nvSpPr>
        <p:spPr>
          <a:xfrm>
            <a:off x="2823704" y="5348809"/>
            <a:ext cx="1076829" cy="491836"/>
          </a:xfrm>
          <a:prstGeom prst="flowChartInputOutput">
            <a:avLst/>
          </a:prstGeom>
          <a:solidFill>
            <a:schemeClr val="bg1"/>
          </a:solidFill>
          <a:ln w="28575">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519,000</a:t>
            </a:r>
            <a:br>
              <a:rPr kumimoji="0" lang="en-ID"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ID"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t>
            </a:r>
            <a:r>
              <a:rPr kumimoji="0" lang="en-ID" sz="11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3</a:t>
            </a:r>
            <a:endParaRPr kumimoji="0" lang="en-US" sz="11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 name="Data 35">
            <a:extLst>
              <a:ext uri="{FF2B5EF4-FFF2-40B4-BE49-F238E27FC236}">
                <a16:creationId xmlns:a16="http://schemas.microsoft.com/office/drawing/2014/main" id="{B9D4A604-E756-5568-D643-866BEDD5F07E}"/>
              </a:ext>
            </a:extLst>
          </p:cNvPr>
          <p:cNvSpPr/>
          <p:nvPr/>
        </p:nvSpPr>
        <p:spPr>
          <a:xfrm>
            <a:off x="6703173" y="2363250"/>
            <a:ext cx="1076829" cy="721475"/>
          </a:xfrm>
          <a:prstGeom prst="flowChartInputOutput">
            <a:avLst/>
          </a:prstGeom>
          <a:solidFill>
            <a:schemeClr val="bg1"/>
          </a:solidFill>
          <a:ln w="28575">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4,000 m</a:t>
            </a:r>
            <a:r>
              <a:rPr kumimoji="0" lang="en-ID" sz="11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3</a:t>
            </a:r>
            <a:endParaRPr kumimoji="0" lang="en-US" sz="11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 name="Data 36">
            <a:extLst>
              <a:ext uri="{FF2B5EF4-FFF2-40B4-BE49-F238E27FC236}">
                <a16:creationId xmlns:a16="http://schemas.microsoft.com/office/drawing/2014/main" id="{5FA1F47B-1841-E96A-930C-79069FF383DF}"/>
              </a:ext>
            </a:extLst>
          </p:cNvPr>
          <p:cNvSpPr/>
          <p:nvPr/>
        </p:nvSpPr>
        <p:spPr>
          <a:xfrm>
            <a:off x="3896211" y="2363249"/>
            <a:ext cx="922570" cy="646893"/>
          </a:xfrm>
          <a:prstGeom prst="flowChartInputOutput">
            <a:avLst/>
          </a:prstGeom>
          <a:solidFill>
            <a:schemeClr val="bg1"/>
          </a:solidFill>
          <a:ln w="28575">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5,000 m</a:t>
            </a:r>
            <a:r>
              <a:rPr kumimoji="0" lang="en-ID" sz="11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3</a:t>
            </a:r>
            <a:endParaRPr kumimoji="0" lang="en-US" sz="11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 name="Data 20">
            <a:extLst>
              <a:ext uri="{FF2B5EF4-FFF2-40B4-BE49-F238E27FC236}">
                <a16:creationId xmlns:a16="http://schemas.microsoft.com/office/drawing/2014/main" id="{C8F793BA-4F40-C45E-DB70-A65FD7853E4F}"/>
              </a:ext>
            </a:extLst>
          </p:cNvPr>
          <p:cNvSpPr/>
          <p:nvPr/>
        </p:nvSpPr>
        <p:spPr>
          <a:xfrm>
            <a:off x="9995963" y="5392091"/>
            <a:ext cx="253340" cy="169738"/>
          </a:xfrm>
          <a:prstGeom prst="flowChartInputOutput">
            <a:avLst/>
          </a:prstGeom>
          <a:solidFill>
            <a:schemeClr val="bg1"/>
          </a:solidFill>
          <a:ln w="28575">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E4372417-EFAD-88F3-6977-3450DD5EAA6C}"/>
              </a:ext>
            </a:extLst>
          </p:cNvPr>
          <p:cNvSpPr txBox="1"/>
          <p:nvPr/>
        </p:nvSpPr>
        <p:spPr bwMode="gray">
          <a:xfrm>
            <a:off x="9929991" y="5110706"/>
            <a:ext cx="1410669" cy="167878"/>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egend:</a:t>
            </a:r>
          </a:p>
        </p:txBody>
      </p:sp>
      <p:sp>
        <p:nvSpPr>
          <p:cNvPr id="30" name="TextBox 29">
            <a:extLst>
              <a:ext uri="{FF2B5EF4-FFF2-40B4-BE49-F238E27FC236}">
                <a16:creationId xmlns:a16="http://schemas.microsoft.com/office/drawing/2014/main" id="{4A06629B-5225-07EF-518B-2C484E7F1C6B}"/>
              </a:ext>
            </a:extLst>
          </p:cNvPr>
          <p:cNvSpPr txBox="1"/>
          <p:nvPr/>
        </p:nvSpPr>
        <p:spPr bwMode="gray">
          <a:xfrm>
            <a:off x="10421262" y="5392091"/>
            <a:ext cx="1056778" cy="461665"/>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umulative nuclear waste volume</a:t>
            </a:r>
          </a:p>
        </p:txBody>
      </p:sp>
      <p:sp>
        <p:nvSpPr>
          <p:cNvPr id="46" name="TextBox 45">
            <a:extLst>
              <a:ext uri="{FF2B5EF4-FFF2-40B4-BE49-F238E27FC236}">
                <a16:creationId xmlns:a16="http://schemas.microsoft.com/office/drawing/2014/main" id="{A8B7758E-29CE-DEF5-E1C9-48ABB2820FC8}"/>
              </a:ext>
            </a:extLst>
          </p:cNvPr>
          <p:cNvSpPr txBox="1"/>
          <p:nvPr/>
        </p:nvSpPr>
        <p:spPr bwMode="gray">
          <a:xfrm>
            <a:off x="329184" y="1557818"/>
            <a:ext cx="6557168" cy="28814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umulative nuclear </a:t>
            </a:r>
            <a:r>
              <a:rPr lang="en-US" sz="1400" b="1">
                <a:solidFill>
                  <a:srgbClr val="000000"/>
                </a:solidFill>
                <a:latin typeface="Arial" panose="020B0604020202020204" pitchFamily="34" charset="0"/>
                <a:cs typeface="Arial" panose="020B0604020202020204" pitchFamily="34" charset="0"/>
              </a:rPr>
              <a:t>w</a:t>
            </a:r>
            <a:r>
              <a:rPr kumimoji="0" lang="en-US" sz="14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aste</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lang="en-US" sz="1400" b="1">
                <a:solidFill>
                  <a:srgbClr val="000000"/>
                </a:solidFill>
                <a:latin typeface="Arial" panose="020B0604020202020204" pitchFamily="34" charset="0"/>
                <a:cs typeface="Arial" panose="020B0604020202020204" pitchFamily="34" charset="0"/>
              </a:rPr>
              <a:t>s</a:t>
            </a:r>
            <a:r>
              <a:rPr kumimoji="0" lang="en-US" sz="14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upply</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2019-2023)</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47" name="btfpColumnHeaderBoxLine912903">
            <a:extLst>
              <a:ext uri="{FF2B5EF4-FFF2-40B4-BE49-F238E27FC236}">
                <a16:creationId xmlns:a16="http://schemas.microsoft.com/office/drawing/2014/main" id="{6A94F49F-A300-EB3C-0FE5-2C455AADE8F6}"/>
              </a:ext>
            </a:extLst>
          </p:cNvPr>
          <p:cNvCxnSpPr>
            <a:cxnSpLocks/>
          </p:cNvCxnSpPr>
          <p:nvPr/>
        </p:nvCxnSpPr>
        <p:spPr bwMode="gray">
          <a:xfrm>
            <a:off x="329183" y="1844847"/>
            <a:ext cx="923544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67" name="Picture 66" descr="A black and white logo&#10;&#10;AI-generated content may be incorrect.">
            <a:extLst>
              <a:ext uri="{FF2B5EF4-FFF2-40B4-BE49-F238E27FC236}">
                <a16:creationId xmlns:a16="http://schemas.microsoft.com/office/drawing/2014/main" id="{75D16E15-4B64-48BA-A515-849DB8CDAF39}"/>
              </a:ext>
            </a:extLst>
          </p:cNvPr>
          <p:cNvPicPr>
            <a:picLocks noChangeAspect="1"/>
          </p:cNvPicPr>
          <p:nvPr/>
        </p:nvPicPr>
        <p:blipFill>
          <a:blip r:embed="rId9"/>
          <a:srcRect t="10629" b="33090"/>
          <a:stretch/>
        </p:blipFill>
        <p:spPr>
          <a:xfrm>
            <a:off x="5314354" y="5504445"/>
            <a:ext cx="1017260" cy="558044"/>
          </a:xfrm>
          <a:prstGeom prst="rect">
            <a:avLst/>
          </a:prstGeom>
        </p:spPr>
      </p:pic>
    </p:spTree>
    <p:custDataLst>
      <p:tags r:id="rId1"/>
    </p:custDataLst>
    <p:extLst>
      <p:ext uri="{BB962C8B-B14F-4D97-AF65-F5344CB8AC3E}">
        <p14:creationId xmlns:p14="http://schemas.microsoft.com/office/powerpoint/2010/main" val="4245354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83B8FA-0DAE-5E0A-2090-FF2D01CB020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F92F577-C765-4FE3-2406-53F6736BC7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9F92F577-C765-4FE3-2406-53F6736BC74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1C61816-3957-B1AE-AE96-05D0800DEADA}"/>
              </a:ext>
            </a:extLst>
          </p:cNvPr>
          <p:cNvSpPr>
            <a:spLocks noGrp="1"/>
          </p:cNvSpPr>
          <p:nvPr>
            <p:ph type="title"/>
          </p:nvPr>
        </p:nvSpPr>
        <p:spPr>
          <a:xfrm>
            <a:off x="330200" y="523318"/>
            <a:ext cx="11531600" cy="882788"/>
          </a:xfrm>
        </p:spPr>
        <p:txBody>
          <a:bodyPr vert="horz">
            <a:noAutofit/>
          </a:bodyPr>
          <a:lstStyle/>
          <a:p>
            <a:r>
              <a:rPr lang="en-US">
                <a:latin typeface="Arial"/>
                <a:ea typeface="+mj-lt"/>
                <a:cs typeface="Arial"/>
              </a:rPr>
              <a:t>While </a:t>
            </a:r>
            <a:r>
              <a:rPr lang="en-US" err="1">
                <a:latin typeface="Arial"/>
                <a:ea typeface="+mj-lt"/>
                <a:cs typeface="Arial"/>
              </a:rPr>
              <a:t>Onkalo</a:t>
            </a:r>
            <a:r>
              <a:rPr lang="en-US" b="1">
                <a:latin typeface="Arial"/>
                <a:ea typeface="+mj-lt"/>
                <a:cs typeface="Arial"/>
              </a:rPr>
              <a:t> </a:t>
            </a:r>
            <a:r>
              <a:rPr lang="en-US">
                <a:latin typeface="Arial"/>
                <a:ea typeface="+mj-lt"/>
                <a:cs typeface="Arial"/>
              </a:rPr>
              <a:t>operates only for Finland’s waste, it created </a:t>
            </a:r>
            <a:r>
              <a:rPr lang="en-US" b="1">
                <a:latin typeface="Arial"/>
                <a:ea typeface="+mj-lt"/>
                <a:cs typeface="Arial"/>
              </a:rPr>
              <a:t>a blueprint for </a:t>
            </a:r>
            <a:r>
              <a:rPr lang="en-US">
                <a:latin typeface="Arial"/>
                <a:ea typeface="+mj-lt"/>
                <a:cs typeface="Arial"/>
              </a:rPr>
              <a:t>global precedent</a:t>
            </a:r>
            <a:endParaRPr lang="en-US" b="1">
              <a:latin typeface="Arial" panose="020B0604020202020204" pitchFamily="34" charset="0"/>
              <a:ea typeface="+mj-lt"/>
              <a:cs typeface="Arial" panose="020B0604020202020204" pitchFamily="34" charset="0"/>
            </a:endParaRPr>
          </a:p>
        </p:txBody>
      </p:sp>
      <p:sp>
        <p:nvSpPr>
          <p:cNvPr id="2" name="TextBox 1">
            <a:extLst>
              <a:ext uri="{FF2B5EF4-FFF2-40B4-BE49-F238E27FC236}">
                <a16:creationId xmlns:a16="http://schemas.microsoft.com/office/drawing/2014/main" id="{F92B3CB1-C0D8-7E57-A67D-9488F615F9D4}"/>
              </a:ext>
            </a:extLst>
          </p:cNvPr>
          <p:cNvSpPr txBox="1"/>
          <p:nvPr/>
        </p:nvSpPr>
        <p:spPr bwMode="gray">
          <a:xfrm>
            <a:off x="7253652" y="1555200"/>
            <a:ext cx="4593031" cy="4593565"/>
          </a:xfrm>
          <a:prstGeom prst="rect">
            <a:avLst/>
          </a:prstGeom>
          <a:solidFill>
            <a:srgbClr val="E3E8EE"/>
          </a:solidFill>
        </p:spPr>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marL="171450" indent="-171450">
              <a:spcBef>
                <a:spcPts val="600"/>
              </a:spcBef>
            </a:pPr>
            <a:r>
              <a:rPr lang="en-US" sz="1050" b="1">
                <a:latin typeface="Arial" panose="020B0604020202020204" pitchFamily="34" charset="0"/>
                <a:ea typeface="+mn-lt"/>
                <a:cs typeface="Arial" panose="020B0604020202020204" pitchFamily="34" charset="0"/>
              </a:rPr>
              <a:t>Project Overview</a:t>
            </a:r>
            <a:endParaRPr lang="en-US" sz="1050" b="1">
              <a:latin typeface="Arial" panose="020B0604020202020204" pitchFamily="34" charset="0"/>
              <a:cs typeface="Arial" panose="020B0604020202020204" pitchFamily="34" charset="0"/>
            </a:endParaRPr>
          </a:p>
          <a:p>
            <a:pPr marL="171450" indent="-171450">
              <a:spcBef>
                <a:spcPts val="600"/>
              </a:spcBef>
              <a:buFont typeface="Arial" panose="020B0604020202020204" pitchFamily="34" charset="0"/>
              <a:buChar char="•"/>
            </a:pPr>
            <a:r>
              <a:rPr lang="en-US" sz="1050" err="1">
                <a:latin typeface="Arial" panose="020B0604020202020204" pitchFamily="34" charset="0"/>
                <a:ea typeface="+mn-lt"/>
                <a:cs typeface="Arial" panose="020B0604020202020204" pitchFamily="34" charset="0"/>
              </a:rPr>
              <a:t>Onkala</a:t>
            </a:r>
            <a:r>
              <a:rPr lang="en-US" sz="1050">
                <a:latin typeface="Arial" panose="020B0604020202020204" pitchFamily="34" charset="0"/>
                <a:ea typeface="+mn-lt"/>
                <a:cs typeface="Arial" panose="020B0604020202020204" pitchFamily="34" charset="0"/>
              </a:rPr>
              <a:t>, the </a:t>
            </a:r>
            <a:r>
              <a:rPr lang="en-US" sz="1050" b="1">
                <a:latin typeface="Arial" panose="020B0604020202020204" pitchFamily="34" charset="0"/>
                <a:ea typeface="+mn-lt"/>
                <a:cs typeface="Arial" panose="020B0604020202020204" pitchFamily="34" charset="0"/>
              </a:rPr>
              <a:t>world's first permanent deep geological disposal repository </a:t>
            </a:r>
            <a:r>
              <a:rPr lang="en-US" sz="1050">
                <a:latin typeface="Arial" panose="020B0604020202020204" pitchFamily="34" charset="0"/>
                <a:ea typeface="+mn-lt"/>
                <a:cs typeface="Arial" panose="020B0604020202020204" pitchFamily="34" charset="0"/>
              </a:rPr>
              <a:t>for spent nuclear fuel, represents a </a:t>
            </a:r>
            <a:r>
              <a:rPr lang="en-US" sz="1050" b="1">
                <a:latin typeface="Arial" panose="020B0604020202020204" pitchFamily="34" charset="0"/>
                <a:ea typeface="+mn-lt"/>
                <a:cs typeface="Arial" panose="020B0604020202020204" pitchFamily="34" charset="0"/>
              </a:rPr>
              <a:t>significant improvement over the temporary storage methods </a:t>
            </a:r>
            <a:r>
              <a:rPr lang="en-US" sz="1050">
                <a:latin typeface="Arial" panose="020B0604020202020204" pitchFamily="34" charset="0"/>
                <a:ea typeface="+mn-lt"/>
                <a:cs typeface="Arial" panose="020B0604020202020204" pitchFamily="34" charset="0"/>
              </a:rPr>
              <a:t>that have dominated global nuclear waste management.</a:t>
            </a:r>
          </a:p>
          <a:p>
            <a:pPr marL="171450" indent="-171450">
              <a:spcBef>
                <a:spcPts val="600"/>
              </a:spcBef>
              <a:buFont typeface="Arial" panose="020B0604020202020204" pitchFamily="34" charset="0"/>
              <a:buChar char="•"/>
            </a:pPr>
            <a:r>
              <a:rPr lang="en-US" sz="1050">
                <a:latin typeface="Arial" panose="020B0604020202020204" pitchFamily="34" charset="0"/>
                <a:ea typeface="+mn-lt"/>
                <a:cs typeface="Arial" panose="020B0604020202020204" pitchFamily="34" charset="0"/>
              </a:rPr>
              <a:t>It addresses the </a:t>
            </a:r>
            <a:r>
              <a:rPr lang="en-US" sz="1050" b="1">
                <a:latin typeface="Arial" panose="020B0604020202020204" pitchFamily="34" charset="0"/>
                <a:ea typeface="+mn-lt"/>
                <a:cs typeface="Arial" panose="020B0604020202020204" pitchFamily="34" charset="0"/>
              </a:rPr>
              <a:t>mismatch </a:t>
            </a:r>
            <a:r>
              <a:rPr lang="en-US" sz="1050">
                <a:latin typeface="Arial" panose="020B0604020202020204" pitchFamily="34" charset="0"/>
                <a:ea typeface="+mn-lt"/>
                <a:cs typeface="Arial" panose="020B0604020202020204" pitchFamily="34" charset="0"/>
              </a:rPr>
              <a:t>between the </a:t>
            </a:r>
            <a:r>
              <a:rPr lang="en-US" sz="1050" b="1">
                <a:latin typeface="Arial" panose="020B0604020202020204" pitchFamily="34" charset="0"/>
                <a:ea typeface="+mn-lt"/>
                <a:cs typeface="Arial" panose="020B0604020202020204" pitchFamily="34" charset="0"/>
              </a:rPr>
              <a:t>extremely long hazardous lifetime </a:t>
            </a:r>
            <a:r>
              <a:rPr lang="en-US" sz="1050">
                <a:latin typeface="Arial" panose="020B0604020202020204" pitchFamily="34" charset="0"/>
                <a:ea typeface="+mn-lt"/>
                <a:cs typeface="Arial" panose="020B0604020202020204" pitchFamily="34" charset="0"/>
              </a:rPr>
              <a:t>of the waste and the </a:t>
            </a:r>
            <a:r>
              <a:rPr lang="en-US" sz="1050" b="1">
                <a:latin typeface="Arial" panose="020B0604020202020204" pitchFamily="34" charset="0"/>
                <a:ea typeface="+mn-lt"/>
                <a:cs typeface="Arial" panose="020B0604020202020204" pitchFamily="34" charset="0"/>
              </a:rPr>
              <a:t>temporary nature of existing storage </a:t>
            </a:r>
            <a:r>
              <a:rPr lang="en-US" sz="1050">
                <a:latin typeface="Arial" panose="020B0604020202020204" pitchFamily="34" charset="0"/>
                <a:ea typeface="+mn-lt"/>
                <a:cs typeface="Arial" panose="020B0604020202020204" pitchFamily="34" charset="0"/>
              </a:rPr>
              <a:t>solutions.</a:t>
            </a:r>
            <a:endParaRPr lang="en-US" sz="1050">
              <a:latin typeface="Arial" panose="020B0604020202020204" pitchFamily="34" charset="0"/>
              <a:cs typeface="Arial" panose="020B0604020202020204" pitchFamily="34" charset="0"/>
            </a:endParaRPr>
          </a:p>
          <a:p>
            <a:pPr marL="171450" indent="-171450">
              <a:spcBef>
                <a:spcPts val="600"/>
              </a:spcBef>
              <a:buFont typeface="Arial"/>
              <a:buChar char="•"/>
            </a:pPr>
            <a:r>
              <a:rPr lang="en-US" sz="1050">
                <a:latin typeface="Arial" panose="020B0604020202020204" pitchFamily="34" charset="0"/>
                <a:ea typeface="+mn-lt"/>
                <a:cs typeface="Arial" panose="020B0604020202020204" pitchFamily="34" charset="0"/>
              </a:rPr>
              <a:t>Olkiluoto and Loviisa account for </a:t>
            </a:r>
            <a:r>
              <a:rPr lang="en-US" sz="1050" b="1">
                <a:latin typeface="Arial" panose="020B0604020202020204" pitchFamily="34" charset="0"/>
                <a:ea typeface="+mn-lt"/>
                <a:cs typeface="Arial" panose="020B0604020202020204" pitchFamily="34" charset="0"/>
              </a:rPr>
              <a:t>39% of Finland’s domestic electricity consumption</a:t>
            </a:r>
            <a:r>
              <a:rPr lang="en-US" sz="1050">
                <a:latin typeface="Arial" panose="020B0604020202020204" pitchFamily="34" charset="0"/>
                <a:ea typeface="+mn-lt"/>
                <a:cs typeface="Arial" panose="020B0604020202020204" pitchFamily="34" charset="0"/>
              </a:rPr>
              <a:t>, raising the demand for a long-term disposal solution.</a:t>
            </a:r>
            <a:endParaRPr lang="en-US" sz="1050" b="1">
              <a:latin typeface="Arial" panose="020B0604020202020204" pitchFamily="34" charset="0"/>
              <a:cs typeface="Arial" panose="020B0604020202020204" pitchFamily="34" charset="0"/>
            </a:endParaRPr>
          </a:p>
          <a:p>
            <a:pPr marL="171450" indent="-171450">
              <a:spcBef>
                <a:spcPts val="600"/>
              </a:spcBef>
            </a:pPr>
            <a:endParaRPr lang="en-US" sz="1050" b="1">
              <a:latin typeface="Arial" panose="020B0604020202020204" pitchFamily="34" charset="0"/>
              <a:cs typeface="Arial" panose="020B0604020202020204" pitchFamily="34" charset="0"/>
            </a:endParaRPr>
          </a:p>
          <a:p>
            <a:pPr marL="171450" indent="-171450">
              <a:spcBef>
                <a:spcPts val="600"/>
              </a:spcBef>
            </a:pPr>
            <a:r>
              <a:rPr lang="en-US" sz="1050" b="1">
                <a:latin typeface="Arial" panose="020B0604020202020204" pitchFamily="34" charset="0"/>
                <a:cs typeface="Arial" panose="020B0604020202020204" pitchFamily="34" charset="0"/>
              </a:rPr>
              <a:t>Timeline</a:t>
            </a:r>
          </a:p>
          <a:p>
            <a:pPr marL="171450" indent="-171450">
              <a:spcBef>
                <a:spcPts val="600"/>
              </a:spcBef>
              <a:buFont typeface="Arial"/>
              <a:buChar char="•"/>
            </a:pPr>
            <a:endParaRPr lang="en-US" sz="1050">
              <a:latin typeface="Arial" panose="020B0604020202020204" pitchFamily="34" charset="0"/>
              <a:cs typeface="Arial" panose="020B0604020202020204" pitchFamily="34" charset="0"/>
            </a:endParaRPr>
          </a:p>
          <a:p>
            <a:pPr marL="171450" indent="-171450">
              <a:spcBef>
                <a:spcPts val="600"/>
              </a:spcBef>
              <a:buFont typeface="Arial"/>
              <a:buChar char="•"/>
            </a:pPr>
            <a:endParaRPr lang="en-US" sz="1050">
              <a:latin typeface="Arial" panose="020B0604020202020204" pitchFamily="34" charset="0"/>
              <a:cs typeface="Arial" panose="020B0604020202020204" pitchFamily="34" charset="0"/>
            </a:endParaRPr>
          </a:p>
          <a:p>
            <a:pPr marL="171450" indent="-171450">
              <a:spcBef>
                <a:spcPts val="600"/>
              </a:spcBef>
              <a:buFont typeface="Arial"/>
              <a:buChar char="•"/>
            </a:pPr>
            <a:endParaRPr lang="en-US" sz="1050">
              <a:latin typeface="Arial" panose="020B0604020202020204" pitchFamily="34" charset="0"/>
              <a:cs typeface="Arial" panose="020B0604020202020204" pitchFamily="34" charset="0"/>
            </a:endParaRPr>
          </a:p>
          <a:p>
            <a:pPr marL="171450" indent="-171450">
              <a:spcBef>
                <a:spcPts val="600"/>
              </a:spcBef>
            </a:pPr>
            <a:r>
              <a:rPr lang="en-US" sz="1050" b="1">
                <a:latin typeface="Arial" panose="020B0604020202020204" pitchFamily="34" charset="0"/>
                <a:ea typeface="+mn-lt"/>
                <a:cs typeface="Arial" panose="020B0604020202020204" pitchFamily="34" charset="0"/>
              </a:rPr>
              <a:t>Challenges and considerations</a:t>
            </a:r>
            <a:endParaRPr lang="en-US" sz="1050" b="1">
              <a:latin typeface="Arial" panose="020B0604020202020204" pitchFamily="34" charset="0"/>
              <a:cs typeface="Arial" panose="020B0604020202020204" pitchFamily="34" charset="0"/>
            </a:endParaRPr>
          </a:p>
          <a:p>
            <a:pPr marL="171450" indent="-171450">
              <a:spcBef>
                <a:spcPts val="600"/>
              </a:spcBef>
              <a:buFont typeface="Arial"/>
              <a:buChar char="•"/>
            </a:pPr>
            <a:r>
              <a:rPr lang="en-US" sz="1050">
                <a:latin typeface="Arial" panose="020B0604020202020204" pitchFamily="34" charset="0"/>
                <a:ea typeface="+mn-lt"/>
                <a:cs typeface="Arial" panose="020B0604020202020204" pitchFamily="34" charset="0"/>
              </a:rPr>
              <a:t>Long-term safety: Designed to isolate waste for &gt;100,000 years</a:t>
            </a:r>
            <a:endParaRPr lang="en-US" sz="1050">
              <a:latin typeface="Arial" panose="020B0604020202020204" pitchFamily="34" charset="0"/>
              <a:cs typeface="Arial" panose="020B0604020202020204" pitchFamily="34" charset="0"/>
            </a:endParaRPr>
          </a:p>
          <a:p>
            <a:pPr marL="171450" indent="-171450">
              <a:spcBef>
                <a:spcPts val="600"/>
              </a:spcBef>
              <a:buFont typeface="Arial"/>
              <a:buChar char="•"/>
            </a:pPr>
            <a:r>
              <a:rPr lang="en-US" sz="1050">
                <a:latin typeface="Arial" panose="020B0604020202020204" pitchFamily="34" charset="0"/>
                <a:ea typeface="+mn-lt"/>
                <a:cs typeface="Arial" panose="020B0604020202020204" pitchFamily="34" charset="0"/>
              </a:rPr>
              <a:t>Public support: Benefited from existing nuclear facilities in the area</a:t>
            </a:r>
            <a:endParaRPr lang="en-US" sz="1050">
              <a:latin typeface="Arial" panose="020B0604020202020204" pitchFamily="34" charset="0"/>
              <a:cs typeface="Arial" panose="020B0604020202020204" pitchFamily="34" charset="0"/>
            </a:endParaRPr>
          </a:p>
          <a:p>
            <a:pPr marL="171450" indent="-171450">
              <a:spcBef>
                <a:spcPts val="600"/>
              </a:spcBef>
              <a:buFont typeface="Arial"/>
              <a:buChar char="•"/>
            </a:pPr>
            <a:r>
              <a:rPr lang="en-US" sz="1050">
                <a:latin typeface="Arial" panose="020B0604020202020204" pitchFamily="34" charset="0"/>
                <a:ea typeface="+mn-lt"/>
                <a:cs typeface="Arial" panose="020B0604020202020204" pitchFamily="34" charset="0"/>
              </a:rPr>
              <a:t>Strategic location: Close proximity to Olkiluoto and Loviisa power plants</a:t>
            </a:r>
            <a:endParaRPr lang="en-US" sz="1050" b="1">
              <a:latin typeface="Arial" panose="020B0604020202020204" pitchFamily="34" charset="0"/>
              <a:ea typeface="+mn-lt"/>
              <a:cs typeface="Arial" panose="020B0604020202020204" pitchFamily="34" charset="0"/>
            </a:endParaRPr>
          </a:p>
        </p:txBody>
      </p:sp>
      <p:sp>
        <p:nvSpPr>
          <p:cNvPr id="22" name="Rectangle 21">
            <a:extLst>
              <a:ext uri="{FF2B5EF4-FFF2-40B4-BE49-F238E27FC236}">
                <a16:creationId xmlns:a16="http://schemas.microsoft.com/office/drawing/2014/main" id="{F148ECE1-DD42-0886-4FE3-E2618D226A95}"/>
              </a:ext>
            </a:extLst>
          </p:cNvPr>
          <p:cNvSpPr/>
          <p:nvPr/>
        </p:nvSpPr>
        <p:spPr bwMode="gray">
          <a:xfrm>
            <a:off x="327893" y="2586972"/>
            <a:ext cx="6769838" cy="2634672"/>
          </a:xfrm>
          <a:prstGeom prst="rect">
            <a:avLst/>
          </a:prstGeom>
          <a:solidFill>
            <a:schemeClr val="bg1">
              <a:lumMod val="95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4" name="Rectangle 23">
            <a:extLst>
              <a:ext uri="{FF2B5EF4-FFF2-40B4-BE49-F238E27FC236}">
                <a16:creationId xmlns:a16="http://schemas.microsoft.com/office/drawing/2014/main" id="{D80AB07B-4ED4-01F9-B254-E6236CA147ED}"/>
              </a:ext>
            </a:extLst>
          </p:cNvPr>
          <p:cNvSpPr/>
          <p:nvPr/>
        </p:nvSpPr>
        <p:spPr bwMode="gray">
          <a:xfrm>
            <a:off x="345317" y="5346334"/>
            <a:ext cx="6752414" cy="544946"/>
          </a:xfrm>
          <a:prstGeom prst="rect">
            <a:avLst/>
          </a:prstGeom>
          <a:solidFill>
            <a:srgbClr val="33A398"/>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050" b="1">
                <a:solidFill>
                  <a:srgbClr val="FFFFFF"/>
                </a:solidFill>
                <a:cs typeface="Arial"/>
              </a:rPr>
              <a:t>Funding of nuclear waste management</a:t>
            </a:r>
            <a:endParaRPr lang="en-US">
              <a:cs typeface="Arial"/>
            </a:endParaRPr>
          </a:p>
          <a:p>
            <a:pPr algn="ctr"/>
            <a:r>
              <a:rPr lang="en-US" sz="1050">
                <a:solidFill>
                  <a:srgbClr val="FFFFFF"/>
                </a:solidFill>
                <a:cs typeface="Arial"/>
              </a:rPr>
              <a:t>Ministry of Employment and the Economy; </a:t>
            </a:r>
            <a:r>
              <a:rPr lang="en-US" sz="1100">
                <a:solidFill>
                  <a:srgbClr val="FFFFFF"/>
                </a:solidFill>
                <a:cs typeface="Arial"/>
              </a:rPr>
              <a:t>Finnish State Nuclear Waste Management Fund</a:t>
            </a:r>
            <a:endParaRPr lang="en-US" sz="1100">
              <a:solidFill>
                <a:srgbClr val="000000"/>
              </a:solidFill>
              <a:cs typeface="Arial"/>
            </a:endParaRPr>
          </a:p>
        </p:txBody>
      </p:sp>
      <p:sp>
        <p:nvSpPr>
          <p:cNvPr id="25" name="Rectangle 24">
            <a:extLst>
              <a:ext uri="{FF2B5EF4-FFF2-40B4-BE49-F238E27FC236}">
                <a16:creationId xmlns:a16="http://schemas.microsoft.com/office/drawing/2014/main" id="{E5B3B623-C2D9-FB48-22EB-F79C9851B36F}"/>
              </a:ext>
            </a:extLst>
          </p:cNvPr>
          <p:cNvSpPr/>
          <p:nvPr/>
        </p:nvSpPr>
        <p:spPr bwMode="gray">
          <a:xfrm>
            <a:off x="327892" y="1940424"/>
            <a:ext cx="3231337" cy="544946"/>
          </a:xfrm>
          <a:prstGeom prst="rect">
            <a:avLst/>
          </a:prstGeom>
          <a:solidFill>
            <a:srgbClr val="33A398"/>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050" b="1">
                <a:solidFill>
                  <a:srgbClr val="FFFFFF"/>
                </a:solidFill>
                <a:cs typeface="Arial"/>
              </a:rPr>
              <a:t>Licenses</a:t>
            </a:r>
          </a:p>
          <a:p>
            <a:pPr algn="ctr"/>
            <a:r>
              <a:rPr lang="en-US" sz="1100">
                <a:solidFill>
                  <a:srgbClr val="FFFFFF"/>
                </a:solidFill>
                <a:cs typeface="Arial"/>
              </a:rPr>
              <a:t>Ministry of Employment and the Economy</a:t>
            </a:r>
            <a:endParaRPr lang="en-US" sz="1100">
              <a:solidFill>
                <a:srgbClr val="000000"/>
              </a:solidFill>
              <a:cs typeface="Arial"/>
            </a:endParaRPr>
          </a:p>
        </p:txBody>
      </p:sp>
      <p:sp>
        <p:nvSpPr>
          <p:cNvPr id="26" name="Rectangle 25">
            <a:extLst>
              <a:ext uri="{FF2B5EF4-FFF2-40B4-BE49-F238E27FC236}">
                <a16:creationId xmlns:a16="http://schemas.microsoft.com/office/drawing/2014/main" id="{0A9A5B6A-DCF5-93D0-85EC-7ACADC16D0CB}"/>
              </a:ext>
            </a:extLst>
          </p:cNvPr>
          <p:cNvSpPr/>
          <p:nvPr/>
        </p:nvSpPr>
        <p:spPr bwMode="gray">
          <a:xfrm>
            <a:off x="3866396" y="1940424"/>
            <a:ext cx="3231337" cy="544946"/>
          </a:xfrm>
          <a:prstGeom prst="rect">
            <a:avLst/>
          </a:prstGeom>
          <a:solidFill>
            <a:schemeClr val="accent5"/>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050" b="1">
                <a:solidFill>
                  <a:srgbClr val="FFFFFF"/>
                </a:solidFill>
                <a:latin typeface="Arial"/>
                <a:cs typeface="Arial"/>
              </a:rPr>
              <a:t>Regulatory control</a:t>
            </a:r>
            <a:endParaRPr lang="en-US" sz="1050" b="1">
              <a:solidFill>
                <a:srgbClr val="FFFFFF"/>
              </a:solidFill>
              <a:latin typeface="Arial"/>
            </a:endParaRPr>
          </a:p>
          <a:p>
            <a:pPr algn="ctr"/>
            <a:r>
              <a:rPr lang="en-US" sz="1050">
                <a:solidFill>
                  <a:srgbClr val="FFFFFF"/>
                </a:solidFill>
                <a:latin typeface="Arial"/>
              </a:rPr>
              <a:t>Radiation and Nuclear Safety Authority</a:t>
            </a:r>
            <a:endParaRPr lang="en-US"/>
          </a:p>
        </p:txBody>
      </p:sp>
      <p:cxnSp>
        <p:nvCxnSpPr>
          <p:cNvPr id="27" name="Straight Arrow Connector 26">
            <a:extLst>
              <a:ext uri="{FF2B5EF4-FFF2-40B4-BE49-F238E27FC236}">
                <a16:creationId xmlns:a16="http://schemas.microsoft.com/office/drawing/2014/main" id="{57D16F93-C830-2BFE-9559-082F416AD5EC}"/>
              </a:ext>
            </a:extLst>
          </p:cNvPr>
          <p:cNvCxnSpPr>
            <a:cxnSpLocks/>
            <a:endCxn id="4" idx="0"/>
          </p:cNvCxnSpPr>
          <p:nvPr/>
        </p:nvCxnSpPr>
        <p:spPr bwMode="gray">
          <a:xfrm>
            <a:off x="1485163" y="2485370"/>
            <a:ext cx="0" cy="713984"/>
          </a:xfrm>
          <a:prstGeom prst="straightConnector1">
            <a:avLst/>
          </a:prstGeom>
          <a:ln w="190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09D8CB08-9A66-4113-2859-20EC0AB3E9FB}"/>
              </a:ext>
            </a:extLst>
          </p:cNvPr>
          <p:cNvGrpSpPr/>
          <p:nvPr/>
        </p:nvGrpSpPr>
        <p:grpSpPr>
          <a:xfrm>
            <a:off x="508994" y="3199354"/>
            <a:ext cx="1952337" cy="1255879"/>
            <a:chOff x="332874" y="2618873"/>
            <a:chExt cx="2933700" cy="1704738"/>
          </a:xfrm>
        </p:grpSpPr>
        <p:pic>
          <p:nvPicPr>
            <p:cNvPr id="3" name="Picture 2" descr="Olkiluoto Nuclear Power Plant - Wikipedia">
              <a:extLst>
                <a:ext uri="{FF2B5EF4-FFF2-40B4-BE49-F238E27FC236}">
                  <a16:creationId xmlns:a16="http://schemas.microsoft.com/office/drawing/2014/main" id="{67B62016-58F9-78EE-7F83-6DA46082089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32874" y="2837149"/>
              <a:ext cx="2933700" cy="1486462"/>
            </a:xfrm>
            <a:prstGeom prst="rect">
              <a:avLst/>
            </a:prstGeom>
          </p:spPr>
        </p:pic>
        <p:sp>
          <p:nvSpPr>
            <p:cNvPr id="4" name="TextBox 3">
              <a:extLst>
                <a:ext uri="{FF2B5EF4-FFF2-40B4-BE49-F238E27FC236}">
                  <a16:creationId xmlns:a16="http://schemas.microsoft.com/office/drawing/2014/main" id="{7EE0D9B4-119A-FD76-7B34-88C0626C6EAA}"/>
                </a:ext>
              </a:extLst>
            </p:cNvPr>
            <p:cNvSpPr txBox="1"/>
            <p:nvPr/>
          </p:nvSpPr>
          <p:spPr bwMode="gray">
            <a:xfrm>
              <a:off x="332874" y="2618873"/>
              <a:ext cx="2933700" cy="219334"/>
            </a:xfrm>
            <a:prstGeom prst="rect">
              <a:avLst/>
            </a:prstGeom>
            <a:solidFill>
              <a:schemeClr val="accent1">
                <a:lumMod val="20000"/>
                <a:lumOff val="80000"/>
              </a:schemeClr>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600"/>
                </a:spcBef>
                <a:spcAft>
                  <a:spcPts val="600"/>
                </a:spcAft>
              </a:pPr>
              <a:r>
                <a:rPr lang="en-US" sz="1050" b="1" err="1">
                  <a:latin typeface="Arial" panose="020B0604020202020204" pitchFamily="34" charset="0"/>
                  <a:cs typeface="Arial" panose="020B0604020202020204" pitchFamily="34" charset="0"/>
                </a:rPr>
                <a:t>Teollisuuden</a:t>
              </a:r>
              <a:r>
                <a:rPr lang="en-US" sz="1050" b="1">
                  <a:latin typeface="Arial" panose="020B0604020202020204" pitchFamily="34" charset="0"/>
                  <a:cs typeface="Arial" panose="020B0604020202020204" pitchFamily="34" charset="0"/>
                </a:rPr>
                <a:t> </a:t>
              </a:r>
              <a:r>
                <a:rPr lang="en-US" sz="1050" b="1" err="1">
                  <a:latin typeface="Arial" panose="020B0604020202020204" pitchFamily="34" charset="0"/>
                  <a:cs typeface="Arial" panose="020B0604020202020204" pitchFamily="34" charset="0"/>
                </a:rPr>
                <a:t>Voima</a:t>
              </a:r>
              <a:r>
                <a:rPr lang="en-US" sz="1050" b="1">
                  <a:latin typeface="Arial" panose="020B0604020202020204" pitchFamily="34" charset="0"/>
                  <a:cs typeface="Arial" panose="020B0604020202020204" pitchFamily="34" charset="0"/>
                </a:rPr>
                <a:t> </a:t>
              </a:r>
              <a:r>
                <a:rPr lang="en-US" sz="1050" b="1" err="1">
                  <a:latin typeface="Arial" panose="020B0604020202020204" pitchFamily="34" charset="0"/>
                  <a:cs typeface="Arial" panose="020B0604020202020204" pitchFamily="34" charset="0"/>
                </a:rPr>
                <a:t>Oyj</a:t>
              </a:r>
              <a:endParaRPr lang="en-US" sz="1050" b="1">
                <a:latin typeface="Arial" panose="020B0604020202020204" pitchFamily="34" charset="0"/>
                <a:cs typeface="Arial" panose="020B0604020202020204" pitchFamily="34" charset="0"/>
              </a:endParaRPr>
            </a:p>
          </p:txBody>
        </p:sp>
      </p:grpSp>
      <p:grpSp>
        <p:nvGrpSpPr>
          <p:cNvPr id="13" name="Group 12">
            <a:extLst>
              <a:ext uri="{FF2B5EF4-FFF2-40B4-BE49-F238E27FC236}">
                <a16:creationId xmlns:a16="http://schemas.microsoft.com/office/drawing/2014/main" id="{F3047CCA-C943-30BD-1202-846A741AE17E}"/>
              </a:ext>
            </a:extLst>
          </p:cNvPr>
          <p:cNvGrpSpPr/>
          <p:nvPr/>
        </p:nvGrpSpPr>
        <p:grpSpPr>
          <a:xfrm>
            <a:off x="4988233" y="3198646"/>
            <a:ext cx="1953552" cy="1266008"/>
            <a:chOff x="1186812" y="2248690"/>
            <a:chExt cx="2934915" cy="1718038"/>
          </a:xfrm>
        </p:grpSpPr>
        <p:pic>
          <p:nvPicPr>
            <p:cNvPr id="9" name="Picture 8" descr="Loviisa approved for operation to 2050 -- ANS / Nuclear Newswire">
              <a:extLst>
                <a:ext uri="{FF2B5EF4-FFF2-40B4-BE49-F238E27FC236}">
                  <a16:creationId xmlns:a16="http://schemas.microsoft.com/office/drawing/2014/main" id="{77C4178C-F4F5-D0E6-89AE-A2251AC6900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189181" y="2477363"/>
              <a:ext cx="2932546" cy="1489365"/>
            </a:xfrm>
            <a:prstGeom prst="rect">
              <a:avLst/>
            </a:prstGeom>
          </p:spPr>
        </p:pic>
        <p:sp>
          <p:nvSpPr>
            <p:cNvPr id="12" name="TextBox 11">
              <a:extLst>
                <a:ext uri="{FF2B5EF4-FFF2-40B4-BE49-F238E27FC236}">
                  <a16:creationId xmlns:a16="http://schemas.microsoft.com/office/drawing/2014/main" id="{CE80C023-5376-A9E4-15C4-A6DA60035D28}"/>
                </a:ext>
              </a:extLst>
            </p:cNvPr>
            <p:cNvSpPr txBox="1"/>
            <p:nvPr/>
          </p:nvSpPr>
          <p:spPr bwMode="gray">
            <a:xfrm>
              <a:off x="1186812" y="2248690"/>
              <a:ext cx="2933700" cy="219276"/>
            </a:xfrm>
            <a:prstGeom prst="rect">
              <a:avLst/>
            </a:prstGeom>
            <a:solidFill>
              <a:schemeClr val="accent1">
                <a:lumMod val="20000"/>
                <a:lumOff val="80000"/>
              </a:schemeClr>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600"/>
                </a:spcBef>
                <a:spcAft>
                  <a:spcPts val="600"/>
                </a:spcAft>
              </a:pPr>
              <a:r>
                <a:rPr lang="en-US" sz="1050" b="1"/>
                <a:t>Fortum Power and Heat</a:t>
              </a:r>
              <a:endParaRPr lang="en-US"/>
            </a:p>
          </p:txBody>
        </p:sp>
      </p:grpSp>
      <p:grpSp>
        <p:nvGrpSpPr>
          <p:cNvPr id="20" name="Group 19">
            <a:extLst>
              <a:ext uri="{FF2B5EF4-FFF2-40B4-BE49-F238E27FC236}">
                <a16:creationId xmlns:a16="http://schemas.microsoft.com/office/drawing/2014/main" id="{298C3E64-0AE6-762F-BEE2-9C5E78424785}"/>
              </a:ext>
            </a:extLst>
          </p:cNvPr>
          <p:cNvGrpSpPr/>
          <p:nvPr/>
        </p:nvGrpSpPr>
        <p:grpSpPr>
          <a:xfrm>
            <a:off x="2745727" y="3198618"/>
            <a:ext cx="1958110" cy="1257362"/>
            <a:chOff x="1578263" y="2260235"/>
            <a:chExt cx="2939473" cy="1696083"/>
          </a:xfrm>
        </p:grpSpPr>
        <p:pic>
          <p:nvPicPr>
            <p:cNvPr id="14" name="Picture 13" descr="An aerial view of a city&#10;&#10;AI-generated content may be incorrect.">
              <a:extLst>
                <a:ext uri="{FF2B5EF4-FFF2-40B4-BE49-F238E27FC236}">
                  <a16:creationId xmlns:a16="http://schemas.microsoft.com/office/drawing/2014/main" id="{A0F41660-66E0-0CB8-1140-1B1C7DB095B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578263" y="2480808"/>
              <a:ext cx="2939473" cy="1475510"/>
            </a:xfrm>
            <a:prstGeom prst="rect">
              <a:avLst/>
            </a:prstGeom>
          </p:spPr>
        </p:pic>
        <p:sp>
          <p:nvSpPr>
            <p:cNvPr id="17" name="TextBox 16">
              <a:extLst>
                <a:ext uri="{FF2B5EF4-FFF2-40B4-BE49-F238E27FC236}">
                  <a16:creationId xmlns:a16="http://schemas.microsoft.com/office/drawing/2014/main" id="{3ABD8489-1695-5765-CFF2-80B5B83AB77E}"/>
                </a:ext>
              </a:extLst>
            </p:cNvPr>
            <p:cNvSpPr txBox="1"/>
            <p:nvPr/>
          </p:nvSpPr>
          <p:spPr bwMode="gray">
            <a:xfrm>
              <a:off x="1579357" y="2260235"/>
              <a:ext cx="2933701" cy="217963"/>
            </a:xfrm>
            <a:prstGeom prst="rect">
              <a:avLst/>
            </a:prstGeom>
            <a:solidFill>
              <a:schemeClr val="accent6">
                <a:lumMod val="20000"/>
                <a:lumOff val="80000"/>
              </a:schemeClr>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600"/>
                </a:spcBef>
                <a:spcAft>
                  <a:spcPts val="600"/>
                </a:spcAft>
              </a:pPr>
              <a:r>
                <a:rPr lang="en-US" sz="1050" b="1" err="1"/>
                <a:t>Posiva</a:t>
              </a:r>
              <a:r>
                <a:rPr lang="en-US" sz="1050" b="1"/>
                <a:t> Oy</a:t>
              </a:r>
              <a:endParaRPr lang="en-US"/>
            </a:p>
          </p:txBody>
        </p:sp>
      </p:grpSp>
      <p:sp>
        <p:nvSpPr>
          <p:cNvPr id="23" name="TextBox 22">
            <a:extLst>
              <a:ext uri="{FF2B5EF4-FFF2-40B4-BE49-F238E27FC236}">
                <a16:creationId xmlns:a16="http://schemas.microsoft.com/office/drawing/2014/main" id="{826204AA-B9A6-8B5D-5228-F8903BCE4EA7}"/>
              </a:ext>
            </a:extLst>
          </p:cNvPr>
          <p:cNvSpPr txBox="1"/>
          <p:nvPr/>
        </p:nvSpPr>
        <p:spPr bwMode="gray">
          <a:xfrm>
            <a:off x="508995" y="4468366"/>
            <a:ext cx="1947502" cy="438582"/>
          </a:xfrm>
          <a:prstGeom prst="rect">
            <a:avLst/>
          </a:prstGeom>
          <a:noFill/>
          <a:ln>
            <a:noFill/>
          </a:ln>
        </p:spPr>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algn="ctr">
              <a:spcBef>
                <a:spcPts val="600"/>
              </a:spcBef>
              <a:spcAft>
                <a:spcPts val="600"/>
              </a:spcAft>
            </a:pPr>
            <a:r>
              <a:rPr lang="en-US" sz="1050" err="1">
                <a:ea typeface="+mn-lt"/>
                <a:cs typeface="+mn-lt"/>
              </a:rPr>
              <a:t>Olkiluoto</a:t>
            </a:r>
            <a:r>
              <a:rPr lang="en-US" sz="1050">
                <a:ea typeface="+mn-lt"/>
                <a:cs typeface="+mn-lt"/>
              </a:rPr>
              <a:t> Power Plant</a:t>
            </a:r>
            <a:endParaRPr lang="en-US">
              <a:ea typeface="+mn-lt"/>
              <a:cs typeface="+mn-lt"/>
            </a:endParaRPr>
          </a:p>
        </p:txBody>
      </p:sp>
      <p:sp>
        <p:nvSpPr>
          <p:cNvPr id="32" name="btfpNotesBox368131">
            <a:hlinkClick r:id="rId11"/>
            <a:extLst>
              <a:ext uri="{FF2B5EF4-FFF2-40B4-BE49-F238E27FC236}">
                <a16:creationId xmlns:a16="http://schemas.microsoft.com/office/drawing/2014/main" id="{2D996E01-0855-1200-0E14-DD148B23264F}"/>
              </a:ext>
            </a:extLst>
          </p:cNvPr>
          <p:cNvSpPr txBox="1"/>
          <p:nvPr>
            <p:custDataLst>
              <p:tags r:id="rId3"/>
            </p:custDataLst>
          </p:nvPr>
        </p:nvSpPr>
        <p:spPr bwMode="gray">
          <a:xfrm>
            <a:off x="279398" y="6248401"/>
            <a:ext cx="9325279" cy="492443"/>
          </a:xfrm>
          <a:prstGeom prst="rect">
            <a:avLst/>
          </a:prstGeom>
          <a:noFill/>
        </p:spPr>
        <p:txBody>
          <a:bodyPr vert="horz" wrap="square" lIns="0" tIns="0" rIns="0" bIns="0" rtlCol="0" anchor="b">
            <a:spAutoFit/>
          </a:bodyPr>
          <a:lstStyle/>
          <a:p>
            <a:pPr defTabSz="711200">
              <a:defRPr/>
            </a:pPr>
            <a:r>
              <a:rPr kumimoji="0" lang="en-US" sz="80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ea typeface="+mn-lt"/>
                <a:cs typeface="+mn-lt"/>
              </a:rPr>
              <a:t>Science, </a:t>
            </a:r>
            <a:r>
              <a:rPr lang="en-US" sz="800" dirty="0">
                <a:solidFill>
                  <a:srgbClr val="000000"/>
                </a:solidFill>
                <a:ea typeface="+mn-lt"/>
                <a:cs typeface="+mn-lt"/>
                <a:hlinkClick r:id="rId12"/>
              </a:rPr>
              <a:t>Finland built a tomb to store nuclear waste. Can it survive 100,000 years?</a:t>
            </a:r>
            <a:r>
              <a:rPr lang="en-US" sz="800" dirty="0">
                <a:solidFill>
                  <a:srgbClr val="000000"/>
                </a:solidFill>
                <a:ea typeface="+mn-lt"/>
                <a:cs typeface="+mn-lt"/>
              </a:rPr>
              <a:t> (2024); </a:t>
            </a:r>
            <a:r>
              <a:rPr lang="en-US" sz="800" dirty="0" err="1">
                <a:solidFill>
                  <a:srgbClr val="000000"/>
                </a:solidFill>
                <a:ea typeface="+mn-lt"/>
                <a:cs typeface="+mn-lt"/>
              </a:rPr>
              <a:t>Posiva</a:t>
            </a:r>
            <a:r>
              <a:rPr lang="en-US" sz="800" dirty="0">
                <a:solidFill>
                  <a:srgbClr val="000000"/>
                </a:solidFill>
                <a:ea typeface="+mn-lt"/>
                <a:cs typeface="+mn-lt"/>
              </a:rPr>
              <a:t>, </a:t>
            </a:r>
            <a:r>
              <a:rPr lang="en-US" sz="800" dirty="0">
                <a:solidFill>
                  <a:srgbClr val="000000"/>
                </a:solidFill>
                <a:ea typeface="+mn-lt"/>
                <a:cs typeface="+mn-lt"/>
                <a:hlinkClick r:id="rId13"/>
              </a:rPr>
              <a:t>Introducing ONKALO and its principle of operation</a:t>
            </a:r>
            <a:r>
              <a:rPr lang="en-US" sz="800" dirty="0">
                <a:solidFill>
                  <a:srgbClr val="000000"/>
                </a:solidFill>
                <a:ea typeface="+mn-lt"/>
                <a:cs typeface="+mn-lt"/>
              </a:rPr>
              <a:t> (2024); American Nuclear Society, </a:t>
            </a:r>
            <a:r>
              <a:rPr lang="en-US" sz="800" dirty="0">
                <a:solidFill>
                  <a:srgbClr val="000000"/>
                </a:solidFill>
                <a:ea typeface="+mn-lt"/>
                <a:cs typeface="+mn-lt"/>
                <a:hlinkClick r:id="rId14"/>
              </a:rPr>
              <a:t>Finland begins trial run of </a:t>
            </a:r>
            <a:r>
              <a:rPr lang="en-US" sz="800" dirty="0" err="1">
                <a:solidFill>
                  <a:srgbClr val="000000"/>
                </a:solidFill>
                <a:ea typeface="+mn-lt"/>
                <a:cs typeface="+mn-lt"/>
                <a:hlinkClick r:id="rId14"/>
              </a:rPr>
              <a:t>Onkalo</a:t>
            </a:r>
            <a:r>
              <a:rPr lang="en-US" sz="800" dirty="0">
                <a:solidFill>
                  <a:srgbClr val="000000"/>
                </a:solidFill>
                <a:ea typeface="+mn-lt"/>
                <a:cs typeface="+mn-lt"/>
                <a:hlinkClick r:id="rId14"/>
              </a:rPr>
              <a:t> repository</a:t>
            </a:r>
            <a:r>
              <a:rPr lang="en-US" sz="800" dirty="0">
                <a:solidFill>
                  <a:srgbClr val="000000"/>
                </a:solidFill>
                <a:ea typeface="+mn-lt"/>
                <a:cs typeface="+mn-lt"/>
              </a:rPr>
              <a:t> (2024); World Nuclear Association, </a:t>
            </a:r>
            <a:r>
              <a:rPr lang="en-US" sz="800" dirty="0">
                <a:solidFill>
                  <a:srgbClr val="000000"/>
                </a:solidFill>
                <a:ea typeface="+mn-lt"/>
                <a:cs typeface="+mn-lt"/>
                <a:hlinkClick r:id="rId15"/>
              </a:rPr>
              <a:t>WNA Nuclear Fuel Cycle Royal Commission Issues Paper 4 Submission</a:t>
            </a:r>
            <a:r>
              <a:rPr lang="en-US" sz="800" dirty="0">
                <a:solidFill>
                  <a:srgbClr val="000000"/>
                </a:solidFill>
                <a:ea typeface="+mn-lt"/>
                <a:cs typeface="+mn-lt"/>
              </a:rPr>
              <a:t> (2015); Pacific Northwest National Laboratory, </a:t>
            </a:r>
            <a:r>
              <a:rPr lang="en-US" sz="800" dirty="0">
                <a:solidFill>
                  <a:srgbClr val="000000"/>
                </a:solidFill>
                <a:ea typeface="+mn-lt"/>
                <a:cs typeface="+mn-lt"/>
                <a:hlinkClick r:id="rId16"/>
              </a:rPr>
              <a:t>Nuclear Waste: Challenges for the Next Generation</a:t>
            </a:r>
            <a:r>
              <a:rPr lang="en-US" sz="800" dirty="0">
                <a:solidFill>
                  <a:srgbClr val="000000"/>
                </a:solidFill>
                <a:ea typeface="+mn-lt"/>
                <a:cs typeface="+mn-lt"/>
              </a:rPr>
              <a:t> (2007); </a:t>
            </a:r>
            <a:r>
              <a:rPr lang="en-US" sz="800" dirty="0" err="1">
                <a:solidFill>
                  <a:srgbClr val="000000"/>
                </a:solidFill>
                <a:ea typeface="+mn-lt"/>
                <a:cs typeface="+mn-lt"/>
              </a:rPr>
              <a:t>Posiva</a:t>
            </a:r>
            <a:r>
              <a:rPr lang="en-US" sz="800" dirty="0">
                <a:solidFill>
                  <a:srgbClr val="000000"/>
                </a:solidFill>
                <a:ea typeface="+mn-lt"/>
                <a:cs typeface="+mn-lt"/>
              </a:rPr>
              <a:t>, </a:t>
            </a:r>
            <a:r>
              <a:rPr lang="en-US" sz="800" dirty="0" err="1">
                <a:solidFill>
                  <a:srgbClr val="000000"/>
                </a:solidFill>
                <a:ea typeface="+mn-lt"/>
                <a:cs typeface="+mn-lt"/>
                <a:hlinkClick r:id="rId17"/>
              </a:rPr>
              <a:t>Olkiluoto</a:t>
            </a:r>
            <a:r>
              <a:rPr lang="en-US" sz="800" dirty="0">
                <a:solidFill>
                  <a:srgbClr val="000000"/>
                </a:solidFill>
                <a:ea typeface="+mn-lt"/>
                <a:cs typeface="+mn-lt"/>
                <a:hlinkClick r:id="rId17"/>
              </a:rPr>
              <a:t>: A Safe Home for Spent </a:t>
            </a:r>
            <a:r>
              <a:rPr kumimoji="0" lang="en-US" sz="800" i="0" u="none" strike="noStrike" kern="1200" cap="none" spc="0" normalizeH="0" baseline="0" noProof="0" dirty="0">
                <a:ln>
                  <a:noFill/>
                </a:ln>
                <a:solidFill>
                  <a:srgbClr val="000000"/>
                </a:solidFill>
                <a:effectLst/>
                <a:uLnTx/>
                <a:uFillTx/>
                <a:ea typeface="+mn-lt"/>
                <a:cs typeface="+mn-lt"/>
                <a:hlinkClick r:id="rId17"/>
              </a:rPr>
              <a:t>Nuclear </a:t>
            </a:r>
            <a:r>
              <a:rPr lang="en-US" sz="800" dirty="0">
                <a:solidFill>
                  <a:srgbClr val="000000"/>
                </a:solidFill>
                <a:ea typeface="+mn-lt"/>
                <a:cs typeface="+mn-lt"/>
                <a:hlinkClick r:id="rId17"/>
              </a:rPr>
              <a:t>Fuel</a:t>
            </a:r>
            <a:r>
              <a:rPr lang="en-US" sz="800" dirty="0">
                <a:solidFill>
                  <a:srgbClr val="000000"/>
                </a:solidFill>
                <a:ea typeface="+mn-lt"/>
                <a:cs typeface="+mn-lt"/>
              </a:rPr>
              <a:t> (2011); IAEA/</a:t>
            </a:r>
            <a:r>
              <a:rPr lang="en-US" sz="800" dirty="0" err="1">
                <a:solidFill>
                  <a:srgbClr val="000000"/>
                </a:solidFill>
                <a:ea typeface="+mn-lt"/>
                <a:cs typeface="+mn-lt"/>
              </a:rPr>
              <a:t>Posiva</a:t>
            </a:r>
            <a:r>
              <a:rPr lang="en-US" sz="800" dirty="0">
                <a:solidFill>
                  <a:srgbClr val="000000"/>
                </a:solidFill>
                <a:ea typeface="+mn-lt"/>
                <a:cs typeface="+mn-lt"/>
              </a:rPr>
              <a:t>, </a:t>
            </a:r>
            <a:r>
              <a:rPr lang="en-US" sz="800" dirty="0">
                <a:solidFill>
                  <a:srgbClr val="000000"/>
                </a:solidFill>
                <a:ea typeface="+mn-lt"/>
                <a:cs typeface="+mn-lt"/>
                <a:hlinkClick r:id="rId18"/>
              </a:rPr>
              <a:t>Characterization of Spent Fuel for the Management of Final Disposal</a:t>
            </a:r>
            <a:r>
              <a:rPr lang="en-US" sz="800" dirty="0">
                <a:solidFill>
                  <a:srgbClr val="000000"/>
                </a:solidFill>
                <a:ea typeface="+mn-lt"/>
                <a:cs typeface="+mn-lt"/>
              </a:rPr>
              <a:t> </a:t>
            </a:r>
            <a:r>
              <a:rPr kumimoji="0" lang="en-US" sz="800" i="0" u="none" strike="noStrike" kern="1200" cap="none" spc="0" normalizeH="0" baseline="0" noProof="0" dirty="0">
                <a:ln>
                  <a:noFill/>
                </a:ln>
                <a:solidFill>
                  <a:srgbClr val="000000"/>
                </a:solidFill>
                <a:effectLst/>
                <a:uLnTx/>
                <a:uFillTx/>
                <a:ea typeface="+mn-lt"/>
                <a:cs typeface="+mn-lt"/>
              </a:rPr>
              <a:t>(</a:t>
            </a:r>
            <a:r>
              <a:rPr lang="en-US" sz="800" dirty="0">
                <a:solidFill>
                  <a:srgbClr val="000000"/>
                </a:solidFill>
                <a:ea typeface="+mn-lt"/>
                <a:cs typeface="+mn-lt"/>
              </a:rPr>
              <a:t>2011).</a:t>
            </a:r>
            <a:endParaRPr lang="en-US" dirty="0">
              <a:cs typeface="Arial"/>
            </a:endParaRPr>
          </a:p>
          <a:p>
            <a:pPr defTabSz="711200">
              <a:defRPr/>
            </a:pPr>
            <a:r>
              <a:rPr kumimoji="0" lang="en-US" sz="80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Christian </a:t>
            </a:r>
            <a:r>
              <a:rPr lang="en-US" sz="800" dirty="0" err="1">
                <a:solidFill>
                  <a:srgbClr val="000000"/>
                </a:solidFill>
                <a:latin typeface="Arial"/>
              </a:rPr>
              <a:t>Sandjaja</a:t>
            </a:r>
            <a:r>
              <a:rPr lang="en-US" sz="800" dirty="0">
                <a:solidFill>
                  <a:srgbClr val="000000"/>
                </a:solidFill>
                <a:latin typeface="Arial"/>
              </a:rPr>
              <a:t>, </a:t>
            </a:r>
            <a:r>
              <a:rPr kumimoji="0" lang="en-US" sz="800" i="0" u="none" strike="noStrike" kern="1200" cap="none" spc="0" normalizeH="0" baseline="0" noProof="0" dirty="0">
                <a:ln>
                  <a:noFill/>
                </a:ln>
                <a:solidFill>
                  <a:srgbClr val="000000"/>
                </a:solidFill>
                <a:effectLst/>
                <a:uLnTx/>
                <a:uFillTx/>
                <a:latin typeface="Arial"/>
                <a:ea typeface="+mn-ea"/>
                <a:cs typeface="+mn-cs"/>
              </a:rPr>
              <a:t>Quint </a:t>
            </a:r>
            <a:r>
              <a:rPr kumimoji="0" lang="en-US" sz="800" i="0" u="none" strike="noStrike" kern="1200" cap="none" spc="0" normalizeH="0" baseline="0" noProof="0" dirty="0" err="1">
                <a:ln>
                  <a:noFill/>
                </a:ln>
                <a:solidFill>
                  <a:srgbClr val="000000"/>
                </a:solidFill>
                <a:effectLst/>
                <a:uLnTx/>
                <a:uFillTx/>
                <a:latin typeface="Arial"/>
                <a:ea typeface="+mn-ea"/>
                <a:cs typeface="+mn-cs"/>
              </a:rPr>
              <a:t>Houwink</a:t>
            </a:r>
            <a:r>
              <a:rPr lang="en-US" sz="800" dirty="0">
                <a:solidFill>
                  <a:srgbClr val="000000"/>
                </a:solidFill>
                <a:latin typeface="Arial"/>
              </a:rPr>
              <a:t>,</a:t>
            </a:r>
            <a:r>
              <a:rPr kumimoji="0" lang="en-US" sz="800" i="0" u="none" strike="noStrike" kern="1200" cap="none" spc="0" normalizeH="0" baseline="0" noProof="0" dirty="0">
                <a:ln>
                  <a:noFill/>
                </a:ln>
                <a:solidFill>
                  <a:srgbClr val="000000"/>
                </a:solidFill>
                <a:effectLst/>
                <a:uLnTx/>
                <a:uFillTx/>
                <a:latin typeface="Arial"/>
                <a:ea typeface="+mn-ea"/>
                <a:cs typeface="+mn-cs"/>
              </a:rPr>
              <a:t> and </a:t>
            </a:r>
            <a:r>
              <a:rPr kumimoji="0" lang="en-US" sz="800" i="0" u="none" strike="noStrike" kern="1200" cap="none" spc="0" normalizeH="0" baseline="0" noProof="0" dirty="0">
                <a:ln>
                  <a:noFill/>
                </a:ln>
                <a:solidFill>
                  <a:srgbClr val="000000"/>
                </a:solidFill>
                <a:effectLst/>
                <a:uLnTx/>
                <a:uFillTx/>
                <a:latin typeface="Arial"/>
                <a:ea typeface="+mn-ea"/>
                <a:cs typeface="+mn-cs"/>
                <a:hlinkClick r:id="rId19"/>
              </a:rPr>
              <a:t>Gernot Wagner</a:t>
            </a:r>
            <a:r>
              <a:rPr lang="en-US" sz="800" dirty="0">
                <a:solidFill>
                  <a:srgbClr val="000000"/>
                </a:solidFill>
                <a:latin typeface="Arial"/>
              </a:rPr>
              <a:t>. </a:t>
            </a:r>
            <a:r>
              <a:rPr lang="en-US" sz="800" dirty="0">
                <a:solidFill>
                  <a:srgbClr val="000000"/>
                </a:solidFill>
              </a:rPr>
              <a:t>Share</a:t>
            </a:r>
            <a:r>
              <a:rPr kumimoji="0" lang="en-US" sz="800" i="0" u="none" strike="noStrike" kern="1200" cap="none" spc="0" normalizeH="0" baseline="0" noProof="0" dirty="0">
                <a:ln>
                  <a:noFill/>
                </a:ln>
                <a:solidFill>
                  <a:srgbClr val="000000"/>
                </a:solidFill>
                <a:effectLst/>
                <a:uLnTx/>
                <a:uFillTx/>
                <a:latin typeface="Arial"/>
                <a:ea typeface="+mn-ea"/>
                <a:cs typeface="+mn-cs"/>
              </a:rPr>
              <a:t> with </a:t>
            </a:r>
            <a:r>
              <a:rPr kumimoji="0" lang="en-US" sz="800" i="0" u="none" strike="noStrike" kern="1200" cap="none" spc="0" normalizeH="0" baseline="0" noProof="0" dirty="0">
                <a:ln>
                  <a:noFill/>
                </a:ln>
                <a:solidFill>
                  <a:srgbClr val="000000"/>
                </a:solidFill>
                <a:effectLst/>
                <a:uLnTx/>
                <a:uFillTx/>
                <a:latin typeface="Arial"/>
                <a:ea typeface="+mn-ea"/>
                <a:cs typeface="+mn-cs"/>
                <a:hlinkClick r:id="rId20"/>
              </a:rPr>
              <a:t>attribution</a:t>
            </a:r>
            <a:r>
              <a:rPr kumimoji="0" lang="en-US" sz="800" i="0" u="none" strike="noStrike" kern="1200" cap="none" spc="0" normalizeH="0" baseline="0" noProof="0" dirty="0">
                <a:ln>
                  <a:noFill/>
                </a:ln>
                <a:solidFill>
                  <a:srgbClr val="000000"/>
                </a:solidFill>
                <a:effectLst/>
                <a:uLnTx/>
                <a:uFillTx/>
                <a:latin typeface="Arial"/>
                <a:ea typeface="+mn-ea"/>
                <a:cs typeface="+mn-cs"/>
              </a:rPr>
              <a:t>: </a:t>
            </a:r>
            <a:r>
              <a:rPr lang="en-US" sz="800" dirty="0" err="1">
                <a:solidFill>
                  <a:srgbClr val="000000"/>
                </a:solidFill>
                <a:latin typeface="Arial"/>
              </a:rPr>
              <a:t>Houwink</a:t>
            </a:r>
            <a:r>
              <a:rPr lang="en-US" sz="800" dirty="0">
                <a:solidFill>
                  <a:srgbClr val="000000"/>
                </a:solidFill>
                <a:latin typeface="Arial"/>
              </a:rPr>
              <a:t> et al., "Reenergizing Nuclear" (23 September 2025).</a:t>
            </a:r>
            <a:endParaRPr lang="en-US" sz="800" dirty="0">
              <a:solidFill>
                <a:srgbClr val="000000"/>
              </a:solidFill>
              <a:latin typeface="Arial"/>
              <a:cs typeface="Arial"/>
            </a:endParaRPr>
          </a:p>
        </p:txBody>
      </p:sp>
      <p:cxnSp>
        <p:nvCxnSpPr>
          <p:cNvPr id="5" name="Straight Arrow Connector 4">
            <a:extLst>
              <a:ext uri="{FF2B5EF4-FFF2-40B4-BE49-F238E27FC236}">
                <a16:creationId xmlns:a16="http://schemas.microsoft.com/office/drawing/2014/main" id="{339BA244-8CD3-E930-A266-4FA6CB3C2CB5}"/>
              </a:ext>
            </a:extLst>
          </p:cNvPr>
          <p:cNvCxnSpPr>
            <a:cxnSpLocks/>
            <a:endCxn id="12" idx="0"/>
          </p:cNvCxnSpPr>
          <p:nvPr/>
        </p:nvCxnSpPr>
        <p:spPr bwMode="gray">
          <a:xfrm>
            <a:off x="5964605" y="2492294"/>
            <a:ext cx="0" cy="706352"/>
          </a:xfrm>
          <a:prstGeom prst="straightConnector1">
            <a:avLst/>
          </a:prstGeom>
          <a:ln w="190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772871B-56DD-7359-2333-35D33CB4F456}"/>
              </a:ext>
            </a:extLst>
          </p:cNvPr>
          <p:cNvSpPr txBox="1"/>
          <p:nvPr/>
        </p:nvSpPr>
        <p:spPr bwMode="gray">
          <a:xfrm>
            <a:off x="330200" y="1557818"/>
            <a:ext cx="5451475" cy="288147"/>
          </a:xfrm>
          <a:prstGeom prst="rect">
            <a:avLst/>
          </a:prstGeom>
          <a:noFill/>
        </p:spPr>
        <p:txBody>
          <a:bodyPr wrap="square" lIns="36000" tIns="36000" rIns="36000" bIns="36000" rtlCol="0" anchor="t">
            <a:spAutoFit/>
          </a:bodyPr>
          <a:lstStyle/>
          <a:p>
            <a:r>
              <a:rPr lang="en-US" sz="1400" b="1" err="1">
                <a:latin typeface="Arial" panose="020B0604020202020204" pitchFamily="34" charset="0"/>
                <a:cs typeface="Arial" panose="020B0604020202020204" pitchFamily="34" charset="0"/>
              </a:rPr>
              <a:t>Onkalo</a:t>
            </a:r>
            <a:r>
              <a:rPr lang="en-US" sz="1400" b="1">
                <a:latin typeface="Arial" panose="020B0604020202020204" pitchFamily="34" charset="0"/>
                <a:cs typeface="Arial" panose="020B0604020202020204" pitchFamily="34" charset="0"/>
              </a:rPr>
              <a:t> licensing, oversight, and funding structure</a:t>
            </a:r>
          </a:p>
        </p:txBody>
      </p:sp>
      <p:cxnSp>
        <p:nvCxnSpPr>
          <p:cNvPr id="35" name="btfpColumnHeaderBoxLine912903">
            <a:extLst>
              <a:ext uri="{FF2B5EF4-FFF2-40B4-BE49-F238E27FC236}">
                <a16:creationId xmlns:a16="http://schemas.microsoft.com/office/drawing/2014/main" id="{F56FAF0E-6355-C623-E335-5DAA417AC698}"/>
              </a:ext>
            </a:extLst>
          </p:cNvPr>
          <p:cNvCxnSpPr>
            <a:cxnSpLocks/>
          </p:cNvCxnSpPr>
          <p:nvPr/>
        </p:nvCxnSpPr>
        <p:spPr bwMode="gray">
          <a:xfrm>
            <a:off x="330200" y="1845580"/>
            <a:ext cx="450561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8D58F32B-832E-CF4F-A286-7E73F27EAF8F}"/>
              </a:ext>
            </a:extLst>
          </p:cNvPr>
          <p:cNvCxnSpPr>
            <a:cxnSpLocks/>
            <a:stCxn id="9" idx="1"/>
          </p:cNvCxnSpPr>
          <p:nvPr/>
        </p:nvCxnSpPr>
        <p:spPr bwMode="gray">
          <a:xfrm flipH="1">
            <a:off x="4700721" y="3915905"/>
            <a:ext cx="289089" cy="0"/>
          </a:xfrm>
          <a:prstGeom prst="straightConnector1">
            <a:avLst/>
          </a:prstGeom>
          <a:ln w="190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06615826-6FD4-B920-78CC-C6FD162E2B60}"/>
              </a:ext>
            </a:extLst>
          </p:cNvPr>
          <p:cNvCxnSpPr>
            <a:cxnSpLocks/>
            <a:stCxn id="3" idx="3"/>
            <a:endCxn id="14" idx="1"/>
          </p:cNvCxnSpPr>
          <p:nvPr/>
        </p:nvCxnSpPr>
        <p:spPr bwMode="gray">
          <a:xfrm>
            <a:off x="2461331" y="3907696"/>
            <a:ext cx="284396" cy="1362"/>
          </a:xfrm>
          <a:prstGeom prst="straightConnector1">
            <a:avLst/>
          </a:prstGeom>
          <a:ln w="190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1ED90A4-590C-CBAE-D990-495719D21E2A}"/>
              </a:ext>
            </a:extLst>
          </p:cNvPr>
          <p:cNvCxnSpPr>
            <a:cxnSpLocks/>
            <a:stCxn id="24" idx="0"/>
          </p:cNvCxnSpPr>
          <p:nvPr/>
        </p:nvCxnSpPr>
        <p:spPr bwMode="gray">
          <a:xfrm flipV="1">
            <a:off x="3721524" y="4455980"/>
            <a:ext cx="3258" cy="890354"/>
          </a:xfrm>
          <a:prstGeom prst="straightConnector1">
            <a:avLst/>
          </a:prstGeom>
          <a:ln w="190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5DD7042-B0E7-3B3C-E01B-746C8F5E5CB8}"/>
              </a:ext>
            </a:extLst>
          </p:cNvPr>
          <p:cNvSpPr txBox="1"/>
          <p:nvPr/>
        </p:nvSpPr>
        <p:spPr bwMode="gray">
          <a:xfrm>
            <a:off x="2745727" y="2938896"/>
            <a:ext cx="1956134" cy="161583"/>
          </a:xfrm>
          <a:prstGeom prst="rect">
            <a:avLst/>
          </a:prstGeom>
          <a:solidFill>
            <a:srgbClr val="F2F2F2"/>
          </a:solid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600"/>
              </a:spcBef>
              <a:spcAft>
                <a:spcPts val="600"/>
              </a:spcAft>
            </a:pPr>
            <a:r>
              <a:rPr lang="en-US" sz="1050">
                <a:ea typeface="+mn-lt"/>
                <a:cs typeface="+mn-lt"/>
              </a:rPr>
              <a:t>Final disposal of spent fuel</a:t>
            </a:r>
            <a:endParaRPr lang="en-US"/>
          </a:p>
        </p:txBody>
      </p:sp>
      <p:sp>
        <p:nvSpPr>
          <p:cNvPr id="58" name="TextBox 57">
            <a:extLst>
              <a:ext uri="{FF2B5EF4-FFF2-40B4-BE49-F238E27FC236}">
                <a16:creationId xmlns:a16="http://schemas.microsoft.com/office/drawing/2014/main" id="{8D15D991-8C1C-3EFC-0D92-E8405C463329}"/>
              </a:ext>
            </a:extLst>
          </p:cNvPr>
          <p:cNvSpPr txBox="1"/>
          <p:nvPr/>
        </p:nvSpPr>
        <p:spPr bwMode="gray">
          <a:xfrm>
            <a:off x="4989035" y="4468366"/>
            <a:ext cx="1947502" cy="438582"/>
          </a:xfrm>
          <a:prstGeom prst="rect">
            <a:avLst/>
          </a:prstGeom>
          <a:noFill/>
          <a:ln>
            <a:noFill/>
          </a:ln>
        </p:spPr>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algn="ctr">
              <a:spcBef>
                <a:spcPts val="600"/>
              </a:spcBef>
              <a:spcAft>
                <a:spcPts val="600"/>
              </a:spcAft>
            </a:pPr>
            <a:r>
              <a:rPr lang="en-US" sz="1050" err="1">
                <a:cs typeface="Arial"/>
              </a:rPr>
              <a:t>Loviisa</a:t>
            </a:r>
            <a:r>
              <a:rPr lang="en-US" sz="1050">
                <a:cs typeface="Arial"/>
              </a:rPr>
              <a:t> Power Plant</a:t>
            </a:r>
          </a:p>
        </p:txBody>
      </p:sp>
      <p:sp>
        <p:nvSpPr>
          <p:cNvPr id="59" name="Rectangle 58">
            <a:extLst>
              <a:ext uri="{FF2B5EF4-FFF2-40B4-BE49-F238E27FC236}">
                <a16:creationId xmlns:a16="http://schemas.microsoft.com/office/drawing/2014/main" id="{EE17D131-1228-6095-3157-00FBB8CF3767}"/>
              </a:ext>
            </a:extLst>
          </p:cNvPr>
          <p:cNvSpPr/>
          <p:nvPr/>
        </p:nvSpPr>
        <p:spPr bwMode="gray">
          <a:xfrm>
            <a:off x="7382127" y="4169640"/>
            <a:ext cx="715341" cy="2206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b="1">
                <a:solidFill>
                  <a:srgbClr val="000000"/>
                </a:solidFill>
                <a:latin typeface="Arial" panose="020B0604020202020204" pitchFamily="34" charset="0"/>
                <a:cs typeface="Arial" panose="020B0604020202020204" pitchFamily="34" charset="0"/>
              </a:rPr>
              <a:t>2004</a:t>
            </a:r>
            <a:endParaRPr lang="en-US" sz="800">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E4B8D09B-8175-FCE5-57D8-669E9F1833DE}"/>
              </a:ext>
            </a:extLst>
          </p:cNvPr>
          <p:cNvSpPr/>
          <p:nvPr/>
        </p:nvSpPr>
        <p:spPr bwMode="gray">
          <a:xfrm>
            <a:off x="8518803" y="4169640"/>
            <a:ext cx="715341" cy="2206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b="1">
                <a:solidFill>
                  <a:srgbClr val="000000"/>
                </a:solidFill>
                <a:latin typeface="Arial" panose="020B0604020202020204" pitchFamily="34" charset="0"/>
                <a:cs typeface="Arial" panose="020B0604020202020204" pitchFamily="34" charset="0"/>
              </a:rPr>
              <a:t>2024</a:t>
            </a:r>
            <a:endParaRPr lang="en-US" sz="800">
              <a:latin typeface="Arial" panose="020B0604020202020204" pitchFamily="34" charset="0"/>
              <a:cs typeface="Arial" panose="020B0604020202020204" pitchFamily="34" charset="0"/>
            </a:endParaRPr>
          </a:p>
        </p:txBody>
      </p:sp>
      <p:sp>
        <p:nvSpPr>
          <p:cNvPr id="62" name="Rectangle 61">
            <a:extLst>
              <a:ext uri="{FF2B5EF4-FFF2-40B4-BE49-F238E27FC236}">
                <a16:creationId xmlns:a16="http://schemas.microsoft.com/office/drawing/2014/main" id="{C8A865E9-900C-54F8-51A4-690337A693C1}"/>
              </a:ext>
            </a:extLst>
          </p:cNvPr>
          <p:cNvSpPr/>
          <p:nvPr/>
        </p:nvSpPr>
        <p:spPr bwMode="gray">
          <a:xfrm>
            <a:off x="9655479" y="4169640"/>
            <a:ext cx="715341" cy="2206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b="1">
                <a:solidFill>
                  <a:srgbClr val="000000"/>
                </a:solidFill>
                <a:latin typeface="Arial" panose="020B0604020202020204" pitchFamily="34" charset="0"/>
                <a:cs typeface="Arial" panose="020B0604020202020204" pitchFamily="34" charset="0"/>
              </a:rPr>
              <a:t>2025-26</a:t>
            </a:r>
            <a:endParaRPr lang="en-US" sz="800">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8688FCB5-6B4D-EA43-4414-B7868F628DFD}"/>
              </a:ext>
            </a:extLst>
          </p:cNvPr>
          <p:cNvSpPr/>
          <p:nvPr/>
        </p:nvSpPr>
        <p:spPr bwMode="gray">
          <a:xfrm>
            <a:off x="10792154" y="4169640"/>
            <a:ext cx="715341" cy="2206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b="1">
                <a:solidFill>
                  <a:srgbClr val="000000"/>
                </a:solidFill>
                <a:latin typeface="Arial" panose="020B0604020202020204" pitchFamily="34" charset="0"/>
                <a:cs typeface="Arial" panose="020B0604020202020204" pitchFamily="34" charset="0"/>
              </a:rPr>
              <a:t>2120</a:t>
            </a:r>
            <a:endParaRPr lang="en-US" sz="800">
              <a:latin typeface="Arial" panose="020B0604020202020204" pitchFamily="34" charset="0"/>
              <a:cs typeface="Arial" panose="020B0604020202020204" pitchFamily="34" charset="0"/>
            </a:endParaRPr>
          </a:p>
        </p:txBody>
      </p:sp>
      <p:cxnSp>
        <p:nvCxnSpPr>
          <p:cNvPr id="65" name="Straight Arrow Connector 64">
            <a:extLst>
              <a:ext uri="{FF2B5EF4-FFF2-40B4-BE49-F238E27FC236}">
                <a16:creationId xmlns:a16="http://schemas.microsoft.com/office/drawing/2014/main" id="{0E61D02D-EE5E-EF54-4EE0-CDFD3524276F}"/>
              </a:ext>
            </a:extLst>
          </p:cNvPr>
          <p:cNvCxnSpPr>
            <a:stCxn id="59" idx="3"/>
            <a:endCxn id="61" idx="1"/>
          </p:cNvCxnSpPr>
          <p:nvPr/>
        </p:nvCxnSpPr>
        <p:spPr>
          <a:xfrm>
            <a:off x="8097468" y="4279956"/>
            <a:ext cx="421335" cy="0"/>
          </a:xfrm>
          <a:prstGeom prst="straightConnector1">
            <a:avLst/>
          </a:prstGeom>
          <a:ln w="63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6" name="Straight Arrow Connector 65">
            <a:extLst>
              <a:ext uri="{FF2B5EF4-FFF2-40B4-BE49-F238E27FC236}">
                <a16:creationId xmlns:a16="http://schemas.microsoft.com/office/drawing/2014/main" id="{3B9922C4-B0A0-D631-9FE6-93849F50E3D8}"/>
              </a:ext>
            </a:extLst>
          </p:cNvPr>
          <p:cNvCxnSpPr>
            <a:cxnSpLocks/>
            <a:stCxn id="61" idx="3"/>
            <a:endCxn id="62" idx="1"/>
          </p:cNvCxnSpPr>
          <p:nvPr/>
        </p:nvCxnSpPr>
        <p:spPr>
          <a:xfrm>
            <a:off x="9234144" y="4279956"/>
            <a:ext cx="421335" cy="0"/>
          </a:xfrm>
          <a:prstGeom prst="straightConnector1">
            <a:avLst/>
          </a:prstGeom>
          <a:ln w="63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9" name="Straight Arrow Connector 68">
            <a:extLst>
              <a:ext uri="{FF2B5EF4-FFF2-40B4-BE49-F238E27FC236}">
                <a16:creationId xmlns:a16="http://schemas.microsoft.com/office/drawing/2014/main" id="{2E876842-853F-881E-ED5C-997CFE68F4B2}"/>
              </a:ext>
            </a:extLst>
          </p:cNvPr>
          <p:cNvCxnSpPr>
            <a:cxnSpLocks/>
            <a:stCxn id="62" idx="3"/>
            <a:endCxn id="63" idx="1"/>
          </p:cNvCxnSpPr>
          <p:nvPr/>
        </p:nvCxnSpPr>
        <p:spPr>
          <a:xfrm>
            <a:off x="10370820" y="4279956"/>
            <a:ext cx="421334" cy="0"/>
          </a:xfrm>
          <a:prstGeom prst="straightConnector1">
            <a:avLst/>
          </a:prstGeom>
          <a:ln w="63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2" name="TextBox 71">
            <a:extLst>
              <a:ext uri="{FF2B5EF4-FFF2-40B4-BE49-F238E27FC236}">
                <a16:creationId xmlns:a16="http://schemas.microsoft.com/office/drawing/2014/main" id="{0568434B-C1FB-AF3F-68E1-4D1C35613672}"/>
              </a:ext>
            </a:extLst>
          </p:cNvPr>
          <p:cNvSpPr txBox="1"/>
          <p:nvPr/>
        </p:nvSpPr>
        <p:spPr bwMode="gray">
          <a:xfrm>
            <a:off x="7382127" y="4390272"/>
            <a:ext cx="715341" cy="318924"/>
          </a:xfrm>
          <a:prstGeom prst="rect">
            <a:avLst/>
          </a:prstGeom>
          <a:noFill/>
        </p:spPr>
        <p:txBody>
          <a:bodyPr wrap="square" lIns="36000" tIns="36000" rIns="36000" bIns="36000" rtlCol="0" anchor="t">
            <a:spAutoFit/>
          </a:bodyPr>
          <a:lstStyle/>
          <a:p>
            <a:r>
              <a:rPr lang="en-US" sz="800">
                <a:latin typeface="Arial" panose="020B0604020202020204" pitchFamily="34" charset="0"/>
                <a:cs typeface="Arial" panose="020B0604020202020204" pitchFamily="34" charset="0"/>
              </a:rPr>
              <a:t>Construction begins</a:t>
            </a:r>
          </a:p>
        </p:txBody>
      </p:sp>
      <p:sp>
        <p:nvSpPr>
          <p:cNvPr id="73" name="TextBox 72">
            <a:extLst>
              <a:ext uri="{FF2B5EF4-FFF2-40B4-BE49-F238E27FC236}">
                <a16:creationId xmlns:a16="http://schemas.microsoft.com/office/drawing/2014/main" id="{057D7D06-2C4B-F605-517C-8A86AD669E9F}"/>
              </a:ext>
            </a:extLst>
          </p:cNvPr>
          <p:cNvSpPr txBox="1"/>
          <p:nvPr/>
        </p:nvSpPr>
        <p:spPr bwMode="gray">
          <a:xfrm>
            <a:off x="8518802" y="4390272"/>
            <a:ext cx="715341" cy="318924"/>
          </a:xfrm>
          <a:prstGeom prst="rect">
            <a:avLst/>
          </a:prstGeom>
          <a:noFill/>
        </p:spPr>
        <p:txBody>
          <a:bodyPr wrap="square" lIns="36000" tIns="36000" rIns="36000" bIns="36000" rtlCol="0" anchor="t">
            <a:spAutoFit/>
          </a:bodyPr>
          <a:lstStyle/>
          <a:p>
            <a:r>
              <a:rPr lang="en-US" sz="800">
                <a:latin typeface="Arial" panose="020B0604020202020204" pitchFamily="34" charset="0"/>
                <a:cs typeface="Arial" panose="020B0604020202020204" pitchFamily="34" charset="0"/>
              </a:rPr>
              <a:t>Trial run starts</a:t>
            </a:r>
          </a:p>
        </p:txBody>
      </p:sp>
      <p:sp>
        <p:nvSpPr>
          <p:cNvPr id="74" name="TextBox 73">
            <a:extLst>
              <a:ext uri="{FF2B5EF4-FFF2-40B4-BE49-F238E27FC236}">
                <a16:creationId xmlns:a16="http://schemas.microsoft.com/office/drawing/2014/main" id="{6C43EE1A-B6F1-4DFD-A123-86D6517F086B}"/>
              </a:ext>
            </a:extLst>
          </p:cNvPr>
          <p:cNvSpPr txBox="1"/>
          <p:nvPr/>
        </p:nvSpPr>
        <p:spPr bwMode="gray">
          <a:xfrm>
            <a:off x="9655477" y="4390272"/>
            <a:ext cx="715341" cy="318924"/>
          </a:xfrm>
          <a:prstGeom prst="rect">
            <a:avLst/>
          </a:prstGeom>
          <a:noFill/>
        </p:spPr>
        <p:txBody>
          <a:bodyPr wrap="square" lIns="36000" tIns="36000" rIns="36000" bIns="36000" rtlCol="0" anchor="t">
            <a:spAutoFit/>
          </a:bodyPr>
          <a:lstStyle/>
          <a:p>
            <a:r>
              <a:rPr lang="en-US" sz="800">
                <a:latin typeface="Arial" panose="020B0604020202020204" pitchFamily="34" charset="0"/>
                <a:cs typeface="Arial" panose="020B0604020202020204" pitchFamily="34" charset="0"/>
              </a:rPr>
              <a:t>Expected operation</a:t>
            </a:r>
          </a:p>
        </p:txBody>
      </p:sp>
      <p:sp>
        <p:nvSpPr>
          <p:cNvPr id="75" name="TextBox 74">
            <a:extLst>
              <a:ext uri="{FF2B5EF4-FFF2-40B4-BE49-F238E27FC236}">
                <a16:creationId xmlns:a16="http://schemas.microsoft.com/office/drawing/2014/main" id="{D4D06056-BA3C-6ECC-30B6-78B1A03986D1}"/>
              </a:ext>
            </a:extLst>
          </p:cNvPr>
          <p:cNvSpPr txBox="1"/>
          <p:nvPr/>
        </p:nvSpPr>
        <p:spPr bwMode="gray">
          <a:xfrm>
            <a:off x="10792151" y="4390272"/>
            <a:ext cx="715341" cy="318924"/>
          </a:xfrm>
          <a:prstGeom prst="rect">
            <a:avLst/>
          </a:prstGeom>
          <a:noFill/>
        </p:spPr>
        <p:txBody>
          <a:bodyPr wrap="square" lIns="36000" tIns="36000" rIns="36000" bIns="36000" rtlCol="0" anchor="t">
            <a:spAutoFit/>
          </a:bodyPr>
          <a:lstStyle/>
          <a:p>
            <a:r>
              <a:rPr lang="en-US" sz="800">
                <a:latin typeface="Arial" panose="020B0604020202020204" pitchFamily="34" charset="0"/>
                <a:cs typeface="Arial" panose="020B0604020202020204" pitchFamily="34" charset="0"/>
              </a:rPr>
              <a:t>Repository closing</a:t>
            </a:r>
          </a:p>
        </p:txBody>
      </p:sp>
      <p:sp>
        <p:nvSpPr>
          <p:cNvPr id="10" name="Rectangle 9">
            <a:extLst>
              <a:ext uri="{FF2B5EF4-FFF2-40B4-BE49-F238E27FC236}">
                <a16:creationId xmlns:a16="http://schemas.microsoft.com/office/drawing/2014/main" id="{FB13E6D1-9633-EF85-92C1-A4D5EE9E7F66}"/>
              </a:ext>
            </a:extLst>
          </p:cNvPr>
          <p:cNvSpPr/>
          <p:nvPr/>
        </p:nvSpPr>
        <p:spPr bwMode="gray">
          <a:xfrm>
            <a:off x="0" y="0"/>
            <a:ext cx="2926080" cy="382208"/>
          </a:xfrm>
          <a:prstGeom prst="rect">
            <a:avLst/>
          </a:prstGeom>
          <a:solidFill>
            <a:srgbClr val="DEDE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Case study: </a:t>
            </a:r>
            <a:r>
              <a:rPr lang="en-US" sz="1200" b="1" dirty="0" err="1">
                <a:solidFill>
                  <a:schemeClr val="tx1"/>
                </a:solidFill>
              </a:rPr>
              <a:t>Onkalo</a:t>
            </a:r>
            <a:endParaRPr lang="en-US" sz="1200" b="1" dirty="0">
              <a:solidFill>
                <a:schemeClr val="tx1"/>
              </a:solidFill>
            </a:endParaRPr>
          </a:p>
        </p:txBody>
      </p:sp>
    </p:spTree>
    <p:custDataLst>
      <p:tags r:id="rId1"/>
    </p:custDataLst>
    <p:extLst>
      <p:ext uri="{BB962C8B-B14F-4D97-AF65-F5344CB8AC3E}">
        <p14:creationId xmlns:p14="http://schemas.microsoft.com/office/powerpoint/2010/main" val="39424175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0560EF-15BB-7ADE-2E69-F1F20F8B2E1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288B646-27DC-4CB5-C404-DA23F53048DE}"/>
              </a:ext>
            </a:extLst>
          </p:cNvPr>
          <p:cNvGraphicFramePr>
            <a:graphicFrameLocks noChangeAspect="1"/>
          </p:cNvGraphicFramePr>
          <p:nvPr>
            <p:custDataLst>
              <p:tags r:id="rId1"/>
            </p:custDataLst>
            <p:extLst>
              <p:ext uri="{D42A27DB-BD31-4B8C-83A1-F6EECF244321}">
                <p14:modId xmlns:p14="http://schemas.microsoft.com/office/powerpoint/2010/main" val="41722912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4" imgW="7772400" imgH="10058400" progId="TCLayout.ActiveDocument.1">
                  <p:embed/>
                </p:oleObj>
              </mc:Choice>
              <mc:Fallback>
                <p:oleObj name="think-cell Slide" r:id="rId44" imgW="7772400" imgH="10058400" progId="TCLayout.ActiveDocument.1">
                  <p:embed/>
                  <p:pic>
                    <p:nvPicPr>
                      <p:cNvPr id="8" name="think-cell data - do not delete" hidden="1">
                        <a:extLst>
                          <a:ext uri="{FF2B5EF4-FFF2-40B4-BE49-F238E27FC236}">
                            <a16:creationId xmlns:a16="http://schemas.microsoft.com/office/drawing/2014/main" id="{B288B646-27DC-4CB5-C404-DA23F53048DE}"/>
                          </a:ext>
                        </a:extLst>
                      </p:cNvPr>
                      <p:cNvPicPr/>
                      <p:nvPr/>
                    </p:nvPicPr>
                    <p:blipFill>
                      <a:blip r:embed="rId4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A4C2FA-2707-36BD-F0DB-8A5D5ABDE5F5}"/>
              </a:ext>
            </a:extLst>
          </p:cNvPr>
          <p:cNvSpPr>
            <a:spLocks noGrp="1"/>
          </p:cNvSpPr>
          <p:nvPr>
            <p:ph type="title"/>
          </p:nvPr>
        </p:nvSpPr>
        <p:spPr/>
        <p:txBody>
          <a:bodyPr vert="horz">
            <a:noAutofit/>
          </a:bodyPr>
          <a:lstStyle/>
          <a:p>
            <a:r>
              <a:rPr lang="en-US">
                <a:latin typeface="Arial" panose="020B0604020202020204" pitchFamily="34" charset="0"/>
                <a:ea typeface="+mj-lt"/>
                <a:cs typeface="Arial" panose="020B0604020202020204" pitchFamily="34" charset="0"/>
              </a:rPr>
              <a:t>A m</a:t>
            </a:r>
            <a:r>
              <a:rPr lang="en-US" b="1">
                <a:latin typeface="Arial" panose="020B0604020202020204" pitchFamily="34" charset="0"/>
                <a:ea typeface="+mj-lt"/>
                <a:cs typeface="Arial" panose="020B0604020202020204" pitchFamily="34" charset="0"/>
              </a:rPr>
              <a:t>ajority of the public supports nuclear energy deployment, driven by a strong preference for energy reliability</a:t>
            </a:r>
          </a:p>
        </p:txBody>
      </p:sp>
      <p:sp>
        <p:nvSpPr>
          <p:cNvPr id="6" name="TextBox 8">
            <a:extLst>
              <a:ext uri="{FF2B5EF4-FFF2-40B4-BE49-F238E27FC236}">
                <a16:creationId xmlns:a16="http://schemas.microsoft.com/office/drawing/2014/main" id="{731D0195-D325-6A76-4541-E3A12EEB752C}"/>
              </a:ext>
            </a:extLst>
          </p:cNvPr>
          <p:cNvSpPr txBox="1"/>
          <p:nvPr/>
        </p:nvSpPr>
        <p:spPr bwMode="gray">
          <a:xfrm>
            <a:off x="8040099" y="1554480"/>
            <a:ext cx="3743915" cy="4157548"/>
          </a:xfrm>
          <a:prstGeom prst="rect">
            <a:avLst/>
          </a:prstGeom>
          <a:solidFill>
            <a:srgbClr val="E3E8EE"/>
          </a:solidFill>
        </p:spPr>
        <p:txBody>
          <a:bodyPr wrap="square" lIns="136800" tIns="137160" rIns="273600" bIns="137160" rtlCol="0" anchor="t">
            <a:spAutoFit/>
          </a:bodyPr>
          <a:lstStyle/>
          <a:p>
            <a:pPr marL="0" indent="0">
              <a:spcBef>
                <a:spcPts val="600"/>
              </a:spcBef>
              <a:spcAft>
                <a:spcPts val="600"/>
              </a:spcAft>
              <a:buNone/>
            </a:pPr>
            <a:r>
              <a:rPr lang="en-US" sz="1250" b="1">
                <a:latin typeface="Arial" panose="020B0604020202020204" pitchFamily="34" charset="0"/>
                <a:cs typeface="Arial" panose="020B0604020202020204" pitchFamily="34" charset="0"/>
              </a:rPr>
              <a:t>Observations</a:t>
            </a:r>
          </a:p>
          <a:p>
            <a:pPr marL="171450" indent="-171450">
              <a:spcBef>
                <a:spcPts val="600"/>
              </a:spcBef>
              <a:spcAft>
                <a:spcPts val="400"/>
              </a:spcAft>
              <a:buFont typeface="Arial"/>
              <a:buChar char="•"/>
            </a:pPr>
            <a:r>
              <a:rPr lang="en-US" sz="1050" b="1">
                <a:latin typeface="Arial" panose="020B0604020202020204" pitchFamily="34" charset="0"/>
                <a:ea typeface="+mn-lt"/>
                <a:cs typeface="Arial" panose="020B0604020202020204" pitchFamily="34" charset="0"/>
              </a:rPr>
              <a:t>46% of survey respondents support</a:t>
            </a:r>
            <a:r>
              <a:rPr lang="en-US" sz="1050">
                <a:latin typeface="Arial" panose="020B0604020202020204" pitchFamily="34" charset="0"/>
                <a:ea typeface="+mn-lt"/>
                <a:cs typeface="Arial" panose="020B0604020202020204" pitchFamily="34" charset="0"/>
              </a:rPr>
              <a:t> the use of nuclear energy, while 23% oppose it.</a:t>
            </a:r>
            <a:endParaRPr lang="en-US" sz="1050">
              <a:latin typeface="Arial" panose="020B0604020202020204" pitchFamily="34" charset="0"/>
              <a:cs typeface="Arial" panose="020B0604020202020204" pitchFamily="34" charset="0"/>
            </a:endParaRPr>
          </a:p>
          <a:p>
            <a:pPr marL="171450" indent="-171450">
              <a:spcBef>
                <a:spcPts val="600"/>
              </a:spcBef>
              <a:spcAft>
                <a:spcPts val="400"/>
              </a:spcAft>
              <a:buFont typeface="Arial"/>
              <a:buChar char="•"/>
            </a:pPr>
            <a:r>
              <a:rPr lang="en-US" sz="1050" b="1">
                <a:latin typeface="Arial" panose="020B0604020202020204" pitchFamily="34" charset="0"/>
                <a:ea typeface="+mn-lt"/>
                <a:cs typeface="Arial" panose="020B0604020202020204" pitchFamily="34" charset="0"/>
              </a:rPr>
              <a:t>22 out of 31 countries surveyed have net support </a:t>
            </a:r>
            <a:r>
              <a:rPr lang="en-US" sz="1050">
                <a:latin typeface="Arial" panose="020B0604020202020204" pitchFamily="34" charset="0"/>
                <a:ea typeface="+mn-lt"/>
                <a:cs typeface="Arial" panose="020B0604020202020204" pitchFamily="34" charset="0"/>
              </a:rPr>
              <a:t>for nuclear energy</a:t>
            </a:r>
            <a:r>
              <a:rPr lang="en-US" sz="1000">
                <a:latin typeface="Arial" panose="020B0604020202020204" pitchFamily="34" charset="0"/>
                <a:ea typeface="+mn-lt"/>
                <a:cs typeface="Arial" panose="020B0604020202020204" pitchFamily="34" charset="0"/>
              </a:rPr>
              <a:t>.</a:t>
            </a:r>
            <a:endParaRPr lang="en-US" sz="1000">
              <a:latin typeface="Arial" panose="020B0604020202020204" pitchFamily="34" charset="0"/>
              <a:cs typeface="Arial" panose="020B0604020202020204" pitchFamily="34" charset="0"/>
            </a:endParaRPr>
          </a:p>
          <a:p>
            <a:pPr marL="171450" indent="-171450">
              <a:spcBef>
                <a:spcPts val="600"/>
              </a:spcBef>
              <a:spcAft>
                <a:spcPts val="400"/>
              </a:spcAft>
              <a:buFont typeface="Arial"/>
              <a:buChar char="•"/>
            </a:pPr>
            <a:r>
              <a:rPr lang="en-US" sz="1000">
                <a:latin typeface="Arial" panose="020B0604020202020204" pitchFamily="34" charset="0"/>
                <a:cs typeface="Arial" panose="020B0604020202020204" pitchFamily="34" charset="0"/>
              </a:rPr>
              <a:t>Notable country highlights:</a:t>
            </a:r>
          </a:p>
          <a:p>
            <a:pPr marL="444500" lvl="1" indent="-190500">
              <a:spcBef>
                <a:spcPts val="600"/>
              </a:spcBef>
              <a:spcAft>
                <a:spcPts val="400"/>
              </a:spcAft>
              <a:buFont typeface="Arial"/>
              <a:buChar char="•"/>
            </a:pPr>
            <a:r>
              <a:rPr lang="en-US" sz="850" b="1">
                <a:latin typeface="Arial" panose="020B0604020202020204" pitchFamily="34" charset="0"/>
                <a:cs typeface="Arial" panose="020B0604020202020204" pitchFamily="34" charset="0"/>
              </a:rPr>
              <a:t>China </a:t>
            </a:r>
            <a:r>
              <a:rPr lang="en-US" sz="850">
                <a:latin typeface="Arial" panose="020B0604020202020204" pitchFamily="34" charset="0"/>
                <a:cs typeface="Arial" panose="020B0604020202020204" pitchFamily="34" charset="0"/>
              </a:rPr>
              <a:t>– Majority support</a:t>
            </a:r>
            <a:br>
              <a:rPr lang="en-US" sz="850">
                <a:latin typeface="Arial" panose="020B0604020202020204" pitchFamily="34" charset="0"/>
                <a:cs typeface="Arial" panose="020B0604020202020204" pitchFamily="34" charset="0"/>
              </a:rPr>
            </a:br>
            <a:r>
              <a:rPr lang="en-US" sz="850">
                <a:latin typeface="Arial" panose="020B0604020202020204" pitchFamily="34" charset="0"/>
                <a:ea typeface="+mn-lt"/>
                <a:cs typeface="Arial" panose="020B0604020202020204" pitchFamily="34" charset="0"/>
              </a:rPr>
              <a:t>Nuclear is central to China's strategy to </a:t>
            </a:r>
            <a:r>
              <a:rPr lang="en-US" sz="850" b="1">
                <a:latin typeface="Arial" panose="020B0604020202020204" pitchFamily="34" charset="0"/>
                <a:ea typeface="+mn-lt"/>
                <a:cs typeface="Arial" panose="020B0604020202020204" pitchFamily="34" charset="0"/>
              </a:rPr>
              <a:t>reduce dependence on coal </a:t>
            </a:r>
            <a:r>
              <a:rPr lang="en-US" sz="850">
                <a:latin typeface="Arial" panose="020B0604020202020204" pitchFamily="34" charset="0"/>
                <a:ea typeface="+mn-lt"/>
                <a:cs typeface="Arial" panose="020B0604020202020204" pitchFamily="34" charset="0"/>
              </a:rPr>
              <a:t>and </a:t>
            </a:r>
            <a:r>
              <a:rPr lang="en-US" sz="850" b="1">
                <a:latin typeface="Arial" panose="020B0604020202020204" pitchFamily="34" charset="0"/>
                <a:ea typeface="+mn-lt"/>
                <a:cs typeface="Arial" panose="020B0604020202020204" pitchFamily="34" charset="0"/>
              </a:rPr>
              <a:t>meet its carbon neutrality target </a:t>
            </a:r>
            <a:r>
              <a:rPr lang="en-US" sz="850">
                <a:latin typeface="Arial" panose="020B0604020202020204" pitchFamily="34" charset="0"/>
                <a:ea typeface="+mn-lt"/>
                <a:cs typeface="Arial" panose="020B0604020202020204" pitchFamily="34" charset="0"/>
              </a:rPr>
              <a:t>by 2060. It is reflected in government incentives that have resulted in competitive cost ($70/MWh).</a:t>
            </a:r>
            <a:endParaRPr lang="en-US" sz="850">
              <a:latin typeface="Arial" panose="020B0604020202020204" pitchFamily="34" charset="0"/>
              <a:cs typeface="Arial" panose="020B0604020202020204" pitchFamily="34" charset="0"/>
            </a:endParaRPr>
          </a:p>
          <a:p>
            <a:pPr marL="444500" lvl="1" indent="-190500">
              <a:spcBef>
                <a:spcPts val="600"/>
              </a:spcBef>
              <a:spcAft>
                <a:spcPts val="400"/>
              </a:spcAft>
              <a:buFont typeface="Arial"/>
              <a:buChar char="•"/>
            </a:pPr>
            <a:r>
              <a:rPr lang="en-US" sz="850" b="1">
                <a:latin typeface="Arial" panose="020B0604020202020204" pitchFamily="34" charset="0"/>
                <a:cs typeface="Arial" panose="020B0604020202020204" pitchFamily="34" charset="0"/>
              </a:rPr>
              <a:t>Russia </a:t>
            </a:r>
            <a:r>
              <a:rPr lang="en-US" sz="850">
                <a:latin typeface="Arial" panose="020B0604020202020204" pitchFamily="34" charset="0"/>
                <a:cs typeface="Arial" panose="020B0604020202020204" pitchFamily="34" charset="0"/>
              </a:rPr>
              <a:t>– Majority support</a:t>
            </a:r>
            <a:br>
              <a:rPr lang="en-US" sz="850">
                <a:latin typeface="Arial" panose="020B0604020202020204" pitchFamily="34" charset="0"/>
                <a:cs typeface="Arial" panose="020B0604020202020204" pitchFamily="34" charset="0"/>
              </a:rPr>
            </a:br>
            <a:r>
              <a:rPr lang="en-US" sz="850">
                <a:latin typeface="Arial" panose="020B0604020202020204" pitchFamily="34" charset="0"/>
                <a:ea typeface="+mn-lt"/>
                <a:cs typeface="Arial" panose="020B0604020202020204" pitchFamily="34" charset="0"/>
              </a:rPr>
              <a:t>Russia </a:t>
            </a:r>
            <a:r>
              <a:rPr lang="en-US" sz="850" b="1">
                <a:latin typeface="Arial" panose="020B0604020202020204" pitchFamily="34" charset="0"/>
                <a:ea typeface="+mn-lt"/>
                <a:cs typeface="Arial" panose="020B0604020202020204" pitchFamily="34" charset="0"/>
              </a:rPr>
              <a:t>leverages nuclear exports for peaceful geopolitical influence</a:t>
            </a:r>
            <a:r>
              <a:rPr lang="en-US" sz="850">
                <a:latin typeface="Arial" panose="020B0604020202020204" pitchFamily="34" charset="0"/>
                <a:ea typeface="+mn-lt"/>
                <a:cs typeface="Arial" panose="020B0604020202020204" pitchFamily="34" charset="0"/>
              </a:rPr>
              <a:t>, with state-owned Rosatom building around 20 reactors abroad. Nuclear energy, linked to Soviet-era prestige, enjoys strong public support as a </a:t>
            </a:r>
            <a:r>
              <a:rPr lang="en-US" sz="850" b="1">
                <a:latin typeface="Arial" panose="020B0604020202020204" pitchFamily="34" charset="0"/>
                <a:ea typeface="+mn-lt"/>
                <a:cs typeface="Arial" panose="020B0604020202020204" pitchFamily="34" charset="0"/>
              </a:rPr>
              <a:t>symbol of technological strength.</a:t>
            </a:r>
            <a:endParaRPr lang="en-US" sz="850" b="1">
              <a:latin typeface="Arial" panose="020B0604020202020204" pitchFamily="34" charset="0"/>
              <a:cs typeface="Arial" panose="020B0604020202020204" pitchFamily="34" charset="0"/>
            </a:endParaRPr>
          </a:p>
          <a:p>
            <a:pPr marL="444500" lvl="1" indent="-190500">
              <a:spcBef>
                <a:spcPts val="600"/>
              </a:spcBef>
              <a:spcAft>
                <a:spcPts val="400"/>
              </a:spcAft>
              <a:buFont typeface="Arial"/>
              <a:buChar char="•"/>
            </a:pPr>
            <a:r>
              <a:rPr lang="en-US" sz="850" b="1">
                <a:latin typeface="Arial" panose="020B0604020202020204" pitchFamily="34" charset="0"/>
                <a:cs typeface="Arial" panose="020B0604020202020204" pitchFamily="34" charset="0"/>
              </a:rPr>
              <a:t>Thailand </a:t>
            </a:r>
            <a:r>
              <a:rPr lang="en-US" sz="850">
                <a:latin typeface="Arial" panose="020B0604020202020204" pitchFamily="34" charset="0"/>
                <a:cs typeface="Arial" panose="020B0604020202020204" pitchFamily="34" charset="0"/>
              </a:rPr>
              <a:t>– Majority oppose</a:t>
            </a:r>
            <a:br>
              <a:rPr lang="en-US" sz="850">
                <a:latin typeface="Arial" panose="020B0604020202020204" pitchFamily="34" charset="0"/>
                <a:cs typeface="Arial" panose="020B0604020202020204" pitchFamily="34" charset="0"/>
              </a:rPr>
            </a:br>
            <a:r>
              <a:rPr lang="en-US" sz="850" b="1">
                <a:latin typeface="Arial" panose="020B0604020202020204" pitchFamily="34" charset="0"/>
                <a:ea typeface="+mn-lt"/>
                <a:cs typeface="Arial" panose="020B0604020202020204" pitchFamily="34" charset="0"/>
              </a:rPr>
              <a:t>Skeptical due to safety concerns; favors renewables</a:t>
            </a:r>
            <a:r>
              <a:rPr lang="en-US" sz="850">
                <a:latin typeface="Arial" panose="020B0604020202020204" pitchFamily="34" charset="0"/>
                <a:ea typeface="+mn-lt"/>
                <a:cs typeface="Arial" panose="020B0604020202020204" pitchFamily="34" charset="0"/>
              </a:rPr>
              <a:t>. This is seen in its unsuccessful attempt to reintroduce nuclear power in its Power Development Plan in 2007 and 2010. </a:t>
            </a:r>
            <a:endParaRPr lang="en-US" sz="850">
              <a:highlight>
                <a:srgbClr val="FFFF00"/>
              </a:highlight>
              <a:latin typeface="Arial" panose="020B0604020202020204" pitchFamily="34" charset="0"/>
              <a:cs typeface="Arial" panose="020B0604020202020204" pitchFamily="34" charset="0"/>
            </a:endParaRPr>
          </a:p>
        </p:txBody>
      </p:sp>
      <p:sp>
        <p:nvSpPr>
          <p:cNvPr id="85" name="TextBox 84">
            <a:extLst>
              <a:ext uri="{FF2B5EF4-FFF2-40B4-BE49-F238E27FC236}">
                <a16:creationId xmlns:a16="http://schemas.microsoft.com/office/drawing/2014/main" id="{6884B653-27BA-414A-DB88-A0C88276614B}"/>
              </a:ext>
            </a:extLst>
          </p:cNvPr>
          <p:cNvSpPr txBox="1"/>
          <p:nvPr/>
        </p:nvSpPr>
        <p:spPr bwMode="gray">
          <a:xfrm>
            <a:off x="329184" y="1554480"/>
            <a:ext cx="6325118" cy="288147"/>
          </a:xfrm>
          <a:prstGeom prst="rect">
            <a:avLst/>
          </a:prstGeom>
          <a:noFill/>
        </p:spPr>
        <p:txBody>
          <a:bodyPr wrap="square" lIns="36000" tIns="36000" rIns="36000" bIns="36000" rtlCol="0" anchor="t">
            <a:spAutoFit/>
          </a:bodyPr>
          <a:lstStyle/>
          <a:p>
            <a:r>
              <a:rPr lang="en-US" sz="1400" b="1">
                <a:latin typeface="Arial" panose="020B0604020202020204" pitchFamily="34" charset="0"/>
                <a:cs typeface="Arial" panose="020B0604020202020204" pitchFamily="34" charset="0"/>
              </a:rPr>
              <a:t>% of people who oppose or support nuclear energy's use in their country</a:t>
            </a:r>
          </a:p>
        </p:txBody>
      </p:sp>
      <p:cxnSp>
        <p:nvCxnSpPr>
          <p:cNvPr id="87" name="btfpColumnHeaderBoxLine912903">
            <a:extLst>
              <a:ext uri="{FF2B5EF4-FFF2-40B4-BE49-F238E27FC236}">
                <a16:creationId xmlns:a16="http://schemas.microsoft.com/office/drawing/2014/main" id="{E323166A-F0A8-C28D-E4AE-29D7B3E823FA}"/>
              </a:ext>
            </a:extLst>
          </p:cNvPr>
          <p:cNvCxnSpPr>
            <a:cxnSpLocks/>
          </p:cNvCxnSpPr>
          <p:nvPr/>
        </p:nvCxnSpPr>
        <p:spPr bwMode="gray">
          <a:xfrm>
            <a:off x="329184" y="1808706"/>
            <a:ext cx="758952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7CE2522A-8B29-1DF4-CB09-78A8BBAC541F}"/>
              </a:ext>
            </a:extLst>
          </p:cNvPr>
          <p:cNvSpPr/>
          <p:nvPr/>
        </p:nvSpPr>
        <p:spPr bwMode="auto">
          <a:xfrm>
            <a:off x="1575531" y="5750531"/>
            <a:ext cx="250825" cy="187325"/>
          </a:xfrm>
          <a:prstGeom prst="rect">
            <a:avLst/>
          </a:prstGeom>
          <a:solidFill>
            <a:srgbClr val="D1227D"/>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00"/>
          </a:p>
        </p:txBody>
      </p:sp>
      <p:sp>
        <p:nvSpPr>
          <p:cNvPr id="89" name="Rectangle 88">
            <a:extLst>
              <a:ext uri="{FF2B5EF4-FFF2-40B4-BE49-F238E27FC236}">
                <a16:creationId xmlns:a16="http://schemas.microsoft.com/office/drawing/2014/main" id="{8B14691B-B4DE-9505-A80D-F6A89C7399B9}"/>
              </a:ext>
            </a:extLst>
          </p:cNvPr>
          <p:cNvSpPr/>
          <p:nvPr/>
        </p:nvSpPr>
        <p:spPr bwMode="auto">
          <a:xfrm>
            <a:off x="4396656" y="5750531"/>
            <a:ext cx="250825" cy="187325"/>
          </a:xfrm>
          <a:prstGeom prst="rect">
            <a:avLst/>
          </a:prstGeom>
          <a:solidFill>
            <a:srgbClr val="359BDB"/>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00"/>
          </a:p>
        </p:txBody>
      </p:sp>
      <p:sp>
        <p:nvSpPr>
          <p:cNvPr id="90" name="Rectangle 89">
            <a:extLst>
              <a:ext uri="{FF2B5EF4-FFF2-40B4-BE49-F238E27FC236}">
                <a16:creationId xmlns:a16="http://schemas.microsoft.com/office/drawing/2014/main" id="{D37F6F5C-7D73-1B47-C85A-A3E1FD3C284B}"/>
              </a:ext>
            </a:extLst>
          </p:cNvPr>
          <p:cNvSpPr/>
          <p:nvPr/>
        </p:nvSpPr>
        <p:spPr bwMode="auto">
          <a:xfrm>
            <a:off x="3020225" y="5750531"/>
            <a:ext cx="250825" cy="187325"/>
          </a:xfrm>
          <a:prstGeom prst="rect">
            <a:avLst/>
          </a:prstGeom>
          <a:solidFill>
            <a:srgbClr val="A73DA8"/>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00"/>
          </a:p>
        </p:txBody>
      </p:sp>
      <p:sp>
        <p:nvSpPr>
          <p:cNvPr id="91" name="Rectangle 90">
            <a:extLst>
              <a:ext uri="{FF2B5EF4-FFF2-40B4-BE49-F238E27FC236}">
                <a16:creationId xmlns:a16="http://schemas.microsoft.com/office/drawing/2014/main" id="{F92A50E7-E47A-1BD5-7F3F-8C3B74A6C8F2}"/>
              </a:ext>
            </a:extLst>
          </p:cNvPr>
          <p:cNvSpPr/>
          <p:nvPr/>
        </p:nvSpPr>
        <p:spPr bwMode="auto">
          <a:xfrm>
            <a:off x="5796900" y="5750531"/>
            <a:ext cx="250825" cy="187325"/>
          </a:xfrm>
          <a:prstGeom prst="rect">
            <a:avLst/>
          </a:prstGeom>
          <a:solidFill>
            <a:srgbClr val="34A398"/>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00"/>
          </a:p>
        </p:txBody>
      </p:sp>
      <p:sp>
        <p:nvSpPr>
          <p:cNvPr id="92" name="Text Placeholder 2">
            <a:extLst>
              <a:ext uri="{FF2B5EF4-FFF2-40B4-BE49-F238E27FC236}">
                <a16:creationId xmlns:a16="http://schemas.microsoft.com/office/drawing/2014/main" id="{8C620255-C111-6C22-BF76-E636DAAD1B84}"/>
              </a:ext>
            </a:extLst>
          </p:cNvPr>
          <p:cNvSpPr txBox="1">
            <a:spLocks/>
          </p:cNvSpPr>
          <p:nvPr/>
        </p:nvSpPr>
        <p:spPr bwMode="auto">
          <a:xfrm>
            <a:off x="6096000" y="5761644"/>
            <a:ext cx="12604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5127027-4236-45DD-A762-9C5B59A63B5A}" type="datetime'''St''''''''''''r''''o''''n''gl''''''''y ''''sup''''''po''rt'">
              <a:rPr lang="en-US" altLang="en-US" sz="1000" smtClean="0">
                <a:effectLst/>
              </a:rPr>
              <a:pPr marL="0" indent="0">
                <a:spcBef>
                  <a:spcPct val="0"/>
                </a:spcBef>
                <a:spcAft>
                  <a:spcPct val="0"/>
                </a:spcAft>
                <a:buNone/>
              </a:pPr>
              <a:t>Strongly support</a:t>
            </a:fld>
            <a:endParaRPr lang="en-US" sz="1000"/>
          </a:p>
        </p:txBody>
      </p:sp>
      <p:sp>
        <p:nvSpPr>
          <p:cNvPr id="93" name="Text Placeholder 2">
            <a:extLst>
              <a:ext uri="{FF2B5EF4-FFF2-40B4-BE49-F238E27FC236}">
                <a16:creationId xmlns:a16="http://schemas.microsoft.com/office/drawing/2014/main" id="{9597709E-CCF0-C452-F23F-4DC14F686FB4}"/>
              </a:ext>
            </a:extLst>
          </p:cNvPr>
          <p:cNvSpPr txBox="1">
            <a:spLocks/>
          </p:cNvSpPr>
          <p:nvPr/>
        </p:nvSpPr>
        <p:spPr bwMode="auto">
          <a:xfrm>
            <a:off x="1883338" y="5761644"/>
            <a:ext cx="1236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9DA3CE1-A7EB-4D5E-9D7B-9FF6EA66AFB4}" type="datetime'St''''''r''''''''''''o''n''''''''''''gly'''' ''o''ppo''''s''e'">
              <a:rPr lang="en-US" altLang="en-US" sz="1000" smtClean="0">
                <a:effectLst/>
              </a:rPr>
              <a:pPr marL="0" indent="0">
                <a:spcBef>
                  <a:spcPct val="0"/>
                </a:spcBef>
                <a:spcAft>
                  <a:spcPct val="0"/>
                </a:spcAft>
                <a:buNone/>
              </a:pPr>
              <a:t>Strongly oppose</a:t>
            </a:fld>
            <a:endParaRPr lang="en-US" sz="1000"/>
          </a:p>
        </p:txBody>
      </p:sp>
      <p:sp>
        <p:nvSpPr>
          <p:cNvPr id="94" name="Text Placeholder 2">
            <a:extLst>
              <a:ext uri="{FF2B5EF4-FFF2-40B4-BE49-F238E27FC236}">
                <a16:creationId xmlns:a16="http://schemas.microsoft.com/office/drawing/2014/main" id="{2AFD5CED-F8A4-1E0D-6660-A7646269806C}"/>
              </a:ext>
            </a:extLst>
          </p:cNvPr>
          <p:cNvSpPr txBox="1">
            <a:spLocks/>
          </p:cNvSpPr>
          <p:nvPr/>
        </p:nvSpPr>
        <p:spPr bwMode="auto">
          <a:xfrm>
            <a:off x="4695754" y="5761644"/>
            <a:ext cx="11922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455CE86-1CE3-405D-A686-9EF257DFDBF6}" type="datetime'''''Ten''''''d ''to s''u''''''''''''''''''p''p''''''''or''''t'">
              <a:rPr lang="en-US" altLang="en-US" sz="1000" smtClean="0">
                <a:effectLst/>
              </a:rPr>
              <a:pPr marL="0" indent="0">
                <a:spcBef>
                  <a:spcPct val="0"/>
                </a:spcBef>
                <a:spcAft>
                  <a:spcPct val="0"/>
                </a:spcAft>
                <a:buNone/>
              </a:pPr>
              <a:t>Tend to support</a:t>
            </a:fld>
            <a:endParaRPr lang="en-US" sz="1000"/>
          </a:p>
        </p:txBody>
      </p:sp>
      <p:sp>
        <p:nvSpPr>
          <p:cNvPr id="95" name="Text Placeholder 2">
            <a:extLst>
              <a:ext uri="{FF2B5EF4-FFF2-40B4-BE49-F238E27FC236}">
                <a16:creationId xmlns:a16="http://schemas.microsoft.com/office/drawing/2014/main" id="{8D74E847-04C3-0EFB-14B4-73B1F37636C1}"/>
              </a:ext>
            </a:extLst>
          </p:cNvPr>
          <p:cNvSpPr txBox="1">
            <a:spLocks/>
          </p:cNvSpPr>
          <p:nvPr/>
        </p:nvSpPr>
        <p:spPr bwMode="auto">
          <a:xfrm>
            <a:off x="3319323" y="5761644"/>
            <a:ext cx="1168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425DB6D-631C-4599-953B-B224E1FB3128}" type="datetime'T''''''e''''''n''d ''''t''o'' o''''''pp''''''''''''''os''e'">
              <a:rPr lang="en-US" altLang="en-US" sz="1000" smtClean="0">
                <a:effectLst/>
              </a:rPr>
              <a:pPr marL="0" indent="0">
                <a:spcBef>
                  <a:spcPct val="0"/>
                </a:spcBef>
                <a:spcAft>
                  <a:spcPct val="0"/>
                </a:spcAft>
                <a:buNone/>
              </a:pPr>
              <a:t>Tend to oppose</a:t>
            </a:fld>
            <a:endParaRPr lang="en-US" sz="1000"/>
          </a:p>
        </p:txBody>
      </p:sp>
      <p:sp>
        <p:nvSpPr>
          <p:cNvPr id="125" name="btfpNotesBox111697">
            <a:extLst>
              <a:ext uri="{FF2B5EF4-FFF2-40B4-BE49-F238E27FC236}">
                <a16:creationId xmlns:a16="http://schemas.microsoft.com/office/drawing/2014/main" id="{170F07A9-CB61-AEB1-45ED-B5002E91EF08}"/>
              </a:ext>
            </a:extLst>
          </p:cNvPr>
          <p:cNvSpPr txBox="1"/>
          <p:nvPr/>
        </p:nvSpPr>
        <p:spPr bwMode="gray">
          <a:xfrm>
            <a:off x="329184" y="6017950"/>
            <a:ext cx="9185206" cy="738664"/>
          </a:xfrm>
          <a:prstGeom prst="rect">
            <a:avLst/>
          </a:prstGeom>
          <a:noFill/>
        </p:spPr>
        <p:txBody>
          <a:bodyPr vert="horz" wrap="square" lIns="0" tIns="0" rIns="0" bIns="0"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buNone/>
            </a:pPr>
            <a:r>
              <a:rPr lang="en-US" sz="800" dirty="0">
                <a:solidFill>
                  <a:srgbClr val="000000"/>
                </a:solidFill>
              </a:rPr>
              <a:t>Sources: </a:t>
            </a:r>
            <a:r>
              <a:rPr lang="en-US" sz="800" dirty="0">
                <a:solidFill>
                  <a:srgbClr val="000000"/>
                </a:solidFill>
                <a:ea typeface="+mn-lt"/>
                <a:cs typeface="+mn-lt"/>
              </a:rPr>
              <a:t>Radiant Energy Group, </a:t>
            </a:r>
            <a:r>
              <a:rPr lang="en-US" sz="800" dirty="0">
                <a:solidFill>
                  <a:srgbClr val="000000"/>
                </a:solidFill>
                <a:ea typeface="+mn-lt"/>
                <a:cs typeface="+mn-lt"/>
                <a:hlinkClick r:id="rId46"/>
              </a:rPr>
              <a:t>Public Attitudes Toward Clean Energy 2024 – Nuclear</a:t>
            </a:r>
            <a:r>
              <a:rPr lang="en-US" sz="800" dirty="0">
                <a:solidFill>
                  <a:srgbClr val="000000"/>
                </a:solidFill>
                <a:ea typeface="+mn-lt"/>
                <a:cs typeface="+mn-lt"/>
              </a:rPr>
              <a:t> (2025); World Nuclear News, American Nuclear Society, </a:t>
            </a:r>
            <a:r>
              <a:rPr lang="en-US" sz="800" dirty="0">
                <a:solidFill>
                  <a:srgbClr val="000000"/>
                </a:solidFill>
                <a:ea typeface="+mn-lt"/>
                <a:cs typeface="+mn-lt"/>
                <a:hlinkClick r:id="rId47"/>
              </a:rPr>
              <a:t>Surveys reveal public support for, but some concerns on, nuclear energy</a:t>
            </a:r>
            <a:r>
              <a:rPr lang="en-US" sz="800" dirty="0">
                <a:solidFill>
                  <a:srgbClr val="000000"/>
                </a:solidFill>
                <a:ea typeface="+mn-lt"/>
                <a:cs typeface="+mn-lt"/>
              </a:rPr>
              <a:t> (2024); Nuclear Business Platform, </a:t>
            </a:r>
            <a:r>
              <a:rPr lang="en-US" sz="800" dirty="0">
                <a:solidFill>
                  <a:srgbClr val="000000"/>
                </a:solidFill>
                <a:ea typeface="+mn-lt"/>
                <a:cs typeface="+mn-lt"/>
                <a:hlinkClick r:id="rId48"/>
              </a:rPr>
              <a:t>China’s Nuclear Power Program: A Blueprint for Global Competitiveness</a:t>
            </a:r>
            <a:r>
              <a:rPr lang="en-US" sz="800" dirty="0">
                <a:solidFill>
                  <a:srgbClr val="000000"/>
                </a:solidFill>
                <a:ea typeface="+mn-lt"/>
                <a:cs typeface="+mn-lt"/>
              </a:rPr>
              <a:t> (2023); ECNS, </a:t>
            </a:r>
            <a:r>
              <a:rPr lang="en-US" sz="800" dirty="0">
                <a:solidFill>
                  <a:srgbClr val="000000"/>
                </a:solidFill>
                <a:ea typeface="+mn-lt"/>
                <a:cs typeface="+mn-lt"/>
                <a:hlinkClick r:id="rId49"/>
              </a:rPr>
              <a:t>China to build 10 new nuclear power units in 2024</a:t>
            </a:r>
            <a:r>
              <a:rPr lang="en-US" sz="800" dirty="0">
                <a:solidFill>
                  <a:srgbClr val="000000"/>
                </a:solidFill>
                <a:ea typeface="+mn-lt"/>
                <a:cs typeface="+mn-lt"/>
              </a:rPr>
              <a:t> (2025); </a:t>
            </a:r>
            <a:r>
              <a:rPr lang="en-US" sz="800" dirty="0">
                <a:solidFill>
                  <a:srgbClr val="000000"/>
                </a:solidFill>
                <a:ea typeface="+mn-lt"/>
                <a:cs typeface="+mn-lt"/>
                <a:hlinkClick r:id="rId50"/>
              </a:rPr>
              <a:t>Nuclear energy and international relations: the external strategy of Russia’s </a:t>
            </a:r>
            <a:r>
              <a:rPr lang="en-US" sz="800" dirty="0" err="1">
                <a:solidFill>
                  <a:srgbClr val="000000"/>
                </a:solidFill>
                <a:ea typeface="+mn-lt"/>
                <a:cs typeface="+mn-lt"/>
                <a:hlinkClick r:id="rId50"/>
              </a:rPr>
              <a:t>Rosatom</a:t>
            </a:r>
            <a:r>
              <a:rPr lang="en-US" sz="800" dirty="0">
                <a:solidFill>
                  <a:srgbClr val="000000"/>
                </a:solidFill>
                <a:ea typeface="+mn-lt"/>
                <a:cs typeface="+mn-lt"/>
                <a:hlinkClick r:id="rId50"/>
              </a:rPr>
              <a:t> </a:t>
            </a:r>
            <a:r>
              <a:rPr lang="en-US" sz="800" dirty="0">
                <a:solidFill>
                  <a:srgbClr val="000000"/>
                </a:solidFill>
                <a:ea typeface="+mn-lt"/>
                <a:cs typeface="+mn-lt"/>
              </a:rPr>
              <a:t>(2024); Political Science and Security Studies Journal, </a:t>
            </a:r>
            <a:r>
              <a:rPr lang="en-US" sz="800" dirty="0">
                <a:solidFill>
                  <a:srgbClr val="000000"/>
                </a:solidFill>
                <a:ea typeface="+mn-lt"/>
                <a:cs typeface="+mn-lt"/>
                <a:hlinkClick r:id="rId51"/>
              </a:rPr>
              <a:t>Nuclear technologies as an instrument of geopolitical confrontation on the borderlands of the Heartland/</a:t>
            </a:r>
            <a:r>
              <a:rPr lang="en-US" sz="800" dirty="0" err="1">
                <a:solidFill>
                  <a:srgbClr val="000000"/>
                </a:solidFill>
                <a:ea typeface="+mn-lt"/>
                <a:cs typeface="+mn-lt"/>
                <a:hlinkClick r:id="rId51"/>
              </a:rPr>
              <a:t>Rimland</a:t>
            </a:r>
            <a:r>
              <a:rPr lang="en-US" sz="800" dirty="0">
                <a:solidFill>
                  <a:srgbClr val="000000"/>
                </a:solidFill>
                <a:ea typeface="+mn-lt"/>
                <a:cs typeface="+mn-lt"/>
                <a:hlinkClick r:id="rId51"/>
              </a:rPr>
              <a:t> </a:t>
            </a:r>
            <a:r>
              <a:rPr lang="en-US" sz="800" dirty="0">
                <a:solidFill>
                  <a:srgbClr val="000000"/>
                </a:solidFill>
                <a:ea typeface="+mn-lt"/>
                <a:cs typeface="+mn-lt"/>
              </a:rPr>
              <a:t>(2022); IEEE </a:t>
            </a:r>
            <a:r>
              <a:rPr lang="en-US" sz="800" dirty="0" err="1">
                <a:solidFill>
                  <a:srgbClr val="000000"/>
                </a:solidFill>
                <a:ea typeface="+mn-lt"/>
                <a:cs typeface="+mn-lt"/>
              </a:rPr>
              <a:t>Xplore</a:t>
            </a:r>
            <a:r>
              <a:rPr lang="en-US" sz="800" dirty="0">
                <a:solidFill>
                  <a:srgbClr val="000000"/>
                </a:solidFill>
                <a:ea typeface="+mn-lt"/>
                <a:cs typeface="+mn-lt"/>
              </a:rPr>
              <a:t>, </a:t>
            </a:r>
            <a:r>
              <a:rPr lang="en-US" sz="800" dirty="0">
                <a:solidFill>
                  <a:srgbClr val="000000"/>
                </a:solidFill>
                <a:ea typeface="+mn-lt"/>
                <a:cs typeface="+mn-lt"/>
                <a:hlinkClick r:id="rId52"/>
              </a:rPr>
              <a:t>The evaluation of economic and social effect from the revised nuclear power plant planning in Thailand</a:t>
            </a:r>
            <a:r>
              <a:rPr lang="en-US" sz="800" dirty="0">
                <a:solidFill>
                  <a:srgbClr val="000000"/>
                </a:solidFill>
                <a:ea typeface="+mn-lt"/>
                <a:cs typeface="+mn-lt"/>
              </a:rPr>
              <a:t> (2011); </a:t>
            </a:r>
            <a:r>
              <a:rPr lang="en-US" sz="800" dirty="0" err="1">
                <a:solidFill>
                  <a:srgbClr val="000000"/>
                </a:solidFill>
                <a:ea typeface="+mn-lt"/>
                <a:cs typeface="+mn-lt"/>
              </a:rPr>
              <a:t>Hunton</a:t>
            </a:r>
            <a:r>
              <a:rPr lang="en-US" sz="800" dirty="0">
                <a:solidFill>
                  <a:srgbClr val="000000"/>
                </a:solidFill>
                <a:ea typeface="+mn-lt"/>
                <a:cs typeface="+mn-lt"/>
              </a:rPr>
              <a:t>, </a:t>
            </a:r>
            <a:r>
              <a:rPr lang="en-US" sz="800" dirty="0">
                <a:solidFill>
                  <a:srgbClr val="000000"/>
                </a:solidFill>
                <a:ea typeface="+mn-lt"/>
                <a:cs typeface="+mn-lt"/>
                <a:hlinkClick r:id="rId53"/>
              </a:rPr>
              <a:t>Navigating the Nuclear Landscape: Understanding Thailand’s Laws and Approach</a:t>
            </a:r>
            <a:r>
              <a:rPr lang="en-US" sz="800" dirty="0">
                <a:solidFill>
                  <a:srgbClr val="000000"/>
                </a:solidFill>
                <a:ea typeface="+mn-lt"/>
                <a:cs typeface="+mn-lt"/>
              </a:rPr>
              <a:t> (2025).</a:t>
            </a:r>
            <a:br>
              <a:rPr lang="en-US" sz="800" dirty="0"/>
            </a:br>
            <a:r>
              <a:rPr lang="en-US" sz="800" dirty="0">
                <a:solidFill>
                  <a:srgbClr val="000000"/>
                </a:solidFill>
              </a:rPr>
              <a:t>Credit: Christian </a:t>
            </a:r>
            <a:r>
              <a:rPr lang="en-US" sz="800" dirty="0" err="1">
                <a:solidFill>
                  <a:srgbClr val="000000"/>
                </a:solidFill>
              </a:rPr>
              <a:t>Sandjaja</a:t>
            </a:r>
            <a:r>
              <a:rPr lang="en-US" sz="800" dirty="0">
                <a:solidFill>
                  <a:srgbClr val="000000"/>
                </a:solidFill>
              </a:rPr>
              <a:t>, Quint </a:t>
            </a:r>
            <a:r>
              <a:rPr lang="en-US" sz="800" dirty="0" err="1">
                <a:solidFill>
                  <a:srgbClr val="000000"/>
                </a:solidFill>
              </a:rPr>
              <a:t>Houwink</a:t>
            </a:r>
            <a:r>
              <a:rPr lang="en-US" sz="800" dirty="0">
                <a:solidFill>
                  <a:srgbClr val="000000"/>
                </a:solidFill>
              </a:rPr>
              <a:t>, Brenda Rain, and </a:t>
            </a:r>
            <a:r>
              <a:rPr lang="en-US" sz="800" dirty="0">
                <a:hlinkClick r:id="rId54"/>
              </a:rPr>
              <a:t>Gernot Wagner</a:t>
            </a:r>
            <a:r>
              <a:rPr lang="en-US" sz="800" dirty="0">
                <a:solidFill>
                  <a:srgbClr val="000000"/>
                </a:solidFill>
              </a:rPr>
              <a:t>. Share with </a:t>
            </a:r>
            <a:r>
              <a:rPr lang="en-US" sz="800" dirty="0">
                <a:hlinkClick r:id="rId55"/>
              </a:rPr>
              <a:t>attribution</a:t>
            </a:r>
            <a:r>
              <a:rPr lang="en-US" sz="800" dirty="0">
                <a:solidFill>
                  <a:srgbClr val="000000"/>
                </a:solidFill>
              </a:rPr>
              <a:t>: </a:t>
            </a:r>
            <a:r>
              <a:rPr lang="en-US" sz="800" dirty="0" err="1">
                <a:solidFill>
                  <a:srgbClr val="000000"/>
                </a:solidFill>
              </a:rPr>
              <a:t>Houwink</a:t>
            </a:r>
            <a:r>
              <a:rPr lang="en-US" sz="800" dirty="0">
                <a:solidFill>
                  <a:srgbClr val="000000"/>
                </a:solidFill>
              </a:rPr>
              <a:t> et al., "Reenergizing Nuclear" (23 September 2025).</a:t>
            </a:r>
            <a:endParaRPr lang="en-US" dirty="0">
              <a:cs typeface="Arial"/>
            </a:endParaRPr>
          </a:p>
        </p:txBody>
      </p:sp>
      <p:graphicFrame>
        <p:nvGraphicFramePr>
          <p:cNvPr id="169" name="Chart 168"/>
          <p:cNvGraphicFramePr/>
          <p:nvPr>
            <p:custDataLst>
              <p:tags r:id="rId2"/>
            </p:custDataLst>
            <p:extLst>
              <p:ext uri="{D42A27DB-BD31-4B8C-83A1-F6EECF244321}">
                <p14:modId xmlns:p14="http://schemas.microsoft.com/office/powerpoint/2010/main" val="1935517490"/>
              </p:ext>
            </p:extLst>
          </p:nvPr>
        </p:nvGraphicFramePr>
        <p:xfrm>
          <a:off x="963613" y="1954213"/>
          <a:ext cx="6678612" cy="3827462"/>
        </p:xfrm>
        <a:graphic>
          <a:graphicData uri="http://schemas.openxmlformats.org/drawingml/2006/chart">
            <c:chart xmlns:c="http://schemas.openxmlformats.org/drawingml/2006/chart" xmlns:r="http://schemas.openxmlformats.org/officeDocument/2006/relationships" r:id="rId56"/>
          </a:graphicData>
        </a:graphic>
      </p:graphicFrame>
      <p:sp>
        <p:nvSpPr>
          <p:cNvPr id="133" name="Text Placeholder 10">
            <a:extLst>
              <a:ext uri="{FF2B5EF4-FFF2-40B4-BE49-F238E27FC236}">
                <a16:creationId xmlns:a16="http://schemas.microsoft.com/office/drawing/2014/main" id="{115DFB91-512B-3844-A114-92FBEDCA92F2}"/>
              </a:ext>
            </a:extLst>
          </p:cNvPr>
          <p:cNvSpPr>
            <a:spLocks noGrp="1"/>
          </p:cNvSpPr>
          <p:nvPr>
            <p:custDataLst>
              <p:tags r:id="rId3"/>
            </p:custDataLst>
          </p:nvPr>
        </p:nvSpPr>
        <p:spPr bwMode="auto">
          <a:xfrm>
            <a:off x="650875" y="2116138"/>
            <a:ext cx="3286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82BE8EE-9EB6-4560-83C3-78960FE6559A}" type="datetime'T''''''''''''aiw''''''''''''''''a''''''''''''n'''''''''''">
              <a:rPr lang="en-US" altLang="en-US" sz="800" smtClean="0"/>
              <a:pPr marL="0" lvl="0" indent="0" algn="r">
                <a:spcBef>
                  <a:spcPct val="0"/>
                </a:spcBef>
                <a:spcAft>
                  <a:spcPct val="0"/>
                </a:spcAft>
                <a:buNone/>
              </a:pPr>
              <a:t>Taiwan</a:t>
            </a:fld>
            <a:endParaRPr lang="en-US" sz="800"/>
          </a:p>
        </p:txBody>
      </p:sp>
      <p:sp>
        <p:nvSpPr>
          <p:cNvPr id="134"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auto">
          <a:xfrm>
            <a:off x="660400" y="2209800"/>
            <a:ext cx="3190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C5471C3-826E-4271-9B04-816090B34902}" type="datetime'''''''P''''''ola''''''''''''''''''''''''nd'''''''''">
              <a:rPr lang="en-US" altLang="en-US" sz="800" smtClean="0"/>
              <a:pPr marL="0" lvl="0" indent="0" algn="r">
                <a:spcBef>
                  <a:spcPct val="0"/>
                </a:spcBef>
                <a:spcAft>
                  <a:spcPct val="0"/>
                </a:spcAft>
                <a:buNone/>
              </a:pPr>
              <a:t>Poland</a:t>
            </a:fld>
            <a:endParaRPr lang="en-US" sz="800"/>
          </a:p>
        </p:txBody>
      </p:sp>
      <p:sp>
        <p:nvSpPr>
          <p:cNvPr id="135"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668338" y="2305050"/>
            <a:ext cx="311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4F9754D-2D2C-4863-ACDA-49EE51C36B9C}" type="datetime'''''''''R''''''''''''''u''''''''s''''s''''''i''''''''a'''">
              <a:rPr lang="en-US" altLang="en-US" sz="800" smtClean="0"/>
              <a:pPr marL="0" lvl="0" indent="0" algn="r">
                <a:spcBef>
                  <a:spcPct val="0"/>
                </a:spcBef>
                <a:spcAft>
                  <a:spcPct val="0"/>
                </a:spcAft>
                <a:buNone/>
              </a:pPr>
              <a:t>Russia</a:t>
            </a:fld>
            <a:endParaRPr lang="en-US" sz="800"/>
          </a:p>
        </p:txBody>
      </p:sp>
      <p:sp>
        <p:nvSpPr>
          <p:cNvPr id="13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769938" y="2398713"/>
            <a:ext cx="2095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D4F0151-DCB8-4137-81E0-9F37EAFDBDE4}" type="datetime'''''''''''U''A''E'''''''''''''''''''''''">
              <a:rPr lang="en-US" altLang="en-US" sz="800" smtClean="0"/>
              <a:pPr marL="0" lvl="0" indent="0" algn="r">
                <a:spcBef>
                  <a:spcPct val="0"/>
                </a:spcBef>
                <a:spcAft>
                  <a:spcPct val="0"/>
                </a:spcAft>
                <a:buNone/>
              </a:pPr>
              <a:t>UAE</a:t>
            </a:fld>
            <a:endParaRPr lang="en-US" sz="800"/>
          </a:p>
        </p:txBody>
      </p:sp>
      <p:sp>
        <p:nvSpPr>
          <p:cNvPr id="13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644525" y="2492375"/>
            <a:ext cx="3349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AEDFDDB-6235-49A0-BAAD-41D7E35780E9}" type="datetime'''''F''i''nland'''''''''''''''''''''''''''''''''''''''''">
              <a:rPr lang="en-US" altLang="en-US" sz="800" smtClean="0"/>
              <a:pPr marL="0" lvl="0" indent="0" algn="r">
                <a:spcBef>
                  <a:spcPct val="0"/>
                </a:spcBef>
                <a:spcAft>
                  <a:spcPct val="0"/>
                </a:spcAft>
                <a:buNone/>
              </a:pPr>
              <a:t>Finland</a:t>
            </a:fld>
            <a:endParaRPr lang="en-US" sz="800"/>
          </a:p>
        </p:txBody>
      </p:sp>
      <p:sp>
        <p:nvSpPr>
          <p:cNvPr id="138"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auto">
          <a:xfrm>
            <a:off x="757238" y="2586038"/>
            <a:ext cx="222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7A7BA78-D8D9-4076-863D-44207F600231}" type="datetime'''''''I''''''''''''''''''n''''d''''''i''''''a'''">
              <a:rPr lang="en-US" altLang="en-US" sz="800" smtClean="0"/>
              <a:pPr marL="0" lvl="0" indent="0" algn="r">
                <a:spcBef>
                  <a:spcPct val="0"/>
                </a:spcBef>
                <a:spcAft>
                  <a:spcPct val="0"/>
                </a:spcAft>
                <a:buNone/>
              </a:pPr>
              <a:t>India</a:t>
            </a:fld>
            <a:endParaRPr lang="en-US" sz="800"/>
          </a:p>
        </p:txBody>
      </p:sp>
      <p:sp>
        <p:nvSpPr>
          <p:cNvPr id="139"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717550" y="2679700"/>
            <a:ext cx="2619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F5FC358-5F3F-4FFC-9CD9-E0054FE886B3}" type="datetime'''Egyp''''''''''''''''''''t'''''''''''''''''''''''''''''''">
              <a:rPr lang="en-US" altLang="en-US" sz="800" smtClean="0"/>
              <a:pPr marL="0" lvl="0" indent="0" algn="r">
                <a:spcBef>
                  <a:spcPct val="0"/>
                </a:spcBef>
                <a:spcAft>
                  <a:spcPct val="0"/>
                </a:spcAft>
                <a:buNone/>
              </a:pPr>
              <a:t>Egypt</a:t>
            </a:fld>
            <a:endParaRPr lang="en-US" sz="800"/>
          </a:p>
        </p:txBody>
      </p:sp>
      <p:sp>
        <p:nvSpPr>
          <p:cNvPr id="140"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609600" y="2773363"/>
            <a:ext cx="3698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25A1F85-E9EE-458C-A46D-D5B44FCA80C4}" type="datetime'''''''''''S''''''''''''we''''''''d''e''''''''''''n'''''''''''">
              <a:rPr lang="en-US" altLang="en-US" sz="800" smtClean="0"/>
              <a:pPr marL="0" lvl="0" indent="0" algn="r">
                <a:spcBef>
                  <a:spcPct val="0"/>
                </a:spcBef>
                <a:spcAft>
                  <a:spcPct val="0"/>
                </a:spcAft>
                <a:buNone/>
              </a:pPr>
              <a:t>Sweden</a:t>
            </a:fld>
            <a:endParaRPr lang="en-US" sz="800"/>
          </a:p>
        </p:txBody>
      </p:sp>
      <p:sp>
        <p:nvSpPr>
          <p:cNvPr id="141"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628650" y="2868613"/>
            <a:ext cx="3508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AA03701-A945-46F9-80B9-EB10DE505C6D}" type="datetime'''''''''''''''U''''''''''''''''''''kra''in''''''''''''''e'''''">
              <a:rPr lang="en-US" altLang="en-US" sz="800" smtClean="0"/>
              <a:pPr marL="0" lvl="0" indent="0" algn="r">
                <a:spcBef>
                  <a:spcPct val="0"/>
                </a:spcBef>
                <a:spcAft>
                  <a:spcPct val="0"/>
                </a:spcAft>
                <a:buNone/>
              </a:pPr>
              <a:t>Ukraine</a:t>
            </a:fld>
            <a:endParaRPr lang="en-US" sz="800"/>
          </a:p>
        </p:txBody>
      </p:sp>
      <p:sp>
        <p:nvSpPr>
          <p:cNvPr id="142"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422275" y="2962275"/>
            <a:ext cx="557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5B39F16-6156-415F-B735-AD62C1BE4E16}" type="datetime'''''''''''So''''u''t''''h'''''' ''''''''''Af''r''i''c''''a'''">
              <a:rPr lang="en-US" altLang="en-US" sz="800" smtClean="0"/>
              <a:pPr marL="0" lvl="0" indent="0" algn="r">
                <a:spcBef>
                  <a:spcPct val="0"/>
                </a:spcBef>
                <a:spcAft>
                  <a:spcPct val="0"/>
                </a:spcAft>
                <a:buNone/>
              </a:pPr>
              <a:t>South Africa</a:t>
            </a:fld>
            <a:endParaRPr lang="en-US" sz="800"/>
          </a:p>
        </p:txBody>
      </p:sp>
      <p:sp>
        <p:nvSpPr>
          <p:cNvPr id="143"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661988" y="3055938"/>
            <a:ext cx="3175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568BC24-0650-4BDD-B249-CBB8AC60A8FE}" type="datetime'''''''''''''''''''''''''''''F''''''r''''''''a''n''c''''''e'">
              <a:rPr lang="en-US" altLang="en-US" sz="800" smtClean="0"/>
              <a:pPr marL="0" lvl="0" indent="0" algn="r">
                <a:spcBef>
                  <a:spcPct val="0"/>
                </a:spcBef>
                <a:spcAft>
                  <a:spcPct val="0"/>
                </a:spcAft>
                <a:buNone/>
              </a:pPr>
              <a:t>France</a:t>
            </a:fld>
            <a:endParaRPr lang="en-US" sz="800"/>
          </a:p>
        </p:txBody>
      </p:sp>
      <p:sp>
        <p:nvSpPr>
          <p:cNvPr id="144"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428625" y="3149600"/>
            <a:ext cx="5508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D44B028-ABDB-4D24-B5BF-ADE772100886}" type="datetime'''N''e''''''''th''e''r''''''''la''''''''''''''''''''n''ds'''">
              <a:rPr lang="en-US" altLang="en-US" sz="800" smtClean="0"/>
              <a:pPr marL="0" lvl="0" indent="0" algn="r">
                <a:spcBef>
                  <a:spcPct val="0"/>
                </a:spcBef>
                <a:spcAft>
                  <a:spcPct val="0"/>
                </a:spcAft>
                <a:buNone/>
              </a:pPr>
              <a:t>Netherlands</a:t>
            </a:fld>
            <a:endParaRPr lang="en-US" sz="800"/>
          </a:p>
        </p:txBody>
      </p:sp>
      <p:sp>
        <p:nvSpPr>
          <p:cNvPr id="145"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409575" y="3243263"/>
            <a:ext cx="5699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0F2BEDA-99EC-4DD6-8210-F37C90C0930A}" type="datetime'''''''''Sout''''h'''''''' ''''K''''o''r''''''''''e''''''''''a'">
              <a:rPr lang="en-US" altLang="en-US" sz="800" smtClean="0"/>
              <a:pPr marL="0" lvl="0" indent="0" algn="r">
                <a:spcBef>
                  <a:spcPct val="0"/>
                </a:spcBef>
                <a:spcAft>
                  <a:spcPct val="0"/>
                </a:spcAft>
                <a:buNone/>
              </a:pPr>
              <a:t>South Korea</a:t>
            </a:fld>
            <a:endParaRPr lang="en-US" sz="800"/>
          </a:p>
        </p:txBody>
      </p:sp>
      <p:sp>
        <p:nvSpPr>
          <p:cNvPr id="146"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635000" y="3336925"/>
            <a:ext cx="3444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AAB2D33-FB9A-45A7-8F8A-BBB155D7E8A7}" type="datetime'''''''''''''''N''''''''''''''''o''r''wa''''''''''''''''''y'''">
              <a:rPr lang="en-US" altLang="en-US" sz="800" smtClean="0"/>
              <a:pPr marL="0" lvl="0" indent="0" algn="r">
                <a:spcBef>
                  <a:spcPct val="0"/>
                </a:spcBef>
                <a:spcAft>
                  <a:spcPct val="0"/>
                </a:spcAft>
                <a:buNone/>
              </a:pPr>
              <a:t>Norway</a:t>
            </a:fld>
            <a:endParaRPr lang="en-US" sz="800"/>
          </a:p>
        </p:txBody>
      </p:sp>
      <p:sp>
        <p:nvSpPr>
          <p:cNvPr id="147"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560388" y="3430588"/>
            <a:ext cx="4191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075754F-7237-4720-9DFE-FDD52FE5F165}" type="datetime'''''''''''G''''''e''''r''''''''''m''''''''''a''''''''''''ny'''">
              <a:rPr lang="en-US" altLang="en-US" sz="800" smtClean="0"/>
              <a:pPr marL="0" lvl="0" indent="0" algn="r">
                <a:spcBef>
                  <a:spcPct val="0"/>
                </a:spcBef>
                <a:spcAft>
                  <a:spcPct val="0"/>
                </a:spcAft>
                <a:buNone/>
              </a:pPr>
              <a:t>Germany</a:t>
            </a:fld>
            <a:endParaRPr lang="en-US" sz="800"/>
          </a:p>
        </p:txBody>
      </p:sp>
      <p:sp>
        <p:nvSpPr>
          <p:cNvPr id="148"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485775" y="3525838"/>
            <a:ext cx="4937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D0AF589-A596-4F3D-8971-8D4982FB09CE}" type="datetime'''''''''Ph''''''''il''''''''i''p''''p''''in''e''''''s'''">
              <a:rPr lang="en-US" altLang="en-US" sz="800" smtClean="0"/>
              <a:pPr marL="0" lvl="0" indent="0" algn="r">
                <a:spcBef>
                  <a:spcPct val="0"/>
                </a:spcBef>
                <a:spcAft>
                  <a:spcPct val="0"/>
                </a:spcAft>
                <a:buNone/>
              </a:pPr>
              <a:t>Philippines</a:t>
            </a:fld>
            <a:endParaRPr lang="en-US" sz="800"/>
          </a:p>
        </p:txBody>
      </p:sp>
      <p:sp>
        <p:nvSpPr>
          <p:cNvPr id="149"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838200" y="3619500"/>
            <a:ext cx="1412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800"/>
              <a:t>U.K.</a:t>
            </a:r>
            <a:endParaRPr lang="en-US" sz="800"/>
          </a:p>
        </p:txBody>
      </p:sp>
      <p:sp>
        <p:nvSpPr>
          <p:cNvPr id="150"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611188" y="3713163"/>
            <a:ext cx="368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03245C7-3BF4-485D-96C4-B1716B8DD730}" type="datetime'B''''''''''el''g''''''''''''''''''''''''i''''''u''m'''">
              <a:rPr lang="en-US" altLang="en-US" sz="800" smtClean="0"/>
              <a:pPr marL="0" lvl="0" indent="0" algn="r">
                <a:spcBef>
                  <a:spcPct val="0"/>
                </a:spcBef>
                <a:spcAft>
                  <a:spcPct val="0"/>
                </a:spcAft>
                <a:buNone/>
              </a:pPr>
              <a:t>Belgium</a:t>
            </a:fld>
            <a:endParaRPr lang="en-US" sz="800"/>
          </a:p>
        </p:txBody>
      </p:sp>
      <p:sp>
        <p:nvSpPr>
          <p:cNvPr id="151"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769938" y="3806825"/>
            <a:ext cx="2095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sz="800"/>
              <a:t>U.S.</a:t>
            </a:r>
          </a:p>
        </p:txBody>
      </p:sp>
      <p:sp>
        <p:nvSpPr>
          <p:cNvPr id="132"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712788" y="2022475"/>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64DB117-15EA-4BED-821E-C468D1FA5731}" type="datetime'''''''''''''''''''''C''''''''''''h''''''i''''''n''a'''''">
              <a:rPr lang="en-US" altLang="en-US" sz="800" smtClean="0">
                <a:effectLst/>
              </a:rPr>
              <a:pPr marL="0" lvl="0" indent="0" algn="r">
                <a:spcBef>
                  <a:spcPct val="0"/>
                </a:spcBef>
                <a:spcAft>
                  <a:spcPct val="0"/>
                </a:spcAft>
                <a:buNone/>
              </a:pPr>
              <a:t>China</a:t>
            </a:fld>
            <a:endParaRPr lang="en-US" sz="800"/>
          </a:p>
        </p:txBody>
      </p:sp>
      <p:sp>
        <p:nvSpPr>
          <p:cNvPr id="153"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582613" y="3994150"/>
            <a:ext cx="396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C469CAC-E7E7-4E26-B2C3-5A1B977064D0}" type="datetime'''A''''''''''ust''''''''''''''r''''''''''''al''''ia'''''''">
              <a:rPr lang="en-US" altLang="en-US" sz="800" smtClean="0"/>
              <a:pPr marL="0" lvl="0" indent="0" algn="r">
                <a:spcBef>
                  <a:spcPct val="0"/>
                </a:spcBef>
                <a:spcAft>
                  <a:spcPct val="0"/>
                </a:spcAft>
                <a:buNone/>
              </a:pPr>
              <a:t>Australia</a:t>
            </a:fld>
            <a:endParaRPr lang="en-US" sz="800"/>
          </a:p>
        </p:txBody>
      </p:sp>
      <p:sp>
        <p:nvSpPr>
          <p:cNvPr id="154"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604838" y="4089400"/>
            <a:ext cx="374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804DD04-AEF4-4B89-819D-FC1B1F406CC2}" type="datetime'V''''''''''''''''''i''''''''''''''''''et''na''''''''''m'''''">
              <a:rPr lang="en-US" altLang="en-US" sz="800" smtClean="0"/>
              <a:pPr marL="0" lvl="0" indent="0" algn="r">
                <a:spcBef>
                  <a:spcPct val="0"/>
                </a:spcBef>
                <a:spcAft>
                  <a:spcPct val="0"/>
                </a:spcAft>
                <a:buNone/>
              </a:pPr>
              <a:t>Vietnam</a:t>
            </a:fld>
            <a:endParaRPr lang="en-US" sz="800"/>
          </a:p>
        </p:txBody>
      </p:sp>
      <p:sp>
        <p:nvSpPr>
          <p:cNvPr id="155"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792163" y="4183063"/>
            <a:ext cx="1873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A628D1D-2F05-4E13-B9E6-4FAAB7844931}" type="datetime'''I''''''''t''''''''''''''a''''''''''''''''''''ly'''''">
              <a:rPr lang="en-US" altLang="en-US" sz="800" smtClean="0">
                <a:effectLst/>
              </a:rPr>
              <a:pPr marL="0" lvl="0" indent="0" algn="r">
                <a:spcBef>
                  <a:spcPct val="0"/>
                </a:spcBef>
                <a:spcAft>
                  <a:spcPct val="0"/>
                </a:spcAft>
                <a:buNone/>
              </a:pPr>
              <a:t>Italy</a:t>
            </a:fld>
            <a:endParaRPr lang="en-US" sz="800"/>
          </a:p>
        </p:txBody>
      </p:sp>
      <p:sp>
        <p:nvSpPr>
          <p:cNvPr id="156"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717550" y="4276725"/>
            <a:ext cx="2619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380E3E2-C645-479B-92DD-84C473C6C0EE}" type="datetime'''''''''''S''''''''''''''pa''''''''''''''''i''''n'''''''''">
              <a:rPr lang="en-US" altLang="en-US" sz="800" smtClean="0"/>
              <a:pPr marL="0" lvl="0" indent="0" algn="r">
                <a:spcBef>
                  <a:spcPct val="0"/>
                </a:spcBef>
                <a:spcAft>
                  <a:spcPct val="0"/>
                </a:spcAft>
                <a:buNone/>
              </a:pPr>
              <a:t>Spain</a:t>
            </a:fld>
            <a:endParaRPr lang="en-US" sz="800"/>
          </a:p>
        </p:txBody>
      </p:sp>
      <p:sp>
        <p:nvSpPr>
          <p:cNvPr id="157"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668338" y="4370388"/>
            <a:ext cx="311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93C41A3-9DF0-4A36-857A-20C31E296BEF}" type="datetime'''T''''''ur''''k''''''ey'''''''''''">
              <a:rPr lang="en-US" altLang="en-US" sz="800" smtClean="0"/>
              <a:pPr marL="0" lvl="0" indent="0" algn="r">
                <a:spcBef>
                  <a:spcPct val="0"/>
                </a:spcBef>
                <a:spcAft>
                  <a:spcPct val="0"/>
                </a:spcAft>
                <a:buNone/>
              </a:pPr>
              <a:t>Turkey</a:t>
            </a:fld>
            <a:endParaRPr lang="en-US" sz="800"/>
          </a:p>
        </p:txBody>
      </p:sp>
      <p:sp>
        <p:nvSpPr>
          <p:cNvPr id="158"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512763" y="4464050"/>
            <a:ext cx="466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5718701-22B1-4E35-8103-BAF9EFF7B611}" type="datetime'''''''S''i''ng''''''''''''ap''''''o''r''''''''''''''''e'">
              <a:rPr lang="en-US" altLang="en-US" sz="800" smtClean="0"/>
              <a:pPr marL="0" lvl="0" indent="0" algn="r">
                <a:spcBef>
                  <a:spcPct val="0"/>
                </a:spcBef>
                <a:spcAft>
                  <a:spcPct val="0"/>
                </a:spcAft>
                <a:buNone/>
              </a:pPr>
              <a:t>Singapore</a:t>
            </a:fld>
            <a:endParaRPr lang="en-US" sz="800"/>
          </a:p>
        </p:txBody>
      </p:sp>
      <p:sp>
        <p:nvSpPr>
          <p:cNvPr id="159"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534988" y="4557713"/>
            <a:ext cx="4445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0096059-BACC-433B-A5D8-C00C3A5F2630}" type="datetime'''''''I''''''''n''don''''e''''''''''''''''''''''''''''''s''ia'">
              <a:rPr lang="en-US" altLang="en-US" sz="800" smtClean="0"/>
              <a:pPr marL="0" lvl="0" indent="0" algn="r">
                <a:spcBef>
                  <a:spcPct val="0"/>
                </a:spcBef>
                <a:spcAft>
                  <a:spcPct val="0"/>
                </a:spcAft>
                <a:buNone/>
              </a:pPr>
              <a:t>Indonesia</a:t>
            </a:fld>
            <a:endParaRPr lang="en-US" sz="800"/>
          </a:p>
        </p:txBody>
      </p:sp>
      <p:sp>
        <p:nvSpPr>
          <p:cNvPr id="160"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725488" y="4651375"/>
            <a:ext cx="254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DEC768B-70E4-4D65-8AAF-2F909CDA5DE9}" type="datetime'''B''r''a''''z''''''''i''''''''''''''l'''''''''''''''''''''''">
              <a:rPr lang="en-US" altLang="en-US" sz="800" smtClean="0"/>
              <a:pPr marL="0" lvl="0" indent="0" algn="r">
                <a:spcBef>
                  <a:spcPct val="0"/>
                </a:spcBef>
                <a:spcAft>
                  <a:spcPct val="0"/>
                </a:spcAft>
                <a:buNone/>
              </a:pPr>
              <a:t>Brazil</a:t>
            </a:fld>
            <a:endParaRPr lang="en-US" sz="800"/>
          </a:p>
        </p:txBody>
      </p:sp>
      <p:sp>
        <p:nvSpPr>
          <p:cNvPr id="161"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700088" y="4746625"/>
            <a:ext cx="279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DECC674-C5D9-4A40-BB58-C7C62879B8E9}" type="datetime'''''Ja''p''''a''''''''''''''''''''''''''''''''n'''''''''''">
              <a:rPr lang="en-US" altLang="en-US" sz="800" smtClean="0"/>
              <a:pPr marL="0" lvl="0" indent="0" algn="r">
                <a:spcBef>
                  <a:spcPct val="0"/>
                </a:spcBef>
                <a:spcAft>
                  <a:spcPct val="0"/>
                </a:spcAft>
                <a:buNone/>
              </a:pPr>
              <a:t>Japan</a:t>
            </a:fld>
            <a:endParaRPr lang="en-US" sz="800"/>
          </a:p>
        </p:txBody>
      </p:sp>
      <p:sp>
        <p:nvSpPr>
          <p:cNvPr id="162"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587375" y="4840288"/>
            <a:ext cx="3921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6DFCF40-0A90-4113-859A-9D3DC29FD870}" type="datetime'T''''''h''''''''''''''a''''''i''''l''a''nd'''">
              <a:rPr lang="en-US" altLang="en-US" sz="800" smtClean="0">
                <a:effectLst/>
              </a:rPr>
              <a:pPr marL="0" lvl="0" indent="0" algn="r">
                <a:spcBef>
                  <a:spcPct val="0"/>
                </a:spcBef>
                <a:spcAft>
                  <a:spcPct val="0"/>
                </a:spcAft>
                <a:buNone/>
              </a:pPr>
              <a:t>Thailand</a:t>
            </a:fld>
            <a:endParaRPr lang="en-US" sz="800"/>
          </a:p>
        </p:txBody>
      </p:sp>
      <p:sp>
        <p:nvSpPr>
          <p:cNvPr id="163"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946150" y="4933950"/>
            <a:ext cx="333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6D5D64D-821D-4DE1-9311-458ADAEE1D01}" type="datetime'''''''''''''''''''''''''''''''''''''''''''''''-'">
              <a:rPr lang="en-US" altLang="en-US" sz="800" smtClean="0">
                <a:effectLst/>
              </a:rPr>
              <a:pPr marL="0" lvl="0" indent="0" algn="r">
                <a:spcBef>
                  <a:spcPct val="0"/>
                </a:spcBef>
                <a:spcAft>
                  <a:spcPct val="0"/>
                </a:spcAft>
                <a:buNone/>
              </a:pPr>
              <a:t>-</a:t>
            </a:fld>
            <a:endParaRPr lang="en-US" sz="800"/>
          </a:p>
        </p:txBody>
      </p:sp>
      <p:sp>
        <p:nvSpPr>
          <p:cNvPr id="164"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628650" y="5027613"/>
            <a:ext cx="3508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E3AAB32-B2FA-4F30-BAA2-4A3EE0377053}" type="datetime'''N''u''''''''''''''cl''''''''''''''''''ea''r'''''''''''''">
              <a:rPr lang="en-US" altLang="en-US" sz="800" smtClean="0">
                <a:effectLst/>
              </a:rPr>
              <a:pPr marL="0" lvl="0" indent="0" algn="r">
                <a:spcBef>
                  <a:spcPct val="0"/>
                </a:spcBef>
                <a:spcAft>
                  <a:spcPct val="0"/>
                </a:spcAft>
                <a:buNone/>
              </a:pPr>
              <a:t>Nuclear</a:t>
            </a:fld>
            <a:endParaRPr lang="en-US" sz="800"/>
          </a:p>
        </p:txBody>
      </p:sp>
      <p:sp>
        <p:nvSpPr>
          <p:cNvPr id="165"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407988" y="5121275"/>
            <a:ext cx="5715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800">
                <a:effectLst/>
              </a:rPr>
              <a:t>Non-nuclear</a:t>
            </a:r>
            <a:endParaRPr lang="en-US" sz="800"/>
          </a:p>
        </p:txBody>
      </p:sp>
      <p:sp>
        <p:nvSpPr>
          <p:cNvPr id="166"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946150" y="5214938"/>
            <a:ext cx="333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891CD17-1CEC-4A29-884F-163A4542270B}" type="datetime'''''''''-'''">
              <a:rPr lang="en-US" altLang="en-US" sz="800" smtClean="0">
                <a:effectLst/>
              </a:rPr>
              <a:pPr marL="0" lvl="0" indent="0" algn="r">
                <a:spcBef>
                  <a:spcPct val="0"/>
                </a:spcBef>
                <a:spcAft>
                  <a:spcPct val="0"/>
                </a:spcAft>
                <a:buNone/>
              </a:pPr>
              <a:t>-</a:t>
            </a:fld>
            <a:endParaRPr lang="en-US" sz="800"/>
          </a:p>
        </p:txBody>
      </p:sp>
      <p:sp>
        <p:nvSpPr>
          <p:cNvPr id="167"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842963" y="5310188"/>
            <a:ext cx="1365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E74017F-4E32-4F78-B3B8-DCB302D7B1B6}" type="datetime'''''''''''G''''''''''''''''''''''''''''''''''''''''''7'''''">
              <a:rPr lang="en-US" altLang="en-US" sz="800" smtClean="0">
                <a:effectLst/>
              </a:rPr>
              <a:pPr marL="0" lvl="0" indent="0" algn="r">
                <a:spcBef>
                  <a:spcPct val="0"/>
                </a:spcBef>
                <a:spcAft>
                  <a:spcPct val="0"/>
                </a:spcAft>
                <a:buNone/>
              </a:pPr>
              <a:t>G7</a:t>
            </a:fld>
            <a:endParaRPr lang="en-US" sz="800"/>
          </a:p>
        </p:txBody>
      </p:sp>
      <p:sp>
        <p:nvSpPr>
          <p:cNvPr id="168"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668338" y="5403850"/>
            <a:ext cx="311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D045D68-18A0-4B54-9ECB-5DA7AB5D6766}" type="datetime'''''''''''B''''''r''i''''''''c''s'''''''' ''''''''5'''">
              <a:rPr lang="en-US" altLang="en-US" sz="800" smtClean="0">
                <a:effectLst/>
              </a:rPr>
              <a:pPr marL="0" lvl="0" indent="0" algn="r">
                <a:spcBef>
                  <a:spcPct val="0"/>
                </a:spcBef>
                <a:spcAft>
                  <a:spcPct val="0"/>
                </a:spcAft>
                <a:buNone/>
              </a:pPr>
              <a:t>Brics 5</a:t>
            </a:fld>
            <a:endParaRPr lang="en-US" sz="800"/>
          </a:p>
        </p:txBody>
      </p:sp>
      <p:sp>
        <p:nvSpPr>
          <p:cNvPr id="189"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auto">
          <a:xfrm>
            <a:off x="920750" y="5497513"/>
            <a:ext cx="587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51A5DCB-E642-4A83-85FE-90B04DAC6151}" type="datetime'''''''''''''''''''='''''''''''''''">
              <a:rPr lang="en-US" altLang="en-US" sz="800" smtClean="0">
                <a:effectLst/>
              </a:rPr>
              <a:pPr marL="0" lvl="0" indent="0" algn="r">
                <a:spcBef>
                  <a:spcPct val="0"/>
                </a:spcBef>
                <a:spcAft>
                  <a:spcPct val="0"/>
                </a:spcAft>
                <a:buNone/>
              </a:pPr>
              <a:t>=</a:t>
            </a:fld>
            <a:endParaRPr lang="en-US" sz="800"/>
          </a:p>
        </p:txBody>
      </p:sp>
      <p:sp>
        <p:nvSpPr>
          <p:cNvPr id="190"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auto">
          <a:xfrm>
            <a:off x="474663" y="5591175"/>
            <a:ext cx="5048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40AB91C-7581-4964-A33A-56B3EC2A6E34}" type="datetime'''''''''G''l''''''''''''''o''''''b''''a''l'''''''' ''''(3''1)'">
              <a:rPr lang="en-US" altLang="en-US" sz="800" smtClean="0">
                <a:effectLst/>
              </a:rPr>
              <a:pPr marL="0" lvl="0" indent="0" algn="r">
                <a:spcBef>
                  <a:spcPct val="0"/>
                </a:spcBef>
                <a:spcAft>
                  <a:spcPct val="0"/>
                </a:spcAft>
                <a:buNone/>
              </a:pPr>
              <a:t>Global (31)</a:t>
            </a:fld>
            <a:endParaRPr lang="en-US" sz="800"/>
          </a:p>
        </p:txBody>
      </p:sp>
      <p:sp>
        <p:nvSpPr>
          <p:cNvPr id="152"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620713" y="3900488"/>
            <a:ext cx="358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5B53ADA-67B2-4747-A3AD-67691D42BE49}" type="datetime'''C''''a''''n''''''''a''''da'''''''''''">
              <a:rPr lang="en-US" altLang="en-US" sz="800" smtClean="0">
                <a:effectLst/>
              </a:rPr>
              <a:pPr marL="0" lvl="0" indent="0" algn="r">
                <a:spcBef>
                  <a:spcPct val="0"/>
                </a:spcBef>
                <a:spcAft>
                  <a:spcPct val="0"/>
                </a:spcAft>
                <a:buNone/>
              </a:pPr>
              <a:t>Canada</a:t>
            </a:fld>
            <a:endParaRPr lang="en-US" sz="800"/>
          </a:p>
        </p:txBody>
      </p:sp>
      <p:pic>
        <p:nvPicPr>
          <p:cNvPr id="1028" name="Picture 4" descr="Russia Flag Png Images - Free Download on Freepik">
            <a:extLst>
              <a:ext uri="{FF2B5EF4-FFF2-40B4-BE49-F238E27FC236}">
                <a16:creationId xmlns:a16="http://schemas.microsoft.com/office/drawing/2014/main" id="{06675272-3FFE-FF1A-B7EE-7BAE9EAC41E8}"/>
              </a:ext>
            </a:extLst>
          </p:cNvPr>
          <p:cNvPicPr>
            <a:picLocks noChangeAspect="1" noChangeArrowheads="1"/>
          </p:cNvPicPr>
          <p:nvPr/>
        </p:nvPicPr>
        <p:blipFill>
          <a:blip r:embed="rId57" cstate="screen">
            <a:extLst>
              <a:ext uri="{28A0092B-C50C-407E-A947-70E740481C1C}">
                <a14:useLocalDpi xmlns:a14="http://schemas.microsoft.com/office/drawing/2010/main"/>
              </a:ext>
            </a:extLst>
          </a:blip>
          <a:srcRect/>
          <a:stretch>
            <a:fillRect/>
          </a:stretch>
        </p:blipFill>
        <p:spPr bwMode="auto">
          <a:xfrm>
            <a:off x="8349613" y="3991322"/>
            <a:ext cx="222400" cy="11721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D8F50348-D7FB-B6CA-A295-011F8C5687E4}"/>
              </a:ext>
            </a:extLst>
          </p:cNvPr>
          <p:cNvPicPr>
            <a:picLocks noChangeAspect="1" noChangeArrowheads="1"/>
          </p:cNvPicPr>
          <p:nvPr/>
        </p:nvPicPr>
        <p:blipFill>
          <a:blip r:embed="rId58" cstate="screen">
            <a:extLst>
              <a:ext uri="{28A0092B-C50C-407E-A947-70E740481C1C}">
                <a14:useLocalDpi xmlns:a14="http://schemas.microsoft.com/office/drawing/2010/main"/>
              </a:ext>
            </a:extLst>
          </a:blip>
          <a:srcRect/>
          <a:stretch>
            <a:fillRect/>
          </a:stretch>
        </p:blipFill>
        <p:spPr bwMode="auto">
          <a:xfrm>
            <a:off x="8349476" y="3207812"/>
            <a:ext cx="222537" cy="148381"/>
          </a:xfrm>
          <a:prstGeom prst="rect">
            <a:avLst/>
          </a:prstGeom>
          <a:noFill/>
          <a:extLst>
            <a:ext uri="{909E8E84-426E-40DD-AFC4-6F175D3DCCD1}">
              <a14:hiddenFill xmlns:a14="http://schemas.microsoft.com/office/drawing/2010/main">
                <a:solidFill>
                  <a:srgbClr val="FFFFFF"/>
                </a:solidFill>
              </a14:hiddenFill>
            </a:ext>
          </a:extLst>
        </p:spPr>
      </p:pic>
      <p:grpSp>
        <p:nvGrpSpPr>
          <p:cNvPr id="1382" name="Group 1381">
            <a:extLst>
              <a:ext uri="{FF2B5EF4-FFF2-40B4-BE49-F238E27FC236}">
                <a16:creationId xmlns:a16="http://schemas.microsoft.com/office/drawing/2014/main" id="{E68A5274-7927-66AD-68AC-71121E80D23B}"/>
              </a:ext>
            </a:extLst>
          </p:cNvPr>
          <p:cNvGrpSpPr/>
          <p:nvPr/>
        </p:nvGrpSpPr>
        <p:grpSpPr>
          <a:xfrm>
            <a:off x="1355726" y="1998661"/>
            <a:ext cx="6414701" cy="3790288"/>
            <a:chOff x="1355726" y="1763885"/>
            <a:chExt cx="6414701" cy="3790288"/>
          </a:xfrm>
        </p:grpSpPr>
        <p:sp>
          <p:nvSpPr>
            <p:cNvPr id="1260" name="Text Placeholder 2">
              <a:extLst>
                <a:ext uri="{FF2B5EF4-FFF2-40B4-BE49-F238E27FC236}">
                  <a16:creationId xmlns:a16="http://schemas.microsoft.com/office/drawing/2014/main" id="{EB43124E-1636-90C7-E7E5-0B24DEE0074B}"/>
                </a:ext>
              </a:extLst>
            </p:cNvPr>
            <p:cNvSpPr txBox="1">
              <a:spLocks/>
            </p:cNvSpPr>
            <p:nvPr/>
          </p:nvSpPr>
          <p:spPr bwMode="auto">
            <a:xfrm>
              <a:off x="7465085" y="1771723"/>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57%</a:t>
              </a:r>
              <a:endParaRPr lang="en-US" sz="800"/>
            </a:p>
          </p:txBody>
        </p:sp>
        <p:sp>
          <p:nvSpPr>
            <p:cNvPr id="1261" name="Text Placeholder 2">
              <a:extLst>
                <a:ext uri="{FF2B5EF4-FFF2-40B4-BE49-F238E27FC236}">
                  <a16:creationId xmlns:a16="http://schemas.microsoft.com/office/drawing/2014/main" id="{909E3F18-F17B-8D4A-ACA9-A9E17BDFE4E7}"/>
                </a:ext>
              </a:extLst>
            </p:cNvPr>
            <p:cNvSpPr txBox="1">
              <a:spLocks/>
            </p:cNvSpPr>
            <p:nvPr/>
          </p:nvSpPr>
          <p:spPr bwMode="auto">
            <a:xfrm>
              <a:off x="7465085" y="1882172"/>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57%</a:t>
              </a:r>
              <a:endParaRPr lang="en-US" sz="800"/>
            </a:p>
          </p:txBody>
        </p:sp>
        <p:sp>
          <p:nvSpPr>
            <p:cNvPr id="1262" name="Text Placeholder 2">
              <a:extLst>
                <a:ext uri="{FF2B5EF4-FFF2-40B4-BE49-F238E27FC236}">
                  <a16:creationId xmlns:a16="http://schemas.microsoft.com/office/drawing/2014/main" id="{FA27664B-832D-284C-16B1-1F7B740AA564}"/>
                </a:ext>
              </a:extLst>
            </p:cNvPr>
            <p:cNvSpPr txBox="1">
              <a:spLocks/>
            </p:cNvSpPr>
            <p:nvPr/>
          </p:nvSpPr>
          <p:spPr bwMode="auto">
            <a:xfrm>
              <a:off x="7356475" y="1966119"/>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55%</a:t>
              </a:r>
              <a:endParaRPr lang="en-US" sz="800"/>
            </a:p>
          </p:txBody>
        </p:sp>
        <p:sp>
          <p:nvSpPr>
            <p:cNvPr id="1263" name="Text Placeholder 2">
              <a:extLst>
                <a:ext uri="{FF2B5EF4-FFF2-40B4-BE49-F238E27FC236}">
                  <a16:creationId xmlns:a16="http://schemas.microsoft.com/office/drawing/2014/main" id="{ED48E7D1-B118-AD6E-5D41-92A2EE71D97D}"/>
                </a:ext>
              </a:extLst>
            </p:cNvPr>
            <p:cNvSpPr txBox="1">
              <a:spLocks/>
            </p:cNvSpPr>
            <p:nvPr/>
          </p:nvSpPr>
          <p:spPr bwMode="auto">
            <a:xfrm>
              <a:off x="7177147" y="2062752"/>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51%</a:t>
              </a:r>
              <a:endParaRPr lang="en-US" sz="800"/>
            </a:p>
          </p:txBody>
        </p:sp>
        <p:sp>
          <p:nvSpPr>
            <p:cNvPr id="1264" name="Text Placeholder 2">
              <a:extLst>
                <a:ext uri="{FF2B5EF4-FFF2-40B4-BE49-F238E27FC236}">
                  <a16:creationId xmlns:a16="http://schemas.microsoft.com/office/drawing/2014/main" id="{9ED4E934-A050-5BB1-0CC3-5419C98B745B}"/>
                </a:ext>
              </a:extLst>
            </p:cNvPr>
            <p:cNvSpPr txBox="1">
              <a:spLocks/>
            </p:cNvSpPr>
            <p:nvPr/>
          </p:nvSpPr>
          <p:spPr bwMode="auto">
            <a:xfrm>
              <a:off x="7059876" y="2249163"/>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50%</a:t>
              </a:r>
              <a:endParaRPr lang="en-US" sz="800"/>
            </a:p>
          </p:txBody>
        </p:sp>
        <p:sp>
          <p:nvSpPr>
            <p:cNvPr id="1265" name="Text Placeholder 2">
              <a:extLst>
                <a:ext uri="{FF2B5EF4-FFF2-40B4-BE49-F238E27FC236}">
                  <a16:creationId xmlns:a16="http://schemas.microsoft.com/office/drawing/2014/main" id="{2A9B33AF-823C-1763-E571-F9DF089E39B4}"/>
                </a:ext>
              </a:extLst>
            </p:cNvPr>
            <p:cNvSpPr txBox="1">
              <a:spLocks/>
            </p:cNvSpPr>
            <p:nvPr/>
          </p:nvSpPr>
          <p:spPr bwMode="auto">
            <a:xfrm>
              <a:off x="6996970" y="2344037"/>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9%</a:t>
              </a:r>
              <a:endParaRPr lang="en-US" sz="800"/>
            </a:p>
          </p:txBody>
        </p:sp>
        <p:sp>
          <p:nvSpPr>
            <p:cNvPr id="1266" name="Text Placeholder 2">
              <a:extLst>
                <a:ext uri="{FF2B5EF4-FFF2-40B4-BE49-F238E27FC236}">
                  <a16:creationId xmlns:a16="http://schemas.microsoft.com/office/drawing/2014/main" id="{9BE94E9F-6FF0-32E6-40EA-D467C506A49A}"/>
                </a:ext>
              </a:extLst>
            </p:cNvPr>
            <p:cNvSpPr txBox="1">
              <a:spLocks/>
            </p:cNvSpPr>
            <p:nvPr/>
          </p:nvSpPr>
          <p:spPr bwMode="auto">
            <a:xfrm>
              <a:off x="6827068" y="2702559"/>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6%</a:t>
              </a:r>
              <a:endParaRPr lang="en-US" sz="800"/>
            </a:p>
          </p:txBody>
        </p:sp>
        <p:sp>
          <p:nvSpPr>
            <p:cNvPr id="1267" name="Text Placeholder 2">
              <a:extLst>
                <a:ext uri="{FF2B5EF4-FFF2-40B4-BE49-F238E27FC236}">
                  <a16:creationId xmlns:a16="http://schemas.microsoft.com/office/drawing/2014/main" id="{0FE3D819-1CB1-3914-1B95-AA0D41CCE70D}"/>
                </a:ext>
              </a:extLst>
            </p:cNvPr>
            <p:cNvSpPr txBox="1">
              <a:spLocks/>
            </p:cNvSpPr>
            <p:nvPr/>
          </p:nvSpPr>
          <p:spPr bwMode="auto">
            <a:xfrm>
              <a:off x="6460058" y="3092417"/>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0%</a:t>
              </a:r>
              <a:endParaRPr lang="en-US" sz="800"/>
            </a:p>
          </p:txBody>
        </p:sp>
        <p:sp>
          <p:nvSpPr>
            <p:cNvPr id="1268" name="Text Placeholder 2">
              <a:extLst>
                <a:ext uri="{FF2B5EF4-FFF2-40B4-BE49-F238E27FC236}">
                  <a16:creationId xmlns:a16="http://schemas.microsoft.com/office/drawing/2014/main" id="{05B9A32B-31B4-64FF-A333-4DA8C5C0E0EF}"/>
                </a:ext>
              </a:extLst>
            </p:cNvPr>
            <p:cNvSpPr txBox="1">
              <a:spLocks/>
            </p:cNvSpPr>
            <p:nvPr/>
          </p:nvSpPr>
          <p:spPr bwMode="auto">
            <a:xfrm>
              <a:off x="6753970" y="2798798"/>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5%</a:t>
              </a:r>
              <a:endParaRPr lang="en-US" sz="800"/>
            </a:p>
          </p:txBody>
        </p:sp>
        <p:sp>
          <p:nvSpPr>
            <p:cNvPr id="1269" name="Text Placeholder 2">
              <a:extLst>
                <a:ext uri="{FF2B5EF4-FFF2-40B4-BE49-F238E27FC236}">
                  <a16:creationId xmlns:a16="http://schemas.microsoft.com/office/drawing/2014/main" id="{7F12CEDC-D7F9-539A-F9BE-4BCA41816B04}"/>
                </a:ext>
              </a:extLst>
            </p:cNvPr>
            <p:cNvSpPr txBox="1">
              <a:spLocks/>
            </p:cNvSpPr>
            <p:nvPr/>
          </p:nvSpPr>
          <p:spPr bwMode="auto">
            <a:xfrm>
              <a:off x="6753970" y="2890660"/>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5%</a:t>
              </a:r>
              <a:endParaRPr lang="en-US" sz="800"/>
            </a:p>
          </p:txBody>
        </p:sp>
        <p:sp>
          <p:nvSpPr>
            <p:cNvPr id="1270" name="Text Placeholder 2">
              <a:extLst>
                <a:ext uri="{FF2B5EF4-FFF2-40B4-BE49-F238E27FC236}">
                  <a16:creationId xmlns:a16="http://schemas.microsoft.com/office/drawing/2014/main" id="{09FA3ED1-BD3A-EB1F-C7C5-CAF5D36D390A}"/>
                </a:ext>
              </a:extLst>
            </p:cNvPr>
            <p:cNvSpPr txBox="1">
              <a:spLocks/>
            </p:cNvSpPr>
            <p:nvPr/>
          </p:nvSpPr>
          <p:spPr bwMode="auto">
            <a:xfrm>
              <a:off x="6326114" y="3367789"/>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7%</a:t>
              </a:r>
              <a:endParaRPr lang="en-US" sz="800"/>
            </a:p>
          </p:txBody>
        </p:sp>
        <p:sp>
          <p:nvSpPr>
            <p:cNvPr id="1271" name="Text Placeholder 2">
              <a:extLst>
                <a:ext uri="{FF2B5EF4-FFF2-40B4-BE49-F238E27FC236}">
                  <a16:creationId xmlns:a16="http://schemas.microsoft.com/office/drawing/2014/main" id="{E84EC5D2-88DB-19AF-F06B-3BF4E7BE2B1A}"/>
                </a:ext>
              </a:extLst>
            </p:cNvPr>
            <p:cNvSpPr txBox="1">
              <a:spLocks/>
            </p:cNvSpPr>
            <p:nvPr/>
          </p:nvSpPr>
          <p:spPr bwMode="auto">
            <a:xfrm>
              <a:off x="6617445" y="2993796"/>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2%</a:t>
              </a:r>
              <a:endParaRPr lang="en-US" sz="800"/>
            </a:p>
          </p:txBody>
        </p:sp>
        <p:sp>
          <p:nvSpPr>
            <p:cNvPr id="1272" name="Text Placeholder 2">
              <a:extLst>
                <a:ext uri="{FF2B5EF4-FFF2-40B4-BE49-F238E27FC236}">
                  <a16:creationId xmlns:a16="http://schemas.microsoft.com/office/drawing/2014/main" id="{B4110C9E-D739-1863-CCC1-0B36E06A9005}"/>
                </a:ext>
              </a:extLst>
            </p:cNvPr>
            <p:cNvSpPr txBox="1">
              <a:spLocks/>
            </p:cNvSpPr>
            <p:nvPr/>
          </p:nvSpPr>
          <p:spPr bwMode="auto">
            <a:xfrm>
              <a:off x="6239944" y="3458957"/>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6%</a:t>
              </a:r>
              <a:endParaRPr lang="en-US" sz="800"/>
            </a:p>
          </p:txBody>
        </p:sp>
        <p:sp>
          <p:nvSpPr>
            <p:cNvPr id="1273" name="Text Placeholder 2">
              <a:extLst>
                <a:ext uri="{FF2B5EF4-FFF2-40B4-BE49-F238E27FC236}">
                  <a16:creationId xmlns:a16="http://schemas.microsoft.com/office/drawing/2014/main" id="{289C451E-F3D1-33F3-5CB2-768DB8E1C803}"/>
                </a:ext>
              </a:extLst>
            </p:cNvPr>
            <p:cNvSpPr txBox="1">
              <a:spLocks/>
            </p:cNvSpPr>
            <p:nvPr/>
          </p:nvSpPr>
          <p:spPr bwMode="auto">
            <a:xfrm>
              <a:off x="6037281" y="3842080"/>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3%</a:t>
              </a:r>
              <a:endParaRPr lang="en-US" sz="800"/>
            </a:p>
          </p:txBody>
        </p:sp>
        <p:sp>
          <p:nvSpPr>
            <p:cNvPr id="1274" name="Text Placeholder 2">
              <a:extLst>
                <a:ext uri="{FF2B5EF4-FFF2-40B4-BE49-F238E27FC236}">
                  <a16:creationId xmlns:a16="http://schemas.microsoft.com/office/drawing/2014/main" id="{49528A6E-ABD4-7511-C494-B214360CF108}"/>
                </a:ext>
              </a:extLst>
            </p:cNvPr>
            <p:cNvSpPr txBox="1">
              <a:spLocks/>
            </p:cNvSpPr>
            <p:nvPr/>
          </p:nvSpPr>
          <p:spPr bwMode="auto">
            <a:xfrm>
              <a:off x="5633241" y="4315996"/>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6%</a:t>
              </a:r>
              <a:endParaRPr lang="en-US" sz="800"/>
            </a:p>
          </p:txBody>
        </p:sp>
        <p:sp>
          <p:nvSpPr>
            <p:cNvPr id="1275" name="Text Placeholder 2">
              <a:extLst>
                <a:ext uri="{FF2B5EF4-FFF2-40B4-BE49-F238E27FC236}">
                  <a16:creationId xmlns:a16="http://schemas.microsoft.com/office/drawing/2014/main" id="{D0C70C06-FF19-CF95-21C7-26F56D4D570E}"/>
                </a:ext>
              </a:extLst>
            </p:cNvPr>
            <p:cNvSpPr txBox="1">
              <a:spLocks/>
            </p:cNvSpPr>
            <p:nvPr/>
          </p:nvSpPr>
          <p:spPr bwMode="auto">
            <a:xfrm>
              <a:off x="5748210" y="4220131"/>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8%</a:t>
              </a:r>
              <a:endParaRPr lang="en-US" sz="800"/>
            </a:p>
          </p:txBody>
        </p:sp>
        <p:sp>
          <p:nvSpPr>
            <p:cNvPr id="1276" name="Text Placeholder 2">
              <a:extLst>
                <a:ext uri="{FF2B5EF4-FFF2-40B4-BE49-F238E27FC236}">
                  <a16:creationId xmlns:a16="http://schemas.microsoft.com/office/drawing/2014/main" id="{C00E138C-7254-7F2F-256B-1D03D2ACEFE9}"/>
                </a:ext>
              </a:extLst>
            </p:cNvPr>
            <p:cNvSpPr txBox="1">
              <a:spLocks/>
            </p:cNvSpPr>
            <p:nvPr/>
          </p:nvSpPr>
          <p:spPr bwMode="auto">
            <a:xfrm>
              <a:off x="6037281" y="3942128"/>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3%</a:t>
              </a:r>
              <a:endParaRPr lang="en-US" sz="800"/>
            </a:p>
          </p:txBody>
        </p:sp>
        <p:sp>
          <p:nvSpPr>
            <p:cNvPr id="1277" name="Text Placeholder 2">
              <a:extLst>
                <a:ext uri="{FF2B5EF4-FFF2-40B4-BE49-F238E27FC236}">
                  <a16:creationId xmlns:a16="http://schemas.microsoft.com/office/drawing/2014/main" id="{721552F7-0C62-D5BC-3981-5D0BE0BEFC69}"/>
                </a:ext>
              </a:extLst>
            </p:cNvPr>
            <p:cNvSpPr txBox="1">
              <a:spLocks/>
            </p:cNvSpPr>
            <p:nvPr/>
          </p:nvSpPr>
          <p:spPr bwMode="auto">
            <a:xfrm>
              <a:off x="5922312" y="4030048"/>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1%</a:t>
              </a:r>
              <a:endParaRPr lang="en-US" sz="800"/>
            </a:p>
          </p:txBody>
        </p:sp>
        <p:sp>
          <p:nvSpPr>
            <p:cNvPr id="1278" name="Text Placeholder 2">
              <a:extLst>
                <a:ext uri="{FF2B5EF4-FFF2-40B4-BE49-F238E27FC236}">
                  <a16:creationId xmlns:a16="http://schemas.microsoft.com/office/drawing/2014/main" id="{9E8CFAFE-6956-BA61-C69F-2C05F15CCD93}"/>
                </a:ext>
              </a:extLst>
            </p:cNvPr>
            <p:cNvSpPr txBox="1">
              <a:spLocks/>
            </p:cNvSpPr>
            <p:nvPr/>
          </p:nvSpPr>
          <p:spPr bwMode="auto">
            <a:xfrm>
              <a:off x="5863179" y="4126096"/>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0%</a:t>
              </a:r>
              <a:endParaRPr lang="en-US" sz="800"/>
            </a:p>
          </p:txBody>
        </p:sp>
        <p:sp>
          <p:nvSpPr>
            <p:cNvPr id="1279" name="Text Placeholder 2">
              <a:extLst>
                <a:ext uri="{FF2B5EF4-FFF2-40B4-BE49-F238E27FC236}">
                  <a16:creationId xmlns:a16="http://schemas.microsoft.com/office/drawing/2014/main" id="{DE52C819-F588-C436-DBFB-1D5C04CE499A}"/>
                </a:ext>
              </a:extLst>
            </p:cNvPr>
            <p:cNvSpPr txBox="1">
              <a:spLocks/>
            </p:cNvSpPr>
            <p:nvPr/>
          </p:nvSpPr>
          <p:spPr bwMode="auto">
            <a:xfrm>
              <a:off x="5633241" y="4418212"/>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6%</a:t>
              </a:r>
              <a:endParaRPr lang="en-US" sz="800"/>
            </a:p>
          </p:txBody>
        </p:sp>
        <p:sp>
          <p:nvSpPr>
            <p:cNvPr id="1280" name="Text Placeholder 2">
              <a:extLst>
                <a:ext uri="{FF2B5EF4-FFF2-40B4-BE49-F238E27FC236}">
                  <a16:creationId xmlns:a16="http://schemas.microsoft.com/office/drawing/2014/main" id="{83498067-62A9-2652-8CB5-E841BDC3B889}"/>
                </a:ext>
              </a:extLst>
            </p:cNvPr>
            <p:cNvSpPr txBox="1">
              <a:spLocks/>
            </p:cNvSpPr>
            <p:nvPr/>
          </p:nvSpPr>
          <p:spPr bwMode="auto">
            <a:xfrm>
              <a:off x="5582625" y="4509902"/>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5%</a:t>
              </a:r>
              <a:endParaRPr lang="en-US" sz="800"/>
            </a:p>
          </p:txBody>
        </p:sp>
        <p:sp>
          <p:nvSpPr>
            <p:cNvPr id="1281" name="Text Placeholder 2">
              <a:extLst>
                <a:ext uri="{FF2B5EF4-FFF2-40B4-BE49-F238E27FC236}">
                  <a16:creationId xmlns:a16="http://schemas.microsoft.com/office/drawing/2014/main" id="{0F131C97-67C7-2A90-2FD6-7E5304EA1AEE}"/>
                </a:ext>
              </a:extLst>
            </p:cNvPr>
            <p:cNvSpPr txBox="1">
              <a:spLocks/>
            </p:cNvSpPr>
            <p:nvPr/>
          </p:nvSpPr>
          <p:spPr bwMode="auto">
            <a:xfrm>
              <a:off x="5348808" y="4596242"/>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1%</a:t>
              </a:r>
              <a:endParaRPr lang="en-US" sz="800"/>
            </a:p>
          </p:txBody>
        </p:sp>
        <p:sp>
          <p:nvSpPr>
            <p:cNvPr id="1282" name="Text Placeholder 2">
              <a:extLst>
                <a:ext uri="{FF2B5EF4-FFF2-40B4-BE49-F238E27FC236}">
                  <a16:creationId xmlns:a16="http://schemas.microsoft.com/office/drawing/2014/main" id="{CB715E3F-E9ED-50BD-85E9-B8374B1E5BF9}"/>
                </a:ext>
              </a:extLst>
            </p:cNvPr>
            <p:cNvSpPr txBox="1">
              <a:spLocks/>
            </p:cNvSpPr>
            <p:nvPr/>
          </p:nvSpPr>
          <p:spPr bwMode="auto">
            <a:xfrm>
              <a:off x="6629834" y="4784685"/>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3%</a:t>
              </a:r>
              <a:endParaRPr lang="en-US" sz="800"/>
            </a:p>
          </p:txBody>
        </p:sp>
        <p:sp>
          <p:nvSpPr>
            <p:cNvPr id="1283" name="Text Placeholder 2">
              <a:extLst>
                <a:ext uri="{FF2B5EF4-FFF2-40B4-BE49-F238E27FC236}">
                  <a16:creationId xmlns:a16="http://schemas.microsoft.com/office/drawing/2014/main" id="{03F8E1FC-F299-A485-7115-670311ECC3E3}"/>
                </a:ext>
              </a:extLst>
            </p:cNvPr>
            <p:cNvSpPr txBox="1">
              <a:spLocks/>
            </p:cNvSpPr>
            <p:nvPr/>
          </p:nvSpPr>
          <p:spPr bwMode="auto">
            <a:xfrm>
              <a:off x="6206716" y="4879558"/>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6%</a:t>
              </a:r>
              <a:endParaRPr lang="en-US" sz="800"/>
            </a:p>
          </p:txBody>
        </p:sp>
        <p:sp>
          <p:nvSpPr>
            <p:cNvPr id="1300" name="Text Placeholder 2">
              <a:extLst>
                <a:ext uri="{FF2B5EF4-FFF2-40B4-BE49-F238E27FC236}">
                  <a16:creationId xmlns:a16="http://schemas.microsoft.com/office/drawing/2014/main" id="{ECF296FD-C69C-4BF3-B3A8-D77A49AB211D}"/>
                </a:ext>
              </a:extLst>
            </p:cNvPr>
            <p:cNvSpPr txBox="1">
              <a:spLocks/>
            </p:cNvSpPr>
            <p:nvPr/>
          </p:nvSpPr>
          <p:spPr bwMode="auto">
            <a:xfrm>
              <a:off x="7147044" y="2150672"/>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51%</a:t>
              </a:r>
              <a:endParaRPr lang="en-US" sz="800"/>
            </a:p>
          </p:txBody>
        </p:sp>
        <p:sp>
          <p:nvSpPr>
            <p:cNvPr id="1301" name="Text Placeholder 2">
              <a:extLst>
                <a:ext uri="{FF2B5EF4-FFF2-40B4-BE49-F238E27FC236}">
                  <a16:creationId xmlns:a16="http://schemas.microsoft.com/office/drawing/2014/main" id="{8B444041-748D-A581-841C-2791A66821B2}"/>
                </a:ext>
              </a:extLst>
            </p:cNvPr>
            <p:cNvSpPr txBox="1">
              <a:spLocks/>
            </p:cNvSpPr>
            <p:nvPr/>
          </p:nvSpPr>
          <p:spPr bwMode="auto">
            <a:xfrm>
              <a:off x="6941137" y="2431568"/>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8%</a:t>
              </a:r>
              <a:endParaRPr lang="en-US" sz="800"/>
            </a:p>
          </p:txBody>
        </p:sp>
        <p:sp>
          <p:nvSpPr>
            <p:cNvPr id="1306" name="Text Placeholder 2">
              <a:extLst>
                <a:ext uri="{FF2B5EF4-FFF2-40B4-BE49-F238E27FC236}">
                  <a16:creationId xmlns:a16="http://schemas.microsoft.com/office/drawing/2014/main" id="{408231F3-948B-912E-E518-4E140B75B841}"/>
                </a:ext>
              </a:extLst>
            </p:cNvPr>
            <p:cNvSpPr txBox="1">
              <a:spLocks/>
            </p:cNvSpPr>
            <p:nvPr/>
          </p:nvSpPr>
          <p:spPr bwMode="auto">
            <a:xfrm>
              <a:off x="6928249" y="2526915"/>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8%</a:t>
              </a:r>
              <a:endParaRPr lang="en-US" sz="800"/>
            </a:p>
          </p:txBody>
        </p:sp>
        <p:sp>
          <p:nvSpPr>
            <p:cNvPr id="1309" name="Text Placeholder 2">
              <a:extLst>
                <a:ext uri="{FF2B5EF4-FFF2-40B4-BE49-F238E27FC236}">
                  <a16:creationId xmlns:a16="http://schemas.microsoft.com/office/drawing/2014/main" id="{4343B95C-3EED-EACC-229D-E8F770FFDADF}"/>
                </a:ext>
              </a:extLst>
            </p:cNvPr>
            <p:cNvSpPr txBox="1">
              <a:spLocks/>
            </p:cNvSpPr>
            <p:nvPr/>
          </p:nvSpPr>
          <p:spPr bwMode="auto">
            <a:xfrm>
              <a:off x="6871805" y="2613753"/>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7%</a:t>
              </a:r>
              <a:endParaRPr lang="en-US" sz="800"/>
            </a:p>
          </p:txBody>
        </p:sp>
        <p:sp>
          <p:nvSpPr>
            <p:cNvPr id="1310" name="Text Placeholder 2">
              <a:extLst>
                <a:ext uri="{FF2B5EF4-FFF2-40B4-BE49-F238E27FC236}">
                  <a16:creationId xmlns:a16="http://schemas.microsoft.com/office/drawing/2014/main" id="{03CCEE8F-4CBD-6AA3-6731-7ACD541388FD}"/>
                </a:ext>
              </a:extLst>
            </p:cNvPr>
            <p:cNvSpPr txBox="1">
              <a:spLocks/>
            </p:cNvSpPr>
            <p:nvPr/>
          </p:nvSpPr>
          <p:spPr bwMode="auto">
            <a:xfrm>
              <a:off x="6460058" y="3181897"/>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0%</a:t>
              </a:r>
              <a:endParaRPr lang="en-US" sz="800"/>
            </a:p>
          </p:txBody>
        </p:sp>
        <p:sp>
          <p:nvSpPr>
            <p:cNvPr id="1311" name="Text Placeholder 2">
              <a:extLst>
                <a:ext uri="{FF2B5EF4-FFF2-40B4-BE49-F238E27FC236}">
                  <a16:creationId xmlns:a16="http://schemas.microsoft.com/office/drawing/2014/main" id="{07608753-FF21-CB88-ECD9-29F4721964BF}"/>
                </a:ext>
              </a:extLst>
            </p:cNvPr>
            <p:cNvSpPr txBox="1">
              <a:spLocks/>
            </p:cNvSpPr>
            <p:nvPr/>
          </p:nvSpPr>
          <p:spPr bwMode="auto">
            <a:xfrm>
              <a:off x="6460058" y="3277096"/>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0%</a:t>
              </a:r>
              <a:endParaRPr lang="en-US" sz="800"/>
            </a:p>
          </p:txBody>
        </p:sp>
        <p:sp>
          <p:nvSpPr>
            <p:cNvPr id="1312" name="Text Placeholder 2">
              <a:extLst>
                <a:ext uri="{FF2B5EF4-FFF2-40B4-BE49-F238E27FC236}">
                  <a16:creationId xmlns:a16="http://schemas.microsoft.com/office/drawing/2014/main" id="{C2715A43-E6D3-AC22-6185-80DB4A25B279}"/>
                </a:ext>
              </a:extLst>
            </p:cNvPr>
            <p:cNvSpPr txBox="1">
              <a:spLocks/>
            </p:cNvSpPr>
            <p:nvPr/>
          </p:nvSpPr>
          <p:spPr bwMode="auto">
            <a:xfrm>
              <a:off x="6239944" y="3552242"/>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6%</a:t>
              </a:r>
              <a:endParaRPr lang="en-US" sz="800"/>
            </a:p>
          </p:txBody>
        </p:sp>
        <p:sp>
          <p:nvSpPr>
            <p:cNvPr id="1313" name="Text Placeholder 2">
              <a:extLst>
                <a:ext uri="{FF2B5EF4-FFF2-40B4-BE49-F238E27FC236}">
                  <a16:creationId xmlns:a16="http://schemas.microsoft.com/office/drawing/2014/main" id="{50848745-71B1-534F-CAAF-FAA1730DA4C9}"/>
                </a:ext>
              </a:extLst>
            </p:cNvPr>
            <p:cNvSpPr txBox="1">
              <a:spLocks/>
            </p:cNvSpPr>
            <p:nvPr/>
          </p:nvSpPr>
          <p:spPr bwMode="auto">
            <a:xfrm>
              <a:off x="6177345" y="3655646"/>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5%</a:t>
              </a:r>
              <a:endParaRPr lang="en-US" sz="800"/>
            </a:p>
          </p:txBody>
        </p:sp>
        <p:sp>
          <p:nvSpPr>
            <p:cNvPr id="1314" name="Text Placeholder 2">
              <a:extLst>
                <a:ext uri="{FF2B5EF4-FFF2-40B4-BE49-F238E27FC236}">
                  <a16:creationId xmlns:a16="http://schemas.microsoft.com/office/drawing/2014/main" id="{ABC0FC79-0418-19C7-DA4D-A1C4412BA55F}"/>
                </a:ext>
              </a:extLst>
            </p:cNvPr>
            <p:cNvSpPr txBox="1">
              <a:spLocks/>
            </p:cNvSpPr>
            <p:nvPr/>
          </p:nvSpPr>
          <p:spPr bwMode="auto">
            <a:xfrm>
              <a:off x="6177345" y="3751134"/>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5%</a:t>
              </a:r>
              <a:endParaRPr lang="en-US" sz="800"/>
            </a:p>
          </p:txBody>
        </p:sp>
        <p:sp>
          <p:nvSpPr>
            <p:cNvPr id="1317" name="Text Placeholder 2">
              <a:extLst>
                <a:ext uri="{FF2B5EF4-FFF2-40B4-BE49-F238E27FC236}">
                  <a16:creationId xmlns:a16="http://schemas.microsoft.com/office/drawing/2014/main" id="{747481C4-1364-A59F-086C-ECB1B65C6F5C}"/>
                </a:ext>
              </a:extLst>
            </p:cNvPr>
            <p:cNvSpPr txBox="1">
              <a:spLocks/>
            </p:cNvSpPr>
            <p:nvPr/>
          </p:nvSpPr>
          <p:spPr bwMode="auto">
            <a:xfrm>
              <a:off x="6227654" y="5060116"/>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6%</a:t>
              </a:r>
              <a:endParaRPr lang="en-US" sz="800"/>
            </a:p>
          </p:txBody>
        </p:sp>
        <p:sp>
          <p:nvSpPr>
            <p:cNvPr id="1318" name="Text Placeholder 2">
              <a:extLst>
                <a:ext uri="{FF2B5EF4-FFF2-40B4-BE49-F238E27FC236}">
                  <a16:creationId xmlns:a16="http://schemas.microsoft.com/office/drawing/2014/main" id="{9E871E94-F895-6B0C-3590-F0CD19F5A4B7}"/>
                </a:ext>
              </a:extLst>
            </p:cNvPr>
            <p:cNvSpPr txBox="1">
              <a:spLocks/>
            </p:cNvSpPr>
            <p:nvPr/>
          </p:nvSpPr>
          <p:spPr bwMode="auto">
            <a:xfrm>
              <a:off x="6827068" y="5168160"/>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6%</a:t>
              </a:r>
              <a:endParaRPr lang="en-US" sz="800"/>
            </a:p>
          </p:txBody>
        </p:sp>
        <p:sp>
          <p:nvSpPr>
            <p:cNvPr id="1319" name="Text Placeholder 2">
              <a:extLst>
                <a:ext uri="{FF2B5EF4-FFF2-40B4-BE49-F238E27FC236}">
                  <a16:creationId xmlns:a16="http://schemas.microsoft.com/office/drawing/2014/main" id="{5761C846-343A-02EF-08C4-264629B37F60}"/>
                </a:ext>
              </a:extLst>
            </p:cNvPr>
            <p:cNvSpPr txBox="1">
              <a:spLocks/>
            </p:cNvSpPr>
            <p:nvPr/>
          </p:nvSpPr>
          <p:spPr bwMode="auto">
            <a:xfrm>
              <a:off x="6787533" y="5310930"/>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6%</a:t>
              </a:r>
              <a:endParaRPr lang="en-US" sz="800"/>
            </a:p>
          </p:txBody>
        </p:sp>
        <p:sp>
          <p:nvSpPr>
            <p:cNvPr id="1320" name="Text Placeholder 2">
              <a:extLst>
                <a:ext uri="{FF2B5EF4-FFF2-40B4-BE49-F238E27FC236}">
                  <a16:creationId xmlns:a16="http://schemas.microsoft.com/office/drawing/2014/main" id="{3928079C-F1DB-13E7-7CED-B6197CC4F4FA}"/>
                </a:ext>
              </a:extLst>
            </p:cNvPr>
            <p:cNvSpPr txBox="1">
              <a:spLocks/>
            </p:cNvSpPr>
            <p:nvPr/>
          </p:nvSpPr>
          <p:spPr bwMode="auto">
            <a:xfrm>
              <a:off x="2348998" y="4765676"/>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6%</a:t>
              </a:r>
              <a:endParaRPr lang="en-US" sz="800"/>
            </a:p>
          </p:txBody>
        </p:sp>
        <p:sp>
          <p:nvSpPr>
            <p:cNvPr id="1321" name="Text Placeholder 2">
              <a:extLst>
                <a:ext uri="{FF2B5EF4-FFF2-40B4-BE49-F238E27FC236}">
                  <a16:creationId xmlns:a16="http://schemas.microsoft.com/office/drawing/2014/main" id="{C4D83C92-E6BE-719E-4474-FAA291631C43}"/>
                </a:ext>
              </a:extLst>
            </p:cNvPr>
            <p:cNvSpPr txBox="1">
              <a:spLocks/>
            </p:cNvSpPr>
            <p:nvPr/>
          </p:nvSpPr>
          <p:spPr bwMode="auto">
            <a:xfrm>
              <a:off x="1883338" y="4859338"/>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3%</a:t>
              </a:r>
              <a:endParaRPr lang="en-US" sz="800"/>
            </a:p>
          </p:txBody>
        </p:sp>
        <p:sp>
          <p:nvSpPr>
            <p:cNvPr id="1322" name="Text Placeholder 2">
              <a:extLst>
                <a:ext uri="{FF2B5EF4-FFF2-40B4-BE49-F238E27FC236}">
                  <a16:creationId xmlns:a16="http://schemas.microsoft.com/office/drawing/2014/main" id="{C459800A-A085-4CFE-8ABD-C1D200016105}"/>
                </a:ext>
              </a:extLst>
            </p:cNvPr>
            <p:cNvSpPr txBox="1">
              <a:spLocks/>
            </p:cNvSpPr>
            <p:nvPr/>
          </p:nvSpPr>
          <p:spPr bwMode="auto">
            <a:xfrm>
              <a:off x="2120310" y="5056147"/>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9%</a:t>
              </a:r>
              <a:endParaRPr lang="en-US" sz="800"/>
            </a:p>
          </p:txBody>
        </p:sp>
        <p:sp>
          <p:nvSpPr>
            <p:cNvPr id="1323" name="Text Placeholder 2">
              <a:extLst>
                <a:ext uri="{FF2B5EF4-FFF2-40B4-BE49-F238E27FC236}">
                  <a16:creationId xmlns:a16="http://schemas.microsoft.com/office/drawing/2014/main" id="{BF36846C-C078-B429-97E6-179CC477B3A5}"/>
                </a:ext>
              </a:extLst>
            </p:cNvPr>
            <p:cNvSpPr txBox="1">
              <a:spLocks/>
            </p:cNvSpPr>
            <p:nvPr/>
          </p:nvSpPr>
          <p:spPr bwMode="auto">
            <a:xfrm>
              <a:off x="2406060" y="5135924"/>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4%</a:t>
              </a:r>
              <a:endParaRPr lang="en-US" sz="800"/>
            </a:p>
          </p:txBody>
        </p:sp>
        <p:sp>
          <p:nvSpPr>
            <p:cNvPr id="1324" name="Text Placeholder 2">
              <a:extLst>
                <a:ext uri="{FF2B5EF4-FFF2-40B4-BE49-F238E27FC236}">
                  <a16:creationId xmlns:a16="http://schemas.microsoft.com/office/drawing/2014/main" id="{C7F6279A-2969-13D6-02FC-A7648B5A415E}"/>
                </a:ext>
              </a:extLst>
            </p:cNvPr>
            <p:cNvSpPr txBox="1">
              <a:spLocks/>
            </p:cNvSpPr>
            <p:nvPr/>
          </p:nvSpPr>
          <p:spPr bwMode="auto">
            <a:xfrm>
              <a:off x="2476038" y="5342201"/>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3%</a:t>
              </a:r>
              <a:endParaRPr lang="en-US" sz="800"/>
            </a:p>
          </p:txBody>
        </p:sp>
        <p:sp>
          <p:nvSpPr>
            <p:cNvPr id="1325" name="Text Placeholder 2">
              <a:extLst>
                <a:ext uri="{FF2B5EF4-FFF2-40B4-BE49-F238E27FC236}">
                  <a16:creationId xmlns:a16="http://schemas.microsoft.com/office/drawing/2014/main" id="{24FA6914-C488-925E-97F6-9B6BAC8AE76B}"/>
                </a:ext>
              </a:extLst>
            </p:cNvPr>
            <p:cNvSpPr txBox="1">
              <a:spLocks/>
            </p:cNvSpPr>
            <p:nvPr/>
          </p:nvSpPr>
          <p:spPr bwMode="auto">
            <a:xfrm>
              <a:off x="3118379" y="1763885"/>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12%</a:t>
              </a:r>
              <a:endParaRPr lang="en-US" sz="800"/>
            </a:p>
          </p:txBody>
        </p:sp>
        <p:sp>
          <p:nvSpPr>
            <p:cNvPr id="1326" name="Text Placeholder 2">
              <a:extLst>
                <a:ext uri="{FF2B5EF4-FFF2-40B4-BE49-F238E27FC236}">
                  <a16:creationId xmlns:a16="http://schemas.microsoft.com/office/drawing/2014/main" id="{EC128534-B22C-76FA-E6C0-EA20EA782AA8}"/>
                </a:ext>
              </a:extLst>
            </p:cNvPr>
            <p:cNvSpPr txBox="1">
              <a:spLocks/>
            </p:cNvSpPr>
            <p:nvPr/>
          </p:nvSpPr>
          <p:spPr bwMode="auto">
            <a:xfrm>
              <a:off x="2546879" y="1852196"/>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2%</a:t>
              </a:r>
              <a:endParaRPr lang="en-US" sz="800"/>
            </a:p>
          </p:txBody>
        </p:sp>
        <p:sp>
          <p:nvSpPr>
            <p:cNvPr id="1327" name="Text Placeholder 2">
              <a:extLst>
                <a:ext uri="{FF2B5EF4-FFF2-40B4-BE49-F238E27FC236}">
                  <a16:creationId xmlns:a16="http://schemas.microsoft.com/office/drawing/2014/main" id="{B37FD12E-7C16-5A0C-55EE-E682C2B612A2}"/>
                </a:ext>
              </a:extLst>
            </p:cNvPr>
            <p:cNvSpPr txBox="1">
              <a:spLocks/>
            </p:cNvSpPr>
            <p:nvPr/>
          </p:nvSpPr>
          <p:spPr bwMode="auto">
            <a:xfrm>
              <a:off x="2892956" y="1961357"/>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16%</a:t>
              </a:r>
              <a:endParaRPr lang="en-US" sz="800"/>
            </a:p>
          </p:txBody>
        </p:sp>
        <p:sp>
          <p:nvSpPr>
            <p:cNvPr id="1328" name="Text Placeholder 2">
              <a:extLst>
                <a:ext uri="{FF2B5EF4-FFF2-40B4-BE49-F238E27FC236}">
                  <a16:creationId xmlns:a16="http://schemas.microsoft.com/office/drawing/2014/main" id="{93D96B9F-70B0-7391-2FD3-6B83BF14733F}"/>
                </a:ext>
              </a:extLst>
            </p:cNvPr>
            <p:cNvSpPr txBox="1">
              <a:spLocks/>
            </p:cNvSpPr>
            <p:nvPr/>
          </p:nvSpPr>
          <p:spPr bwMode="auto">
            <a:xfrm>
              <a:off x="2900382" y="2062753"/>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16%</a:t>
              </a:r>
              <a:endParaRPr lang="en-US" sz="800"/>
            </a:p>
          </p:txBody>
        </p:sp>
        <p:sp>
          <p:nvSpPr>
            <p:cNvPr id="1329" name="Text Placeholder 2">
              <a:extLst>
                <a:ext uri="{FF2B5EF4-FFF2-40B4-BE49-F238E27FC236}">
                  <a16:creationId xmlns:a16="http://schemas.microsoft.com/office/drawing/2014/main" id="{80B10E7C-6DF3-30E4-3FCA-E3C8289E0D75}"/>
                </a:ext>
              </a:extLst>
            </p:cNvPr>
            <p:cNvSpPr txBox="1">
              <a:spLocks/>
            </p:cNvSpPr>
            <p:nvPr/>
          </p:nvSpPr>
          <p:spPr bwMode="auto">
            <a:xfrm>
              <a:off x="2651656" y="2136075"/>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0%</a:t>
              </a:r>
              <a:endParaRPr lang="en-US" sz="800"/>
            </a:p>
          </p:txBody>
        </p:sp>
        <p:sp>
          <p:nvSpPr>
            <p:cNvPr id="1332" name="Text Placeholder 2">
              <a:extLst>
                <a:ext uri="{FF2B5EF4-FFF2-40B4-BE49-F238E27FC236}">
                  <a16:creationId xmlns:a16="http://schemas.microsoft.com/office/drawing/2014/main" id="{CB543992-1006-5DED-DD16-91A46C45B9E8}"/>
                </a:ext>
              </a:extLst>
            </p:cNvPr>
            <p:cNvSpPr txBox="1">
              <a:spLocks/>
            </p:cNvSpPr>
            <p:nvPr/>
          </p:nvSpPr>
          <p:spPr bwMode="auto">
            <a:xfrm>
              <a:off x="2479442" y="2249163"/>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3%</a:t>
              </a:r>
              <a:endParaRPr lang="en-US" sz="800"/>
            </a:p>
          </p:txBody>
        </p:sp>
        <p:sp>
          <p:nvSpPr>
            <p:cNvPr id="1335" name="Text Placeholder 2">
              <a:extLst>
                <a:ext uri="{FF2B5EF4-FFF2-40B4-BE49-F238E27FC236}">
                  <a16:creationId xmlns:a16="http://schemas.microsoft.com/office/drawing/2014/main" id="{AEB8DD9B-57EB-BE41-35C9-615FA5D88EA8}"/>
                </a:ext>
              </a:extLst>
            </p:cNvPr>
            <p:cNvSpPr txBox="1">
              <a:spLocks/>
            </p:cNvSpPr>
            <p:nvPr/>
          </p:nvSpPr>
          <p:spPr bwMode="auto">
            <a:xfrm>
              <a:off x="2549292" y="2344037"/>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2%</a:t>
              </a:r>
              <a:endParaRPr lang="en-US" sz="800"/>
            </a:p>
          </p:txBody>
        </p:sp>
        <p:sp>
          <p:nvSpPr>
            <p:cNvPr id="1336" name="Text Placeholder 2">
              <a:extLst>
                <a:ext uri="{FF2B5EF4-FFF2-40B4-BE49-F238E27FC236}">
                  <a16:creationId xmlns:a16="http://schemas.microsoft.com/office/drawing/2014/main" id="{E0AD2453-8624-69FD-B153-851596C75892}"/>
                </a:ext>
              </a:extLst>
            </p:cNvPr>
            <p:cNvSpPr txBox="1">
              <a:spLocks/>
            </p:cNvSpPr>
            <p:nvPr/>
          </p:nvSpPr>
          <p:spPr bwMode="auto">
            <a:xfrm>
              <a:off x="2612792" y="2437983"/>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1%</a:t>
              </a:r>
              <a:endParaRPr lang="en-US" sz="800"/>
            </a:p>
          </p:txBody>
        </p:sp>
        <p:sp>
          <p:nvSpPr>
            <p:cNvPr id="1339" name="Text Placeholder 2">
              <a:extLst>
                <a:ext uri="{FF2B5EF4-FFF2-40B4-BE49-F238E27FC236}">
                  <a16:creationId xmlns:a16="http://schemas.microsoft.com/office/drawing/2014/main" id="{EB568823-1546-3E59-949F-3D73ABA9E48E}"/>
                </a:ext>
              </a:extLst>
            </p:cNvPr>
            <p:cNvSpPr txBox="1">
              <a:spLocks/>
            </p:cNvSpPr>
            <p:nvPr/>
          </p:nvSpPr>
          <p:spPr bwMode="auto">
            <a:xfrm>
              <a:off x="2240689" y="2531646"/>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7%</a:t>
              </a:r>
              <a:endParaRPr lang="en-US" sz="800"/>
            </a:p>
          </p:txBody>
        </p:sp>
        <p:sp>
          <p:nvSpPr>
            <p:cNvPr id="1342" name="Text Placeholder 2">
              <a:extLst>
                <a:ext uri="{FF2B5EF4-FFF2-40B4-BE49-F238E27FC236}">
                  <a16:creationId xmlns:a16="http://schemas.microsoft.com/office/drawing/2014/main" id="{646B982B-B208-241F-35C0-2D96C1230511}"/>
                </a:ext>
              </a:extLst>
            </p:cNvPr>
            <p:cNvSpPr txBox="1">
              <a:spLocks/>
            </p:cNvSpPr>
            <p:nvPr/>
          </p:nvSpPr>
          <p:spPr bwMode="auto">
            <a:xfrm>
              <a:off x="2606442" y="2614572"/>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1%</a:t>
              </a:r>
              <a:endParaRPr lang="en-US" sz="800"/>
            </a:p>
          </p:txBody>
        </p:sp>
        <p:sp>
          <p:nvSpPr>
            <p:cNvPr id="1343" name="Text Placeholder 2">
              <a:extLst>
                <a:ext uri="{FF2B5EF4-FFF2-40B4-BE49-F238E27FC236}">
                  <a16:creationId xmlns:a16="http://schemas.microsoft.com/office/drawing/2014/main" id="{1C674041-DED2-AA48-FA32-5325F1A76616}"/>
                </a:ext>
              </a:extLst>
            </p:cNvPr>
            <p:cNvSpPr txBox="1">
              <a:spLocks/>
            </p:cNvSpPr>
            <p:nvPr/>
          </p:nvSpPr>
          <p:spPr bwMode="auto">
            <a:xfrm>
              <a:off x="2240689" y="2711925"/>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7%</a:t>
              </a:r>
              <a:endParaRPr lang="en-US" sz="800"/>
            </a:p>
          </p:txBody>
        </p:sp>
        <p:sp>
          <p:nvSpPr>
            <p:cNvPr id="1344" name="Text Placeholder 2">
              <a:extLst>
                <a:ext uri="{FF2B5EF4-FFF2-40B4-BE49-F238E27FC236}">
                  <a16:creationId xmlns:a16="http://schemas.microsoft.com/office/drawing/2014/main" id="{85AEE23A-2F68-4D2E-E52B-FCB1621B709F}"/>
                </a:ext>
              </a:extLst>
            </p:cNvPr>
            <p:cNvSpPr txBox="1">
              <a:spLocks/>
            </p:cNvSpPr>
            <p:nvPr/>
          </p:nvSpPr>
          <p:spPr bwMode="auto">
            <a:xfrm>
              <a:off x="2606442" y="2798798"/>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1%</a:t>
              </a:r>
              <a:endParaRPr lang="en-US" sz="800"/>
            </a:p>
          </p:txBody>
        </p:sp>
        <p:sp>
          <p:nvSpPr>
            <p:cNvPr id="1345" name="Text Placeholder 2">
              <a:extLst>
                <a:ext uri="{FF2B5EF4-FFF2-40B4-BE49-F238E27FC236}">
                  <a16:creationId xmlns:a16="http://schemas.microsoft.com/office/drawing/2014/main" id="{E4A5EFE2-74A6-E5E3-4395-24056A09E79B}"/>
                </a:ext>
              </a:extLst>
            </p:cNvPr>
            <p:cNvSpPr txBox="1">
              <a:spLocks/>
            </p:cNvSpPr>
            <p:nvPr/>
          </p:nvSpPr>
          <p:spPr bwMode="auto">
            <a:xfrm>
              <a:off x="2196327" y="2904784"/>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8%</a:t>
              </a:r>
              <a:endParaRPr lang="en-US" sz="800"/>
            </a:p>
          </p:txBody>
        </p:sp>
        <p:sp>
          <p:nvSpPr>
            <p:cNvPr id="1346" name="Text Placeholder 2">
              <a:extLst>
                <a:ext uri="{FF2B5EF4-FFF2-40B4-BE49-F238E27FC236}">
                  <a16:creationId xmlns:a16="http://schemas.microsoft.com/office/drawing/2014/main" id="{B5018F7C-A5AB-053A-CD1F-F0E63F642566}"/>
                </a:ext>
              </a:extLst>
            </p:cNvPr>
            <p:cNvSpPr txBox="1">
              <a:spLocks/>
            </p:cNvSpPr>
            <p:nvPr/>
          </p:nvSpPr>
          <p:spPr bwMode="auto">
            <a:xfrm>
              <a:off x="2240689" y="3001546"/>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7%</a:t>
              </a:r>
              <a:endParaRPr lang="en-US" sz="800"/>
            </a:p>
          </p:txBody>
        </p:sp>
        <p:sp>
          <p:nvSpPr>
            <p:cNvPr id="1349" name="Text Placeholder 2">
              <a:extLst>
                <a:ext uri="{FF2B5EF4-FFF2-40B4-BE49-F238E27FC236}">
                  <a16:creationId xmlns:a16="http://schemas.microsoft.com/office/drawing/2014/main" id="{89AD2BC9-743D-7157-4D73-3CFAD0DED05D}"/>
                </a:ext>
              </a:extLst>
            </p:cNvPr>
            <p:cNvSpPr txBox="1">
              <a:spLocks/>
            </p:cNvSpPr>
            <p:nvPr/>
          </p:nvSpPr>
          <p:spPr bwMode="auto">
            <a:xfrm>
              <a:off x="2523700" y="3089464"/>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2%</a:t>
              </a:r>
              <a:endParaRPr lang="en-US" sz="800"/>
            </a:p>
          </p:txBody>
        </p:sp>
        <p:sp>
          <p:nvSpPr>
            <p:cNvPr id="1350" name="Text Placeholder 2">
              <a:extLst>
                <a:ext uri="{FF2B5EF4-FFF2-40B4-BE49-F238E27FC236}">
                  <a16:creationId xmlns:a16="http://schemas.microsoft.com/office/drawing/2014/main" id="{6234C137-B496-C5C5-C20B-01407C88B5F4}"/>
                </a:ext>
              </a:extLst>
            </p:cNvPr>
            <p:cNvSpPr txBox="1">
              <a:spLocks/>
            </p:cNvSpPr>
            <p:nvPr/>
          </p:nvSpPr>
          <p:spPr bwMode="auto">
            <a:xfrm>
              <a:off x="2196327" y="3178135"/>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8%</a:t>
              </a:r>
              <a:endParaRPr lang="en-US" sz="800"/>
            </a:p>
          </p:txBody>
        </p:sp>
        <p:sp>
          <p:nvSpPr>
            <p:cNvPr id="1351" name="Text Placeholder 2">
              <a:extLst>
                <a:ext uri="{FF2B5EF4-FFF2-40B4-BE49-F238E27FC236}">
                  <a16:creationId xmlns:a16="http://schemas.microsoft.com/office/drawing/2014/main" id="{D52261DE-1D94-5E1B-81DC-42FE6FEEA565}"/>
                </a:ext>
              </a:extLst>
            </p:cNvPr>
            <p:cNvSpPr txBox="1">
              <a:spLocks/>
            </p:cNvSpPr>
            <p:nvPr/>
          </p:nvSpPr>
          <p:spPr bwMode="auto">
            <a:xfrm>
              <a:off x="2120310" y="3290102"/>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9%</a:t>
              </a:r>
              <a:endParaRPr lang="en-US" sz="800"/>
            </a:p>
          </p:txBody>
        </p:sp>
        <p:sp>
          <p:nvSpPr>
            <p:cNvPr id="1354" name="Text Placeholder 2">
              <a:extLst>
                <a:ext uri="{FF2B5EF4-FFF2-40B4-BE49-F238E27FC236}">
                  <a16:creationId xmlns:a16="http://schemas.microsoft.com/office/drawing/2014/main" id="{9078B755-5DAD-1D9D-7609-1D44903A90F9}"/>
                </a:ext>
              </a:extLst>
            </p:cNvPr>
            <p:cNvSpPr txBox="1">
              <a:spLocks/>
            </p:cNvSpPr>
            <p:nvPr/>
          </p:nvSpPr>
          <p:spPr bwMode="auto">
            <a:xfrm>
              <a:off x="2389756" y="3368418"/>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5%</a:t>
              </a:r>
              <a:endParaRPr lang="en-US" sz="800"/>
            </a:p>
          </p:txBody>
        </p:sp>
        <p:sp>
          <p:nvSpPr>
            <p:cNvPr id="1357" name="Text Placeholder 2">
              <a:extLst>
                <a:ext uri="{FF2B5EF4-FFF2-40B4-BE49-F238E27FC236}">
                  <a16:creationId xmlns:a16="http://schemas.microsoft.com/office/drawing/2014/main" id="{4E1C8D91-4FF7-A0A6-0426-897A24458D9B}"/>
                </a:ext>
              </a:extLst>
            </p:cNvPr>
            <p:cNvSpPr txBox="1">
              <a:spLocks/>
            </p:cNvSpPr>
            <p:nvPr/>
          </p:nvSpPr>
          <p:spPr bwMode="auto">
            <a:xfrm>
              <a:off x="2501669" y="3452396"/>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3%</a:t>
              </a:r>
              <a:endParaRPr lang="en-US" sz="800"/>
            </a:p>
          </p:txBody>
        </p:sp>
        <p:sp>
          <p:nvSpPr>
            <p:cNvPr id="1359" name="Text Placeholder 2">
              <a:extLst>
                <a:ext uri="{FF2B5EF4-FFF2-40B4-BE49-F238E27FC236}">
                  <a16:creationId xmlns:a16="http://schemas.microsoft.com/office/drawing/2014/main" id="{4C769E80-CC45-CC08-C46E-FDA93C88FF76}"/>
                </a:ext>
              </a:extLst>
            </p:cNvPr>
            <p:cNvSpPr txBox="1">
              <a:spLocks/>
            </p:cNvSpPr>
            <p:nvPr/>
          </p:nvSpPr>
          <p:spPr bwMode="auto">
            <a:xfrm>
              <a:off x="2253389" y="3513515"/>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7%</a:t>
              </a:r>
              <a:endParaRPr lang="en-US" sz="800"/>
            </a:p>
          </p:txBody>
        </p:sp>
        <p:sp>
          <p:nvSpPr>
            <p:cNvPr id="1360" name="Text Placeholder 2">
              <a:extLst>
                <a:ext uri="{FF2B5EF4-FFF2-40B4-BE49-F238E27FC236}">
                  <a16:creationId xmlns:a16="http://schemas.microsoft.com/office/drawing/2014/main" id="{62EABF08-418F-B363-7B73-C90CE2C0B7A9}"/>
                </a:ext>
              </a:extLst>
            </p:cNvPr>
            <p:cNvSpPr txBox="1">
              <a:spLocks/>
            </p:cNvSpPr>
            <p:nvPr/>
          </p:nvSpPr>
          <p:spPr bwMode="auto">
            <a:xfrm>
              <a:off x="2253389" y="3627398"/>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27%</a:t>
              </a:r>
              <a:endParaRPr lang="en-US" sz="800"/>
            </a:p>
          </p:txBody>
        </p:sp>
        <p:sp>
          <p:nvSpPr>
            <p:cNvPr id="1363" name="Text Placeholder 2">
              <a:extLst>
                <a:ext uri="{FF2B5EF4-FFF2-40B4-BE49-F238E27FC236}">
                  <a16:creationId xmlns:a16="http://schemas.microsoft.com/office/drawing/2014/main" id="{57D3289F-FFB3-3E6D-ECFD-881B3F324211}"/>
                </a:ext>
              </a:extLst>
            </p:cNvPr>
            <p:cNvSpPr txBox="1">
              <a:spLocks/>
            </p:cNvSpPr>
            <p:nvPr/>
          </p:nvSpPr>
          <p:spPr bwMode="auto">
            <a:xfrm>
              <a:off x="1577996" y="3733383"/>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8%</a:t>
              </a:r>
              <a:endParaRPr lang="en-US" sz="800"/>
            </a:p>
          </p:txBody>
        </p:sp>
        <p:sp>
          <p:nvSpPr>
            <p:cNvPr id="1364" name="Text Placeholder 2">
              <a:extLst>
                <a:ext uri="{FF2B5EF4-FFF2-40B4-BE49-F238E27FC236}">
                  <a16:creationId xmlns:a16="http://schemas.microsoft.com/office/drawing/2014/main" id="{690C49E9-25F3-F178-65DE-F3BC19115540}"/>
                </a:ext>
              </a:extLst>
            </p:cNvPr>
            <p:cNvSpPr txBox="1">
              <a:spLocks/>
            </p:cNvSpPr>
            <p:nvPr/>
          </p:nvSpPr>
          <p:spPr bwMode="auto">
            <a:xfrm>
              <a:off x="1883338" y="3828633"/>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3%</a:t>
              </a:r>
              <a:endParaRPr lang="en-US" sz="800"/>
            </a:p>
          </p:txBody>
        </p:sp>
        <p:sp>
          <p:nvSpPr>
            <p:cNvPr id="1367" name="Text Placeholder 2">
              <a:extLst>
                <a:ext uri="{FF2B5EF4-FFF2-40B4-BE49-F238E27FC236}">
                  <a16:creationId xmlns:a16="http://schemas.microsoft.com/office/drawing/2014/main" id="{7684096A-4B32-F5C9-DCF7-924665FD38AB}"/>
                </a:ext>
              </a:extLst>
            </p:cNvPr>
            <p:cNvSpPr txBox="1">
              <a:spLocks/>
            </p:cNvSpPr>
            <p:nvPr/>
          </p:nvSpPr>
          <p:spPr bwMode="auto">
            <a:xfrm>
              <a:off x="1548272" y="3909972"/>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9%</a:t>
              </a:r>
              <a:endParaRPr lang="en-US" sz="800"/>
            </a:p>
          </p:txBody>
        </p:sp>
        <p:sp>
          <p:nvSpPr>
            <p:cNvPr id="1368" name="Text Placeholder 2">
              <a:extLst>
                <a:ext uri="{FF2B5EF4-FFF2-40B4-BE49-F238E27FC236}">
                  <a16:creationId xmlns:a16="http://schemas.microsoft.com/office/drawing/2014/main" id="{BF927D92-916C-A4DE-AD21-72AF8A90CE84}"/>
                </a:ext>
              </a:extLst>
            </p:cNvPr>
            <p:cNvSpPr txBox="1">
              <a:spLocks/>
            </p:cNvSpPr>
            <p:nvPr/>
          </p:nvSpPr>
          <p:spPr bwMode="auto">
            <a:xfrm>
              <a:off x="1355726" y="4015958"/>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2%</a:t>
              </a:r>
              <a:endParaRPr lang="en-US" sz="800"/>
            </a:p>
          </p:txBody>
        </p:sp>
        <p:sp>
          <p:nvSpPr>
            <p:cNvPr id="1371" name="Text Placeholder 2">
              <a:extLst>
                <a:ext uri="{FF2B5EF4-FFF2-40B4-BE49-F238E27FC236}">
                  <a16:creationId xmlns:a16="http://schemas.microsoft.com/office/drawing/2014/main" id="{D090BFE2-6529-7BE0-A314-4EE6A3553C0C}"/>
                </a:ext>
              </a:extLst>
            </p:cNvPr>
            <p:cNvSpPr txBox="1">
              <a:spLocks/>
            </p:cNvSpPr>
            <p:nvPr/>
          </p:nvSpPr>
          <p:spPr bwMode="auto">
            <a:xfrm>
              <a:off x="1430338" y="4114145"/>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1%</a:t>
              </a:r>
              <a:endParaRPr lang="en-US" sz="800"/>
            </a:p>
          </p:txBody>
        </p:sp>
        <p:sp>
          <p:nvSpPr>
            <p:cNvPr id="1374" name="Text Placeholder 2">
              <a:extLst>
                <a:ext uri="{FF2B5EF4-FFF2-40B4-BE49-F238E27FC236}">
                  <a16:creationId xmlns:a16="http://schemas.microsoft.com/office/drawing/2014/main" id="{49733DB6-B279-A1C6-8E08-C37DBAB5DE41}"/>
                </a:ext>
              </a:extLst>
            </p:cNvPr>
            <p:cNvSpPr txBox="1">
              <a:spLocks/>
            </p:cNvSpPr>
            <p:nvPr/>
          </p:nvSpPr>
          <p:spPr bwMode="auto">
            <a:xfrm>
              <a:off x="1730667" y="4203283"/>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6%</a:t>
              </a:r>
              <a:endParaRPr lang="en-US" sz="800"/>
            </a:p>
          </p:txBody>
        </p:sp>
        <p:sp>
          <p:nvSpPr>
            <p:cNvPr id="1375" name="Text Placeholder 2">
              <a:extLst>
                <a:ext uri="{FF2B5EF4-FFF2-40B4-BE49-F238E27FC236}">
                  <a16:creationId xmlns:a16="http://schemas.microsoft.com/office/drawing/2014/main" id="{BD26B457-A23E-82C1-0358-AC6A5EB2354B}"/>
                </a:ext>
              </a:extLst>
            </p:cNvPr>
            <p:cNvSpPr txBox="1">
              <a:spLocks/>
            </p:cNvSpPr>
            <p:nvPr/>
          </p:nvSpPr>
          <p:spPr bwMode="auto">
            <a:xfrm>
              <a:off x="1673685" y="4306053"/>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7%</a:t>
              </a:r>
              <a:endParaRPr lang="en-US" sz="800"/>
            </a:p>
          </p:txBody>
        </p:sp>
        <p:sp>
          <p:nvSpPr>
            <p:cNvPr id="1376" name="Text Placeholder 2">
              <a:extLst>
                <a:ext uri="{FF2B5EF4-FFF2-40B4-BE49-F238E27FC236}">
                  <a16:creationId xmlns:a16="http://schemas.microsoft.com/office/drawing/2014/main" id="{DE04904C-3A08-435A-E962-966A4DD985D3}"/>
                </a:ext>
              </a:extLst>
            </p:cNvPr>
            <p:cNvSpPr txBox="1">
              <a:spLocks/>
            </p:cNvSpPr>
            <p:nvPr/>
          </p:nvSpPr>
          <p:spPr bwMode="auto">
            <a:xfrm>
              <a:off x="1700943" y="4481703"/>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36%</a:t>
              </a:r>
              <a:endParaRPr lang="en-US" sz="800"/>
            </a:p>
          </p:txBody>
        </p:sp>
        <p:sp>
          <p:nvSpPr>
            <p:cNvPr id="1377" name="Text Placeholder 2">
              <a:extLst>
                <a:ext uri="{FF2B5EF4-FFF2-40B4-BE49-F238E27FC236}">
                  <a16:creationId xmlns:a16="http://schemas.microsoft.com/office/drawing/2014/main" id="{8530907B-24D5-7D03-1E5B-8A2015CA700B}"/>
                </a:ext>
              </a:extLst>
            </p:cNvPr>
            <p:cNvSpPr txBox="1">
              <a:spLocks/>
            </p:cNvSpPr>
            <p:nvPr/>
          </p:nvSpPr>
          <p:spPr bwMode="auto">
            <a:xfrm>
              <a:off x="1430338" y="4375717"/>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41%</a:t>
              </a:r>
              <a:endParaRPr lang="en-US" sz="800"/>
            </a:p>
          </p:txBody>
        </p:sp>
      </p:grpSp>
      <p:sp>
        <p:nvSpPr>
          <p:cNvPr id="1378" name="Text Placeholder 2">
            <a:extLst>
              <a:ext uri="{FF2B5EF4-FFF2-40B4-BE49-F238E27FC236}">
                <a16:creationId xmlns:a16="http://schemas.microsoft.com/office/drawing/2014/main" id="{76CD1338-8345-2900-AF05-79C6D31C7482}"/>
              </a:ext>
            </a:extLst>
          </p:cNvPr>
          <p:cNvSpPr txBox="1">
            <a:spLocks/>
          </p:cNvSpPr>
          <p:nvPr/>
        </p:nvSpPr>
        <p:spPr bwMode="auto">
          <a:xfrm>
            <a:off x="939530" y="4657222"/>
            <a:ext cx="305342" cy="21197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800"/>
              <a:t>53%</a:t>
            </a:r>
            <a:endParaRPr lang="en-US" sz="800"/>
          </a:p>
        </p:txBody>
      </p:sp>
      <p:pic>
        <p:nvPicPr>
          <p:cNvPr id="5" name="Picture 4">
            <a:extLst>
              <a:ext uri="{FF2B5EF4-FFF2-40B4-BE49-F238E27FC236}">
                <a16:creationId xmlns:a16="http://schemas.microsoft.com/office/drawing/2014/main" id="{882FDFBF-B999-69B6-9DBD-1080166D8805}"/>
              </a:ext>
            </a:extLst>
          </p:cNvPr>
          <p:cNvPicPr>
            <a:picLocks noChangeAspect="1"/>
          </p:cNvPicPr>
          <p:nvPr/>
        </p:nvPicPr>
        <p:blipFill>
          <a:blip r:embed="rId59" cstate="screen">
            <a:extLst>
              <a:ext uri="{28A0092B-C50C-407E-A947-70E740481C1C}">
                <a14:useLocalDpi xmlns:a14="http://schemas.microsoft.com/office/drawing/2010/main"/>
              </a:ext>
            </a:extLst>
          </a:blip>
          <a:stretch>
            <a:fillRect/>
          </a:stretch>
        </p:blipFill>
        <p:spPr>
          <a:xfrm>
            <a:off x="8354763" y="4910448"/>
            <a:ext cx="211962" cy="138450"/>
          </a:xfrm>
          <a:prstGeom prst="rect">
            <a:avLst/>
          </a:prstGeom>
        </p:spPr>
      </p:pic>
    </p:spTree>
    <p:extLst>
      <p:ext uri="{BB962C8B-B14F-4D97-AF65-F5344CB8AC3E}">
        <p14:creationId xmlns:p14="http://schemas.microsoft.com/office/powerpoint/2010/main" val="37406305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a:xfrm>
            <a:off x="831850" y="3857376"/>
            <a:ext cx="10515600" cy="2436792"/>
          </a:xfrm>
        </p:spPr>
        <p:txBody>
          <a:bodyPr vert="horz"/>
          <a:lstStyle/>
          <a:p>
            <a:r>
              <a:rPr lang="en-US">
                <a:effectLst>
                  <a:outerShdw blurRad="50800" dist="38100" dir="8100000" algn="tr" rotWithShape="0">
                    <a:prstClr val="black">
                      <a:alpha val="40000"/>
                    </a:prstClr>
                  </a:outerShdw>
                </a:effectLst>
              </a:rPr>
              <a:t>Supply Chain</a:t>
            </a:r>
          </a:p>
        </p:txBody>
      </p:sp>
    </p:spTree>
    <p:custDataLst>
      <p:tags r:id="rId1"/>
    </p:custDataLst>
    <p:extLst>
      <p:ext uri="{BB962C8B-B14F-4D97-AF65-F5344CB8AC3E}">
        <p14:creationId xmlns:p14="http://schemas.microsoft.com/office/powerpoint/2010/main" val="6848332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25B83C-CFF9-CFFA-68AF-4CC9BD911CC3}"/>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5B07E8E-0847-D936-C0B5-EFBE6EC294E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2" name="think-cell data - do not delete" hidden="1">
                        <a:extLst>
                          <a:ext uri="{FF2B5EF4-FFF2-40B4-BE49-F238E27FC236}">
                            <a16:creationId xmlns:a16="http://schemas.microsoft.com/office/drawing/2014/main" id="{35B07E8E-0847-D936-C0B5-EFBE6EC294E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4" name="btfpNotesBox111697">
            <a:extLst>
              <a:ext uri="{FF2B5EF4-FFF2-40B4-BE49-F238E27FC236}">
                <a16:creationId xmlns:a16="http://schemas.microsoft.com/office/drawing/2014/main" id="{BC903DB9-EECE-32A8-6480-06297071A04A}"/>
              </a:ext>
            </a:extLst>
          </p:cNvPr>
          <p:cNvSpPr txBox="1"/>
          <p:nvPr>
            <p:custDataLst>
              <p:tags r:id="rId3"/>
            </p:custDataLst>
          </p:nvPr>
        </p:nvSpPr>
        <p:spPr bwMode="gray">
          <a:xfrm>
            <a:off x="330200" y="6309360"/>
            <a:ext cx="115316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pic>
        <p:nvPicPr>
          <p:cNvPr id="7" name="Picture 2" descr="Piping in a building in blue tone color">
            <a:extLst>
              <a:ext uri="{FF2B5EF4-FFF2-40B4-BE49-F238E27FC236}">
                <a16:creationId xmlns:a16="http://schemas.microsoft.com/office/drawing/2014/main" id="{7FFA41AC-0118-E429-5D97-6BCE19362872}"/>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p:blipFill>
        <p:spPr bwMode="auto">
          <a:xfrm>
            <a:off x="499908" y="693807"/>
            <a:ext cx="3510672" cy="5270488"/>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2">
            <a:extLst>
              <a:ext uri="{FF2B5EF4-FFF2-40B4-BE49-F238E27FC236}">
                <a16:creationId xmlns:a16="http://schemas.microsoft.com/office/drawing/2014/main" id="{3A00F9D3-8F30-6F36-5E8D-1FBE45BB552E}"/>
              </a:ext>
            </a:extLst>
          </p:cNvPr>
          <p:cNvSpPr txBox="1">
            <a:spLocks/>
          </p:cNvSpPr>
          <p:nvPr/>
        </p:nvSpPr>
        <p:spPr>
          <a:xfrm>
            <a:off x="672895" y="5065842"/>
            <a:ext cx="3165987" cy="784830"/>
          </a:xfrm>
          <a:prstGeom prst="rect">
            <a:avLst/>
          </a:prstGeom>
          <a:solidFill>
            <a:srgbClr val="9D9D9D">
              <a:alpha val="67059"/>
            </a:srgbClr>
          </a:solidFill>
        </p:spPr>
        <p:txBody>
          <a:bodyPr vert="horz" lIns="91440" tIns="0" rIns="91440" bIns="45720" rtlCol="0" anchor="b" anchorCtr="0">
            <a:spAutoFit/>
          </a:bodyPr>
          <a:lstStyle>
            <a:defPPr>
              <a:defRPr lang="en-US"/>
            </a:defPPr>
            <a:lvl1pPr marL="0" marR="0" lvl="0" indent="0" fontAlgn="auto">
              <a:lnSpc>
                <a:spcPct val="100000"/>
              </a:lnSpc>
              <a:spcBef>
                <a:spcPct val="0"/>
              </a:spcBef>
              <a:spcAft>
                <a:spcPts val="0"/>
              </a:spcAft>
              <a:buClrTx/>
              <a:buSzTx/>
              <a:buFontTx/>
              <a:buNone/>
              <a:tabLst/>
              <a:defRPr kumimoji="0" sz="2400" b="1" i="0" u="none" strike="noStrike" cap="none" spc="0" normalizeH="0" baseline="0">
                <a:ln>
                  <a:noFill/>
                </a:ln>
                <a:solidFill>
                  <a:srgbClr val="FFFFFF"/>
                </a:solidFill>
                <a:effectLst/>
                <a:uLnTx/>
                <a:uFillTx/>
                <a:latin typeface="Arial"/>
                <a:ea typeface="+mj-ea"/>
                <a:cs typeface="+mj-cs"/>
              </a:defRPr>
            </a:lvl1pPr>
          </a:lstStyle>
          <a:p>
            <a:r>
              <a:rPr lang="en-US"/>
              <a:t>Key messages</a:t>
            </a:r>
            <a:br>
              <a:rPr lang="en-US"/>
            </a:br>
            <a:r>
              <a:rPr lang="en-US" b="0"/>
              <a:t>Supply Chain</a:t>
            </a:r>
          </a:p>
        </p:txBody>
      </p:sp>
      <p:sp>
        <p:nvSpPr>
          <p:cNvPr id="15" name="btfpBulletedList771181">
            <a:extLst>
              <a:ext uri="{FF2B5EF4-FFF2-40B4-BE49-F238E27FC236}">
                <a16:creationId xmlns:a16="http://schemas.microsoft.com/office/drawing/2014/main" id="{C0362BB0-67BC-55AA-3E40-724244F0CAE9}"/>
              </a:ext>
            </a:extLst>
          </p:cNvPr>
          <p:cNvSpPr txBox="1"/>
          <p:nvPr>
            <p:custDataLst>
              <p:tags r:id="rId4"/>
            </p:custDataLst>
          </p:nvPr>
        </p:nvSpPr>
        <p:spPr bwMode="gray">
          <a:xfrm>
            <a:off x="4230892" y="1288821"/>
            <a:ext cx="7507288" cy="442035"/>
          </a:xfrm>
          <a:prstGeom prst="rect">
            <a:avLst/>
          </a:prstGeom>
          <a:noFill/>
        </p:spPr>
        <p:txBody>
          <a:bodyPr vert="horz" wrap="square" lIns="36000" tIns="36000" rIns="36000" bIns="36000" rtlCol="0" anchor="t">
            <a:spAutoFit/>
          </a:bodyPr>
          <a:lstStyle/>
          <a:p>
            <a:pPr marL="0" indent="0">
              <a:spcBef>
                <a:spcPts val="1800"/>
              </a:spcBef>
              <a:buNone/>
            </a:pPr>
            <a:r>
              <a:rPr lang="en-US" sz="1200" b="1"/>
              <a:t>Despite 60% of nuclear power plants being in the West, more than 50% of OEM and critical component capacity is in China today.</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 name="btfpBulletedList771181">
            <a:extLst>
              <a:ext uri="{FF2B5EF4-FFF2-40B4-BE49-F238E27FC236}">
                <a16:creationId xmlns:a16="http://schemas.microsoft.com/office/drawing/2014/main" id="{C8B65ED9-EB5F-F587-F976-6E840AEB1752}"/>
              </a:ext>
            </a:extLst>
          </p:cNvPr>
          <p:cNvSpPr txBox="1"/>
          <p:nvPr>
            <p:custDataLst>
              <p:tags r:id="rId5"/>
            </p:custDataLst>
          </p:nvPr>
        </p:nvSpPr>
        <p:spPr bwMode="gray">
          <a:xfrm>
            <a:off x="4230892" y="1818892"/>
            <a:ext cx="7507288" cy="1149921"/>
          </a:xfrm>
          <a:prstGeom prst="rect">
            <a:avLst/>
          </a:prstGeom>
          <a:noFill/>
        </p:spPr>
        <p:txBody>
          <a:bodyPr vert="horz" wrap="square" lIns="36000" tIns="36000" rIns="36000" bIns="36000" rtlCol="0" anchor="t">
            <a:spAutoFit/>
          </a:bodyPr>
          <a:lstStyle/>
          <a:p>
            <a:pPr marL="0" indent="0">
              <a:spcBef>
                <a:spcPts val="1800"/>
              </a:spcBef>
              <a:buNone/>
            </a:pPr>
            <a:r>
              <a:rPr lang="en-US" sz="1200" b="1"/>
              <a:t>Historically, countries that are actively building new nuclear reactors have also had the largest reactor OEMs.</a:t>
            </a:r>
          </a:p>
          <a:p>
            <a:pPr marL="355600" lvl="1" indent="-177800" defTabSz="711200">
              <a:spcBef>
                <a:spcPts val="600"/>
              </a:spcBef>
              <a:buFontTx/>
              <a:buChar char="–"/>
              <a:defRPr/>
            </a:pPr>
            <a:r>
              <a:rPr lang="en-US" sz="1200">
                <a:solidFill>
                  <a:srgbClr val="000000"/>
                </a:solidFill>
                <a:latin typeface="Arial"/>
              </a:rPr>
              <a:t>During the 1970’s nuclear reactor boom in the West, Westinghouse, GE, and Framatome accounted for 90% of new-build reactors.</a:t>
            </a:r>
          </a:p>
          <a:p>
            <a:pPr marL="355600" lvl="1" indent="-177800" defTabSz="711200">
              <a:spcBef>
                <a:spcPts val="600"/>
              </a:spcBef>
              <a:buFontTx/>
              <a:buChar char="–"/>
              <a:defRPr/>
            </a:pPr>
            <a:r>
              <a:rPr lang="en-US" sz="1200">
                <a:solidFill>
                  <a:srgbClr val="000000"/>
                </a:solidFill>
                <a:latin typeface="Arial"/>
              </a:rPr>
              <a:t>Today, most new reactors are built by CNNC, </a:t>
            </a:r>
            <a:r>
              <a:rPr lang="en-US" sz="1200" err="1">
                <a:solidFill>
                  <a:srgbClr val="000000"/>
                </a:solidFill>
                <a:latin typeface="Arial"/>
              </a:rPr>
              <a:t>Rosatom</a:t>
            </a:r>
            <a:r>
              <a:rPr lang="en-US" sz="1200">
                <a:solidFill>
                  <a:srgbClr val="000000"/>
                </a:solidFill>
                <a:latin typeface="Arial"/>
              </a:rPr>
              <a:t>, and </a:t>
            </a:r>
            <a:fld id="{6F4FE19D-B8A3-4F11-903C-C9160BB14242}" type="datetime'''Ato''''''m''e''''''''n''''''''ergom''a''s''''h'''''''''''">
              <a:rPr lang="en-US" altLang="en-US" sz="1200" smtClean="0">
                <a:effectLst/>
              </a:rPr>
              <a:pPr marL="355600" lvl="1" indent="-177800" defTabSz="711200">
                <a:spcBef>
                  <a:spcPts val="600"/>
                </a:spcBef>
                <a:buFontTx/>
                <a:buChar char="–"/>
                <a:defRPr/>
              </a:pPr>
              <a:t>Atomenergomash</a:t>
            </a:fld>
            <a:r>
              <a:rPr lang="en-US" altLang="en-US" sz="1200">
                <a:effectLst/>
              </a:rPr>
              <a:t>.</a:t>
            </a:r>
            <a:endParaRPr lang="en-US" sz="1200">
              <a:solidFill>
                <a:srgbClr val="000000"/>
              </a:solidFill>
              <a:latin typeface="Arial"/>
            </a:endParaRPr>
          </a:p>
        </p:txBody>
      </p:sp>
      <p:cxnSp>
        <p:nvCxnSpPr>
          <p:cNvPr id="9" name="Straight Connector 8">
            <a:extLst>
              <a:ext uri="{FF2B5EF4-FFF2-40B4-BE49-F238E27FC236}">
                <a16:creationId xmlns:a16="http://schemas.microsoft.com/office/drawing/2014/main" id="{D354CCF0-4EDD-F9E5-D160-42D85734FEBD}"/>
              </a:ext>
            </a:extLst>
          </p:cNvPr>
          <p:cNvCxnSpPr>
            <a:cxnSpLocks/>
          </p:cNvCxnSpPr>
          <p:nvPr/>
        </p:nvCxnSpPr>
        <p:spPr bwMode="gray">
          <a:xfrm>
            <a:off x="4216605" y="177487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E0DEC80-9FA0-948D-132C-BF82B07E75A5}"/>
              </a:ext>
            </a:extLst>
          </p:cNvPr>
          <p:cNvCxnSpPr>
            <a:cxnSpLocks/>
          </p:cNvCxnSpPr>
          <p:nvPr/>
        </p:nvCxnSpPr>
        <p:spPr bwMode="gray">
          <a:xfrm>
            <a:off x="4216605" y="301283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 name="btfpBulletedList771181">
            <a:extLst>
              <a:ext uri="{FF2B5EF4-FFF2-40B4-BE49-F238E27FC236}">
                <a16:creationId xmlns:a16="http://schemas.microsoft.com/office/drawing/2014/main" id="{C02C8B21-7408-AF94-E9A8-B90E8F924681}"/>
              </a:ext>
            </a:extLst>
          </p:cNvPr>
          <p:cNvSpPr txBox="1"/>
          <p:nvPr>
            <p:custDataLst>
              <p:tags r:id="rId6"/>
            </p:custDataLst>
          </p:nvPr>
        </p:nvSpPr>
        <p:spPr bwMode="gray">
          <a:xfrm>
            <a:off x="4230892" y="3056849"/>
            <a:ext cx="7507288" cy="1149921"/>
          </a:xfrm>
          <a:prstGeom prst="rect">
            <a:avLst/>
          </a:prstGeom>
          <a:noFill/>
        </p:spPr>
        <p:txBody>
          <a:bodyPr vert="horz" wrap="square" lIns="36000" tIns="36000" rIns="36000" bIns="36000" rtlCol="0" anchor="t">
            <a:spAutoFit/>
          </a:bodyPr>
          <a:lstStyle/>
          <a:p>
            <a:pPr marL="0" indent="0">
              <a:spcBef>
                <a:spcPts val="1800"/>
              </a:spcBef>
              <a:buNone/>
            </a:pPr>
            <a:r>
              <a:rPr lang="en-US" sz="1200" b="1" dirty="0"/>
              <a:t>Uranium producing and consuming countries have almost no overlap, as most uranium resources are situated in Kazakhstan, Canada, and Australia.</a:t>
            </a:r>
          </a:p>
          <a:p>
            <a:pPr marL="355600" lvl="1" indent="-177800" defTabSz="711200">
              <a:spcBef>
                <a:spcPts val="600"/>
              </a:spcBef>
              <a:buFontTx/>
              <a:buChar char="–"/>
              <a:defRPr/>
            </a:pPr>
            <a:r>
              <a:rPr lang="en-US" sz="1200" dirty="0">
                <a:solidFill>
                  <a:srgbClr val="000000"/>
                </a:solidFill>
                <a:latin typeface="Arial"/>
              </a:rPr>
              <a:t>The world requirement for uranium ore was 68 </a:t>
            </a:r>
            <a:r>
              <a:rPr lang="en-US" sz="1200" dirty="0" err="1">
                <a:solidFill>
                  <a:srgbClr val="000000"/>
                </a:solidFill>
                <a:latin typeface="Arial"/>
              </a:rPr>
              <a:t>kilotonnes</a:t>
            </a:r>
            <a:r>
              <a:rPr lang="en-US" sz="1200" dirty="0">
                <a:solidFill>
                  <a:srgbClr val="000000"/>
                </a:solidFill>
                <a:latin typeface="Arial"/>
              </a:rPr>
              <a:t> in 2023. This is significantly more than the 55 kt produced. The difference is made up using stockpiles and recycled uranium.</a:t>
            </a:r>
          </a:p>
          <a:p>
            <a:pPr marL="355600" lvl="1" indent="-177800" defTabSz="711200">
              <a:spcBef>
                <a:spcPts val="600"/>
              </a:spcBef>
              <a:buFontTx/>
              <a:buChar char="–"/>
              <a:defRPr/>
            </a:pPr>
            <a:r>
              <a:rPr lang="en-US" sz="1200" dirty="0">
                <a:solidFill>
                  <a:srgbClr val="000000"/>
                </a:solidFill>
                <a:latin typeface="Arial"/>
              </a:rPr>
              <a:t>The West is highly dependent on Canada and Kazakhstan for its uranium ore.</a:t>
            </a:r>
          </a:p>
        </p:txBody>
      </p:sp>
      <p:sp>
        <p:nvSpPr>
          <p:cNvPr id="16" name="btfpBulletedList771181">
            <a:extLst>
              <a:ext uri="{FF2B5EF4-FFF2-40B4-BE49-F238E27FC236}">
                <a16:creationId xmlns:a16="http://schemas.microsoft.com/office/drawing/2014/main" id="{A978D2C1-FA93-6FC1-F9D2-97EFDB4650E2}"/>
              </a:ext>
            </a:extLst>
          </p:cNvPr>
          <p:cNvSpPr txBox="1"/>
          <p:nvPr>
            <p:custDataLst>
              <p:tags r:id="rId7"/>
            </p:custDataLst>
          </p:nvPr>
        </p:nvSpPr>
        <p:spPr bwMode="gray">
          <a:xfrm>
            <a:off x="4230892" y="4294808"/>
            <a:ext cx="7507288" cy="1334587"/>
          </a:xfrm>
          <a:prstGeom prst="rect">
            <a:avLst/>
          </a:prstGeom>
          <a:noFill/>
        </p:spPr>
        <p:txBody>
          <a:bodyPr vert="horz" wrap="square" lIns="36000" tIns="36000" rIns="36000" bIns="36000" rtlCol="0" anchor="t">
            <a:spAutoFit/>
          </a:bodyPr>
          <a:lstStyle/>
          <a:p>
            <a:pPr marL="0" indent="0">
              <a:spcBef>
                <a:spcPts val="1800"/>
              </a:spcBef>
              <a:buNone/>
            </a:pPr>
            <a:r>
              <a:rPr lang="en-US" sz="1200" b="1"/>
              <a:t>Mining and enrichment are dominated by a few businesses mostly in Kazakhstan and Russia, while fuel is produced typically in the country where the reactor is located.</a:t>
            </a:r>
          </a:p>
          <a:p>
            <a:pPr marL="355600" lvl="1" indent="-177800" defTabSz="711200">
              <a:spcBef>
                <a:spcPts val="600"/>
              </a:spcBef>
              <a:buFontTx/>
              <a:buChar char="–"/>
              <a:defRPr/>
            </a:pPr>
            <a:r>
              <a:rPr lang="en-US" sz="1200">
                <a:solidFill>
                  <a:srgbClr val="000000"/>
                </a:solidFill>
                <a:latin typeface="Arial"/>
              </a:rPr>
              <a:t>Europe and the United States must invest in uranium enrichment facilities if they want to reduce their dependency on Russia and China.</a:t>
            </a:r>
          </a:p>
          <a:p>
            <a:pPr marL="355600" lvl="1" indent="-177800" defTabSz="711200">
              <a:spcBef>
                <a:spcPts val="600"/>
              </a:spcBef>
              <a:buFontTx/>
              <a:buChar char="–"/>
              <a:defRPr/>
            </a:pPr>
            <a:r>
              <a:rPr lang="en-US" sz="1200">
                <a:solidFill>
                  <a:srgbClr val="000000"/>
                </a:solidFill>
                <a:latin typeface="Arial"/>
              </a:rPr>
              <a:t>Only a few commercial businesses reprocess nuclear fuel. The United States closed its reprocessing plants in the 1970s.</a:t>
            </a:r>
          </a:p>
        </p:txBody>
      </p:sp>
      <p:cxnSp>
        <p:nvCxnSpPr>
          <p:cNvPr id="17" name="Straight Connector 16">
            <a:extLst>
              <a:ext uri="{FF2B5EF4-FFF2-40B4-BE49-F238E27FC236}">
                <a16:creationId xmlns:a16="http://schemas.microsoft.com/office/drawing/2014/main" id="{CA4AD519-B455-601B-C089-4373A78603B2}"/>
              </a:ext>
            </a:extLst>
          </p:cNvPr>
          <p:cNvCxnSpPr>
            <a:cxnSpLocks/>
          </p:cNvCxnSpPr>
          <p:nvPr/>
        </p:nvCxnSpPr>
        <p:spPr bwMode="gray">
          <a:xfrm>
            <a:off x="4216605" y="425078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8013885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EB42C-9ED7-D0AF-0F0B-2F2B1C0C39C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EDC154C-DCDF-B511-2020-FCF488092E2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4" name="think-cell data - do not delete" hidden="1">
                        <a:extLst>
                          <a:ext uri="{FF2B5EF4-FFF2-40B4-BE49-F238E27FC236}">
                            <a16:creationId xmlns:a16="http://schemas.microsoft.com/office/drawing/2014/main" id="{2EDC154C-DCDF-B511-2020-FCF488092E27}"/>
                          </a:ext>
                        </a:extLst>
                      </p:cNvPr>
                      <p:cNvPicPr/>
                      <p:nvPr/>
                    </p:nvPicPr>
                    <p:blipFill>
                      <a:blip r:embed="rId27"/>
                      <a:stretch>
                        <a:fillRect/>
                      </a:stretch>
                    </p:blipFill>
                    <p:spPr>
                      <a:xfrm>
                        <a:off x="1588" y="1588"/>
                        <a:ext cx="1227" cy="1588"/>
                      </a:xfrm>
                      <a:prstGeom prst="rect">
                        <a:avLst/>
                      </a:prstGeom>
                    </p:spPr>
                  </p:pic>
                </p:oleObj>
              </mc:Fallback>
            </mc:AlternateContent>
          </a:graphicData>
        </a:graphic>
      </p:graphicFrame>
      <p:sp>
        <p:nvSpPr>
          <p:cNvPr id="142" name="Rectangle 141">
            <a:extLst>
              <a:ext uri="{FF2B5EF4-FFF2-40B4-BE49-F238E27FC236}">
                <a16:creationId xmlns:a16="http://schemas.microsoft.com/office/drawing/2014/main" id="{040DF18A-F1E5-3E17-0EE1-9CDD8C321DA7}"/>
              </a:ext>
            </a:extLst>
          </p:cNvPr>
          <p:cNvSpPr/>
          <p:nvPr/>
        </p:nvSpPr>
        <p:spPr bwMode="gray">
          <a:xfrm>
            <a:off x="7984610" y="1890157"/>
            <a:ext cx="1235134" cy="412673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0" name="Rectangle 139">
            <a:extLst>
              <a:ext uri="{FF2B5EF4-FFF2-40B4-BE49-F238E27FC236}">
                <a16:creationId xmlns:a16="http://schemas.microsoft.com/office/drawing/2014/main" id="{D3840C42-D512-6A16-7517-89FA22C5022E}"/>
              </a:ext>
            </a:extLst>
          </p:cNvPr>
          <p:cNvSpPr/>
          <p:nvPr/>
        </p:nvSpPr>
        <p:spPr bwMode="gray">
          <a:xfrm>
            <a:off x="2992061" y="1890157"/>
            <a:ext cx="1247485" cy="412673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 name="Title 1">
            <a:extLst>
              <a:ext uri="{FF2B5EF4-FFF2-40B4-BE49-F238E27FC236}">
                <a16:creationId xmlns:a16="http://schemas.microsoft.com/office/drawing/2014/main" id="{0CA03B50-4C32-17F7-5D32-B376C5D90C3B}"/>
              </a:ext>
            </a:extLst>
          </p:cNvPr>
          <p:cNvSpPr>
            <a:spLocks noGrp="1"/>
          </p:cNvSpPr>
          <p:nvPr>
            <p:ph type="title"/>
          </p:nvPr>
        </p:nvSpPr>
        <p:spPr>
          <a:xfrm>
            <a:off x="330200" y="523318"/>
            <a:ext cx="11531600" cy="659434"/>
          </a:xfrm>
        </p:spPr>
        <p:txBody>
          <a:bodyPr vert="horz">
            <a:noAutofit/>
          </a:bodyPr>
          <a:lstStyle/>
          <a:p>
            <a:r>
              <a:rPr lang="en-US">
                <a:cs typeface="Arial"/>
              </a:rPr>
              <a:t>The traditionally Western nuclear supply chain is increasingly dominated by Chinese players</a:t>
            </a:r>
          </a:p>
        </p:txBody>
      </p:sp>
      <p:sp>
        <p:nvSpPr>
          <p:cNvPr id="13" name="AutoShape 4" descr="https://pus13-powerpoint.officeapps.live.com/pods/GetClipboardImage.ashx?Id=8e837797-54fb-42f9-b673-1f8e4c4c7b96&amp;DC=PUS13&amp;pkey=637c174c-ba70-445b-9c4c-52d4bc10ed04&amp;wdwaccluster=PUS13">
            <a:extLst>
              <a:ext uri="{FF2B5EF4-FFF2-40B4-BE49-F238E27FC236}">
                <a16:creationId xmlns:a16="http://schemas.microsoft.com/office/drawing/2014/main" id="{F240D480-8408-1565-6953-B314B0231B3B}"/>
              </a:ext>
            </a:extLst>
          </p:cNvPr>
          <p:cNvSpPr>
            <a:spLocks noChangeAspect="1" noChangeArrowheads="1"/>
          </p:cNvSpPr>
          <p:nvPr/>
        </p:nvSpPr>
        <p:spPr bwMode="auto">
          <a:xfrm>
            <a:off x="2190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btfpColumnHeaderBoxText223027">
            <a:extLst>
              <a:ext uri="{FF2B5EF4-FFF2-40B4-BE49-F238E27FC236}">
                <a16:creationId xmlns:a16="http://schemas.microsoft.com/office/drawing/2014/main" id="{E5939AB3-88D1-C02C-9F66-979745FD227B}"/>
              </a:ext>
            </a:extLst>
          </p:cNvPr>
          <p:cNvSpPr txBox="1"/>
          <p:nvPr/>
        </p:nvSpPr>
        <p:spPr bwMode="gray">
          <a:xfrm>
            <a:off x="404484" y="1384384"/>
            <a:ext cx="7732890" cy="288219"/>
          </a:xfrm>
          <a:prstGeom prst="rect">
            <a:avLst/>
          </a:prstGeom>
          <a:noFill/>
        </p:spPr>
        <p:txBody>
          <a:bodyPr vert="horz" wrap="square" lIns="0" tIns="36036" rIns="36036" bIns="36036" rtlCol="0" anchor="b">
            <a:spAutoFit/>
          </a:bodyPr>
          <a:lstStyle/>
          <a:p>
            <a:pPr marL="0" indent="0">
              <a:spcBef>
                <a:spcPts val="0"/>
              </a:spcBef>
              <a:buNone/>
            </a:pPr>
            <a:r>
              <a:rPr lang="en-US" sz="1400" b="1">
                <a:solidFill>
                  <a:srgbClr val="000000"/>
                </a:solidFill>
              </a:rPr>
              <a:t>Supply chain tiers nuclear power plants</a:t>
            </a:r>
          </a:p>
        </p:txBody>
      </p:sp>
      <p:cxnSp>
        <p:nvCxnSpPr>
          <p:cNvPr id="14" name="btfpColumnHeaderBoxLine223027">
            <a:extLst>
              <a:ext uri="{FF2B5EF4-FFF2-40B4-BE49-F238E27FC236}">
                <a16:creationId xmlns:a16="http://schemas.microsoft.com/office/drawing/2014/main" id="{19D8AC59-1FB1-4768-FCEE-02EEA15362CF}"/>
              </a:ext>
            </a:extLst>
          </p:cNvPr>
          <p:cNvCxnSpPr>
            <a:cxnSpLocks/>
          </p:cNvCxnSpPr>
          <p:nvPr/>
        </p:nvCxnSpPr>
        <p:spPr bwMode="gray">
          <a:xfrm>
            <a:off x="404484" y="1706517"/>
            <a:ext cx="879616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1E3EE2DA-8FC4-D16A-ADDE-1D43E8AF1985}"/>
              </a:ext>
            </a:extLst>
          </p:cNvPr>
          <p:cNvSpPr txBox="1"/>
          <p:nvPr/>
        </p:nvSpPr>
        <p:spPr bwMode="gray">
          <a:xfrm>
            <a:off x="1770063" y="1893888"/>
            <a:ext cx="1206500" cy="382588"/>
          </a:xfrm>
          <a:prstGeom prst="rect">
            <a:avLst/>
          </a:prstGeom>
          <a:solidFill>
            <a:schemeClr val="tx1">
              <a:lumMod val="75000"/>
              <a:lumOff val="25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000" b="1">
                <a:solidFill>
                  <a:srgbClr val="FFFFFF"/>
                </a:solidFill>
              </a:rPr>
              <a:t>Operators</a:t>
            </a:r>
          </a:p>
        </p:txBody>
      </p:sp>
      <p:sp>
        <p:nvSpPr>
          <p:cNvPr id="84" name="TextBox 83">
            <a:extLst>
              <a:ext uri="{FF2B5EF4-FFF2-40B4-BE49-F238E27FC236}">
                <a16:creationId xmlns:a16="http://schemas.microsoft.com/office/drawing/2014/main" id="{094A4A04-E7DB-8ED9-9CFB-BA59FD5035F3}"/>
              </a:ext>
            </a:extLst>
          </p:cNvPr>
          <p:cNvSpPr txBox="1"/>
          <p:nvPr/>
        </p:nvSpPr>
        <p:spPr bwMode="gray">
          <a:xfrm>
            <a:off x="9403096" y="1367315"/>
            <a:ext cx="2548044" cy="4646133"/>
          </a:xfrm>
          <a:prstGeom prst="rect">
            <a:avLst/>
          </a:prstGeom>
          <a:solidFill>
            <a:srgbClr val="E3E8EE"/>
          </a:solidFill>
        </p:spPr>
        <p:txBody>
          <a:bodyPr wrap="square" lIns="137160" tIns="137160" rIns="274320" bIns="137160" rtlCol="0" anchor="t">
            <a:noAutofit/>
          </a:bodyPr>
          <a:lstStyle/>
          <a:p>
            <a:pPr marL="0" indent="0">
              <a:spcBef>
                <a:spcPts val="0"/>
              </a:spcBef>
              <a:spcAft>
                <a:spcPts val="600"/>
              </a:spcAft>
              <a:buNone/>
            </a:pPr>
            <a:r>
              <a:rPr lang="en-US" sz="1200" b="1"/>
              <a:t>Observations</a:t>
            </a:r>
          </a:p>
          <a:p>
            <a:pPr marL="171450" indent="-171450">
              <a:spcBef>
                <a:spcPts val="0"/>
              </a:spcBef>
              <a:spcAft>
                <a:spcPts val="600"/>
              </a:spcAft>
              <a:buFont typeface="Arial" panose="020B0604020202020204" pitchFamily="34" charset="0"/>
              <a:buChar char="•"/>
            </a:pPr>
            <a:r>
              <a:rPr lang="en-US" sz="1050"/>
              <a:t>China </a:t>
            </a:r>
            <a:r>
              <a:rPr lang="en-US" sz="1050" b="1"/>
              <a:t>hosts 15% of existing nuclear plants </a:t>
            </a:r>
            <a:r>
              <a:rPr lang="en-US" sz="1050"/>
              <a:t>but accounts for 30% of new global constructions. It also leads in </a:t>
            </a:r>
            <a:r>
              <a:rPr lang="en-US" sz="1050" b="1"/>
              <a:t>manufacturing.</a:t>
            </a:r>
          </a:p>
          <a:p>
            <a:pPr marL="171450" indent="-171450">
              <a:spcBef>
                <a:spcPts val="0"/>
              </a:spcBef>
              <a:spcAft>
                <a:spcPts val="600"/>
              </a:spcAft>
              <a:buFont typeface="Arial" panose="020B0604020202020204" pitchFamily="34" charset="0"/>
              <a:buChar char="•"/>
            </a:pPr>
            <a:r>
              <a:rPr lang="en-US" sz="1050"/>
              <a:t>Building a nuclear power plant requires highly specialized knowledge. </a:t>
            </a:r>
            <a:r>
              <a:rPr lang="en-US" sz="1050" b="1"/>
              <a:t>It is for this reason that the nuclear supply chain is highly concentrated.</a:t>
            </a:r>
          </a:p>
          <a:p>
            <a:pPr marL="171450" indent="-171450">
              <a:spcBef>
                <a:spcPts val="0"/>
              </a:spcBef>
              <a:spcAft>
                <a:spcPts val="600"/>
              </a:spcAft>
              <a:buFont typeface="Arial" panose="020B0604020202020204" pitchFamily="34" charset="0"/>
              <a:buChar char="•"/>
            </a:pPr>
            <a:r>
              <a:rPr lang="en-US" sz="1050" b="1"/>
              <a:t>This concentration allows a few players to benefit from the learning curve.</a:t>
            </a:r>
            <a:r>
              <a:rPr lang="en-US" sz="1050"/>
              <a:t> Framatome benefitted from this learning curve when France was building its nuclear fleet in the 1970s and 1980s. Today, CNNC and other Chinese OEMs benefit from the nuclear boom in China.</a:t>
            </a:r>
          </a:p>
          <a:p>
            <a:pPr marL="171450" indent="-171450">
              <a:spcAft>
                <a:spcPts val="600"/>
              </a:spcAft>
              <a:buFont typeface="Arial" panose="020B0604020202020204" pitchFamily="34" charset="0"/>
              <a:buChar char="•"/>
            </a:pPr>
            <a:r>
              <a:rPr lang="en-US" sz="1050"/>
              <a:t>OEMs have provided fuel, parts, and support for 80+ years, creating </a:t>
            </a:r>
            <a:r>
              <a:rPr lang="en-US" sz="1050" b="1"/>
              <a:t>lasting technical and geopolitical dependence</a:t>
            </a:r>
            <a:r>
              <a:rPr lang="en-US" sz="1050"/>
              <a:t>.  </a:t>
            </a:r>
          </a:p>
          <a:p>
            <a:pPr marL="171450" indent="-171450">
              <a:spcBef>
                <a:spcPts val="0"/>
              </a:spcBef>
              <a:spcAft>
                <a:spcPts val="600"/>
              </a:spcAft>
              <a:buFont typeface="Arial" panose="020B0604020202020204" pitchFamily="34" charset="0"/>
              <a:buChar char="•"/>
            </a:pPr>
            <a:endParaRPr lang="en-US" sz="1050"/>
          </a:p>
        </p:txBody>
      </p:sp>
      <p:sp>
        <p:nvSpPr>
          <p:cNvPr id="85" name="btfpNotesBox361175">
            <a:extLst>
              <a:ext uri="{FF2B5EF4-FFF2-40B4-BE49-F238E27FC236}">
                <a16:creationId xmlns:a16="http://schemas.microsoft.com/office/drawing/2014/main" id="{67210EE1-635D-3288-9EC0-A6563A4C753F}"/>
              </a:ext>
            </a:extLst>
          </p:cNvPr>
          <p:cNvSpPr txBox="1"/>
          <p:nvPr>
            <p:custDataLst>
              <p:tags r:id="rId2"/>
            </p:custDataLst>
          </p:nvPr>
        </p:nvSpPr>
        <p:spPr bwMode="gray">
          <a:xfrm>
            <a:off x="330201" y="6186250"/>
            <a:ext cx="9072896" cy="615553"/>
          </a:xfrm>
          <a:prstGeom prst="rect">
            <a:avLst/>
          </a:prstGeom>
          <a:noFill/>
        </p:spPr>
        <p:txBody>
          <a:bodyPr vert="horz" wrap="square" lIns="0" tIns="0" rIns="0" bIns="0" rtlCol="0" anchor="b">
            <a:spAutoFit/>
          </a:bodyPr>
          <a:lstStyle/>
          <a:p>
            <a:endParaRPr lang="en-US" sz="800" dirty="0">
              <a:solidFill>
                <a:srgbClr val="000000"/>
              </a:solidFill>
            </a:endParaRPr>
          </a:p>
          <a:p>
            <a:endParaRPr lang="en-US" sz="800" dirty="0">
              <a:solidFill>
                <a:srgbClr val="000000"/>
              </a:solidFill>
            </a:endParaRPr>
          </a:p>
          <a:p>
            <a:r>
              <a:rPr lang="en-US" sz="800" dirty="0">
                <a:solidFill>
                  <a:srgbClr val="000000"/>
                </a:solidFill>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rPr>
              <a:t>Global Energy Monito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Global Nuclear Power Tracker</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lang="en-US" sz="800" dirty="0">
                <a:solidFill>
                  <a:srgbClr val="000000"/>
                </a:solidFill>
              </a:rPr>
              <a:t>NIA, </a:t>
            </a:r>
            <a:r>
              <a:rPr lang="en-US" sz="800" dirty="0">
                <a:solidFill>
                  <a:srgbClr val="000000"/>
                </a:solidFill>
                <a:hlinkClick r:id="rId29"/>
              </a:rPr>
              <a:t>The Essential Guide to Nuclear Supply Chain</a:t>
            </a:r>
            <a:r>
              <a:rPr lang="en-US" sz="800" dirty="0">
                <a:solidFill>
                  <a:srgbClr val="000000"/>
                </a:solidFill>
              </a:rPr>
              <a:t> (2010); EOG, </a:t>
            </a:r>
            <a:r>
              <a:rPr lang="en-US" sz="800" dirty="0">
                <a:solidFill>
                  <a:srgbClr val="000000"/>
                </a:solidFill>
                <a:hlinkClick r:id="rId30"/>
              </a:rPr>
              <a:t>Top 9 Nuclear Power Companies Leading the Global Energy Future</a:t>
            </a:r>
            <a:r>
              <a:rPr lang="en-US" sz="800" dirty="0">
                <a:solidFill>
                  <a:srgbClr val="000000"/>
                </a:solidFill>
              </a:rPr>
              <a:t> (2024).</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lang="en-US" sz="800" dirty="0">
                <a:solidFill>
                  <a:srgbClr val="000000"/>
                </a:solidFill>
                <a:latin typeface="Arial"/>
              </a:rPr>
              <a:t>, Clara </a:t>
            </a:r>
            <a:r>
              <a:rPr lang="en-US" sz="800" dirty="0" err="1">
                <a:solidFill>
                  <a:srgbClr val="000000"/>
                </a:solidFill>
                <a:latin typeface="Arial"/>
              </a:rPr>
              <a:t>Zibell</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1"/>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2"/>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15" name="btfpColumnHeaderBoxText223027">
            <a:extLst>
              <a:ext uri="{FF2B5EF4-FFF2-40B4-BE49-F238E27FC236}">
                <a16:creationId xmlns:a16="http://schemas.microsoft.com/office/drawing/2014/main" id="{FD6C3B6B-1FDC-E0B9-AA9A-B0E67EC507C2}"/>
              </a:ext>
            </a:extLst>
          </p:cNvPr>
          <p:cNvSpPr txBox="1"/>
          <p:nvPr/>
        </p:nvSpPr>
        <p:spPr bwMode="gray">
          <a:xfrm>
            <a:off x="417566" y="2386848"/>
            <a:ext cx="1357660" cy="242053"/>
          </a:xfrm>
          <a:prstGeom prst="rect">
            <a:avLst/>
          </a:prstGeom>
          <a:noFill/>
        </p:spPr>
        <p:txBody>
          <a:bodyPr vert="horz" wrap="square" lIns="0" tIns="36036" rIns="36036" bIns="36036" rtlCol="0" anchor="b">
            <a:spAutoFit/>
          </a:bodyPr>
          <a:lstStyle/>
          <a:p>
            <a:pPr marL="0" indent="0">
              <a:spcBef>
                <a:spcPts val="0"/>
              </a:spcBef>
              <a:buNone/>
            </a:pPr>
            <a:r>
              <a:rPr lang="en-US" sz="1100" b="1">
                <a:solidFill>
                  <a:srgbClr val="000000"/>
                </a:solidFill>
              </a:rPr>
              <a:t>Description</a:t>
            </a:r>
          </a:p>
        </p:txBody>
      </p:sp>
      <p:sp>
        <p:nvSpPr>
          <p:cNvPr id="16" name="btfpColumnHeaderBoxText223027">
            <a:extLst>
              <a:ext uri="{FF2B5EF4-FFF2-40B4-BE49-F238E27FC236}">
                <a16:creationId xmlns:a16="http://schemas.microsoft.com/office/drawing/2014/main" id="{335A2AC4-6FB0-477E-077E-3C5368393923}"/>
              </a:ext>
            </a:extLst>
          </p:cNvPr>
          <p:cNvSpPr txBox="1"/>
          <p:nvPr/>
        </p:nvSpPr>
        <p:spPr bwMode="gray">
          <a:xfrm>
            <a:off x="417566" y="4264026"/>
            <a:ext cx="1357660" cy="411163"/>
          </a:xfrm>
          <a:prstGeom prst="rect">
            <a:avLst/>
          </a:prstGeom>
          <a:noFill/>
        </p:spPr>
        <p:txBody>
          <a:bodyPr vert="horz" wrap="square" lIns="0" tIns="36036" rIns="36036" bIns="36036" rtlCol="0" anchor="b">
            <a:spAutoFit/>
          </a:bodyPr>
          <a:lstStyle/>
          <a:p>
            <a:pPr marL="0" indent="0">
              <a:spcBef>
                <a:spcPts val="0"/>
              </a:spcBef>
              <a:buNone/>
            </a:pPr>
            <a:r>
              <a:rPr lang="en-US" sz="1100" b="1">
                <a:solidFill>
                  <a:srgbClr val="000000"/>
                </a:solidFill>
              </a:rPr>
              <a:t>Regional market share, </a:t>
            </a:r>
            <a:r>
              <a:rPr lang="en-US" sz="1100">
                <a:solidFill>
                  <a:srgbClr val="000000"/>
                </a:solidFill>
              </a:rPr>
              <a:t>2024</a:t>
            </a:r>
          </a:p>
        </p:txBody>
      </p:sp>
      <p:sp>
        <p:nvSpPr>
          <p:cNvPr id="18" name="TextBox 17">
            <a:extLst>
              <a:ext uri="{FF2B5EF4-FFF2-40B4-BE49-F238E27FC236}">
                <a16:creationId xmlns:a16="http://schemas.microsoft.com/office/drawing/2014/main" id="{8D680BFC-549B-AE1A-CF80-89EA6285EBED}"/>
              </a:ext>
            </a:extLst>
          </p:cNvPr>
          <p:cNvSpPr txBox="1"/>
          <p:nvPr/>
        </p:nvSpPr>
        <p:spPr bwMode="gray">
          <a:xfrm>
            <a:off x="3017203" y="1893888"/>
            <a:ext cx="1204913" cy="382588"/>
          </a:xfrm>
          <a:prstGeom prst="rect">
            <a:avLst/>
          </a:prstGeom>
          <a:solidFill>
            <a:schemeClr val="tx1">
              <a:lumMod val="75000"/>
              <a:lumOff val="25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000" b="1">
                <a:solidFill>
                  <a:srgbClr val="FFFFFF"/>
                </a:solidFill>
              </a:rPr>
              <a:t>OEMs</a:t>
            </a:r>
          </a:p>
        </p:txBody>
      </p:sp>
      <p:sp>
        <p:nvSpPr>
          <p:cNvPr id="19" name="TextBox 18">
            <a:extLst>
              <a:ext uri="{FF2B5EF4-FFF2-40B4-BE49-F238E27FC236}">
                <a16:creationId xmlns:a16="http://schemas.microsoft.com/office/drawing/2014/main" id="{AFE98F83-23C7-5B41-A477-F9D3D0594C2E}"/>
              </a:ext>
            </a:extLst>
          </p:cNvPr>
          <p:cNvSpPr txBox="1"/>
          <p:nvPr/>
        </p:nvSpPr>
        <p:spPr bwMode="gray">
          <a:xfrm>
            <a:off x="4262756" y="1893888"/>
            <a:ext cx="1204913" cy="382588"/>
          </a:xfrm>
          <a:prstGeom prst="rect">
            <a:avLst/>
          </a:prstGeom>
          <a:solidFill>
            <a:schemeClr val="tx1">
              <a:lumMod val="75000"/>
              <a:lumOff val="25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000" b="1">
                <a:solidFill>
                  <a:srgbClr val="FFFFFF"/>
                </a:solidFill>
              </a:rPr>
              <a:t>Major components</a:t>
            </a:r>
          </a:p>
        </p:txBody>
      </p:sp>
      <p:sp>
        <p:nvSpPr>
          <p:cNvPr id="20" name="TextBox 19">
            <a:extLst>
              <a:ext uri="{FF2B5EF4-FFF2-40B4-BE49-F238E27FC236}">
                <a16:creationId xmlns:a16="http://schemas.microsoft.com/office/drawing/2014/main" id="{0BF5A4ED-9CE8-58AB-77EE-127A74CD264D}"/>
              </a:ext>
            </a:extLst>
          </p:cNvPr>
          <p:cNvSpPr txBox="1"/>
          <p:nvPr/>
        </p:nvSpPr>
        <p:spPr bwMode="gray">
          <a:xfrm>
            <a:off x="5508309" y="1893888"/>
            <a:ext cx="1206500" cy="382588"/>
          </a:xfrm>
          <a:prstGeom prst="rect">
            <a:avLst/>
          </a:prstGeom>
          <a:solidFill>
            <a:schemeClr val="tx1">
              <a:lumMod val="75000"/>
              <a:lumOff val="25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000" b="1">
                <a:solidFill>
                  <a:srgbClr val="FFFFFF"/>
                </a:solidFill>
              </a:rPr>
              <a:t>Specialized components</a:t>
            </a:r>
          </a:p>
        </p:txBody>
      </p:sp>
      <p:sp>
        <p:nvSpPr>
          <p:cNvPr id="21" name="TextBox 20">
            <a:extLst>
              <a:ext uri="{FF2B5EF4-FFF2-40B4-BE49-F238E27FC236}">
                <a16:creationId xmlns:a16="http://schemas.microsoft.com/office/drawing/2014/main" id="{79C04F8A-8ACF-2937-BB2A-C9EE025B6194}"/>
              </a:ext>
            </a:extLst>
          </p:cNvPr>
          <p:cNvSpPr txBox="1"/>
          <p:nvPr/>
        </p:nvSpPr>
        <p:spPr bwMode="gray">
          <a:xfrm>
            <a:off x="6755449" y="1893888"/>
            <a:ext cx="1206500" cy="382588"/>
          </a:xfrm>
          <a:prstGeom prst="rect">
            <a:avLst/>
          </a:prstGeom>
          <a:solidFill>
            <a:schemeClr val="tx1">
              <a:lumMod val="75000"/>
              <a:lumOff val="25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000" b="1">
                <a:solidFill>
                  <a:srgbClr val="FFFFFF"/>
                </a:solidFill>
              </a:rPr>
              <a:t>Subcomponents</a:t>
            </a:r>
          </a:p>
        </p:txBody>
      </p:sp>
      <p:sp>
        <p:nvSpPr>
          <p:cNvPr id="22" name="btfpColumnHeaderBoxText223027">
            <a:extLst>
              <a:ext uri="{FF2B5EF4-FFF2-40B4-BE49-F238E27FC236}">
                <a16:creationId xmlns:a16="http://schemas.microsoft.com/office/drawing/2014/main" id="{0F70D6EC-0D54-2ECD-A91F-7AC0C7944A66}"/>
              </a:ext>
            </a:extLst>
          </p:cNvPr>
          <p:cNvSpPr txBox="1"/>
          <p:nvPr/>
        </p:nvSpPr>
        <p:spPr bwMode="gray">
          <a:xfrm>
            <a:off x="417566" y="1970923"/>
            <a:ext cx="1357660" cy="242053"/>
          </a:xfrm>
          <a:prstGeom prst="rect">
            <a:avLst/>
          </a:prstGeom>
          <a:noFill/>
        </p:spPr>
        <p:txBody>
          <a:bodyPr vert="horz" wrap="square" lIns="0" tIns="36036" rIns="36036" bIns="36036" rtlCol="0" anchor="b">
            <a:spAutoFit/>
          </a:bodyPr>
          <a:lstStyle/>
          <a:p>
            <a:pPr marL="0" indent="0">
              <a:spcBef>
                <a:spcPts val="0"/>
              </a:spcBef>
              <a:buNone/>
            </a:pPr>
            <a:r>
              <a:rPr lang="en-US" sz="1100" b="1">
                <a:solidFill>
                  <a:srgbClr val="000000"/>
                </a:solidFill>
              </a:rPr>
              <a:t>Tier</a:t>
            </a:r>
          </a:p>
        </p:txBody>
      </p:sp>
      <p:sp>
        <p:nvSpPr>
          <p:cNvPr id="25" name="btfpColumnHeaderBoxText223027">
            <a:extLst>
              <a:ext uri="{FF2B5EF4-FFF2-40B4-BE49-F238E27FC236}">
                <a16:creationId xmlns:a16="http://schemas.microsoft.com/office/drawing/2014/main" id="{40FDD3FD-DB0E-AB2E-7B11-084F07C918EC}"/>
              </a:ext>
            </a:extLst>
          </p:cNvPr>
          <p:cNvSpPr txBox="1"/>
          <p:nvPr/>
        </p:nvSpPr>
        <p:spPr bwMode="gray">
          <a:xfrm>
            <a:off x="1770063" y="2251117"/>
            <a:ext cx="1206500" cy="719138"/>
          </a:xfrm>
          <a:prstGeom prst="rect">
            <a:avLst/>
          </a:prstGeom>
          <a:noFill/>
        </p:spPr>
        <p:txBody>
          <a:bodyPr vert="horz" wrap="square" lIns="36036" tIns="36036" rIns="36036" bIns="36036" rtlCol="0" anchor="b">
            <a:spAutoFit/>
          </a:bodyPr>
          <a:lstStyle/>
          <a:p>
            <a:pPr marL="0" indent="0">
              <a:spcBef>
                <a:spcPts val="0"/>
              </a:spcBef>
              <a:buNone/>
            </a:pPr>
            <a:r>
              <a:rPr lang="en-US" sz="1050">
                <a:solidFill>
                  <a:srgbClr val="000000"/>
                </a:solidFill>
              </a:rPr>
              <a:t>Mostly electrical utility companies operating nuclear power plants</a:t>
            </a:r>
          </a:p>
        </p:txBody>
      </p:sp>
      <p:sp>
        <p:nvSpPr>
          <p:cNvPr id="26" name="btfpColumnHeaderBoxText223027">
            <a:extLst>
              <a:ext uri="{FF2B5EF4-FFF2-40B4-BE49-F238E27FC236}">
                <a16:creationId xmlns:a16="http://schemas.microsoft.com/office/drawing/2014/main" id="{283E5A7C-DB1A-16C6-AA9F-5A9DB3E82BCE}"/>
              </a:ext>
            </a:extLst>
          </p:cNvPr>
          <p:cNvSpPr txBox="1"/>
          <p:nvPr/>
        </p:nvSpPr>
        <p:spPr bwMode="gray">
          <a:xfrm>
            <a:off x="3012353" y="2290806"/>
            <a:ext cx="1204913" cy="557213"/>
          </a:xfrm>
          <a:prstGeom prst="rect">
            <a:avLst/>
          </a:prstGeom>
          <a:noFill/>
        </p:spPr>
        <p:txBody>
          <a:bodyPr vert="horz" wrap="square" lIns="36036" tIns="36036" rIns="36036" bIns="36036" rtlCol="0" anchor="b">
            <a:spAutoFit/>
          </a:bodyPr>
          <a:lstStyle/>
          <a:p>
            <a:pPr marL="0" indent="0">
              <a:spcBef>
                <a:spcPts val="0"/>
              </a:spcBef>
              <a:buNone/>
            </a:pPr>
            <a:r>
              <a:rPr lang="en-US" sz="1050">
                <a:solidFill>
                  <a:srgbClr val="000000"/>
                </a:solidFill>
              </a:rPr>
              <a:t>Design, engineer, and construct the reactors</a:t>
            </a:r>
          </a:p>
        </p:txBody>
      </p:sp>
      <p:sp>
        <p:nvSpPr>
          <p:cNvPr id="28" name="btfpColumnHeaderBoxText223027">
            <a:extLst>
              <a:ext uri="{FF2B5EF4-FFF2-40B4-BE49-F238E27FC236}">
                <a16:creationId xmlns:a16="http://schemas.microsoft.com/office/drawing/2014/main" id="{FC294C00-AB27-E6DA-8861-E6CA41EEEA2A}"/>
              </a:ext>
            </a:extLst>
          </p:cNvPr>
          <p:cNvSpPr txBox="1"/>
          <p:nvPr/>
        </p:nvSpPr>
        <p:spPr bwMode="gray">
          <a:xfrm>
            <a:off x="4253056" y="2290805"/>
            <a:ext cx="1204913" cy="1041400"/>
          </a:xfrm>
          <a:prstGeom prst="rect">
            <a:avLst/>
          </a:prstGeom>
          <a:noFill/>
        </p:spPr>
        <p:txBody>
          <a:bodyPr vert="horz" wrap="square" lIns="36036" tIns="36036" rIns="36036" bIns="36036" rtlCol="0" anchor="b">
            <a:spAutoFit/>
          </a:bodyPr>
          <a:lstStyle/>
          <a:p>
            <a:pPr marL="0" indent="0">
              <a:spcBef>
                <a:spcPts val="0"/>
              </a:spcBef>
              <a:buNone/>
            </a:pPr>
            <a:r>
              <a:rPr lang="en-US" sz="1050">
                <a:solidFill>
                  <a:srgbClr val="000000"/>
                </a:solidFill>
              </a:rPr>
              <a:t>Produce the large parts of the power plant such as pressure vessels, generators, and reactor vessels</a:t>
            </a:r>
          </a:p>
        </p:txBody>
      </p:sp>
      <p:sp>
        <p:nvSpPr>
          <p:cNvPr id="31" name="btfpColumnHeaderBoxText223027">
            <a:extLst>
              <a:ext uri="{FF2B5EF4-FFF2-40B4-BE49-F238E27FC236}">
                <a16:creationId xmlns:a16="http://schemas.microsoft.com/office/drawing/2014/main" id="{11F21157-24B9-FA8E-4628-5097A72C7344}"/>
              </a:ext>
            </a:extLst>
          </p:cNvPr>
          <p:cNvSpPr txBox="1"/>
          <p:nvPr/>
        </p:nvSpPr>
        <p:spPr bwMode="gray">
          <a:xfrm>
            <a:off x="5493759" y="2290805"/>
            <a:ext cx="1206500" cy="1365250"/>
          </a:xfrm>
          <a:prstGeom prst="rect">
            <a:avLst/>
          </a:prstGeom>
          <a:noFill/>
        </p:spPr>
        <p:txBody>
          <a:bodyPr vert="horz" wrap="square" lIns="36036" tIns="36036" rIns="36036" bIns="36036" rtlCol="0" anchor="b">
            <a:spAutoFit/>
          </a:bodyPr>
          <a:lstStyle/>
          <a:p>
            <a:pPr marL="0" indent="0">
              <a:spcBef>
                <a:spcPts val="0"/>
              </a:spcBef>
              <a:buNone/>
            </a:pPr>
            <a:r>
              <a:rPr lang="en-US" sz="1050">
                <a:solidFill>
                  <a:srgbClr val="000000"/>
                </a:solidFill>
              </a:rPr>
              <a:t>Produce niche components that aren’t specific to nuclear but require high standards, such as electronics, valves, and piping</a:t>
            </a:r>
          </a:p>
        </p:txBody>
      </p:sp>
      <p:sp>
        <p:nvSpPr>
          <p:cNvPr id="33" name="btfpColumnHeaderBoxText223027">
            <a:extLst>
              <a:ext uri="{FF2B5EF4-FFF2-40B4-BE49-F238E27FC236}">
                <a16:creationId xmlns:a16="http://schemas.microsoft.com/office/drawing/2014/main" id="{3C160BC3-487A-5602-3E58-3057A61E8AC8}"/>
              </a:ext>
            </a:extLst>
          </p:cNvPr>
          <p:cNvSpPr txBox="1"/>
          <p:nvPr/>
        </p:nvSpPr>
        <p:spPr bwMode="gray">
          <a:xfrm>
            <a:off x="6736049" y="2290805"/>
            <a:ext cx="1230751" cy="1527175"/>
          </a:xfrm>
          <a:prstGeom prst="rect">
            <a:avLst/>
          </a:prstGeom>
          <a:noFill/>
        </p:spPr>
        <p:txBody>
          <a:bodyPr vert="horz" wrap="square" lIns="36036" tIns="36036" rIns="36036" bIns="36036" rtlCol="0" anchor="b">
            <a:spAutoFit/>
          </a:bodyPr>
          <a:lstStyle/>
          <a:p>
            <a:pPr marL="0" indent="0">
              <a:spcBef>
                <a:spcPts val="0"/>
              </a:spcBef>
              <a:buNone/>
            </a:pPr>
            <a:r>
              <a:rPr lang="en-US" sz="1050">
                <a:solidFill>
                  <a:srgbClr val="000000"/>
                </a:solidFill>
              </a:rPr>
              <a:t>Supply the low-tech components required for a nuclear power plant such as the steel frame, fasteners, and concrete foundation</a:t>
            </a:r>
          </a:p>
        </p:txBody>
      </p:sp>
      <p:sp>
        <p:nvSpPr>
          <p:cNvPr id="36" name="btfpColumnHeaderBoxText223027">
            <a:extLst>
              <a:ext uri="{FF2B5EF4-FFF2-40B4-BE49-F238E27FC236}">
                <a16:creationId xmlns:a16="http://schemas.microsoft.com/office/drawing/2014/main" id="{7815572F-15A8-B0E6-B9FF-130460E896C0}"/>
              </a:ext>
            </a:extLst>
          </p:cNvPr>
          <p:cNvSpPr txBox="1"/>
          <p:nvPr/>
        </p:nvSpPr>
        <p:spPr bwMode="gray">
          <a:xfrm>
            <a:off x="6757267" y="4337050"/>
            <a:ext cx="1206500" cy="233363"/>
          </a:xfrm>
          <a:prstGeom prst="rect">
            <a:avLst/>
          </a:prstGeom>
          <a:noFill/>
        </p:spPr>
        <p:txBody>
          <a:bodyPr vert="horz" wrap="square" lIns="36036" tIns="36036" rIns="36036" bIns="36036" rtlCol="0" anchor="b">
            <a:spAutoFit/>
          </a:bodyPr>
          <a:lstStyle/>
          <a:p>
            <a:pPr marL="0" indent="0">
              <a:spcBef>
                <a:spcPts val="0"/>
              </a:spcBef>
              <a:buNone/>
            </a:pPr>
            <a:r>
              <a:rPr lang="en-US" sz="1050">
                <a:solidFill>
                  <a:srgbClr val="000000"/>
                </a:solidFill>
              </a:rPr>
              <a:t>Local suppliers</a:t>
            </a:r>
          </a:p>
        </p:txBody>
      </p:sp>
      <p:sp>
        <p:nvSpPr>
          <p:cNvPr id="37" name="btfpColumnHeaderBoxText223027">
            <a:extLst>
              <a:ext uri="{FF2B5EF4-FFF2-40B4-BE49-F238E27FC236}">
                <a16:creationId xmlns:a16="http://schemas.microsoft.com/office/drawing/2014/main" id="{BB43F172-2D80-DCDC-5755-20FAA3C8B17D}"/>
              </a:ext>
            </a:extLst>
          </p:cNvPr>
          <p:cNvSpPr txBox="1"/>
          <p:nvPr/>
        </p:nvSpPr>
        <p:spPr bwMode="gray">
          <a:xfrm>
            <a:off x="417566" y="3897313"/>
            <a:ext cx="1357660" cy="241300"/>
          </a:xfrm>
          <a:prstGeom prst="rect">
            <a:avLst/>
          </a:prstGeom>
          <a:noFill/>
        </p:spPr>
        <p:txBody>
          <a:bodyPr vert="horz" wrap="square" lIns="0" tIns="36036" rIns="36036" bIns="36036" rtlCol="0" anchor="b">
            <a:spAutoFit/>
          </a:bodyPr>
          <a:lstStyle/>
          <a:p>
            <a:pPr marL="0" indent="0">
              <a:spcBef>
                <a:spcPts val="0"/>
              </a:spcBef>
              <a:buNone/>
            </a:pPr>
            <a:r>
              <a:rPr lang="en-US" sz="1100" b="1">
                <a:solidFill>
                  <a:srgbClr val="000000"/>
                </a:solidFill>
              </a:rPr>
              <a:t>Number of players</a:t>
            </a:r>
          </a:p>
        </p:txBody>
      </p:sp>
      <p:sp>
        <p:nvSpPr>
          <p:cNvPr id="38" name="btfpColumnHeaderBoxText223027">
            <a:extLst>
              <a:ext uri="{FF2B5EF4-FFF2-40B4-BE49-F238E27FC236}">
                <a16:creationId xmlns:a16="http://schemas.microsoft.com/office/drawing/2014/main" id="{CDC93C2B-37F6-7B23-88A1-4FAF6CB8A6E9}"/>
              </a:ext>
            </a:extLst>
          </p:cNvPr>
          <p:cNvSpPr txBox="1"/>
          <p:nvPr/>
        </p:nvSpPr>
        <p:spPr bwMode="gray">
          <a:xfrm>
            <a:off x="1770063" y="3881438"/>
            <a:ext cx="1206500" cy="234950"/>
          </a:xfrm>
          <a:prstGeom prst="rect">
            <a:avLst/>
          </a:prstGeom>
          <a:noFill/>
        </p:spPr>
        <p:txBody>
          <a:bodyPr vert="horz" wrap="square" lIns="36036" tIns="36036" rIns="36036" bIns="36036" rtlCol="0" anchor="b">
            <a:spAutoFit/>
          </a:bodyPr>
          <a:lstStyle/>
          <a:p>
            <a:pPr marL="0" indent="0">
              <a:spcBef>
                <a:spcPts val="0"/>
              </a:spcBef>
              <a:buNone/>
            </a:pPr>
            <a:r>
              <a:rPr lang="en-US" sz="1050">
                <a:solidFill>
                  <a:srgbClr val="000000"/>
                </a:solidFill>
              </a:rPr>
              <a:t>~200</a:t>
            </a:r>
          </a:p>
        </p:txBody>
      </p:sp>
      <p:sp>
        <p:nvSpPr>
          <p:cNvPr id="39" name="btfpColumnHeaderBoxText223027">
            <a:extLst>
              <a:ext uri="{FF2B5EF4-FFF2-40B4-BE49-F238E27FC236}">
                <a16:creationId xmlns:a16="http://schemas.microsoft.com/office/drawing/2014/main" id="{3E3E7108-1C1B-0900-696A-26947002885A}"/>
              </a:ext>
            </a:extLst>
          </p:cNvPr>
          <p:cNvSpPr txBox="1"/>
          <p:nvPr/>
        </p:nvSpPr>
        <p:spPr bwMode="gray">
          <a:xfrm>
            <a:off x="3071813" y="3881438"/>
            <a:ext cx="1204913" cy="234950"/>
          </a:xfrm>
          <a:prstGeom prst="rect">
            <a:avLst/>
          </a:prstGeom>
          <a:noFill/>
        </p:spPr>
        <p:txBody>
          <a:bodyPr vert="horz" wrap="square" lIns="36036" tIns="36036" rIns="36036" bIns="36036" rtlCol="0" anchor="b">
            <a:spAutoFit/>
          </a:bodyPr>
          <a:lstStyle/>
          <a:p>
            <a:pPr marL="0" indent="0">
              <a:spcBef>
                <a:spcPts val="0"/>
              </a:spcBef>
              <a:buNone/>
            </a:pPr>
            <a:r>
              <a:rPr lang="en-US" sz="1050">
                <a:solidFill>
                  <a:srgbClr val="000000"/>
                </a:solidFill>
              </a:rPr>
              <a:t>10-15</a:t>
            </a:r>
          </a:p>
        </p:txBody>
      </p:sp>
      <p:sp>
        <p:nvSpPr>
          <p:cNvPr id="40" name="btfpColumnHeaderBoxText223027">
            <a:extLst>
              <a:ext uri="{FF2B5EF4-FFF2-40B4-BE49-F238E27FC236}">
                <a16:creationId xmlns:a16="http://schemas.microsoft.com/office/drawing/2014/main" id="{CCF51FD5-6BA4-BBA8-8B6C-1090C986CE0A}"/>
              </a:ext>
            </a:extLst>
          </p:cNvPr>
          <p:cNvSpPr txBox="1"/>
          <p:nvPr/>
        </p:nvSpPr>
        <p:spPr bwMode="gray">
          <a:xfrm>
            <a:off x="4310063" y="3881438"/>
            <a:ext cx="1204913" cy="234950"/>
          </a:xfrm>
          <a:prstGeom prst="rect">
            <a:avLst/>
          </a:prstGeom>
          <a:noFill/>
        </p:spPr>
        <p:txBody>
          <a:bodyPr vert="horz" wrap="square" lIns="36036" tIns="36036" rIns="36036" bIns="36036" rtlCol="0" anchor="b">
            <a:spAutoFit/>
          </a:bodyPr>
          <a:lstStyle/>
          <a:p>
            <a:pPr marL="0" indent="0">
              <a:spcBef>
                <a:spcPts val="0"/>
              </a:spcBef>
              <a:buNone/>
            </a:pPr>
            <a:r>
              <a:rPr lang="en-US" sz="1050">
                <a:solidFill>
                  <a:srgbClr val="000000"/>
                </a:solidFill>
              </a:rPr>
              <a:t>20-30</a:t>
            </a:r>
          </a:p>
        </p:txBody>
      </p:sp>
      <p:sp>
        <p:nvSpPr>
          <p:cNvPr id="41" name="btfpColumnHeaderBoxText223027">
            <a:extLst>
              <a:ext uri="{FF2B5EF4-FFF2-40B4-BE49-F238E27FC236}">
                <a16:creationId xmlns:a16="http://schemas.microsoft.com/office/drawing/2014/main" id="{BABF9CDD-B4AA-2553-0322-539BFE27DB6B}"/>
              </a:ext>
            </a:extLst>
          </p:cNvPr>
          <p:cNvSpPr txBox="1"/>
          <p:nvPr/>
        </p:nvSpPr>
        <p:spPr bwMode="gray">
          <a:xfrm>
            <a:off x="5546725" y="3881438"/>
            <a:ext cx="1206500" cy="234950"/>
          </a:xfrm>
          <a:prstGeom prst="rect">
            <a:avLst/>
          </a:prstGeom>
          <a:noFill/>
        </p:spPr>
        <p:txBody>
          <a:bodyPr vert="horz" wrap="square" lIns="36036" tIns="36036" rIns="36036" bIns="36036" rtlCol="0" anchor="b">
            <a:spAutoFit/>
          </a:bodyPr>
          <a:lstStyle/>
          <a:p>
            <a:pPr marL="0" indent="0">
              <a:spcBef>
                <a:spcPts val="0"/>
              </a:spcBef>
              <a:buNone/>
            </a:pPr>
            <a:r>
              <a:rPr lang="en-US" sz="1050">
                <a:solidFill>
                  <a:srgbClr val="000000"/>
                </a:solidFill>
              </a:rPr>
              <a:t>500-1,000</a:t>
            </a:r>
          </a:p>
        </p:txBody>
      </p:sp>
      <p:sp>
        <p:nvSpPr>
          <p:cNvPr id="43" name="btfpColumnHeaderBoxText223027">
            <a:extLst>
              <a:ext uri="{FF2B5EF4-FFF2-40B4-BE49-F238E27FC236}">
                <a16:creationId xmlns:a16="http://schemas.microsoft.com/office/drawing/2014/main" id="{D28F6271-2AC4-0A73-6668-B126EB4A9AAD}"/>
              </a:ext>
            </a:extLst>
          </p:cNvPr>
          <p:cNvSpPr txBox="1"/>
          <p:nvPr/>
        </p:nvSpPr>
        <p:spPr bwMode="gray">
          <a:xfrm>
            <a:off x="6789738" y="3881438"/>
            <a:ext cx="1204913" cy="234950"/>
          </a:xfrm>
          <a:prstGeom prst="rect">
            <a:avLst/>
          </a:prstGeom>
          <a:noFill/>
        </p:spPr>
        <p:txBody>
          <a:bodyPr vert="horz" wrap="square" lIns="36036" tIns="36036" rIns="36036" bIns="36036" rtlCol="0" anchor="b">
            <a:spAutoFit/>
          </a:bodyPr>
          <a:lstStyle/>
          <a:p>
            <a:pPr marL="0" indent="0">
              <a:spcBef>
                <a:spcPts val="0"/>
              </a:spcBef>
              <a:buNone/>
            </a:pPr>
            <a:r>
              <a:rPr lang="en-US" sz="1050">
                <a:solidFill>
                  <a:srgbClr val="000000"/>
                </a:solidFill>
              </a:rPr>
              <a:t>1,000+</a:t>
            </a:r>
          </a:p>
        </p:txBody>
      </p:sp>
      <p:sp>
        <p:nvSpPr>
          <p:cNvPr id="44" name="btfpColumnHeaderBoxText223027">
            <a:extLst>
              <a:ext uri="{FF2B5EF4-FFF2-40B4-BE49-F238E27FC236}">
                <a16:creationId xmlns:a16="http://schemas.microsoft.com/office/drawing/2014/main" id="{D87147E9-B12A-7F27-9C34-39613074D688}"/>
              </a:ext>
            </a:extLst>
          </p:cNvPr>
          <p:cNvSpPr txBox="1"/>
          <p:nvPr/>
        </p:nvSpPr>
        <p:spPr bwMode="gray">
          <a:xfrm>
            <a:off x="417566" y="4860925"/>
            <a:ext cx="1357660" cy="241300"/>
          </a:xfrm>
          <a:prstGeom prst="rect">
            <a:avLst/>
          </a:prstGeom>
          <a:noFill/>
        </p:spPr>
        <p:txBody>
          <a:bodyPr vert="horz" wrap="square" lIns="0" tIns="36036" rIns="36036" bIns="36036" rtlCol="0" anchor="b">
            <a:spAutoFit/>
          </a:bodyPr>
          <a:lstStyle/>
          <a:p>
            <a:pPr marL="0" indent="0">
              <a:spcBef>
                <a:spcPts val="0"/>
              </a:spcBef>
              <a:buNone/>
            </a:pPr>
            <a:r>
              <a:rPr lang="en-US" sz="1100" b="1">
                <a:solidFill>
                  <a:srgbClr val="000000"/>
                </a:solidFill>
              </a:rPr>
              <a:t>Example players</a:t>
            </a:r>
          </a:p>
        </p:txBody>
      </p:sp>
      <p:sp>
        <p:nvSpPr>
          <p:cNvPr id="54" name="btfpColumnHeaderBoxText223027">
            <a:extLst>
              <a:ext uri="{FF2B5EF4-FFF2-40B4-BE49-F238E27FC236}">
                <a16:creationId xmlns:a16="http://schemas.microsoft.com/office/drawing/2014/main" id="{4907DD75-4945-D3C9-3C5D-9B5E299C429B}"/>
              </a:ext>
            </a:extLst>
          </p:cNvPr>
          <p:cNvSpPr txBox="1"/>
          <p:nvPr/>
        </p:nvSpPr>
        <p:spPr bwMode="gray">
          <a:xfrm>
            <a:off x="6784975" y="4845050"/>
            <a:ext cx="1206500" cy="233363"/>
          </a:xfrm>
          <a:prstGeom prst="rect">
            <a:avLst/>
          </a:prstGeom>
          <a:noFill/>
        </p:spPr>
        <p:txBody>
          <a:bodyPr vert="horz" wrap="square" lIns="36036" tIns="36036" rIns="36036" bIns="36036" rtlCol="0" anchor="b">
            <a:spAutoFit/>
          </a:bodyPr>
          <a:lstStyle/>
          <a:p>
            <a:pPr marL="0" indent="0">
              <a:spcBef>
                <a:spcPts val="0"/>
              </a:spcBef>
              <a:buNone/>
            </a:pPr>
            <a:r>
              <a:rPr lang="en-US" sz="1050">
                <a:solidFill>
                  <a:srgbClr val="000000"/>
                </a:solidFill>
              </a:rPr>
              <a:t>Many</a:t>
            </a:r>
          </a:p>
        </p:txBody>
      </p:sp>
      <p:graphicFrame>
        <p:nvGraphicFramePr>
          <p:cNvPr id="114" name="Chart 113">
            <a:extLst>
              <a:ext uri="{FF2B5EF4-FFF2-40B4-BE49-F238E27FC236}">
                <a16:creationId xmlns:a16="http://schemas.microsoft.com/office/drawing/2014/main" id="{F0116C39-166F-1271-C79D-6E57BEFBED59}"/>
              </a:ext>
            </a:extLst>
          </p:cNvPr>
          <p:cNvGraphicFramePr/>
          <p:nvPr>
            <p:custDataLst>
              <p:tags r:id="rId3"/>
            </p:custDataLst>
          </p:nvPr>
        </p:nvGraphicFramePr>
        <p:xfrm>
          <a:off x="1427163" y="4008438"/>
          <a:ext cx="1927225" cy="1073150"/>
        </p:xfrm>
        <a:graphic>
          <a:graphicData uri="http://schemas.openxmlformats.org/drawingml/2006/chart">
            <c:chart xmlns:c="http://schemas.openxmlformats.org/drawingml/2006/chart" xmlns:r="http://schemas.openxmlformats.org/officeDocument/2006/relationships" r:id="rId33"/>
          </a:graphicData>
        </a:graphic>
      </p:graphicFrame>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2339975" y="4352925"/>
            <a:ext cx="233363" cy="122238"/>
          </a:xfrm>
          <a:prstGeom prst="rect">
            <a:avLst/>
          </a:prstGeom>
          <a:solidFill>
            <a:srgbClr val="C30C3E"/>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AC0B26-8EA4-4820-A18B-556CF7516BE6}" type="datetime'''''''''''''''''''''''''''''''1''''''5''''%'">
              <a:rPr lang="en-US" altLang="en-US" sz="800" smtClean="0">
                <a:solidFill>
                  <a:schemeClr val="bg1"/>
                </a:solidFill>
                <a:effectLst/>
              </a:rPr>
              <a:pPr marL="0" lvl="0" indent="0" algn="ctr">
                <a:spcBef>
                  <a:spcPct val="0"/>
                </a:spcBef>
                <a:spcAft>
                  <a:spcPct val="0"/>
                </a:spcAft>
                <a:buNone/>
              </a:pPr>
              <a:t>15%</a:t>
            </a:fld>
            <a:endParaRPr lang="en-US" sz="800">
              <a:solidFill>
                <a:schemeClr val="bg1"/>
              </a:solidFill>
            </a:endParaRPr>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2414588" y="4505325"/>
            <a:ext cx="233363" cy="122238"/>
          </a:xfrm>
          <a:prstGeom prst="rect">
            <a:avLst/>
          </a:prstGeom>
          <a:solidFill>
            <a:srgbClr val="364D6E"/>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95E9D5-539A-419A-A917-C3579EB5E4F5}" type="datetime'''''''''''''''2''5''''%'''''''''''''''''''''''">
              <a:rPr lang="en-US" altLang="en-US" sz="800" smtClean="0">
                <a:solidFill>
                  <a:schemeClr val="bg1"/>
                </a:solidFill>
                <a:effectLst/>
              </a:rPr>
              <a:pPr marL="0" lvl="0" indent="0" algn="ctr">
                <a:spcBef>
                  <a:spcPct val="0"/>
                </a:spcBef>
                <a:spcAft>
                  <a:spcPct val="0"/>
                </a:spcAft>
                <a:buNone/>
              </a:pPr>
              <a:t>25%</a:t>
            </a:fld>
            <a:endParaRPr lang="en-US" sz="800">
              <a:solidFill>
                <a:schemeClr val="bg1"/>
              </a:solidFill>
            </a:endParaRPr>
          </a:p>
        </p:txBody>
      </p:sp>
      <p:sp>
        <p:nvSpPr>
          <p:cNvPr id="109" name="Text Placeholder 10">
            <a:extLst>
              <a:ext uri="{FF2B5EF4-FFF2-40B4-BE49-F238E27FC236}">
                <a16:creationId xmlns:a16="http://schemas.microsoft.com/office/drawing/2014/main" id="{FACB2761-EB23-27F8-9155-2EB56DC96BBB}"/>
              </a:ext>
            </a:extLst>
          </p:cNvPr>
          <p:cNvSpPr>
            <a:spLocks noGrp="1"/>
          </p:cNvSpPr>
          <p:nvPr>
            <p:custDataLst>
              <p:tags r:id="rId6"/>
            </p:custDataLst>
          </p:nvPr>
        </p:nvSpPr>
        <p:spPr bwMode="gray">
          <a:xfrm>
            <a:off x="2120900" y="4392613"/>
            <a:ext cx="233363" cy="122238"/>
          </a:xfrm>
          <a:prstGeom prst="rect">
            <a:avLst/>
          </a:prstGeom>
          <a:solidFill>
            <a:srgbClr val="969696"/>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2629C3C-BCD2-4A0C-B4A2-D4810181B3FC}" type="datetime'''''''''3''''''''''''''''''''''''''''''''''''''''''''''3''''%'">
              <a:rPr lang="en-US" altLang="en-US" sz="800" smtClean="0">
                <a:effectLst/>
              </a:rPr>
              <a:pPr marL="0" lvl="0" indent="0" algn="ctr">
                <a:spcBef>
                  <a:spcPct val="0"/>
                </a:spcBef>
                <a:spcAft>
                  <a:spcPct val="0"/>
                </a:spcAft>
                <a:buNone/>
              </a:pPr>
              <a:t>33%</a:t>
            </a:fld>
            <a:endParaRPr lang="en-US" sz="800"/>
          </a:p>
        </p:txBody>
      </p:sp>
      <p:sp>
        <p:nvSpPr>
          <p:cNvPr id="118" name="Rectangle 117">
            <a:extLst>
              <a:ext uri="{FF2B5EF4-FFF2-40B4-BE49-F238E27FC236}">
                <a16:creationId xmlns:a16="http://schemas.microsoft.com/office/drawing/2014/main" id="{C7D670B5-8C6D-1842-E3F2-35DD0DC85153}"/>
              </a:ext>
            </a:extLst>
          </p:cNvPr>
          <p:cNvSpPr/>
          <p:nvPr>
            <p:custDataLst>
              <p:tags r:id="rId7"/>
            </p:custDataLst>
          </p:nvPr>
        </p:nvSpPr>
        <p:spPr bwMode="auto">
          <a:xfrm>
            <a:off x="4908550" y="1493838"/>
            <a:ext cx="179388" cy="133350"/>
          </a:xfrm>
          <a:prstGeom prst="rect">
            <a:avLst/>
          </a:prstGeom>
          <a:solidFill>
            <a:srgbClr val="C3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9" name="Rectangle 118">
            <a:extLst>
              <a:ext uri="{FF2B5EF4-FFF2-40B4-BE49-F238E27FC236}">
                <a16:creationId xmlns:a16="http://schemas.microsoft.com/office/drawing/2014/main" id="{B9D95410-824C-4292-DB93-8A7AC522E320}"/>
              </a:ext>
            </a:extLst>
          </p:cNvPr>
          <p:cNvSpPr/>
          <p:nvPr>
            <p:custDataLst>
              <p:tags r:id="rId8"/>
            </p:custDataLst>
          </p:nvPr>
        </p:nvSpPr>
        <p:spPr bwMode="auto">
          <a:xfrm>
            <a:off x="5570538" y="1493838"/>
            <a:ext cx="179388" cy="133350"/>
          </a:xfrm>
          <a:prstGeom prst="rect">
            <a:avLst/>
          </a:prstGeom>
          <a:solidFill>
            <a:srgbClr val="364D6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0" name="Rectangle 119">
            <a:extLst>
              <a:ext uri="{FF2B5EF4-FFF2-40B4-BE49-F238E27FC236}">
                <a16:creationId xmlns:a16="http://schemas.microsoft.com/office/drawing/2014/main" id="{676B71ED-27FB-D0F2-3D7E-459E6189DDC4}"/>
              </a:ext>
            </a:extLst>
          </p:cNvPr>
          <p:cNvSpPr/>
          <p:nvPr>
            <p:custDataLst>
              <p:tags r:id="rId9"/>
            </p:custDataLst>
          </p:nvPr>
        </p:nvSpPr>
        <p:spPr bwMode="auto">
          <a:xfrm>
            <a:off x="6078538" y="1493838"/>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1" name="Rectangle 120">
            <a:extLst>
              <a:ext uri="{FF2B5EF4-FFF2-40B4-BE49-F238E27FC236}">
                <a16:creationId xmlns:a16="http://schemas.microsoft.com/office/drawing/2014/main" id="{9891EB7C-8C9B-BA32-9293-6FA21A758C9B}"/>
              </a:ext>
            </a:extLst>
          </p:cNvPr>
          <p:cNvSpPr/>
          <p:nvPr>
            <p:custDataLst>
              <p:tags r:id="rId10"/>
            </p:custDataLst>
          </p:nvPr>
        </p:nvSpPr>
        <p:spPr bwMode="auto">
          <a:xfrm>
            <a:off x="6586538" y="1493838"/>
            <a:ext cx="179388" cy="133350"/>
          </a:xfrm>
          <a:prstGeom prst="rect">
            <a:avLst/>
          </a:prstGeom>
          <a:solidFill>
            <a:srgbClr val="96969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5138738" y="1489075"/>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2FFB63A-7816-4590-AB26-3D1C71DF0B20}" type="datetime'''''''C''''''''''hi''''''''''''''''n''''''''''''''''a'">
              <a:rPr lang="en-US" altLang="en-US" sz="1000" smtClean="0"/>
              <a:pPr marL="0" lvl="0" indent="0">
                <a:spcBef>
                  <a:spcPct val="0"/>
                </a:spcBef>
                <a:spcAft>
                  <a:spcPct val="0"/>
                </a:spcAft>
                <a:buNone/>
              </a:pPr>
              <a:t>China</a:t>
            </a:fld>
            <a:endParaRPr lang="en-US" sz="100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5800725" y="1489075"/>
            <a:ext cx="176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U.S.</a:t>
            </a:r>
            <a:endParaRPr lang="en-US" sz="1000"/>
          </a:p>
        </p:txBody>
      </p:sp>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6308725" y="1489075"/>
            <a:ext cx="176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ABDECE4-4AC2-4405-A172-D97B3176B5A0}" type="datetime'''''''''''EU'''''''''''''">
              <a:rPr lang="en-US" altLang="en-US" sz="1000" smtClean="0"/>
              <a:pPr marL="0" lvl="0" indent="0">
                <a:spcBef>
                  <a:spcPct val="0"/>
                </a:spcBef>
                <a:spcAft>
                  <a:spcPct val="0"/>
                </a:spcAft>
                <a:buNone/>
              </a:pPr>
              <a:t>EU</a:t>
            </a:fld>
            <a:endParaRPr lang="en-US" sz="1000"/>
          </a:p>
        </p:txBody>
      </p:sp>
      <p:sp>
        <p:nvSpPr>
          <p:cNvPr id="110" name="Text Placeholder 10">
            <a:extLst>
              <a:ext uri="{FF2B5EF4-FFF2-40B4-BE49-F238E27FC236}">
                <a16:creationId xmlns:a16="http://schemas.microsoft.com/office/drawing/2014/main" id="{32143AE9-41B3-AA40-38E3-F97BCF2AA300}"/>
              </a:ext>
            </a:extLst>
          </p:cNvPr>
          <p:cNvSpPr>
            <a:spLocks noGrp="1"/>
          </p:cNvSpPr>
          <p:nvPr>
            <p:custDataLst>
              <p:tags r:id="rId14"/>
            </p:custDataLst>
          </p:nvPr>
        </p:nvSpPr>
        <p:spPr bwMode="auto">
          <a:xfrm>
            <a:off x="6816725" y="1489075"/>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1828150-CAB1-44B5-9C49-3ECAA7C863E0}" type="datetime'''O''''''''t''''''''''h''''''''''e''''''''''''''''''''''''''r'">
              <a:rPr lang="en-US" altLang="en-US" sz="1000" smtClean="0"/>
              <a:pPr marL="0" lvl="0" indent="0">
                <a:spcBef>
                  <a:spcPct val="0"/>
                </a:spcBef>
                <a:spcAft>
                  <a:spcPct val="0"/>
                </a:spcAft>
                <a:buNone/>
              </a:pPr>
              <a:t>Other</a:t>
            </a:fld>
            <a:endParaRPr lang="en-US" sz="1000"/>
          </a:p>
        </p:txBody>
      </p:sp>
      <p:graphicFrame>
        <p:nvGraphicFramePr>
          <p:cNvPr id="115" name="Chart 114">
            <a:extLst>
              <a:ext uri="{FF2B5EF4-FFF2-40B4-BE49-F238E27FC236}">
                <a16:creationId xmlns:a16="http://schemas.microsoft.com/office/drawing/2014/main" id="{6E566C95-87CD-913A-721B-D94B63DC4D82}"/>
              </a:ext>
            </a:extLst>
          </p:cNvPr>
          <p:cNvGraphicFramePr/>
          <p:nvPr>
            <p:custDataLst>
              <p:tags r:id="rId15"/>
            </p:custDataLst>
          </p:nvPr>
        </p:nvGraphicFramePr>
        <p:xfrm>
          <a:off x="2719388" y="4008438"/>
          <a:ext cx="1927225" cy="1073150"/>
        </p:xfrm>
        <a:graphic>
          <a:graphicData uri="http://schemas.openxmlformats.org/drawingml/2006/chart">
            <c:chart xmlns:c="http://schemas.openxmlformats.org/drawingml/2006/chart" xmlns:r="http://schemas.openxmlformats.org/officeDocument/2006/relationships" r:id="rId34"/>
          </a:graphicData>
        </a:graphic>
      </p:graphicFrame>
      <p:sp>
        <p:nvSpPr>
          <p:cNvPr id="180"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3470275" y="4368800"/>
            <a:ext cx="233363" cy="122238"/>
          </a:xfrm>
          <a:prstGeom prst="rect">
            <a:avLst/>
          </a:prstGeom>
          <a:solidFill>
            <a:schemeClr val="accent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E172EC-5855-4F31-976A-1470AB5AAC21}" type="datetime'''''''''''''''''''''''''''''''2''''''''''''0''''''''''''''%'''">
              <a:rPr lang="en-US" altLang="en-US" sz="800" smtClean="0">
                <a:solidFill>
                  <a:schemeClr val="bg1"/>
                </a:solidFill>
                <a:effectLst/>
              </a:rPr>
              <a:pPr marL="0" lvl="0" indent="0" algn="ctr">
                <a:spcBef>
                  <a:spcPct val="0"/>
                </a:spcBef>
                <a:spcAft>
                  <a:spcPct val="0"/>
                </a:spcAft>
                <a:buNone/>
              </a:pPr>
              <a:t>20%</a:t>
            </a:fld>
            <a:endParaRPr lang="en-US" sz="800">
              <a:solidFill>
                <a:schemeClr val="bg1"/>
              </a:solidFill>
            </a:endParaRPr>
          </a:p>
        </p:txBody>
      </p:sp>
      <p:graphicFrame>
        <p:nvGraphicFramePr>
          <p:cNvPr id="29" name="Chart 28">
            <a:extLst>
              <a:ext uri="{FF2B5EF4-FFF2-40B4-BE49-F238E27FC236}">
                <a16:creationId xmlns:a16="http://schemas.microsoft.com/office/drawing/2014/main" id="{04FB0277-FB64-7631-D5D7-6EF3F317D9AB}"/>
              </a:ext>
            </a:extLst>
          </p:cNvPr>
          <p:cNvGraphicFramePr/>
          <p:nvPr>
            <p:custDataLst>
              <p:tags r:id="rId17"/>
            </p:custDataLst>
          </p:nvPr>
        </p:nvGraphicFramePr>
        <p:xfrm>
          <a:off x="3976688" y="4008438"/>
          <a:ext cx="1927225" cy="1073150"/>
        </p:xfrm>
        <a:graphic>
          <a:graphicData uri="http://schemas.openxmlformats.org/drawingml/2006/chart">
            <c:chart xmlns:c="http://schemas.openxmlformats.org/drawingml/2006/chart" xmlns:r="http://schemas.openxmlformats.org/officeDocument/2006/relationships" r:id="rId35"/>
          </a:graphicData>
        </a:graphic>
      </p:graphicFrame>
      <p:sp>
        <p:nvSpPr>
          <p:cNvPr id="153" name="Text Placeholder 10">
            <a:extLst>
              <a:ext uri="{FF2B5EF4-FFF2-40B4-BE49-F238E27FC236}">
                <a16:creationId xmlns:a16="http://schemas.microsoft.com/office/drawing/2014/main" id="{AFD1AAD4-836E-4A37-8BEE-A8DF5C25C02F}"/>
              </a:ext>
            </a:extLst>
          </p:cNvPr>
          <p:cNvSpPr>
            <a:spLocks noGrp="1"/>
          </p:cNvSpPr>
          <p:nvPr>
            <p:custDataLst>
              <p:tags r:id="rId18"/>
            </p:custDataLst>
          </p:nvPr>
        </p:nvSpPr>
        <p:spPr bwMode="gray">
          <a:xfrm>
            <a:off x="4713288" y="4583113"/>
            <a:ext cx="233363" cy="122238"/>
          </a:xfrm>
          <a:prstGeom prst="rect">
            <a:avLst/>
          </a:prstGeom>
          <a:solidFill>
            <a:srgbClr val="364D6E"/>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06E466A-F7FF-4B1D-8A4A-B3DB63A74C88}" type="datetime'''2''''''''''''''''''''''''''''''''''''''''''5''''%'''''''''">
              <a:rPr lang="en-US" altLang="en-US" sz="800" smtClean="0">
                <a:solidFill>
                  <a:schemeClr val="bg1"/>
                </a:solidFill>
                <a:effectLst/>
              </a:rPr>
              <a:pPr marL="0" lvl="0" indent="0" algn="ctr">
                <a:spcBef>
                  <a:spcPct val="0"/>
                </a:spcBef>
                <a:spcAft>
                  <a:spcPct val="0"/>
                </a:spcAft>
                <a:buNone/>
              </a:pPr>
              <a:t>25%</a:t>
            </a:fld>
            <a:endParaRPr lang="en-US" sz="800">
              <a:solidFill>
                <a:schemeClr val="bg1"/>
              </a:solidFill>
            </a:endParaRPr>
          </a:p>
        </p:txBody>
      </p:sp>
      <p:sp>
        <p:nvSpPr>
          <p:cNvPr id="186"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4689475" y="4422775"/>
            <a:ext cx="233363" cy="122238"/>
          </a:xfrm>
          <a:prstGeom prst="rect">
            <a:avLst/>
          </a:prstGeom>
          <a:solidFill>
            <a:schemeClr val="accent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CD648C-D256-47A0-A5B5-1FB9BDCFA3BA}" type="datetime'''''''''''''''''''''1''''''''''''''''''''''''''''5''%'''''''''">
              <a:rPr lang="en-US" altLang="en-US" sz="800" smtClean="0">
                <a:solidFill>
                  <a:schemeClr val="bg1"/>
                </a:solidFill>
                <a:effectLst/>
              </a:rPr>
              <a:pPr marL="0" lvl="0" indent="0" algn="ctr">
                <a:spcBef>
                  <a:spcPct val="0"/>
                </a:spcBef>
                <a:spcAft>
                  <a:spcPct val="0"/>
                </a:spcAft>
                <a:buNone/>
              </a:pPr>
              <a:t>15%</a:t>
            </a:fld>
            <a:endParaRPr lang="en-US" sz="800">
              <a:solidFill>
                <a:schemeClr val="bg1"/>
              </a:solidFill>
            </a:endParaRPr>
          </a:p>
        </p:txBody>
      </p:sp>
      <p:sp>
        <p:nvSpPr>
          <p:cNvPr id="5" name="Text Placeholder 10">
            <a:extLst>
              <a:ext uri="{FF2B5EF4-FFF2-40B4-BE49-F238E27FC236}">
                <a16:creationId xmlns:a16="http://schemas.microsoft.com/office/drawing/2014/main" id="{491C3080-52F7-92BA-43A6-44E13A4C8EA4}"/>
              </a:ext>
            </a:extLst>
          </p:cNvPr>
          <p:cNvSpPr>
            <a:spLocks noGrp="1"/>
          </p:cNvSpPr>
          <p:nvPr>
            <p:custDataLst>
              <p:tags r:id="rId20"/>
            </p:custDataLst>
          </p:nvPr>
        </p:nvSpPr>
        <p:spPr bwMode="gray">
          <a:xfrm>
            <a:off x="4751388" y="4300538"/>
            <a:ext cx="233363" cy="122238"/>
          </a:xfrm>
          <a:prstGeom prst="rect">
            <a:avLst/>
          </a:prstGeom>
          <a:solidFill>
            <a:srgbClr val="969696"/>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BA92C6-A591-47D6-99FC-622C657DACF3}" type="datetime'''1''''''0''''''''''''%'''''''''">
              <a:rPr lang="en-US" altLang="en-US" sz="800" smtClean="0">
                <a:effectLst/>
              </a:rPr>
              <a:pPr marL="0" lvl="0" indent="0" algn="ctr">
                <a:spcBef>
                  <a:spcPct val="0"/>
                </a:spcBef>
                <a:spcAft>
                  <a:spcPct val="0"/>
                </a:spcAft>
                <a:buNone/>
              </a:pPr>
              <a:t>10%</a:t>
            </a:fld>
            <a:endParaRPr lang="en-US" sz="800"/>
          </a:p>
        </p:txBody>
      </p:sp>
      <p:graphicFrame>
        <p:nvGraphicFramePr>
          <p:cNvPr id="30" name="Chart 29">
            <a:extLst>
              <a:ext uri="{FF2B5EF4-FFF2-40B4-BE49-F238E27FC236}">
                <a16:creationId xmlns:a16="http://schemas.microsoft.com/office/drawing/2014/main" id="{62771C60-FAF7-C3EA-693C-05C18A1FDB31}"/>
              </a:ext>
            </a:extLst>
          </p:cNvPr>
          <p:cNvGraphicFramePr/>
          <p:nvPr>
            <p:custDataLst>
              <p:tags r:id="rId21"/>
            </p:custDataLst>
          </p:nvPr>
        </p:nvGraphicFramePr>
        <p:xfrm>
          <a:off x="5178425" y="4008438"/>
          <a:ext cx="1927225" cy="1073150"/>
        </p:xfrm>
        <a:graphic>
          <a:graphicData uri="http://schemas.openxmlformats.org/drawingml/2006/chart">
            <c:chart xmlns:c="http://schemas.openxmlformats.org/drawingml/2006/chart" xmlns:r="http://schemas.openxmlformats.org/officeDocument/2006/relationships" r:id="rId36"/>
          </a:graphicData>
        </a:graphic>
      </p:graphicFrame>
      <p:sp>
        <p:nvSpPr>
          <p:cNvPr id="197"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5965825" y="4630738"/>
            <a:ext cx="233363" cy="122238"/>
          </a:xfrm>
          <a:prstGeom prst="rect">
            <a:avLst/>
          </a:prstGeom>
          <a:solidFill>
            <a:srgbClr val="364D6E"/>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AAC0AA-C34A-4B58-A618-5CF8D7B85CC5}" type="datetime'''''''''''1''0''''''''''''''''''%'''''''''''''''''''''''">
              <a:rPr lang="en-US" altLang="en-US" sz="800" smtClean="0">
                <a:solidFill>
                  <a:schemeClr val="bg1"/>
                </a:solidFill>
                <a:effectLst/>
              </a:rPr>
              <a:pPr marL="0" lvl="0" indent="0" algn="ctr">
                <a:spcBef>
                  <a:spcPct val="0"/>
                </a:spcBef>
                <a:spcAft>
                  <a:spcPct val="0"/>
                </a:spcAft>
                <a:buNone/>
              </a:pPr>
              <a:t>10%</a:t>
            </a:fld>
            <a:endParaRPr lang="en-US" sz="800">
              <a:solidFill>
                <a:schemeClr val="bg1"/>
              </a:solidFill>
            </a:endParaRPr>
          </a:p>
        </p:txBody>
      </p:sp>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5965825" y="4337050"/>
            <a:ext cx="233363" cy="122238"/>
          </a:xfrm>
          <a:prstGeom prst="rect">
            <a:avLst/>
          </a:prstGeom>
          <a:solidFill>
            <a:srgbClr val="969696"/>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B27A3BC-DD36-47B7-9354-3BC939FEF200}" type="datetime'''1''''''''''''''''''''0''''''''''''''''''''''''''''%'">
              <a:rPr lang="en-US" altLang="en-US" sz="800" smtClean="0">
                <a:effectLst/>
              </a:rPr>
              <a:pPr marL="0" lvl="0" indent="0" algn="ctr">
                <a:spcBef>
                  <a:spcPct val="0"/>
                </a:spcBef>
                <a:spcAft>
                  <a:spcPct val="0"/>
                </a:spcAft>
                <a:buNone/>
              </a:pPr>
              <a:t>10%</a:t>
            </a:fld>
            <a:endParaRPr lang="en-US" sz="800"/>
          </a:p>
        </p:txBody>
      </p:sp>
      <p:cxnSp>
        <p:nvCxnSpPr>
          <p:cNvPr id="212" name="Straight Connector 211">
            <a:extLst>
              <a:ext uri="{FF2B5EF4-FFF2-40B4-BE49-F238E27FC236}">
                <a16:creationId xmlns:a16="http://schemas.microsoft.com/office/drawing/2014/main" id="{69D0E7C9-8C10-4DB2-8A79-41BEEAEB9906}"/>
              </a:ext>
            </a:extLst>
          </p:cNvPr>
          <p:cNvCxnSpPr>
            <a:cxnSpLocks/>
          </p:cNvCxnSpPr>
          <p:nvPr/>
        </p:nvCxnSpPr>
        <p:spPr bwMode="gray">
          <a:xfrm flipH="1">
            <a:off x="7981880" y="1890156"/>
            <a:ext cx="0" cy="412693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36541787-6AC8-9EE9-7138-2ACAAD3FBF81}"/>
              </a:ext>
            </a:extLst>
          </p:cNvPr>
          <p:cNvCxnSpPr>
            <a:cxnSpLocks/>
          </p:cNvCxnSpPr>
          <p:nvPr/>
        </p:nvCxnSpPr>
        <p:spPr bwMode="gray">
          <a:xfrm>
            <a:off x="404484" y="2282518"/>
            <a:ext cx="879616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CFAEC26F-1815-CF7B-FA56-0ECB7483B9CA}"/>
              </a:ext>
            </a:extLst>
          </p:cNvPr>
          <p:cNvCxnSpPr>
            <a:cxnSpLocks/>
          </p:cNvCxnSpPr>
          <p:nvPr/>
        </p:nvCxnSpPr>
        <p:spPr bwMode="gray">
          <a:xfrm>
            <a:off x="404484" y="3889375"/>
            <a:ext cx="131398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D8F8886D-32A6-DCCA-7521-1D67F2B0FE04}"/>
              </a:ext>
            </a:extLst>
          </p:cNvPr>
          <p:cNvCxnSpPr>
            <a:cxnSpLocks/>
          </p:cNvCxnSpPr>
          <p:nvPr/>
        </p:nvCxnSpPr>
        <p:spPr bwMode="gray">
          <a:xfrm>
            <a:off x="404484" y="4202113"/>
            <a:ext cx="131398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53CB799B-CCFD-9AB9-EBB4-32B131E86008}"/>
              </a:ext>
            </a:extLst>
          </p:cNvPr>
          <p:cNvCxnSpPr>
            <a:cxnSpLocks/>
          </p:cNvCxnSpPr>
          <p:nvPr/>
        </p:nvCxnSpPr>
        <p:spPr bwMode="gray">
          <a:xfrm>
            <a:off x="404484" y="4845050"/>
            <a:ext cx="131398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32" name="Group 131">
            <a:extLst>
              <a:ext uri="{FF2B5EF4-FFF2-40B4-BE49-F238E27FC236}">
                <a16:creationId xmlns:a16="http://schemas.microsoft.com/office/drawing/2014/main" id="{73FEAF82-0749-B7BB-AFEA-EA8253FAF1BA}"/>
              </a:ext>
            </a:extLst>
          </p:cNvPr>
          <p:cNvGrpSpPr/>
          <p:nvPr/>
        </p:nvGrpSpPr>
        <p:grpSpPr>
          <a:xfrm>
            <a:off x="1796227" y="3889375"/>
            <a:ext cx="1154113" cy="955675"/>
            <a:chOff x="1787525" y="3889375"/>
            <a:chExt cx="1154113" cy="955675"/>
          </a:xfrm>
        </p:grpSpPr>
        <p:cxnSp>
          <p:nvCxnSpPr>
            <p:cNvPr id="222" name="Straight Connector 221">
              <a:extLst>
                <a:ext uri="{FF2B5EF4-FFF2-40B4-BE49-F238E27FC236}">
                  <a16:creationId xmlns:a16="http://schemas.microsoft.com/office/drawing/2014/main" id="{A79FC19A-DAB0-853E-E2B0-B1839EE6E48F}"/>
                </a:ext>
              </a:extLst>
            </p:cNvPr>
            <p:cNvCxnSpPr>
              <a:cxnSpLocks/>
            </p:cNvCxnSpPr>
            <p:nvPr/>
          </p:nvCxnSpPr>
          <p:spPr bwMode="gray">
            <a:xfrm>
              <a:off x="1787525" y="3889375"/>
              <a:ext cx="115411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DDE962FA-0DC0-7C73-B97F-1610795C7A52}"/>
                </a:ext>
              </a:extLst>
            </p:cNvPr>
            <p:cNvCxnSpPr>
              <a:cxnSpLocks/>
            </p:cNvCxnSpPr>
            <p:nvPr/>
          </p:nvCxnSpPr>
          <p:spPr bwMode="gray">
            <a:xfrm>
              <a:off x="1787525" y="4202856"/>
              <a:ext cx="115411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840EF38C-C2DF-A424-2F64-74AED065B86B}"/>
                </a:ext>
              </a:extLst>
            </p:cNvPr>
            <p:cNvCxnSpPr>
              <a:cxnSpLocks/>
            </p:cNvCxnSpPr>
            <p:nvPr/>
          </p:nvCxnSpPr>
          <p:spPr bwMode="gray">
            <a:xfrm>
              <a:off x="1787525" y="4845050"/>
              <a:ext cx="115411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45" name="Group 244">
            <a:extLst>
              <a:ext uri="{FF2B5EF4-FFF2-40B4-BE49-F238E27FC236}">
                <a16:creationId xmlns:a16="http://schemas.microsoft.com/office/drawing/2014/main" id="{CEC54FC3-1592-3EE7-7751-72230A72C0DB}"/>
              </a:ext>
            </a:extLst>
          </p:cNvPr>
          <p:cNvGrpSpPr/>
          <p:nvPr/>
        </p:nvGrpSpPr>
        <p:grpSpPr>
          <a:xfrm>
            <a:off x="3040867" y="3889375"/>
            <a:ext cx="1154113" cy="955675"/>
            <a:chOff x="3230322" y="4000453"/>
            <a:chExt cx="1188793" cy="955721"/>
          </a:xfrm>
        </p:grpSpPr>
        <p:cxnSp>
          <p:nvCxnSpPr>
            <p:cNvPr id="230" name="Straight Connector 229">
              <a:extLst>
                <a:ext uri="{FF2B5EF4-FFF2-40B4-BE49-F238E27FC236}">
                  <a16:creationId xmlns:a16="http://schemas.microsoft.com/office/drawing/2014/main" id="{400C895A-84E4-60A2-BC75-1214C38FDAA3}"/>
                </a:ext>
              </a:extLst>
            </p:cNvPr>
            <p:cNvCxnSpPr>
              <a:cxnSpLocks/>
            </p:cNvCxnSpPr>
            <p:nvPr/>
          </p:nvCxnSpPr>
          <p:spPr bwMode="gray">
            <a:xfrm>
              <a:off x="3230322" y="4000453"/>
              <a:ext cx="11887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266359C-510C-46D0-0198-F071F8D998B9}"/>
                </a:ext>
              </a:extLst>
            </p:cNvPr>
            <p:cNvCxnSpPr>
              <a:cxnSpLocks/>
            </p:cNvCxnSpPr>
            <p:nvPr/>
          </p:nvCxnSpPr>
          <p:spPr bwMode="gray">
            <a:xfrm>
              <a:off x="3230322" y="4313949"/>
              <a:ext cx="11887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5133FFE2-E8D4-4393-F327-78E7C3F6EDD9}"/>
                </a:ext>
              </a:extLst>
            </p:cNvPr>
            <p:cNvCxnSpPr>
              <a:cxnSpLocks/>
            </p:cNvCxnSpPr>
            <p:nvPr/>
          </p:nvCxnSpPr>
          <p:spPr bwMode="gray">
            <a:xfrm>
              <a:off x="3230322" y="4956174"/>
              <a:ext cx="11887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36" name="Group 235">
            <a:extLst>
              <a:ext uri="{FF2B5EF4-FFF2-40B4-BE49-F238E27FC236}">
                <a16:creationId xmlns:a16="http://schemas.microsoft.com/office/drawing/2014/main" id="{440260DC-5A81-6CD5-4E91-3AF19B57A3D5}"/>
              </a:ext>
            </a:extLst>
          </p:cNvPr>
          <p:cNvGrpSpPr/>
          <p:nvPr/>
        </p:nvGrpSpPr>
        <p:grpSpPr>
          <a:xfrm>
            <a:off x="4285507" y="3889375"/>
            <a:ext cx="1154113" cy="955675"/>
            <a:chOff x="3882196" y="4000453"/>
            <a:chExt cx="1188793" cy="955721"/>
          </a:xfrm>
        </p:grpSpPr>
        <p:cxnSp>
          <p:nvCxnSpPr>
            <p:cNvPr id="233" name="Straight Connector 232">
              <a:extLst>
                <a:ext uri="{FF2B5EF4-FFF2-40B4-BE49-F238E27FC236}">
                  <a16:creationId xmlns:a16="http://schemas.microsoft.com/office/drawing/2014/main" id="{C15D1651-2E74-CC92-5BDA-F7ADEEA20DAC}"/>
                </a:ext>
              </a:extLst>
            </p:cNvPr>
            <p:cNvCxnSpPr>
              <a:cxnSpLocks/>
            </p:cNvCxnSpPr>
            <p:nvPr/>
          </p:nvCxnSpPr>
          <p:spPr bwMode="gray">
            <a:xfrm>
              <a:off x="3882196" y="4000453"/>
              <a:ext cx="11887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1E8AA6A2-FBCD-6EBA-FD35-4E459DA854EB}"/>
                </a:ext>
              </a:extLst>
            </p:cNvPr>
            <p:cNvCxnSpPr>
              <a:cxnSpLocks/>
            </p:cNvCxnSpPr>
            <p:nvPr/>
          </p:nvCxnSpPr>
          <p:spPr bwMode="gray">
            <a:xfrm>
              <a:off x="3882196" y="4313949"/>
              <a:ext cx="11887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5AE474F2-F501-D8BD-1B5B-1F83751444CC}"/>
                </a:ext>
              </a:extLst>
            </p:cNvPr>
            <p:cNvCxnSpPr>
              <a:cxnSpLocks/>
            </p:cNvCxnSpPr>
            <p:nvPr/>
          </p:nvCxnSpPr>
          <p:spPr bwMode="gray">
            <a:xfrm>
              <a:off x="3882196" y="4956174"/>
              <a:ext cx="11887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37" name="Group 236">
            <a:extLst>
              <a:ext uri="{FF2B5EF4-FFF2-40B4-BE49-F238E27FC236}">
                <a16:creationId xmlns:a16="http://schemas.microsoft.com/office/drawing/2014/main" id="{2F28344C-4DE1-0E7E-F82F-67507C96BBEA}"/>
              </a:ext>
            </a:extLst>
          </p:cNvPr>
          <p:cNvGrpSpPr/>
          <p:nvPr/>
        </p:nvGrpSpPr>
        <p:grpSpPr>
          <a:xfrm>
            <a:off x="5532076" y="3889375"/>
            <a:ext cx="1154113" cy="955675"/>
            <a:chOff x="3882196" y="4000453"/>
            <a:chExt cx="1188793" cy="955721"/>
          </a:xfrm>
        </p:grpSpPr>
        <p:cxnSp>
          <p:nvCxnSpPr>
            <p:cNvPr id="238" name="Straight Connector 237">
              <a:extLst>
                <a:ext uri="{FF2B5EF4-FFF2-40B4-BE49-F238E27FC236}">
                  <a16:creationId xmlns:a16="http://schemas.microsoft.com/office/drawing/2014/main" id="{32DD3215-4945-61B7-2DDE-23C0BA7392FA}"/>
                </a:ext>
              </a:extLst>
            </p:cNvPr>
            <p:cNvCxnSpPr>
              <a:cxnSpLocks/>
            </p:cNvCxnSpPr>
            <p:nvPr/>
          </p:nvCxnSpPr>
          <p:spPr bwMode="gray">
            <a:xfrm>
              <a:off x="3882196" y="4000453"/>
              <a:ext cx="11887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9CDD83B6-A838-AF1E-622C-C0CAE92EF59D}"/>
                </a:ext>
              </a:extLst>
            </p:cNvPr>
            <p:cNvCxnSpPr>
              <a:cxnSpLocks/>
            </p:cNvCxnSpPr>
            <p:nvPr/>
          </p:nvCxnSpPr>
          <p:spPr bwMode="gray">
            <a:xfrm>
              <a:off x="3882196" y="4313949"/>
              <a:ext cx="11887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432D48C3-A122-05FC-E0FF-4112E4FE9E73}"/>
                </a:ext>
              </a:extLst>
            </p:cNvPr>
            <p:cNvCxnSpPr>
              <a:cxnSpLocks/>
            </p:cNvCxnSpPr>
            <p:nvPr/>
          </p:nvCxnSpPr>
          <p:spPr bwMode="gray">
            <a:xfrm>
              <a:off x="3882196" y="4956174"/>
              <a:ext cx="11887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41" name="Group 240">
            <a:extLst>
              <a:ext uri="{FF2B5EF4-FFF2-40B4-BE49-F238E27FC236}">
                <a16:creationId xmlns:a16="http://schemas.microsoft.com/office/drawing/2014/main" id="{483973C3-6AD2-1E79-8493-2FD36A09E7F6}"/>
              </a:ext>
            </a:extLst>
          </p:cNvPr>
          <p:cNvGrpSpPr/>
          <p:nvPr/>
        </p:nvGrpSpPr>
        <p:grpSpPr>
          <a:xfrm>
            <a:off x="6780574" y="3889375"/>
            <a:ext cx="1154113" cy="955675"/>
            <a:chOff x="3882196" y="4000453"/>
            <a:chExt cx="1188793" cy="955721"/>
          </a:xfrm>
        </p:grpSpPr>
        <p:cxnSp>
          <p:nvCxnSpPr>
            <p:cNvPr id="242" name="Straight Connector 241">
              <a:extLst>
                <a:ext uri="{FF2B5EF4-FFF2-40B4-BE49-F238E27FC236}">
                  <a16:creationId xmlns:a16="http://schemas.microsoft.com/office/drawing/2014/main" id="{E6481B7A-D006-E8BB-90F3-BE0369AD228E}"/>
                </a:ext>
              </a:extLst>
            </p:cNvPr>
            <p:cNvCxnSpPr>
              <a:cxnSpLocks/>
            </p:cNvCxnSpPr>
            <p:nvPr/>
          </p:nvCxnSpPr>
          <p:spPr bwMode="gray">
            <a:xfrm>
              <a:off x="3882196" y="4000453"/>
              <a:ext cx="11887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D7BCE095-2343-963A-764A-28D763194A3B}"/>
                </a:ext>
              </a:extLst>
            </p:cNvPr>
            <p:cNvCxnSpPr>
              <a:cxnSpLocks/>
            </p:cNvCxnSpPr>
            <p:nvPr/>
          </p:nvCxnSpPr>
          <p:spPr bwMode="gray">
            <a:xfrm>
              <a:off x="3882196" y="4313949"/>
              <a:ext cx="11887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3E2117BF-D8A5-7096-FEAD-98F714324EAC}"/>
                </a:ext>
              </a:extLst>
            </p:cNvPr>
            <p:cNvCxnSpPr>
              <a:cxnSpLocks/>
            </p:cNvCxnSpPr>
            <p:nvPr/>
          </p:nvCxnSpPr>
          <p:spPr bwMode="gray">
            <a:xfrm>
              <a:off x="3882196" y="4956174"/>
              <a:ext cx="11887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1026" name="Picture 2">
            <a:extLst>
              <a:ext uri="{FF2B5EF4-FFF2-40B4-BE49-F238E27FC236}">
                <a16:creationId xmlns:a16="http://schemas.microsoft.com/office/drawing/2014/main" id="{D778DFC7-8BAD-CAB0-D183-6B4766688635}"/>
              </a:ext>
            </a:extLst>
          </p:cNvPr>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1795462" y="4883150"/>
            <a:ext cx="890186" cy="2286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C3D2991-A6EF-023B-6E69-54158258D424}"/>
              </a:ext>
            </a:extLst>
          </p:cNvPr>
          <p:cNvPicPr>
            <a:picLocks noChangeAspect="1" noChangeArrowheads="1"/>
          </p:cNvPicPr>
          <p:nvPr/>
        </p:nvPicPr>
        <p:blipFill>
          <a:blip r:embed="rId38" cstate="screen">
            <a:extLst>
              <a:ext uri="{28A0092B-C50C-407E-A947-70E740481C1C}">
                <a14:useLocalDpi xmlns:a14="http://schemas.microsoft.com/office/drawing/2010/main"/>
              </a:ext>
            </a:extLst>
          </a:blip>
          <a:srcRect/>
          <a:stretch>
            <a:fillRect/>
          </a:stretch>
        </p:blipFill>
        <p:spPr bwMode="auto">
          <a:xfrm>
            <a:off x="1787526" y="5483225"/>
            <a:ext cx="652397" cy="27781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ED279C81-A3EE-526B-9003-AB11572DE18A}"/>
              </a:ext>
            </a:extLst>
          </p:cNvPr>
          <p:cNvPicPr>
            <a:picLocks noChangeAspect="1" noChangeArrowheads="1"/>
          </p:cNvPicPr>
          <p:nvPr/>
        </p:nvPicPr>
        <p:blipFill>
          <a:blip r:embed="rId39" cstate="screen">
            <a:extLst>
              <a:ext uri="{28A0092B-C50C-407E-A947-70E740481C1C}">
                <a14:useLocalDpi xmlns:a14="http://schemas.microsoft.com/office/drawing/2010/main"/>
              </a:ext>
            </a:extLst>
          </a:blip>
          <a:srcRect/>
          <a:stretch>
            <a:fillRect/>
          </a:stretch>
        </p:blipFill>
        <p:spPr bwMode="auto">
          <a:xfrm>
            <a:off x="2065339" y="5168900"/>
            <a:ext cx="842305" cy="28098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Download China General Nuclear Power Group (China Guangdong Nuclear Power  Group) Logo in SVG Vector or PNG File Format - Logo.wine">
            <a:extLst>
              <a:ext uri="{FF2B5EF4-FFF2-40B4-BE49-F238E27FC236}">
                <a16:creationId xmlns:a16="http://schemas.microsoft.com/office/drawing/2014/main" id="{D4E6FEC5-C7F6-FEC7-9FF6-1BBE9F117F07}"/>
              </a:ext>
            </a:extLst>
          </p:cNvPr>
          <p:cNvPicPr>
            <a:picLocks noChangeAspect="1" noChangeArrowheads="1"/>
          </p:cNvPicPr>
          <p:nvPr/>
        </p:nvPicPr>
        <p:blipFill rotWithShape="1">
          <a:blip r:embed="rId40" cstate="screen">
            <a:extLst>
              <a:ext uri="{28A0092B-C50C-407E-A947-70E740481C1C}">
                <a14:useLocalDpi xmlns:a14="http://schemas.microsoft.com/office/drawing/2010/main"/>
              </a:ext>
            </a:extLst>
          </a:blip>
          <a:srcRect l="9657" t="36426" r="10890" b="37814"/>
          <a:stretch/>
        </p:blipFill>
        <p:spPr bwMode="auto">
          <a:xfrm>
            <a:off x="1765301" y="5766331"/>
            <a:ext cx="1211861" cy="26193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75937672-62F5-7469-18C6-3FDC9694728E}"/>
              </a:ext>
            </a:extLst>
          </p:cNvPr>
          <p:cNvPicPr>
            <a:picLocks noChangeAspect="1" noChangeArrowheads="1"/>
          </p:cNvPicPr>
          <p:nvPr/>
        </p:nvPicPr>
        <p:blipFill>
          <a:blip r:embed="rId41" cstate="screen">
            <a:extLst>
              <a:ext uri="{28A0092B-C50C-407E-A947-70E740481C1C}">
                <a14:useLocalDpi xmlns:a14="http://schemas.microsoft.com/office/drawing/2010/main"/>
              </a:ext>
            </a:extLst>
          </a:blip>
          <a:srcRect/>
          <a:stretch>
            <a:fillRect/>
          </a:stretch>
        </p:blipFill>
        <p:spPr bwMode="auto">
          <a:xfrm>
            <a:off x="3082833" y="5240071"/>
            <a:ext cx="695894" cy="19843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F03A771A-7672-B4E2-C620-76DC00AA3938}"/>
              </a:ext>
            </a:extLst>
          </p:cNvPr>
          <p:cNvPicPr>
            <a:picLocks noChangeAspect="1" noChangeArrowheads="1"/>
          </p:cNvPicPr>
          <p:nvPr/>
        </p:nvPicPr>
        <p:blipFill>
          <a:blip r:embed="rId42" cstate="screen">
            <a:extLst>
              <a:ext uri="{28A0092B-C50C-407E-A947-70E740481C1C}">
                <a14:useLocalDpi xmlns:a14="http://schemas.microsoft.com/office/drawing/2010/main"/>
              </a:ext>
            </a:extLst>
          </a:blip>
          <a:srcRect/>
          <a:stretch>
            <a:fillRect/>
          </a:stretch>
        </p:blipFill>
        <p:spPr bwMode="auto">
          <a:xfrm>
            <a:off x="3050773" y="4865421"/>
            <a:ext cx="843577" cy="23495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a:extLst>
              <a:ext uri="{FF2B5EF4-FFF2-40B4-BE49-F238E27FC236}">
                <a16:creationId xmlns:a16="http://schemas.microsoft.com/office/drawing/2014/main" id="{A809BE15-6960-3D5D-D18C-8B1B31618581}"/>
              </a:ext>
            </a:extLst>
          </p:cNvPr>
          <p:cNvPicPr>
            <a:picLocks noChangeAspect="1" noChangeArrowheads="1"/>
          </p:cNvPicPr>
          <p:nvPr/>
        </p:nvPicPr>
        <p:blipFill>
          <a:blip r:embed="rId43" cstate="screen">
            <a:extLst>
              <a:ext uri="{28A0092B-C50C-407E-A947-70E740481C1C}">
                <a14:useLocalDpi xmlns:a14="http://schemas.microsoft.com/office/drawing/2010/main"/>
              </a:ext>
            </a:extLst>
          </a:blip>
          <a:srcRect/>
          <a:stretch>
            <a:fillRect/>
          </a:stretch>
        </p:blipFill>
        <p:spPr bwMode="auto">
          <a:xfrm>
            <a:off x="3331214" y="5386638"/>
            <a:ext cx="848817" cy="157163"/>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China National Nuclear Corporation - Wikipedia">
            <a:extLst>
              <a:ext uri="{FF2B5EF4-FFF2-40B4-BE49-F238E27FC236}">
                <a16:creationId xmlns:a16="http://schemas.microsoft.com/office/drawing/2014/main" id="{E36CC4EE-C5B5-CB63-090D-2C3008729E70}"/>
              </a:ext>
            </a:extLst>
          </p:cNvPr>
          <p:cNvPicPr>
            <a:picLocks noChangeAspect="1" noChangeArrowheads="1"/>
          </p:cNvPicPr>
          <p:nvPr/>
        </p:nvPicPr>
        <p:blipFill>
          <a:blip r:embed="rId44" cstate="screen">
            <a:extLst>
              <a:ext uri="{28A0092B-C50C-407E-A947-70E740481C1C}">
                <a14:useLocalDpi xmlns:a14="http://schemas.microsoft.com/office/drawing/2010/main"/>
              </a:ext>
            </a:extLst>
          </a:blip>
          <a:srcRect/>
          <a:stretch>
            <a:fillRect/>
          </a:stretch>
        </p:blipFill>
        <p:spPr bwMode="auto">
          <a:xfrm>
            <a:off x="3372268" y="5591288"/>
            <a:ext cx="555863" cy="228221"/>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Rosatom - Wikipedia">
            <a:extLst>
              <a:ext uri="{FF2B5EF4-FFF2-40B4-BE49-F238E27FC236}">
                <a16:creationId xmlns:a16="http://schemas.microsoft.com/office/drawing/2014/main" id="{78EDEAA9-7082-91EA-A7E4-510C05249124}"/>
              </a:ext>
            </a:extLst>
          </p:cNvPr>
          <p:cNvPicPr>
            <a:picLocks noChangeAspect="1" noChangeArrowheads="1"/>
          </p:cNvPicPr>
          <p:nvPr/>
        </p:nvPicPr>
        <p:blipFill>
          <a:blip r:embed="rId45" cstate="screen">
            <a:extLst>
              <a:ext uri="{28A0092B-C50C-407E-A947-70E740481C1C}">
                <a14:useLocalDpi xmlns:a14="http://schemas.microsoft.com/office/drawing/2010/main"/>
              </a:ext>
            </a:extLst>
          </a:blip>
          <a:srcRect/>
          <a:stretch>
            <a:fillRect/>
          </a:stretch>
        </p:blipFill>
        <p:spPr bwMode="auto">
          <a:xfrm>
            <a:off x="3033719" y="5509679"/>
            <a:ext cx="282434" cy="281540"/>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a:extLst>
              <a:ext uri="{FF2B5EF4-FFF2-40B4-BE49-F238E27FC236}">
                <a16:creationId xmlns:a16="http://schemas.microsoft.com/office/drawing/2014/main" id="{A6C8960E-41A7-EE9E-AB89-2E6B944D8282}"/>
              </a:ext>
            </a:extLst>
          </p:cNvPr>
          <p:cNvPicPr>
            <a:picLocks noChangeAspect="1" noChangeArrowheads="1"/>
          </p:cNvPicPr>
          <p:nvPr/>
        </p:nvPicPr>
        <p:blipFill>
          <a:blip r:embed="rId46" cstate="screen">
            <a:extLst>
              <a:ext uri="{28A0092B-C50C-407E-A947-70E740481C1C}">
                <a14:useLocalDpi xmlns:a14="http://schemas.microsoft.com/office/drawing/2010/main"/>
              </a:ext>
            </a:extLst>
          </a:blip>
          <a:srcRect/>
          <a:stretch>
            <a:fillRect/>
          </a:stretch>
        </p:blipFill>
        <p:spPr bwMode="auto">
          <a:xfrm>
            <a:off x="4276726" y="5451476"/>
            <a:ext cx="696827" cy="227013"/>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a:extLst>
              <a:ext uri="{FF2B5EF4-FFF2-40B4-BE49-F238E27FC236}">
                <a16:creationId xmlns:a16="http://schemas.microsoft.com/office/drawing/2014/main" id="{D613EA3C-02C8-D02E-B092-D1478FB50C68}"/>
              </a:ext>
            </a:extLst>
          </p:cNvPr>
          <p:cNvPicPr>
            <a:picLocks noChangeAspect="1" noChangeArrowheads="1"/>
          </p:cNvPicPr>
          <p:nvPr/>
        </p:nvPicPr>
        <p:blipFill>
          <a:blip r:embed="rId47" cstate="screen">
            <a:extLst>
              <a:ext uri="{28A0092B-C50C-407E-A947-70E740481C1C}">
                <a14:useLocalDpi xmlns:a14="http://schemas.microsoft.com/office/drawing/2010/main"/>
              </a:ext>
            </a:extLst>
          </a:blip>
          <a:srcRect/>
          <a:stretch>
            <a:fillRect/>
          </a:stretch>
        </p:blipFill>
        <p:spPr bwMode="auto">
          <a:xfrm>
            <a:off x="4330701" y="4867275"/>
            <a:ext cx="526729" cy="28575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ksb logo – Turcomp">
            <a:extLst>
              <a:ext uri="{FF2B5EF4-FFF2-40B4-BE49-F238E27FC236}">
                <a16:creationId xmlns:a16="http://schemas.microsoft.com/office/drawing/2014/main" id="{98CA1197-DAFA-02AB-C4A7-0BF01BAA8BEE}"/>
              </a:ext>
            </a:extLst>
          </p:cNvPr>
          <p:cNvPicPr>
            <a:picLocks noChangeAspect="1" noChangeArrowheads="1"/>
          </p:cNvPicPr>
          <p:nvPr/>
        </p:nvPicPr>
        <p:blipFill rotWithShape="1">
          <a:blip r:embed="rId48" cstate="screen">
            <a:extLst>
              <a:ext uri="{28A0092B-C50C-407E-A947-70E740481C1C}">
                <a14:useLocalDpi xmlns:a14="http://schemas.microsoft.com/office/drawing/2010/main"/>
              </a:ext>
            </a:extLst>
          </a:blip>
          <a:srcRect/>
          <a:stretch/>
        </p:blipFill>
        <p:spPr bwMode="auto">
          <a:xfrm>
            <a:off x="4749800" y="5059363"/>
            <a:ext cx="712002" cy="307975"/>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a:extLst>
              <a:ext uri="{FF2B5EF4-FFF2-40B4-BE49-F238E27FC236}">
                <a16:creationId xmlns:a16="http://schemas.microsoft.com/office/drawing/2014/main" id="{AFFDD0F5-44EC-5903-7EAF-13A26B4834E2}"/>
              </a:ext>
            </a:extLst>
          </p:cNvPr>
          <p:cNvPicPr>
            <a:picLocks noChangeAspect="1" noChangeArrowheads="1"/>
          </p:cNvPicPr>
          <p:nvPr/>
        </p:nvPicPr>
        <p:blipFill>
          <a:blip r:embed="rId49" cstate="screen">
            <a:extLst>
              <a:ext uri="{28A0092B-C50C-407E-A947-70E740481C1C}">
                <a14:useLocalDpi xmlns:a14="http://schemas.microsoft.com/office/drawing/2010/main"/>
              </a:ext>
            </a:extLst>
          </a:blip>
          <a:srcRect/>
          <a:stretch>
            <a:fillRect/>
          </a:stretch>
        </p:blipFill>
        <p:spPr bwMode="auto">
          <a:xfrm>
            <a:off x="4606925" y="5770563"/>
            <a:ext cx="799101" cy="222250"/>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Ultra Electronics Group | satsearch">
            <a:extLst>
              <a:ext uri="{FF2B5EF4-FFF2-40B4-BE49-F238E27FC236}">
                <a16:creationId xmlns:a16="http://schemas.microsoft.com/office/drawing/2014/main" id="{8A458425-D296-2DD2-BA53-706C4F567BAB}"/>
              </a:ext>
            </a:extLst>
          </p:cNvPr>
          <p:cNvPicPr>
            <a:picLocks noChangeAspect="1" noChangeArrowheads="1"/>
          </p:cNvPicPr>
          <p:nvPr/>
        </p:nvPicPr>
        <p:blipFill>
          <a:blip r:embed="rId50" cstate="screen">
            <a:extLst>
              <a:ext uri="{28A0092B-C50C-407E-A947-70E740481C1C}">
                <a14:useLocalDpi xmlns:a14="http://schemas.microsoft.com/office/drawing/2010/main"/>
              </a:ext>
            </a:extLst>
          </a:blip>
          <a:srcRect/>
          <a:stretch>
            <a:fillRect/>
          </a:stretch>
        </p:blipFill>
        <p:spPr bwMode="auto">
          <a:xfrm>
            <a:off x="5840413" y="5167313"/>
            <a:ext cx="773562" cy="146050"/>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a:extLst>
              <a:ext uri="{FF2B5EF4-FFF2-40B4-BE49-F238E27FC236}">
                <a16:creationId xmlns:a16="http://schemas.microsoft.com/office/drawing/2014/main" id="{1E024470-48A7-EFCE-8799-29A2FD02B5B3}"/>
              </a:ext>
            </a:extLst>
          </p:cNvPr>
          <p:cNvPicPr>
            <a:picLocks noChangeAspect="1" noChangeArrowheads="1"/>
          </p:cNvPicPr>
          <p:nvPr/>
        </p:nvPicPr>
        <p:blipFill rotWithShape="1">
          <a:blip r:embed="rId51" cstate="screen">
            <a:extLst>
              <a:ext uri="{28A0092B-C50C-407E-A947-70E740481C1C}">
                <a14:useLocalDpi xmlns:a14="http://schemas.microsoft.com/office/drawing/2010/main"/>
              </a:ext>
            </a:extLst>
          </a:blip>
          <a:srcRect t="36438" b="33877"/>
          <a:stretch/>
        </p:blipFill>
        <p:spPr bwMode="auto">
          <a:xfrm>
            <a:off x="5580063" y="4919663"/>
            <a:ext cx="962575" cy="158750"/>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descr="Flowserve Logo PNG Transparent &amp; SVG Vector - Freebie Supply">
            <a:extLst>
              <a:ext uri="{FF2B5EF4-FFF2-40B4-BE49-F238E27FC236}">
                <a16:creationId xmlns:a16="http://schemas.microsoft.com/office/drawing/2014/main" id="{2EFEF1FE-795E-9CC1-D745-BB6DF1495A5F}"/>
              </a:ext>
            </a:extLst>
          </p:cNvPr>
          <p:cNvPicPr>
            <a:picLocks noChangeAspect="1" noChangeArrowheads="1"/>
          </p:cNvPicPr>
          <p:nvPr/>
        </p:nvPicPr>
        <p:blipFill rotWithShape="1">
          <a:blip r:embed="rId52" cstate="screen">
            <a:extLst>
              <a:ext uri="{28A0092B-C50C-407E-A947-70E740481C1C}">
                <a14:useLocalDpi xmlns:a14="http://schemas.microsoft.com/office/drawing/2010/main"/>
              </a:ext>
            </a:extLst>
          </a:blip>
          <a:srcRect t="28068" b="28377"/>
          <a:stretch/>
        </p:blipFill>
        <p:spPr bwMode="auto">
          <a:xfrm>
            <a:off x="5813425" y="5678488"/>
            <a:ext cx="841953" cy="366713"/>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descr="Schneider Electric logo | Schneider Electric Global">
            <a:extLst>
              <a:ext uri="{FF2B5EF4-FFF2-40B4-BE49-F238E27FC236}">
                <a16:creationId xmlns:a16="http://schemas.microsoft.com/office/drawing/2014/main" id="{84F86311-8661-3A2A-740B-40DEE0AA6AAF}"/>
              </a:ext>
            </a:extLst>
          </p:cNvPr>
          <p:cNvPicPr>
            <a:picLocks noChangeAspect="1" noChangeArrowheads="1"/>
          </p:cNvPicPr>
          <p:nvPr/>
        </p:nvPicPr>
        <p:blipFill>
          <a:blip r:embed="rId53" cstate="screen">
            <a:extLst>
              <a:ext uri="{28A0092B-C50C-407E-A947-70E740481C1C}">
                <a14:useLocalDpi xmlns:a14="http://schemas.microsoft.com/office/drawing/2010/main"/>
              </a:ext>
            </a:extLst>
          </a:blip>
          <a:srcRect/>
          <a:stretch>
            <a:fillRect/>
          </a:stretch>
        </p:blipFill>
        <p:spPr bwMode="auto">
          <a:xfrm>
            <a:off x="5603875" y="5365750"/>
            <a:ext cx="797718" cy="319088"/>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0C0C5293-130A-0C1C-5E90-97ECE40AD9B4}"/>
              </a:ext>
            </a:extLst>
          </p:cNvPr>
          <p:cNvSpPr txBox="1"/>
          <p:nvPr/>
        </p:nvSpPr>
        <p:spPr bwMode="gray">
          <a:xfrm>
            <a:off x="8002588" y="1893888"/>
            <a:ext cx="1204913" cy="382588"/>
          </a:xfrm>
          <a:prstGeom prst="rect">
            <a:avLst/>
          </a:prstGeom>
          <a:solidFill>
            <a:schemeClr val="accent5"/>
          </a:solidFill>
          <a:ln w="6350">
            <a:noFill/>
            <a:prstDash val="solid"/>
          </a:ln>
        </p:spPr>
        <p:txBody>
          <a:bodyPr wrap="square" lIns="91440" tIns="91440" rIns="91440" bIns="91440" rtlCol="0" anchor="ctr">
            <a:noAutofit/>
          </a:bodyPr>
          <a:lstStyle/>
          <a:p>
            <a:pPr marL="0" indent="0" algn="ctr">
              <a:spcAft>
                <a:spcPts val="600"/>
              </a:spcAft>
              <a:buNone/>
            </a:pPr>
            <a:r>
              <a:rPr lang="en-US" sz="1000" b="1">
                <a:solidFill>
                  <a:srgbClr val="FFFFFF"/>
                </a:solidFill>
              </a:rPr>
              <a:t>Nuclear fuel</a:t>
            </a:r>
          </a:p>
        </p:txBody>
      </p:sp>
      <p:sp>
        <p:nvSpPr>
          <p:cNvPr id="91" name="btfpColumnHeaderBoxText223027">
            <a:extLst>
              <a:ext uri="{FF2B5EF4-FFF2-40B4-BE49-F238E27FC236}">
                <a16:creationId xmlns:a16="http://schemas.microsoft.com/office/drawing/2014/main" id="{82E097BA-7E8D-84B1-B975-3FD52ECE589E}"/>
              </a:ext>
            </a:extLst>
          </p:cNvPr>
          <p:cNvSpPr txBox="1"/>
          <p:nvPr/>
        </p:nvSpPr>
        <p:spPr bwMode="gray">
          <a:xfrm>
            <a:off x="8002588" y="2290805"/>
            <a:ext cx="1204913" cy="557524"/>
          </a:xfrm>
          <a:prstGeom prst="rect">
            <a:avLst/>
          </a:prstGeom>
          <a:noFill/>
        </p:spPr>
        <p:txBody>
          <a:bodyPr vert="horz" wrap="square" lIns="36036" tIns="36036" rIns="36036" bIns="36036" rtlCol="0" anchor="b">
            <a:spAutoFit/>
          </a:bodyPr>
          <a:lstStyle/>
          <a:p>
            <a:pPr marL="0" indent="0">
              <a:spcBef>
                <a:spcPts val="0"/>
              </a:spcBef>
              <a:buNone/>
            </a:pPr>
            <a:r>
              <a:rPr lang="en-US" sz="1050">
                <a:solidFill>
                  <a:srgbClr val="000000"/>
                </a:solidFill>
              </a:rPr>
              <a:t>Mostly uranium to keep the nuclear plants running</a:t>
            </a:r>
          </a:p>
        </p:txBody>
      </p:sp>
      <p:sp>
        <p:nvSpPr>
          <p:cNvPr id="93" name="btfpColumnHeaderBoxText223027">
            <a:extLst>
              <a:ext uri="{FF2B5EF4-FFF2-40B4-BE49-F238E27FC236}">
                <a16:creationId xmlns:a16="http://schemas.microsoft.com/office/drawing/2014/main" id="{CE8CB21A-5AF5-29F2-58F3-D843E93746FB}"/>
              </a:ext>
            </a:extLst>
          </p:cNvPr>
          <p:cNvSpPr txBox="1"/>
          <p:nvPr/>
        </p:nvSpPr>
        <p:spPr bwMode="gray">
          <a:xfrm>
            <a:off x="8005763" y="3881438"/>
            <a:ext cx="1206500" cy="234950"/>
          </a:xfrm>
          <a:prstGeom prst="rect">
            <a:avLst/>
          </a:prstGeom>
          <a:noFill/>
        </p:spPr>
        <p:txBody>
          <a:bodyPr vert="horz" wrap="square" lIns="36036" tIns="36036" rIns="36036" bIns="36036" rtlCol="0" anchor="b">
            <a:spAutoFit/>
          </a:bodyPr>
          <a:lstStyle/>
          <a:p>
            <a:pPr marL="0" indent="0">
              <a:spcBef>
                <a:spcPts val="0"/>
              </a:spcBef>
              <a:buNone/>
            </a:pPr>
            <a:r>
              <a:rPr lang="en-US" sz="1050">
                <a:solidFill>
                  <a:srgbClr val="000000"/>
                </a:solidFill>
              </a:rPr>
              <a:t>1,000+</a:t>
            </a:r>
          </a:p>
        </p:txBody>
      </p:sp>
      <p:grpSp>
        <p:nvGrpSpPr>
          <p:cNvPr id="98" name="Group 97">
            <a:extLst>
              <a:ext uri="{FF2B5EF4-FFF2-40B4-BE49-F238E27FC236}">
                <a16:creationId xmlns:a16="http://schemas.microsoft.com/office/drawing/2014/main" id="{29F7062F-9064-D444-9855-08F553021B7A}"/>
              </a:ext>
            </a:extLst>
          </p:cNvPr>
          <p:cNvGrpSpPr/>
          <p:nvPr/>
        </p:nvGrpSpPr>
        <p:grpSpPr>
          <a:xfrm>
            <a:off x="8024079" y="3889375"/>
            <a:ext cx="1152525" cy="955675"/>
            <a:chOff x="3882196" y="4000453"/>
            <a:chExt cx="1188793" cy="955721"/>
          </a:xfrm>
        </p:grpSpPr>
        <p:cxnSp>
          <p:nvCxnSpPr>
            <p:cNvPr id="99" name="Straight Connector 98">
              <a:extLst>
                <a:ext uri="{FF2B5EF4-FFF2-40B4-BE49-F238E27FC236}">
                  <a16:creationId xmlns:a16="http://schemas.microsoft.com/office/drawing/2014/main" id="{19E43CBB-7B8B-3F22-0F79-8079C16FF0BE}"/>
                </a:ext>
              </a:extLst>
            </p:cNvPr>
            <p:cNvCxnSpPr>
              <a:cxnSpLocks/>
            </p:cNvCxnSpPr>
            <p:nvPr/>
          </p:nvCxnSpPr>
          <p:spPr bwMode="gray">
            <a:xfrm>
              <a:off x="3882196" y="4000453"/>
              <a:ext cx="11887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D4AC658-4B24-15FA-3031-63DBD1FD4A7E}"/>
                </a:ext>
              </a:extLst>
            </p:cNvPr>
            <p:cNvCxnSpPr>
              <a:cxnSpLocks/>
            </p:cNvCxnSpPr>
            <p:nvPr/>
          </p:nvCxnSpPr>
          <p:spPr bwMode="gray">
            <a:xfrm>
              <a:off x="3882196" y="4313949"/>
              <a:ext cx="11887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25B4A19-EE2E-2242-92DC-87192D47329B}"/>
                </a:ext>
              </a:extLst>
            </p:cNvPr>
            <p:cNvCxnSpPr>
              <a:cxnSpLocks/>
            </p:cNvCxnSpPr>
            <p:nvPr/>
          </p:nvCxnSpPr>
          <p:spPr bwMode="gray">
            <a:xfrm>
              <a:off x="3882196" y="4956174"/>
              <a:ext cx="11887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23" name="Straight Connector 122">
            <a:extLst>
              <a:ext uri="{FF2B5EF4-FFF2-40B4-BE49-F238E27FC236}">
                <a16:creationId xmlns:a16="http://schemas.microsoft.com/office/drawing/2014/main" id="{E42492CC-F68A-2F3D-7CBD-7CCB5CB94555}"/>
              </a:ext>
            </a:extLst>
          </p:cNvPr>
          <p:cNvCxnSpPr>
            <a:cxnSpLocks/>
          </p:cNvCxnSpPr>
          <p:nvPr/>
        </p:nvCxnSpPr>
        <p:spPr bwMode="gray">
          <a:xfrm flipH="1">
            <a:off x="9218802" y="1890156"/>
            <a:ext cx="0" cy="412693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89EE0C7-262B-5DEF-DD62-4148BCBF9EED}"/>
              </a:ext>
            </a:extLst>
          </p:cNvPr>
          <p:cNvCxnSpPr>
            <a:cxnSpLocks/>
          </p:cNvCxnSpPr>
          <p:nvPr/>
        </p:nvCxnSpPr>
        <p:spPr bwMode="gray">
          <a:xfrm flipH="1">
            <a:off x="5484884" y="1890156"/>
            <a:ext cx="0" cy="412693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EC066EA9-76E1-5A52-BCE8-A098FFDE7FEF}"/>
              </a:ext>
            </a:extLst>
          </p:cNvPr>
          <p:cNvCxnSpPr>
            <a:cxnSpLocks/>
          </p:cNvCxnSpPr>
          <p:nvPr/>
        </p:nvCxnSpPr>
        <p:spPr bwMode="gray">
          <a:xfrm flipH="1">
            <a:off x="6733382" y="1890156"/>
            <a:ext cx="0" cy="412693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0329859F-88E6-FD00-C419-DEED741AD11D}"/>
              </a:ext>
            </a:extLst>
          </p:cNvPr>
          <p:cNvCxnSpPr>
            <a:cxnSpLocks/>
          </p:cNvCxnSpPr>
          <p:nvPr/>
        </p:nvCxnSpPr>
        <p:spPr bwMode="gray">
          <a:xfrm flipH="1">
            <a:off x="2995604" y="1890156"/>
            <a:ext cx="0" cy="412693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61725DA-5F76-432E-1DD0-6FF669A7789A}"/>
              </a:ext>
            </a:extLst>
          </p:cNvPr>
          <p:cNvCxnSpPr>
            <a:cxnSpLocks/>
          </p:cNvCxnSpPr>
          <p:nvPr/>
        </p:nvCxnSpPr>
        <p:spPr bwMode="gray">
          <a:xfrm flipH="1">
            <a:off x="4240244" y="1890156"/>
            <a:ext cx="0" cy="412693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30A05801-223C-0D77-4E81-F20BEA31E447}"/>
              </a:ext>
            </a:extLst>
          </p:cNvPr>
          <p:cNvCxnSpPr>
            <a:cxnSpLocks/>
          </p:cNvCxnSpPr>
          <p:nvPr/>
        </p:nvCxnSpPr>
        <p:spPr bwMode="gray">
          <a:xfrm flipH="1">
            <a:off x="1750964" y="1890156"/>
            <a:ext cx="0" cy="412693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0" name="Oval 199">
            <a:extLst>
              <a:ext uri="{FF2B5EF4-FFF2-40B4-BE49-F238E27FC236}">
                <a16:creationId xmlns:a16="http://schemas.microsoft.com/office/drawing/2014/main" id="{3E5BCE20-BB5D-F36A-5211-A3D887D34043}"/>
              </a:ext>
            </a:extLst>
          </p:cNvPr>
          <p:cNvSpPr/>
          <p:nvPr/>
        </p:nvSpPr>
        <p:spPr bwMode="gray">
          <a:xfrm>
            <a:off x="1655984" y="1788470"/>
            <a:ext cx="222250" cy="223066"/>
          </a:xfrm>
          <a:prstGeom prst="ellipse">
            <a:avLst/>
          </a:prstGeom>
          <a:solidFill>
            <a:srgbClr val="40404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800" b="1">
                <a:solidFill>
                  <a:srgbClr val="FFFFFF"/>
                </a:solidFill>
              </a:rPr>
              <a:t>0</a:t>
            </a:r>
          </a:p>
        </p:txBody>
      </p:sp>
      <p:sp>
        <p:nvSpPr>
          <p:cNvPr id="203" name="Oval 202">
            <a:extLst>
              <a:ext uri="{FF2B5EF4-FFF2-40B4-BE49-F238E27FC236}">
                <a16:creationId xmlns:a16="http://schemas.microsoft.com/office/drawing/2014/main" id="{5B328842-BD2A-47FC-51C5-4316A89595C4}"/>
              </a:ext>
            </a:extLst>
          </p:cNvPr>
          <p:cNvSpPr/>
          <p:nvPr/>
        </p:nvSpPr>
        <p:spPr bwMode="gray">
          <a:xfrm>
            <a:off x="2902905" y="1788470"/>
            <a:ext cx="222250" cy="223066"/>
          </a:xfrm>
          <a:prstGeom prst="ellipse">
            <a:avLst/>
          </a:prstGeom>
          <a:solidFill>
            <a:srgbClr val="40404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800" b="1">
                <a:solidFill>
                  <a:srgbClr val="FFFFFF"/>
                </a:solidFill>
              </a:rPr>
              <a:t>1</a:t>
            </a:r>
          </a:p>
        </p:txBody>
      </p:sp>
      <p:sp>
        <p:nvSpPr>
          <p:cNvPr id="204" name="Oval 203">
            <a:extLst>
              <a:ext uri="{FF2B5EF4-FFF2-40B4-BE49-F238E27FC236}">
                <a16:creationId xmlns:a16="http://schemas.microsoft.com/office/drawing/2014/main" id="{1AD11C44-9233-AC07-359B-1317E32BB75E}"/>
              </a:ext>
            </a:extLst>
          </p:cNvPr>
          <p:cNvSpPr/>
          <p:nvPr/>
        </p:nvSpPr>
        <p:spPr bwMode="gray">
          <a:xfrm>
            <a:off x="4149826" y="1788470"/>
            <a:ext cx="223838" cy="223066"/>
          </a:xfrm>
          <a:prstGeom prst="ellipse">
            <a:avLst/>
          </a:prstGeom>
          <a:solidFill>
            <a:srgbClr val="40404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800" b="1">
                <a:solidFill>
                  <a:srgbClr val="FFFFFF"/>
                </a:solidFill>
              </a:rPr>
              <a:t>2</a:t>
            </a:r>
          </a:p>
        </p:txBody>
      </p:sp>
      <p:sp>
        <p:nvSpPr>
          <p:cNvPr id="205" name="Oval 204">
            <a:extLst>
              <a:ext uri="{FF2B5EF4-FFF2-40B4-BE49-F238E27FC236}">
                <a16:creationId xmlns:a16="http://schemas.microsoft.com/office/drawing/2014/main" id="{966E5E21-3A1B-148B-CECE-CE0A5C9D47EF}"/>
              </a:ext>
            </a:extLst>
          </p:cNvPr>
          <p:cNvSpPr/>
          <p:nvPr/>
        </p:nvSpPr>
        <p:spPr bwMode="gray">
          <a:xfrm>
            <a:off x="5398335" y="1788470"/>
            <a:ext cx="222250" cy="223066"/>
          </a:xfrm>
          <a:prstGeom prst="ellipse">
            <a:avLst/>
          </a:prstGeom>
          <a:solidFill>
            <a:srgbClr val="40404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800" b="1">
                <a:solidFill>
                  <a:srgbClr val="FFFFFF"/>
                </a:solidFill>
              </a:rPr>
              <a:t>3</a:t>
            </a:r>
          </a:p>
        </p:txBody>
      </p:sp>
      <p:sp>
        <p:nvSpPr>
          <p:cNvPr id="206" name="Oval 205">
            <a:extLst>
              <a:ext uri="{FF2B5EF4-FFF2-40B4-BE49-F238E27FC236}">
                <a16:creationId xmlns:a16="http://schemas.microsoft.com/office/drawing/2014/main" id="{4FE0A263-26DE-6C2D-57BA-83D562275A04}"/>
              </a:ext>
            </a:extLst>
          </p:cNvPr>
          <p:cNvSpPr/>
          <p:nvPr/>
        </p:nvSpPr>
        <p:spPr bwMode="gray">
          <a:xfrm>
            <a:off x="6645257" y="1788470"/>
            <a:ext cx="222250" cy="223066"/>
          </a:xfrm>
          <a:prstGeom prst="ellipse">
            <a:avLst/>
          </a:prstGeom>
          <a:solidFill>
            <a:srgbClr val="40404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800" b="1">
                <a:solidFill>
                  <a:srgbClr val="FFFFFF"/>
                </a:solidFill>
              </a:rPr>
              <a:t>4</a:t>
            </a:r>
          </a:p>
        </p:txBody>
      </p:sp>
      <p:sp>
        <p:nvSpPr>
          <p:cNvPr id="135" name="btfpColumnHeaderBoxText223027">
            <a:extLst>
              <a:ext uri="{FF2B5EF4-FFF2-40B4-BE49-F238E27FC236}">
                <a16:creationId xmlns:a16="http://schemas.microsoft.com/office/drawing/2014/main" id="{2D118066-AB37-EA96-8871-99DF4E5ADF25}"/>
              </a:ext>
            </a:extLst>
          </p:cNvPr>
          <p:cNvSpPr txBox="1"/>
          <p:nvPr/>
        </p:nvSpPr>
        <p:spPr bwMode="gray">
          <a:xfrm>
            <a:off x="7996244" y="4234558"/>
            <a:ext cx="1206500" cy="557524"/>
          </a:xfrm>
          <a:prstGeom prst="rect">
            <a:avLst/>
          </a:prstGeom>
          <a:noFill/>
        </p:spPr>
        <p:txBody>
          <a:bodyPr vert="horz" wrap="square" lIns="36036" tIns="36036" rIns="36036" bIns="36036" rtlCol="0" anchor="b">
            <a:spAutoFit/>
          </a:bodyPr>
          <a:lstStyle/>
          <a:p>
            <a:pPr marL="0" indent="0">
              <a:spcBef>
                <a:spcPts val="0"/>
              </a:spcBef>
              <a:buNone/>
            </a:pPr>
            <a:r>
              <a:rPr lang="en-US" sz="1050">
                <a:solidFill>
                  <a:srgbClr val="000000"/>
                </a:solidFill>
              </a:rPr>
              <a:t>Depends on fuel production stage — see deep dive</a:t>
            </a:r>
          </a:p>
        </p:txBody>
      </p:sp>
      <p:pic>
        <p:nvPicPr>
          <p:cNvPr id="1076" name="Picture 52" descr="Kazatomprom - Wikipedia">
            <a:extLst>
              <a:ext uri="{FF2B5EF4-FFF2-40B4-BE49-F238E27FC236}">
                <a16:creationId xmlns:a16="http://schemas.microsoft.com/office/drawing/2014/main" id="{E0234F70-E552-9C97-DB15-69888977AFE7}"/>
              </a:ext>
            </a:extLst>
          </p:cNvPr>
          <p:cNvPicPr>
            <a:picLocks noChangeAspect="1" noChangeArrowheads="1"/>
          </p:cNvPicPr>
          <p:nvPr/>
        </p:nvPicPr>
        <p:blipFill>
          <a:blip r:embed="rId54" cstate="screen">
            <a:extLst>
              <a:ext uri="{28A0092B-C50C-407E-A947-70E740481C1C}">
                <a14:useLocalDpi xmlns:a14="http://schemas.microsoft.com/office/drawing/2010/main"/>
              </a:ext>
            </a:extLst>
          </a:blip>
          <a:srcRect/>
          <a:stretch>
            <a:fillRect/>
          </a:stretch>
        </p:blipFill>
        <p:spPr bwMode="auto">
          <a:xfrm>
            <a:off x="8035190" y="5116193"/>
            <a:ext cx="555129" cy="304239"/>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descr="Full Color | Cameco">
            <a:extLst>
              <a:ext uri="{FF2B5EF4-FFF2-40B4-BE49-F238E27FC236}">
                <a16:creationId xmlns:a16="http://schemas.microsoft.com/office/drawing/2014/main" id="{200D8556-53D5-063F-08C6-E03FEF4BC7F5}"/>
              </a:ext>
            </a:extLst>
          </p:cNvPr>
          <p:cNvPicPr>
            <a:picLocks noChangeAspect="1" noChangeArrowheads="1"/>
          </p:cNvPicPr>
          <p:nvPr/>
        </p:nvPicPr>
        <p:blipFill>
          <a:blip r:embed="rId55" cstate="screen">
            <a:extLst>
              <a:ext uri="{28A0092B-C50C-407E-A947-70E740481C1C}">
                <a14:useLocalDpi xmlns:a14="http://schemas.microsoft.com/office/drawing/2010/main"/>
              </a:ext>
            </a:extLst>
          </a:blip>
          <a:srcRect/>
          <a:stretch>
            <a:fillRect/>
          </a:stretch>
        </p:blipFill>
        <p:spPr bwMode="auto">
          <a:xfrm>
            <a:off x="8715887" y="5222995"/>
            <a:ext cx="495342" cy="371507"/>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28ADB3E2-CBF7-0C00-C466-7C1AEE556586}"/>
              </a:ext>
            </a:extLst>
          </p:cNvPr>
          <p:cNvPicPr>
            <a:picLocks noChangeAspect="1" noChangeArrowheads="1"/>
          </p:cNvPicPr>
          <p:nvPr/>
        </p:nvPicPr>
        <p:blipFill>
          <a:blip r:embed="rId56" cstate="screen">
            <a:extLst>
              <a:ext uri="{28A0092B-C50C-407E-A947-70E740481C1C}">
                <a14:useLocalDpi xmlns:a14="http://schemas.microsoft.com/office/drawing/2010/main"/>
              </a:ext>
            </a:extLst>
          </a:blip>
          <a:srcRect/>
          <a:stretch>
            <a:fillRect/>
          </a:stretch>
        </p:blipFill>
        <p:spPr bwMode="auto">
          <a:xfrm>
            <a:off x="8000132" y="4872019"/>
            <a:ext cx="751016" cy="235085"/>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descr="CHINA GENERAL NUCLEAR POWER CORPORATION (CGN) - Exhibitor Details">
            <a:extLst>
              <a:ext uri="{FF2B5EF4-FFF2-40B4-BE49-F238E27FC236}">
                <a16:creationId xmlns:a16="http://schemas.microsoft.com/office/drawing/2014/main" id="{05BE3325-E505-443A-BB59-98F65B944003}"/>
              </a:ext>
            </a:extLst>
          </p:cNvPr>
          <p:cNvPicPr>
            <a:picLocks noChangeAspect="1" noChangeArrowheads="1"/>
          </p:cNvPicPr>
          <p:nvPr/>
        </p:nvPicPr>
        <p:blipFill>
          <a:blip r:embed="rId57" cstate="screen">
            <a:extLst>
              <a:ext uri="{28A0092B-C50C-407E-A947-70E740481C1C}">
                <a14:useLocalDpi xmlns:a14="http://schemas.microsoft.com/office/drawing/2010/main"/>
              </a:ext>
            </a:extLst>
          </a:blip>
          <a:srcRect/>
          <a:stretch>
            <a:fillRect/>
          </a:stretch>
        </p:blipFill>
        <p:spPr bwMode="auto">
          <a:xfrm>
            <a:off x="8529412" y="5072438"/>
            <a:ext cx="670527" cy="167633"/>
          </a:xfrm>
          <a:prstGeom prst="rect">
            <a:avLst/>
          </a:prstGeom>
          <a:noFill/>
          <a:extLst>
            <a:ext uri="{909E8E84-426E-40DD-AFC4-6F175D3DCCD1}">
              <a14:hiddenFill xmlns:a14="http://schemas.microsoft.com/office/drawing/2010/main">
                <a:solidFill>
                  <a:srgbClr val="FFFFFF"/>
                </a:solidFill>
              </a14:hiddenFill>
            </a:ext>
          </a:extLst>
        </p:spPr>
      </p:pic>
      <p:sp>
        <p:nvSpPr>
          <p:cNvPr id="143" name="Rectangle 142">
            <a:extLst>
              <a:ext uri="{FF2B5EF4-FFF2-40B4-BE49-F238E27FC236}">
                <a16:creationId xmlns:a16="http://schemas.microsoft.com/office/drawing/2014/main" id="{BAEDF08F-AFAD-DA4F-185B-3F61DEC74D9D}"/>
              </a:ext>
            </a:extLst>
          </p:cNvPr>
          <p:cNvSpPr/>
          <p:nvPr/>
        </p:nvSpPr>
        <p:spPr bwMode="gray">
          <a:xfrm>
            <a:off x="7391553" y="1458535"/>
            <a:ext cx="182025" cy="216253"/>
          </a:xfrm>
          <a:prstGeom prst="rect">
            <a:avLst/>
          </a:prstGeom>
          <a:solidFill>
            <a:srgbClr val="DEDE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4" name="btfpColumnHeaderBoxText223027">
            <a:extLst>
              <a:ext uri="{FF2B5EF4-FFF2-40B4-BE49-F238E27FC236}">
                <a16:creationId xmlns:a16="http://schemas.microsoft.com/office/drawing/2014/main" id="{0175187A-618E-6F0D-A427-E5CCC34880E7}"/>
              </a:ext>
            </a:extLst>
          </p:cNvPr>
          <p:cNvSpPr txBox="1"/>
          <p:nvPr/>
        </p:nvSpPr>
        <p:spPr bwMode="gray">
          <a:xfrm>
            <a:off x="7597682" y="1448607"/>
            <a:ext cx="1206500" cy="234359"/>
          </a:xfrm>
          <a:prstGeom prst="rect">
            <a:avLst/>
          </a:prstGeom>
          <a:noFill/>
        </p:spPr>
        <p:txBody>
          <a:bodyPr vert="horz" wrap="square" lIns="36036" tIns="36036" rIns="36036" bIns="36036" rtlCol="0" anchor="b">
            <a:spAutoFit/>
          </a:bodyPr>
          <a:lstStyle/>
          <a:p>
            <a:pPr marL="0" indent="0">
              <a:spcBef>
                <a:spcPts val="0"/>
              </a:spcBef>
              <a:buNone/>
            </a:pPr>
            <a:r>
              <a:rPr lang="en-US" sz="1000">
                <a:solidFill>
                  <a:srgbClr val="000000"/>
                </a:solidFill>
              </a:rPr>
              <a:t>Deep dive next</a:t>
            </a:r>
          </a:p>
        </p:txBody>
      </p:sp>
      <p:pic>
        <p:nvPicPr>
          <p:cNvPr id="1084" name="Picture 60">
            <a:extLst>
              <a:ext uri="{FF2B5EF4-FFF2-40B4-BE49-F238E27FC236}">
                <a16:creationId xmlns:a16="http://schemas.microsoft.com/office/drawing/2014/main" id="{ECFA6959-7EAA-B317-C828-69A71F47E427}"/>
              </a:ext>
            </a:extLst>
          </p:cNvPr>
          <p:cNvPicPr>
            <a:picLocks noChangeAspect="1" noChangeArrowheads="1"/>
          </p:cNvPicPr>
          <p:nvPr/>
        </p:nvPicPr>
        <p:blipFill>
          <a:blip r:embed="rId58" cstate="screen">
            <a:extLst>
              <a:ext uri="{28A0092B-C50C-407E-A947-70E740481C1C}">
                <a14:useLocalDpi xmlns:a14="http://schemas.microsoft.com/office/drawing/2010/main"/>
              </a:ext>
            </a:extLst>
          </a:blip>
          <a:srcRect/>
          <a:stretch>
            <a:fillRect/>
          </a:stretch>
        </p:blipFill>
        <p:spPr bwMode="auto">
          <a:xfrm>
            <a:off x="3301236" y="5090483"/>
            <a:ext cx="863526" cy="13492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19B3C13C-2197-1B06-7300-D84DB205935F}"/>
              </a:ext>
            </a:extLst>
          </p:cNvPr>
          <p:cNvPicPr>
            <a:picLocks noChangeAspect="1"/>
          </p:cNvPicPr>
          <p:nvPr/>
        </p:nvPicPr>
        <p:blipFill>
          <a:blip r:embed="rId59"/>
          <a:stretch>
            <a:fillRect/>
          </a:stretch>
        </p:blipFill>
        <p:spPr>
          <a:xfrm>
            <a:off x="3064788" y="5838706"/>
            <a:ext cx="1074599" cy="142673"/>
          </a:xfrm>
          <a:prstGeom prst="rect">
            <a:avLst/>
          </a:prstGeom>
        </p:spPr>
      </p:pic>
      <p:pic>
        <p:nvPicPr>
          <p:cNvPr id="17" name="Picture 16">
            <a:extLst>
              <a:ext uri="{FF2B5EF4-FFF2-40B4-BE49-F238E27FC236}">
                <a16:creationId xmlns:a16="http://schemas.microsoft.com/office/drawing/2014/main" id="{B61C83CE-AABD-3CF2-BB5F-8A19107665C5}"/>
              </a:ext>
            </a:extLst>
          </p:cNvPr>
          <p:cNvPicPr>
            <a:picLocks noChangeAspect="1"/>
          </p:cNvPicPr>
          <p:nvPr/>
        </p:nvPicPr>
        <p:blipFill>
          <a:blip r:embed="rId60"/>
          <a:stretch>
            <a:fillRect/>
          </a:stretch>
        </p:blipFill>
        <p:spPr>
          <a:xfrm>
            <a:off x="8602177" y="5651665"/>
            <a:ext cx="515437" cy="286114"/>
          </a:xfrm>
          <a:prstGeom prst="rect">
            <a:avLst/>
          </a:prstGeom>
        </p:spPr>
      </p:pic>
      <p:pic>
        <p:nvPicPr>
          <p:cNvPr id="24" name="Picture 23">
            <a:extLst>
              <a:ext uri="{FF2B5EF4-FFF2-40B4-BE49-F238E27FC236}">
                <a16:creationId xmlns:a16="http://schemas.microsoft.com/office/drawing/2014/main" id="{6280ADD6-C2F9-0A46-E208-3FA5EE4DADC2}"/>
              </a:ext>
            </a:extLst>
          </p:cNvPr>
          <p:cNvPicPr>
            <a:picLocks noChangeAspect="1"/>
          </p:cNvPicPr>
          <p:nvPr/>
        </p:nvPicPr>
        <p:blipFill>
          <a:blip r:embed="rId61"/>
          <a:stretch>
            <a:fillRect/>
          </a:stretch>
        </p:blipFill>
        <p:spPr>
          <a:xfrm>
            <a:off x="8051497" y="5453176"/>
            <a:ext cx="534444" cy="221513"/>
          </a:xfrm>
          <a:prstGeom prst="rect">
            <a:avLst/>
          </a:prstGeom>
        </p:spPr>
      </p:pic>
    </p:spTree>
    <p:extLst>
      <p:ext uri="{BB962C8B-B14F-4D97-AF65-F5344CB8AC3E}">
        <p14:creationId xmlns:p14="http://schemas.microsoft.com/office/powerpoint/2010/main" val="27022395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38266-6B5F-F375-2FEB-2EF302604932}"/>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DA7D69D-FB46-A991-0C22-9FCDD1B7C54A}"/>
              </a:ext>
            </a:extLst>
          </p:cNvPr>
          <p:cNvGraphicFramePr>
            <a:graphicFrameLocks noChangeAspect="1"/>
          </p:cNvGraphicFramePr>
          <p:nvPr>
            <p:custDataLst>
              <p:tags r:id="rId2"/>
            </p:custDataLst>
            <p:extLst>
              <p:ext uri="{D42A27DB-BD31-4B8C-83A1-F6EECF244321}">
                <p14:modId xmlns:p14="http://schemas.microsoft.com/office/powerpoint/2010/main" val="1571486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1" progId="TCLayout.ActiveDocument.1">
                  <p:embed/>
                </p:oleObj>
              </mc:Choice>
              <mc:Fallback>
                <p:oleObj name="think-cell Slide" r:id="rId13" imgW="592" imgH="591" progId="TCLayout.ActiveDocument.1">
                  <p:embed/>
                  <p:pic>
                    <p:nvPicPr>
                      <p:cNvPr id="2" name="think-cell data - do not delete" hidden="1">
                        <a:extLst>
                          <a:ext uri="{FF2B5EF4-FFF2-40B4-BE49-F238E27FC236}">
                            <a16:creationId xmlns:a16="http://schemas.microsoft.com/office/drawing/2014/main" id="{EDA7D69D-FB46-A991-0C22-9FCDD1B7C54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510362" y="712381"/>
            <a:ext cx="3455581" cy="5135526"/>
          </a:xfrm>
          <a:prstGeom prst="rect">
            <a:avLst/>
          </a:prstGeom>
        </p:spPr>
      </p:pic>
      <p:sp>
        <p:nvSpPr>
          <p:cNvPr id="13" name="Title 2">
            <a:extLst>
              <a:ext uri="{FF2B5EF4-FFF2-40B4-BE49-F238E27FC236}">
                <a16:creationId xmlns:a16="http://schemas.microsoft.com/office/drawing/2014/main" id="{75D72D35-3CA1-885B-01C9-5786E4430930}"/>
              </a:ext>
            </a:extLst>
          </p:cNvPr>
          <p:cNvSpPr txBox="1">
            <a:spLocks/>
          </p:cNvSpPr>
          <p:nvPr/>
        </p:nvSpPr>
        <p:spPr>
          <a:xfrm>
            <a:off x="672895" y="4536595"/>
            <a:ext cx="3165987" cy="1154162"/>
          </a:xfrm>
          <a:prstGeom prst="rect">
            <a:avLst/>
          </a:prstGeom>
          <a:solidFill>
            <a:srgbClr val="9D9D9D">
              <a:alpha val="67059"/>
            </a:srgbClr>
          </a:solidFill>
        </p:spPr>
        <p:txBody>
          <a:bodyPr vert="horz" lIns="91440" tIns="0" rIns="91440" bIns="45720" rtlCol="0" anchor="b" anchorCtr="0">
            <a:spAutoFit/>
          </a:bodyPr>
          <a:lstStyle>
            <a:defPPr>
              <a:defRPr lang="en-US"/>
            </a:defPPr>
            <a:lvl1pPr marL="0" marR="0" lvl="0" indent="0" fontAlgn="auto">
              <a:lnSpc>
                <a:spcPct val="100000"/>
              </a:lnSpc>
              <a:spcBef>
                <a:spcPct val="0"/>
              </a:spcBef>
              <a:spcAft>
                <a:spcPts val="0"/>
              </a:spcAft>
              <a:buClrTx/>
              <a:buSzTx/>
              <a:buFontTx/>
              <a:buNone/>
              <a:tabLst/>
              <a:defRPr kumimoji="0" sz="2400" b="1" i="0" u="none" strike="noStrike" cap="none" spc="0" normalizeH="0" baseline="0">
                <a:ln>
                  <a:noFill/>
                </a:ln>
                <a:solidFill>
                  <a:srgbClr val="FFFFFF"/>
                </a:solidFill>
                <a:effectLst/>
                <a:uLnTx/>
                <a:uFillTx/>
                <a:latin typeface="Arial"/>
                <a:ea typeface="+mj-ea"/>
                <a:cs typeface="+mj-cs"/>
              </a:defRPr>
            </a:lvl1pPr>
          </a:lstStyle>
          <a:p>
            <a:r>
              <a:rPr lang="en-US"/>
              <a:t>Key messages</a:t>
            </a:r>
            <a:br>
              <a:rPr lang="en-US"/>
            </a:br>
            <a:r>
              <a:rPr lang="en-US" b="0"/>
              <a:t>The Nuclear Opportunity</a:t>
            </a:r>
          </a:p>
        </p:txBody>
      </p:sp>
      <p:sp>
        <p:nvSpPr>
          <p:cNvPr id="5" name="btfpNotesBox111697">
            <a:extLst>
              <a:ext uri="{FF2B5EF4-FFF2-40B4-BE49-F238E27FC236}">
                <a16:creationId xmlns:a16="http://schemas.microsoft.com/office/drawing/2014/main" id="{E278672F-0311-100B-9CCB-AF99A004901A}"/>
              </a:ext>
            </a:extLst>
          </p:cNvPr>
          <p:cNvSpPr txBox="1"/>
          <p:nvPr>
            <p:custDataLst>
              <p:tags r:id="rId3"/>
            </p:custDataLst>
          </p:nvPr>
        </p:nvSpPr>
        <p:spPr bwMode="gray">
          <a:xfrm>
            <a:off x="330200" y="6309360"/>
            <a:ext cx="115316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7" name="btfpNotesBox111697">
            <a:extLst>
              <a:ext uri="{FF2B5EF4-FFF2-40B4-BE49-F238E27FC236}">
                <a16:creationId xmlns:a16="http://schemas.microsoft.com/office/drawing/2014/main" id="{92E3FDE1-EE0B-7D87-EB70-E76D4381DE0A}"/>
              </a:ext>
            </a:extLst>
          </p:cNvPr>
          <p:cNvSpPr txBox="1"/>
          <p:nvPr>
            <p:custDataLst>
              <p:tags r:id="rId4"/>
            </p:custDataLst>
          </p:nvPr>
        </p:nvSpPr>
        <p:spPr bwMode="gray">
          <a:xfrm>
            <a:off x="330200" y="6355460"/>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cs typeface="Arial"/>
              </a:rPr>
              <a:t> </a:t>
            </a:r>
            <a:endParaRPr lang="en-US" sz="800">
              <a:solidFill>
                <a:srgbClr val="000000"/>
              </a:solidFill>
              <a:latin typeface="Arial (body)"/>
              <a:cs typeface="Arial"/>
            </a:endParaRPr>
          </a:p>
        </p:txBody>
      </p:sp>
      <p:grpSp>
        <p:nvGrpSpPr>
          <p:cNvPr id="21" name="Group 20">
            <a:extLst>
              <a:ext uri="{FF2B5EF4-FFF2-40B4-BE49-F238E27FC236}">
                <a16:creationId xmlns:a16="http://schemas.microsoft.com/office/drawing/2014/main" id="{1EBEB0DF-8F4E-5863-A00A-BCBA5AA2C56F}"/>
              </a:ext>
            </a:extLst>
          </p:cNvPr>
          <p:cNvGrpSpPr/>
          <p:nvPr/>
        </p:nvGrpSpPr>
        <p:grpSpPr>
          <a:xfrm>
            <a:off x="4188030" y="4411980"/>
            <a:ext cx="7550150" cy="740495"/>
            <a:chOff x="4188030" y="4228851"/>
            <a:chExt cx="7550150" cy="740495"/>
          </a:xfrm>
        </p:grpSpPr>
        <p:sp>
          <p:nvSpPr>
            <p:cNvPr id="9" name="btfpBulletedList771181">
              <a:extLst>
                <a:ext uri="{FF2B5EF4-FFF2-40B4-BE49-F238E27FC236}">
                  <a16:creationId xmlns:a16="http://schemas.microsoft.com/office/drawing/2014/main" id="{1E0EDD46-1B22-B613-DAC4-0CC368F475EF}"/>
                </a:ext>
              </a:extLst>
            </p:cNvPr>
            <p:cNvSpPr txBox="1"/>
            <p:nvPr>
              <p:custDataLst>
                <p:tags r:id="rId10"/>
              </p:custDataLst>
            </p:nvPr>
          </p:nvSpPr>
          <p:spPr bwMode="gray">
            <a:xfrm>
              <a:off x="4230892" y="4265701"/>
              <a:ext cx="7507288" cy="703645"/>
            </a:xfrm>
            <a:prstGeom prst="rect">
              <a:avLst/>
            </a:prstGeom>
            <a:noFill/>
          </p:spPr>
          <p:txBody>
            <a:bodyPr vert="horz" wrap="square" lIns="36000" tIns="36000" rIns="36000" bIns="36000" rtlCol="0" anchor="t">
              <a:spAutoFit/>
            </a:bodyPr>
            <a:lstStyle/>
            <a:p>
              <a:pPr marL="0" indent="0">
                <a:spcBef>
                  <a:spcPts val="1800"/>
                </a:spcBef>
                <a:buNone/>
              </a:pPr>
              <a:r>
                <a:rPr lang="en-US" sz="1200" b="1" dirty="0"/>
                <a:t>The average age of nuclear power plants has doubled to 31 years since 2000, indicating the potential of extending their lifetime beyond 40 years.</a:t>
              </a:r>
            </a:p>
            <a:p>
              <a:pPr marL="355600" lvl="1" indent="-177800" defTabSz="711200">
                <a:spcBef>
                  <a:spcPts val="600"/>
                </a:spcBef>
                <a:buFont typeface="Arial"/>
                <a:buChar char="•"/>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xtending the lifetime of all nuclear plants by 10 years generates an additional ~30,000 </a:t>
              </a:r>
              <a:r>
                <a:rPr kumimoji="0" lang="en-US" sz="1200" b="0" i="0" u="none" strike="noStrike" kern="1200" cap="none" spc="0" normalizeH="0" baseline="0" noProof="0" dirty="0" err="1">
                  <a:ln>
                    <a:noFill/>
                  </a:ln>
                  <a:solidFill>
                    <a:srgbClr val="000000"/>
                  </a:solidFill>
                  <a:effectLst/>
                  <a:uLnTx/>
                  <a:uFillTx/>
                  <a:latin typeface="Arial"/>
                  <a:ea typeface="+mn-ea"/>
                  <a:cs typeface="+mn-cs"/>
                </a:rPr>
                <a:t>TWh</a:t>
              </a:r>
              <a:endParaRPr lang="en-US" sz="1200" b="0" i="0" u="none" strike="noStrike" kern="1200" cap="none" spc="0" normalizeH="0" baseline="0" noProof="0" dirty="0">
                <a:ln>
                  <a:noFill/>
                </a:ln>
                <a:solidFill>
                  <a:srgbClr val="000000"/>
                </a:solidFill>
                <a:effectLst/>
                <a:uLnTx/>
                <a:uFillTx/>
                <a:latin typeface="Arial"/>
                <a:cs typeface="Arial"/>
              </a:endParaRPr>
            </a:p>
          </p:txBody>
        </p:sp>
        <p:cxnSp>
          <p:nvCxnSpPr>
            <p:cNvPr id="10" name="Straight Connector 9">
              <a:extLst>
                <a:ext uri="{FF2B5EF4-FFF2-40B4-BE49-F238E27FC236}">
                  <a16:creationId xmlns:a16="http://schemas.microsoft.com/office/drawing/2014/main" id="{FD7A8BAD-07C4-01E4-3E2A-C864907F2DD8}"/>
                </a:ext>
              </a:extLst>
            </p:cNvPr>
            <p:cNvCxnSpPr>
              <a:cxnSpLocks/>
            </p:cNvCxnSpPr>
            <p:nvPr/>
          </p:nvCxnSpPr>
          <p:spPr bwMode="gray">
            <a:xfrm>
              <a:off x="4188030" y="422885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7A8993E3-9D1D-06BC-9B42-21CC8A76BC7C}"/>
              </a:ext>
            </a:extLst>
          </p:cNvPr>
          <p:cNvGrpSpPr/>
          <p:nvPr/>
        </p:nvGrpSpPr>
        <p:grpSpPr>
          <a:xfrm>
            <a:off x="4188030" y="2039292"/>
            <a:ext cx="7550150" cy="750120"/>
            <a:chOff x="4188030" y="2141372"/>
            <a:chExt cx="7550150" cy="750120"/>
          </a:xfrm>
        </p:grpSpPr>
        <p:cxnSp>
          <p:nvCxnSpPr>
            <p:cNvPr id="8" name="Straight Connector 7">
              <a:extLst>
                <a:ext uri="{FF2B5EF4-FFF2-40B4-BE49-F238E27FC236}">
                  <a16:creationId xmlns:a16="http://schemas.microsoft.com/office/drawing/2014/main" id="{7A03F657-E7F9-C98F-A82E-E772547DAC60}"/>
                </a:ext>
              </a:extLst>
            </p:cNvPr>
            <p:cNvCxnSpPr>
              <a:cxnSpLocks/>
            </p:cNvCxnSpPr>
            <p:nvPr/>
          </p:nvCxnSpPr>
          <p:spPr bwMode="gray">
            <a:xfrm>
              <a:off x="4188030" y="2141372"/>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btfpBulletedList771181">
              <a:extLst>
                <a:ext uri="{FF2B5EF4-FFF2-40B4-BE49-F238E27FC236}">
                  <a16:creationId xmlns:a16="http://schemas.microsoft.com/office/drawing/2014/main" id="{D2F14067-6010-6265-B625-F15FCC736D03}"/>
                </a:ext>
              </a:extLst>
            </p:cNvPr>
            <p:cNvSpPr txBox="1"/>
            <p:nvPr>
              <p:custDataLst>
                <p:tags r:id="rId9"/>
              </p:custDataLst>
            </p:nvPr>
          </p:nvSpPr>
          <p:spPr bwMode="gray">
            <a:xfrm>
              <a:off x="4230892" y="2187847"/>
              <a:ext cx="7507288" cy="703645"/>
            </a:xfrm>
            <a:prstGeom prst="rect">
              <a:avLst/>
            </a:prstGeom>
            <a:noFill/>
          </p:spPr>
          <p:txBody>
            <a:bodyPr vert="horz" wrap="square" lIns="36000" tIns="36000" rIns="36000" bIns="36000" rtlCol="0" anchor="t">
              <a:spAutoFit/>
            </a:bodyPr>
            <a:lstStyle/>
            <a:p>
              <a:pPr marL="0" indent="0">
                <a:spcBef>
                  <a:spcPts val="1800"/>
                </a:spcBef>
                <a:buNone/>
              </a:pPr>
              <a:r>
                <a:rPr lang="en-US" sz="1200" b="1"/>
                <a:t>Nuclear is expected to generate 7% to 11% of global electricity by 2050, growing capacity 1.5 to 3x.</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Nuclear has the lowest carbon intensity of all energy sources at 5 grams CO</a:t>
              </a:r>
              <a:r>
                <a:rPr kumimoji="0" lang="en-US" sz="1200" b="0" i="0" u="none" strike="noStrike" kern="1200" cap="none" spc="0" normalizeH="0" baseline="-25000" noProof="0">
                  <a:ln>
                    <a:noFill/>
                  </a:ln>
                  <a:solidFill>
                    <a:srgbClr val="000000"/>
                  </a:solidFill>
                  <a:effectLst/>
                  <a:uLnTx/>
                  <a:uFillTx/>
                  <a:latin typeface="Arial"/>
                  <a:ea typeface="+mn-ea"/>
                  <a:cs typeface="+mn-cs"/>
                </a:rPr>
                <a:t>2</a:t>
              </a:r>
              <a:r>
                <a:rPr kumimoji="0" lang="en-US" sz="1200" b="0" i="0" u="none" strike="noStrike" kern="1200" cap="none" spc="0" normalizeH="0" noProof="0">
                  <a:ln>
                    <a:noFill/>
                  </a:ln>
                  <a:solidFill>
                    <a:srgbClr val="000000"/>
                  </a:solidFill>
                  <a:effectLst/>
                  <a:uLnTx/>
                  <a:uFillTx/>
                  <a:latin typeface="Arial"/>
                  <a:ea typeface="+mn-ea"/>
                  <a:cs typeface="+mn-cs"/>
                </a:rPr>
                <a:t>e/kWh, even lower than solar photovoltaic (PV) and wind.</a:t>
              </a:r>
            </a:p>
          </p:txBody>
        </p:sp>
      </p:grpSp>
      <p:grpSp>
        <p:nvGrpSpPr>
          <p:cNvPr id="22" name="Group 21">
            <a:extLst>
              <a:ext uri="{FF2B5EF4-FFF2-40B4-BE49-F238E27FC236}">
                <a16:creationId xmlns:a16="http://schemas.microsoft.com/office/drawing/2014/main" id="{7C111E09-8F59-F981-A63B-E5A83F8F9E1F}"/>
              </a:ext>
            </a:extLst>
          </p:cNvPr>
          <p:cNvGrpSpPr/>
          <p:nvPr/>
        </p:nvGrpSpPr>
        <p:grpSpPr>
          <a:xfrm>
            <a:off x="4188030" y="2851359"/>
            <a:ext cx="7550150" cy="1515700"/>
            <a:chOff x="4188030" y="2889842"/>
            <a:chExt cx="7550150" cy="1515700"/>
          </a:xfrm>
        </p:grpSpPr>
        <p:cxnSp>
          <p:nvCxnSpPr>
            <p:cNvPr id="6" name="Straight Connector 5">
              <a:extLst>
                <a:ext uri="{FF2B5EF4-FFF2-40B4-BE49-F238E27FC236}">
                  <a16:creationId xmlns:a16="http://schemas.microsoft.com/office/drawing/2014/main" id="{3C414A09-3429-3694-C619-2FBEFB3CF1BA}"/>
                </a:ext>
              </a:extLst>
            </p:cNvPr>
            <p:cNvCxnSpPr>
              <a:cxnSpLocks/>
            </p:cNvCxnSpPr>
            <p:nvPr/>
          </p:nvCxnSpPr>
          <p:spPr bwMode="gray">
            <a:xfrm>
              <a:off x="4188030" y="2889842"/>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BulletedList771181">
              <a:extLst>
                <a:ext uri="{FF2B5EF4-FFF2-40B4-BE49-F238E27FC236}">
                  <a16:creationId xmlns:a16="http://schemas.microsoft.com/office/drawing/2014/main" id="{387F2A29-A179-5644-E553-0AEFB7567CB5}"/>
                </a:ext>
              </a:extLst>
            </p:cNvPr>
            <p:cNvSpPr txBox="1"/>
            <p:nvPr>
              <p:custDataLst>
                <p:tags r:id="rId8"/>
              </p:custDataLst>
            </p:nvPr>
          </p:nvSpPr>
          <p:spPr bwMode="gray">
            <a:xfrm>
              <a:off x="4230892" y="2917067"/>
              <a:ext cx="7507288" cy="1488475"/>
            </a:xfrm>
            <a:prstGeom prst="rect">
              <a:avLst/>
            </a:prstGeom>
            <a:noFill/>
          </p:spPr>
          <p:txBody>
            <a:bodyPr vert="horz" wrap="square" lIns="36000" tIns="36000" rIns="36000" bIns="36000" rtlCol="0" anchor="t">
              <a:spAutoFit/>
            </a:bodyPr>
            <a:lstStyle/>
            <a:p>
              <a:pPr marL="0" indent="0">
                <a:spcBef>
                  <a:spcPts val="1800"/>
                </a:spcBef>
                <a:buNone/>
              </a:pPr>
              <a:r>
                <a:rPr lang="en-US" sz="1200" b="1" dirty="0"/>
                <a:t>There are four pathways for the future of nuclear power:</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xtending the lifetime of nuclear plants, which has the lowest LCOE and can be safe.</a:t>
              </a:r>
            </a:p>
            <a:p>
              <a:pPr marL="355600" lvl="1" indent="-177800" defTabSz="711200">
                <a:spcBef>
                  <a:spcPts val="600"/>
                </a:spcBef>
                <a:buFontTx/>
                <a:buChar char="–"/>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Building new large reactors, which </a:t>
              </a:r>
              <a:r>
                <a:rPr lang="en-US" sz="1200" dirty="0">
                  <a:solidFill>
                    <a:srgbClr val="000000"/>
                  </a:solidFill>
                </a:rPr>
                <a:t>would significantly reduce emissions but is costly and time intensive</a:t>
              </a:r>
              <a:r>
                <a:rPr kumimoji="0" lang="en-US" sz="1200" b="0" i="0" u="none" strike="noStrike" kern="1200" cap="none" spc="0" normalizeH="0" baseline="0" noProof="0" dirty="0">
                  <a:ln>
                    <a:noFill/>
                  </a:ln>
                  <a:solidFill>
                    <a:srgbClr val="000000"/>
                  </a:solidFill>
                  <a:effectLst/>
                  <a:uLnTx/>
                  <a:uFillTx/>
                  <a:latin typeface="Arial"/>
                  <a:ea typeface="+mn-ea"/>
                  <a:cs typeface="+mn-cs"/>
                </a:rPr>
                <a:t>.</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Building small modular reactors (SMRs), </a:t>
              </a:r>
              <a:r>
                <a:rPr lang="en-US" sz="1200" dirty="0">
                  <a:solidFill>
                    <a:srgbClr val="000000"/>
                  </a:solidFill>
                  <a:latin typeface="Arial"/>
                </a:rPr>
                <a:t>which provide</a:t>
              </a:r>
              <a:r>
                <a:rPr kumimoji="0" lang="en-US" sz="1200" b="0" i="0" u="none" strike="noStrike" kern="1200" cap="none" spc="0" normalizeH="0" baseline="0" noProof="0" dirty="0">
                  <a:ln>
                    <a:noFill/>
                  </a:ln>
                  <a:solidFill>
                    <a:srgbClr val="000000"/>
                  </a:solidFill>
                  <a:effectLst/>
                  <a:uLnTx/>
                  <a:uFillTx/>
                  <a:latin typeface="Arial"/>
                  <a:ea typeface="+mn-ea"/>
                  <a:cs typeface="+mn-cs"/>
                </a:rPr>
                <a:t> more flexible nuclear power, but LCOE is still highly uncertai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Nuclear fusion, which </a:t>
              </a:r>
              <a:r>
                <a:rPr lang="en-US" sz="1200" dirty="0">
                  <a:solidFill>
                    <a:srgbClr val="000000"/>
                  </a:solidFill>
                  <a:latin typeface="Arial"/>
                </a:rPr>
                <a:t>addresses</a:t>
              </a:r>
              <a:r>
                <a:rPr kumimoji="0" lang="en-US" sz="1200" b="0" i="0" u="none" strike="noStrike" kern="1200" cap="none" spc="0" normalizeH="0" baseline="0" noProof="0" dirty="0">
                  <a:ln>
                    <a:noFill/>
                  </a:ln>
                  <a:solidFill>
                    <a:srgbClr val="000000"/>
                  </a:solidFill>
                  <a:effectLst/>
                  <a:uLnTx/>
                  <a:uFillTx/>
                  <a:latin typeface="Arial"/>
                  <a:ea typeface="+mn-ea"/>
                  <a:cs typeface="+mn-cs"/>
                </a:rPr>
                <a:t> many of </a:t>
              </a:r>
              <a:r>
                <a:rPr kumimoji="0" lang="en-US" sz="1200" b="0" i="0" u="none" strike="noStrike" kern="1200" cap="none" spc="0" normalizeH="0" baseline="0" noProof="0" dirty="0" err="1">
                  <a:ln>
                    <a:noFill/>
                  </a:ln>
                  <a:solidFill>
                    <a:srgbClr val="000000"/>
                  </a:solidFill>
                  <a:effectLst/>
                  <a:uLnTx/>
                  <a:uFillTx/>
                  <a:latin typeface="Arial"/>
                  <a:ea typeface="+mn-ea"/>
                  <a:cs typeface="+mn-cs"/>
                </a:rPr>
                <a:t>nuclear’s</a:t>
              </a:r>
              <a:r>
                <a:rPr kumimoji="0" lang="en-US" sz="1200" b="0" i="0" u="none" strike="noStrike" kern="1200" cap="none" spc="0" normalizeH="0" baseline="0" noProof="0" dirty="0">
                  <a:ln>
                    <a:noFill/>
                  </a:ln>
                  <a:solidFill>
                    <a:srgbClr val="000000"/>
                  </a:solidFill>
                  <a:effectLst/>
                  <a:uLnTx/>
                  <a:uFillTx/>
                  <a:latin typeface="Arial"/>
                  <a:ea typeface="+mn-ea"/>
                  <a:cs typeface="+mn-cs"/>
                </a:rPr>
                <a:t> problems, if the technology can be commercialized.</a:t>
              </a:r>
            </a:p>
          </p:txBody>
        </p:sp>
      </p:grpSp>
      <p:grpSp>
        <p:nvGrpSpPr>
          <p:cNvPr id="20" name="Group 19">
            <a:extLst>
              <a:ext uri="{FF2B5EF4-FFF2-40B4-BE49-F238E27FC236}">
                <a16:creationId xmlns:a16="http://schemas.microsoft.com/office/drawing/2014/main" id="{392465A0-6067-1FE8-02D7-75880EF08461}"/>
              </a:ext>
            </a:extLst>
          </p:cNvPr>
          <p:cNvGrpSpPr/>
          <p:nvPr/>
        </p:nvGrpSpPr>
        <p:grpSpPr>
          <a:xfrm>
            <a:off x="4230892" y="5381106"/>
            <a:ext cx="7507288" cy="460769"/>
            <a:chOff x="4230892" y="5381911"/>
            <a:chExt cx="7507288" cy="460769"/>
          </a:xfrm>
        </p:grpSpPr>
        <p:cxnSp>
          <p:nvCxnSpPr>
            <p:cNvPr id="17" name="Straight Connector 16">
              <a:extLst>
                <a:ext uri="{FF2B5EF4-FFF2-40B4-BE49-F238E27FC236}">
                  <a16:creationId xmlns:a16="http://schemas.microsoft.com/office/drawing/2014/main" id="{6E7180E4-6D4F-30A0-F789-202094311814}"/>
                </a:ext>
              </a:extLst>
            </p:cNvPr>
            <p:cNvCxnSpPr>
              <a:cxnSpLocks/>
            </p:cNvCxnSpPr>
            <p:nvPr/>
          </p:nvCxnSpPr>
          <p:spPr bwMode="gray">
            <a:xfrm>
              <a:off x="4230892" y="538191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BulletedList771181">
              <a:extLst>
                <a:ext uri="{FF2B5EF4-FFF2-40B4-BE49-F238E27FC236}">
                  <a16:creationId xmlns:a16="http://schemas.microsoft.com/office/drawing/2014/main" id="{AF1EAE9F-5C50-200B-58DA-04F934C6685B}"/>
                </a:ext>
              </a:extLst>
            </p:cNvPr>
            <p:cNvSpPr txBox="1"/>
            <p:nvPr>
              <p:custDataLst>
                <p:tags r:id="rId7"/>
              </p:custDataLst>
            </p:nvPr>
          </p:nvSpPr>
          <p:spPr bwMode="gray">
            <a:xfrm>
              <a:off x="4230892" y="5400645"/>
              <a:ext cx="7507288" cy="442035"/>
            </a:xfrm>
            <a:prstGeom prst="rect">
              <a:avLst/>
            </a:prstGeom>
            <a:noFill/>
          </p:spPr>
          <p:txBody>
            <a:bodyPr vert="horz" wrap="square" lIns="36000" tIns="36000" rIns="36000" bIns="36000" rtlCol="0" anchor="t">
              <a:spAutoFit/>
            </a:bodyPr>
            <a:lstStyle/>
            <a:p>
              <a:pPr marL="0" indent="0">
                <a:spcBef>
                  <a:spcPts val="1800"/>
                </a:spcBef>
                <a:buNone/>
              </a:pPr>
              <a:r>
                <a:rPr lang="en-US" sz="1200" b="1"/>
                <a:t>Global nuclear capacity is set to double if all announced and initiated plants materialize; China is responsible for ~30% of all new plants.</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 name="Group 23">
            <a:extLst>
              <a:ext uri="{FF2B5EF4-FFF2-40B4-BE49-F238E27FC236}">
                <a16:creationId xmlns:a16="http://schemas.microsoft.com/office/drawing/2014/main" id="{9675F5BE-8C10-8811-19F0-D4017E67B4AC}"/>
              </a:ext>
            </a:extLst>
          </p:cNvPr>
          <p:cNvGrpSpPr/>
          <p:nvPr/>
        </p:nvGrpSpPr>
        <p:grpSpPr>
          <a:xfrm>
            <a:off x="4188030" y="1508002"/>
            <a:ext cx="7550150" cy="469343"/>
            <a:chOff x="4188030" y="1625554"/>
            <a:chExt cx="7550150" cy="469343"/>
          </a:xfrm>
        </p:grpSpPr>
        <p:sp>
          <p:nvSpPr>
            <p:cNvPr id="18" name="btfpBulletedList771181">
              <a:extLst>
                <a:ext uri="{FF2B5EF4-FFF2-40B4-BE49-F238E27FC236}">
                  <a16:creationId xmlns:a16="http://schemas.microsoft.com/office/drawing/2014/main" id="{4A6E4488-D2BD-3AA2-7D2E-197545FF8863}"/>
                </a:ext>
              </a:extLst>
            </p:cNvPr>
            <p:cNvSpPr txBox="1"/>
            <p:nvPr>
              <p:custDataLst>
                <p:tags r:id="rId6"/>
              </p:custDataLst>
            </p:nvPr>
          </p:nvSpPr>
          <p:spPr bwMode="gray">
            <a:xfrm>
              <a:off x="4230892" y="1652862"/>
              <a:ext cx="7507288" cy="442035"/>
            </a:xfrm>
            <a:prstGeom prst="rect">
              <a:avLst/>
            </a:prstGeom>
            <a:noFill/>
          </p:spPr>
          <p:txBody>
            <a:bodyPr vert="horz" wrap="square" lIns="36000" tIns="36000" rIns="36000" bIns="36000" rtlCol="0" anchor="t">
              <a:spAutoFit/>
            </a:bodyPr>
            <a:lstStyle/>
            <a:p>
              <a:pPr marL="0" indent="0">
                <a:spcBef>
                  <a:spcPts val="1800"/>
                </a:spcBef>
                <a:buNone/>
              </a:pPr>
              <a:r>
                <a:rPr lang="en-US" sz="1200" b="1"/>
                <a:t>Nuclear energy use has decreased from its peak of 17% to 9% today, and deployments have moved from Europe and the United States to India and China.</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3" name="Straight Connector 2">
              <a:extLst>
                <a:ext uri="{FF2B5EF4-FFF2-40B4-BE49-F238E27FC236}">
                  <a16:creationId xmlns:a16="http://schemas.microsoft.com/office/drawing/2014/main" id="{39D8FE08-8DBC-87BF-E0DE-013D50AE6BBC}"/>
                </a:ext>
              </a:extLst>
            </p:cNvPr>
            <p:cNvCxnSpPr>
              <a:cxnSpLocks/>
            </p:cNvCxnSpPr>
            <p:nvPr/>
          </p:nvCxnSpPr>
          <p:spPr bwMode="gray">
            <a:xfrm>
              <a:off x="4188030" y="162555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6" name="btfpBulletedList771181">
            <a:extLst>
              <a:ext uri="{FF2B5EF4-FFF2-40B4-BE49-F238E27FC236}">
                <a16:creationId xmlns:a16="http://schemas.microsoft.com/office/drawing/2014/main" id="{C0EB1926-2DC8-D02A-1AEA-13944D7D0BC9}"/>
              </a:ext>
            </a:extLst>
          </p:cNvPr>
          <p:cNvSpPr txBox="1"/>
          <p:nvPr>
            <p:custDataLst>
              <p:tags r:id="rId5"/>
            </p:custDataLst>
          </p:nvPr>
        </p:nvSpPr>
        <p:spPr bwMode="gray">
          <a:xfrm>
            <a:off x="4230892" y="927076"/>
            <a:ext cx="7507288" cy="518979"/>
          </a:xfrm>
          <a:prstGeom prst="rect">
            <a:avLst/>
          </a:prstGeom>
          <a:noFill/>
        </p:spPr>
        <p:txBody>
          <a:bodyPr vert="horz" wrap="square" lIns="36000" tIns="36000" rIns="36000" bIns="36000" rtlCol="0" anchor="t">
            <a:spAutoFit/>
          </a:bodyPr>
          <a:lstStyle/>
          <a:p>
            <a:pPr>
              <a:spcBef>
                <a:spcPts val="1800"/>
              </a:spcBef>
            </a:pPr>
            <a:r>
              <a:rPr lang="en-US" sz="1200" b="1"/>
              <a:t>Properly managed nuclear is safe, land efficient, and low waste compared with other energy sources.</a:t>
            </a:r>
          </a:p>
          <a:p>
            <a:pPr marL="355600" lvl="1" indent="-177800" defTabSz="711200">
              <a:spcBef>
                <a:spcPts val="600"/>
              </a:spcBef>
              <a:buFontTx/>
              <a:buChar char="–"/>
              <a:defRPr/>
            </a:pPr>
            <a:r>
              <a:rPr lang="en-US" sz="1200">
                <a:solidFill>
                  <a:srgbClr val="000000"/>
                </a:solidFill>
              </a:rPr>
              <a:t>Highly radioactive waste represents less than 0.25% of total nuclear waste.</a:t>
            </a:r>
            <a:endParaRPr lang="en-US" sz="1200" b="1"/>
          </a:p>
        </p:txBody>
      </p:sp>
    </p:spTree>
    <p:custDataLst>
      <p:tags r:id="rId1"/>
    </p:custDataLst>
    <p:extLst>
      <p:ext uri="{BB962C8B-B14F-4D97-AF65-F5344CB8AC3E}">
        <p14:creationId xmlns:p14="http://schemas.microsoft.com/office/powerpoint/2010/main" val="12990253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C7814F-9D55-C5E7-A95F-CBE15869750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3024289-1DCC-8FE6-D380-A2EDABDD1B64}"/>
              </a:ext>
            </a:extLst>
          </p:cNvPr>
          <p:cNvGraphicFramePr>
            <a:graphicFrameLocks noChangeAspect="1"/>
          </p:cNvGraphicFramePr>
          <p:nvPr>
            <p:custDataLst>
              <p:tags r:id="rId1"/>
            </p:custDataLst>
            <p:extLst>
              <p:ext uri="{D42A27DB-BD31-4B8C-83A1-F6EECF244321}">
                <p14:modId xmlns:p14="http://schemas.microsoft.com/office/powerpoint/2010/main" val="38184825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9" imgW="7772400" imgH="10058400" progId="TCLayout.ActiveDocument.1">
                  <p:embed/>
                </p:oleObj>
              </mc:Choice>
              <mc:Fallback>
                <p:oleObj name="think-cell Slide" r:id="rId49" imgW="7772400" imgH="10058400" progId="TCLayout.ActiveDocument.1">
                  <p:embed/>
                  <p:pic>
                    <p:nvPicPr>
                      <p:cNvPr id="4" name="think-cell data - do not delete" hidden="1">
                        <a:extLst>
                          <a:ext uri="{FF2B5EF4-FFF2-40B4-BE49-F238E27FC236}">
                            <a16:creationId xmlns:a16="http://schemas.microsoft.com/office/drawing/2014/main" id="{F3024289-1DCC-8FE6-D380-A2EDABDD1B64}"/>
                          </a:ext>
                        </a:extLst>
                      </p:cNvPr>
                      <p:cNvPicPr/>
                      <p:nvPr/>
                    </p:nvPicPr>
                    <p:blipFill>
                      <a:blip r:embed="rId50"/>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97E2F0-77A7-3475-CBC7-5FFA066EFC9A}"/>
              </a:ext>
            </a:extLst>
          </p:cNvPr>
          <p:cNvSpPr>
            <a:spLocks noGrp="1"/>
          </p:cNvSpPr>
          <p:nvPr>
            <p:ph type="title"/>
          </p:nvPr>
        </p:nvSpPr>
        <p:spPr>
          <a:xfrm>
            <a:off x="329184" y="523318"/>
            <a:ext cx="11503025" cy="1016138"/>
          </a:xfrm>
        </p:spPr>
        <p:txBody>
          <a:bodyPr vert="horz">
            <a:normAutofit/>
          </a:bodyPr>
          <a:lstStyle/>
          <a:p>
            <a:r>
              <a:rPr lang="en-US" b="1"/>
              <a:t>Reactor manufacturing has shifted from the U.S. and Europe to Russian and Chinese OEMs</a:t>
            </a:r>
            <a:endParaRPr lang="en-US">
              <a:cs typeface="Arial"/>
            </a:endParaRPr>
          </a:p>
        </p:txBody>
      </p:sp>
      <p:sp>
        <p:nvSpPr>
          <p:cNvPr id="7" name="btfpNotesBox361175">
            <a:extLst>
              <a:ext uri="{FF2B5EF4-FFF2-40B4-BE49-F238E27FC236}">
                <a16:creationId xmlns:a16="http://schemas.microsoft.com/office/drawing/2014/main" id="{4B8985FA-5045-ED8F-8717-1A78A96148F6}"/>
              </a:ext>
            </a:extLst>
          </p:cNvPr>
          <p:cNvSpPr txBox="1"/>
          <p:nvPr>
            <p:custDataLst>
              <p:tags r:id="rId2"/>
            </p:custDataLst>
          </p:nvPr>
        </p:nvSpPr>
        <p:spPr bwMode="gray">
          <a:xfrm>
            <a:off x="330200" y="6309360"/>
            <a:ext cx="9199283"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 IAEA, </a:t>
            </a:r>
            <a:r>
              <a:rPr lang="en-US" sz="800" dirty="0">
                <a:solidFill>
                  <a:srgbClr val="000000"/>
                </a:solidFill>
                <a:hlinkClick r:id="rId51"/>
              </a:rPr>
              <a:t>Nuclear Power Reactors in the World</a:t>
            </a:r>
            <a:r>
              <a:rPr lang="en-US" sz="800" dirty="0">
                <a:solidFill>
                  <a:srgbClr val="000000"/>
                </a:solidFill>
              </a:rPr>
              <a:t> (2024).</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2"/>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3"/>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u="none" strike="noStrike" kern="1200" cap="none" spc="0" normalizeH="0" baseline="0" noProof="0" dirty="0">
                <a:ln>
                  <a:noFill/>
                </a:ln>
                <a:solidFill>
                  <a:srgbClr val="000000"/>
                </a:solidFill>
                <a:effectLst/>
                <a:uLnTx/>
                <a:uFillTx/>
                <a:latin typeface="Arial"/>
                <a:ea typeface="+mn-ea"/>
                <a:cs typeface="+mn-cs"/>
              </a:rPr>
              <a:t> 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10" name="Rectangle 9">
            <a:extLst>
              <a:ext uri="{FF2B5EF4-FFF2-40B4-BE49-F238E27FC236}">
                <a16:creationId xmlns:a16="http://schemas.microsoft.com/office/drawing/2014/main" id="{B6F8C5DD-8730-49B0-B697-18DF6EDC6AF0}"/>
              </a:ext>
            </a:extLst>
          </p:cNvPr>
          <p:cNvSpPr/>
          <p:nvPr/>
        </p:nvSpPr>
        <p:spPr bwMode="gray">
          <a:xfrm>
            <a:off x="3183765" y="4050808"/>
            <a:ext cx="901700" cy="422275"/>
          </a:xfrm>
          <a:prstGeom prst="rect">
            <a:avLst/>
          </a:prstGeom>
          <a:solidFill>
            <a:schemeClr val="bg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a:solidFill>
                  <a:schemeClr val="tx1"/>
                </a:solidFill>
              </a:rPr>
              <a:t>DUMMY</a:t>
            </a:r>
          </a:p>
        </p:txBody>
      </p:sp>
      <p:sp>
        <p:nvSpPr>
          <p:cNvPr id="28" name="TextBox 27">
            <a:extLst>
              <a:ext uri="{FF2B5EF4-FFF2-40B4-BE49-F238E27FC236}">
                <a16:creationId xmlns:a16="http://schemas.microsoft.com/office/drawing/2014/main" id="{671EA84F-AB8B-716C-4E16-396F2B2C87F8}"/>
              </a:ext>
            </a:extLst>
          </p:cNvPr>
          <p:cNvSpPr txBox="1"/>
          <p:nvPr/>
        </p:nvSpPr>
        <p:spPr bwMode="gray">
          <a:xfrm>
            <a:off x="9391021" y="1536174"/>
            <a:ext cx="2572380" cy="3600986"/>
          </a:xfrm>
          <a:prstGeom prst="rect">
            <a:avLst/>
          </a:prstGeom>
          <a:solidFill>
            <a:srgbClr val="E3E8EE"/>
          </a:solidFill>
        </p:spPr>
        <p:txBody>
          <a:bodyPr wrap="square" lIns="137160" tIns="137160" rIns="274320" bIns="137160" rtlCol="0">
            <a:spAutoFit/>
          </a:bodyPr>
          <a:lstStyle/>
          <a:p>
            <a:pPr>
              <a:spcBef>
                <a:spcPts val="600"/>
              </a:spcBef>
            </a:pPr>
            <a:r>
              <a:rPr lang="en-US" sz="1200" b="1"/>
              <a:t>Observations</a:t>
            </a:r>
          </a:p>
          <a:p>
            <a:pPr marL="171450" indent="-171450">
              <a:spcBef>
                <a:spcPts val="600"/>
              </a:spcBef>
              <a:buFont typeface="Arial" panose="020B0604020202020204" pitchFamily="34" charset="0"/>
              <a:buChar char="•"/>
            </a:pPr>
            <a:r>
              <a:rPr lang="en-US" sz="1050"/>
              <a:t>During the nuclear boom of the </a:t>
            </a:r>
            <a:r>
              <a:rPr lang="en-US" sz="1050" b="1"/>
              <a:t>1970s and 1980s, ~80% of all new nuclear reactors were built by American</a:t>
            </a:r>
            <a:r>
              <a:rPr lang="en-US" sz="1050"/>
              <a:t> (Westinghouse, GE) </a:t>
            </a:r>
            <a:r>
              <a:rPr lang="en-US" sz="1050" b="1"/>
              <a:t>and</a:t>
            </a:r>
            <a:r>
              <a:rPr lang="en-US" sz="1050"/>
              <a:t> </a:t>
            </a:r>
            <a:r>
              <a:rPr lang="en-US" sz="1050" b="1"/>
              <a:t>European</a:t>
            </a:r>
            <a:r>
              <a:rPr lang="en-US" sz="1050"/>
              <a:t> (Framatome, Siemens) </a:t>
            </a:r>
            <a:r>
              <a:rPr lang="en-US" sz="1050" b="1"/>
              <a:t>OEMs.</a:t>
            </a:r>
          </a:p>
          <a:p>
            <a:pPr marL="171450" indent="-171450">
              <a:spcBef>
                <a:spcPts val="600"/>
              </a:spcBef>
              <a:buFont typeface="Arial" panose="020B0604020202020204" pitchFamily="34" charset="0"/>
              <a:buChar char="•"/>
            </a:pPr>
            <a:r>
              <a:rPr lang="en-US" sz="1050"/>
              <a:t>Since the reemergence of reactors </a:t>
            </a:r>
            <a:r>
              <a:rPr lang="en-US" sz="1050" b="1"/>
              <a:t>in the past two decades, ~80% of reactors are built by Russian and Chinese manufacturers.</a:t>
            </a:r>
          </a:p>
          <a:p>
            <a:pPr marL="171450" indent="-171450">
              <a:spcBef>
                <a:spcPts val="600"/>
              </a:spcBef>
              <a:buFont typeface="Arial" panose="020B0604020202020204" pitchFamily="34" charset="0"/>
              <a:buChar char="•"/>
            </a:pPr>
            <a:r>
              <a:rPr lang="en-US" sz="1050"/>
              <a:t>As Western OEMs haven’t built a significant number of new reactors recently, </a:t>
            </a:r>
            <a:r>
              <a:rPr lang="en-US" sz="1050" b="1"/>
              <a:t>a lot of the know-how has been lost</a:t>
            </a:r>
            <a:r>
              <a:rPr lang="en-US" sz="1050"/>
              <a:t>, growing the barriers for new reactors.</a:t>
            </a:r>
          </a:p>
        </p:txBody>
      </p:sp>
      <p:graphicFrame>
        <p:nvGraphicFramePr>
          <p:cNvPr id="2061" name="Chart 2060">
            <a:extLst>
              <a:ext uri="{FF2B5EF4-FFF2-40B4-BE49-F238E27FC236}">
                <a16:creationId xmlns:a16="http://schemas.microsoft.com/office/drawing/2014/main" id="{A3174B2D-87BD-5674-D561-0DA9D6C2F7D7}"/>
              </a:ext>
            </a:extLst>
          </p:cNvPr>
          <p:cNvGraphicFramePr/>
          <p:nvPr>
            <p:custDataLst>
              <p:tags r:id="rId3"/>
            </p:custDataLst>
            <p:extLst>
              <p:ext uri="{D42A27DB-BD31-4B8C-83A1-F6EECF244321}">
                <p14:modId xmlns:p14="http://schemas.microsoft.com/office/powerpoint/2010/main" val="3854205530"/>
              </p:ext>
            </p:extLst>
          </p:nvPr>
        </p:nvGraphicFramePr>
        <p:xfrm>
          <a:off x="801688" y="1911350"/>
          <a:ext cx="7918450" cy="4075113"/>
        </p:xfrm>
        <a:graphic>
          <a:graphicData uri="http://schemas.openxmlformats.org/drawingml/2006/chart">
            <c:chart xmlns:c="http://schemas.openxmlformats.org/drawingml/2006/chart" xmlns:r="http://schemas.openxmlformats.org/officeDocument/2006/relationships" r:id="rId54"/>
          </a:graphicData>
        </a:graphic>
      </p:graphicFrame>
      <p:sp>
        <p:nvSpPr>
          <p:cNvPr id="294"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609600" y="5797550"/>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5B818D0-645B-4C7F-8591-BFC471ABA86D}" type="datetime'''''''''''''''''''''''''''''''''''''0'''''''''">
              <a:rPr lang="en-US" altLang="en-US" sz="1400" smtClean="0">
                <a:effectLst/>
              </a:rPr>
              <a:pPr marL="0" lvl="0" indent="0" algn="r">
                <a:spcBef>
                  <a:spcPct val="0"/>
                </a:spcBef>
                <a:spcAft>
                  <a:spcPct val="0"/>
                </a:spcAft>
                <a:buNone/>
              </a:pPr>
              <a:t>0</a:t>
            </a:fld>
            <a:endParaRPr lang="en-US" sz="1400"/>
          </a:p>
        </p:txBody>
      </p:sp>
      <p:sp>
        <p:nvSpPr>
          <p:cNvPr id="295"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11175" y="4819650"/>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10DD8B4-FB79-4147-9472-2ED04217CC04}" type="datetime'''''''''''''''''''''5''''''''''0'''''''''">
              <a:rPr lang="en-US" altLang="en-US" sz="1400" smtClean="0">
                <a:effectLst/>
              </a:rPr>
              <a:pPr marL="0" lvl="0" indent="0" algn="r">
                <a:spcBef>
                  <a:spcPct val="0"/>
                </a:spcBef>
                <a:spcAft>
                  <a:spcPct val="0"/>
                </a:spcAft>
                <a:buNone/>
              </a:pPr>
              <a:t>50</a:t>
            </a:fld>
            <a:endParaRPr lang="en-US" sz="1400"/>
          </a:p>
        </p:txBody>
      </p:sp>
      <p:sp>
        <p:nvSpPr>
          <p:cNvPr id="29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412750" y="384333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90A19A9-48A3-40DB-B927-12F88F977B35}" type="datetime'''''''''''''''''''''''''''''''''''100'">
              <a:rPr lang="en-US" altLang="en-US" sz="1400" smtClean="0">
                <a:effectLst/>
              </a:rPr>
              <a:pPr marL="0" lvl="0" indent="0" algn="r">
                <a:spcBef>
                  <a:spcPct val="0"/>
                </a:spcBef>
                <a:spcAft>
                  <a:spcPct val="0"/>
                </a:spcAft>
                <a:buNone/>
              </a:pPr>
              <a:t>100</a:t>
            </a:fld>
            <a:endParaRPr lang="en-US" sz="1400"/>
          </a:p>
        </p:txBody>
      </p:sp>
      <p:sp>
        <p:nvSpPr>
          <p:cNvPr id="29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412750" y="286543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5BA0511-4D49-482C-8CC3-396754750EEE}" type="datetime'''''''''''''''''''1''''''''''5''0'''''''">
              <a:rPr lang="en-US" altLang="en-US" sz="1400" smtClean="0">
                <a:effectLst/>
              </a:rPr>
              <a:pPr marL="0" lvl="0" indent="0" algn="r">
                <a:spcBef>
                  <a:spcPct val="0"/>
                </a:spcBef>
                <a:spcAft>
                  <a:spcPct val="0"/>
                </a:spcAft>
                <a:buNone/>
              </a:pPr>
              <a:t>150</a:t>
            </a:fld>
            <a:endParaRPr lang="en-US" sz="1400"/>
          </a:p>
        </p:txBody>
      </p:sp>
      <p:sp>
        <p:nvSpPr>
          <p:cNvPr id="298"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412750" y="188753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0B3D8CA-0267-4559-A4C7-1C000C4CB1FC}" type="datetime'''2''''''''0''''''''''''''''''''''0'''''''''''''''''">
              <a:rPr lang="en-US" altLang="en-US" sz="1400" smtClean="0">
                <a:effectLst/>
              </a:rPr>
              <a:pPr marL="0" lvl="0" indent="0" algn="r">
                <a:spcBef>
                  <a:spcPct val="0"/>
                </a:spcBef>
                <a:spcAft>
                  <a:spcPct val="0"/>
                </a:spcAft>
                <a:buNone/>
              </a:pPr>
              <a:t>200</a:t>
            </a:fld>
            <a:endParaRPr lang="en-US" sz="1400"/>
          </a:p>
        </p:txBody>
      </p:sp>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681038" y="59626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9FC1BEB-901A-46F8-B8F4-8F922D215814}" type="datetime'''1''''9''''''5''''''''''5'''''''''''''''''''''''''''''''">
              <a:rPr lang="en-US" altLang="en-US" sz="1400" smtClean="0"/>
              <a:pPr marL="0" lvl="0" indent="0" algn="ctr">
                <a:spcBef>
                  <a:spcPct val="0"/>
                </a:spcBef>
                <a:spcAft>
                  <a:spcPct val="0"/>
                </a:spcAft>
                <a:buNone/>
              </a:pPr>
              <a:t>1955</a:t>
            </a:fld>
            <a:endParaRPr lang="en-US" sz="1400"/>
          </a:p>
        </p:txBody>
      </p:sp>
      <p:sp>
        <p:nvSpPr>
          <p:cNvPr id="35" name="Text Placeholder 10">
            <a:extLst>
              <a:ext uri="{FF2B5EF4-FFF2-40B4-BE49-F238E27FC236}">
                <a16:creationId xmlns:a16="http://schemas.microsoft.com/office/drawing/2014/main" id="{72D99229-96BC-1E37-CCD9-69DBE4FE90E4}"/>
              </a:ext>
            </a:extLst>
          </p:cNvPr>
          <p:cNvSpPr>
            <a:spLocks noGrp="1"/>
          </p:cNvSpPr>
          <p:nvPr>
            <p:custDataLst>
              <p:tags r:id="rId10"/>
            </p:custDataLst>
          </p:nvPr>
        </p:nvSpPr>
        <p:spPr bwMode="auto">
          <a:xfrm>
            <a:off x="1235075" y="59626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28108B-F1EF-4370-9686-41D28B1F6188}" type="datetime'''''''''''''''''1''''''''''''9''6''0'''''''">
              <a:rPr lang="en-US" altLang="en-US" sz="1400" smtClean="0"/>
              <a:pPr marL="0" lvl="0" indent="0" algn="ctr">
                <a:spcBef>
                  <a:spcPct val="0"/>
                </a:spcBef>
                <a:spcAft>
                  <a:spcPct val="0"/>
                </a:spcAft>
                <a:buNone/>
              </a:pPr>
              <a:t>1960</a:t>
            </a:fld>
            <a:endParaRPr lang="en-US" sz="1400"/>
          </a:p>
        </p:txBody>
      </p:sp>
      <p:sp>
        <p:nvSpPr>
          <p:cNvPr id="40" name="Text Placeholder 10">
            <a:extLst>
              <a:ext uri="{FF2B5EF4-FFF2-40B4-BE49-F238E27FC236}">
                <a16:creationId xmlns:a16="http://schemas.microsoft.com/office/drawing/2014/main" id="{9C6D0FA1-522A-8AF7-EF47-956F3B290797}"/>
              </a:ext>
            </a:extLst>
          </p:cNvPr>
          <p:cNvSpPr>
            <a:spLocks noGrp="1"/>
          </p:cNvSpPr>
          <p:nvPr>
            <p:custDataLst>
              <p:tags r:id="rId11"/>
            </p:custDataLst>
          </p:nvPr>
        </p:nvSpPr>
        <p:spPr bwMode="auto">
          <a:xfrm>
            <a:off x="1789113" y="59626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47E302B-8BDC-4C1B-88DD-DB6E1BECF177}" type="datetime'''''1''9''''''''''6''''''''''''''''''''5'''''''''">
              <a:rPr lang="en-US" altLang="en-US" sz="1400" smtClean="0"/>
              <a:pPr marL="0" lvl="0" indent="0" algn="ctr">
                <a:spcBef>
                  <a:spcPct val="0"/>
                </a:spcBef>
                <a:spcAft>
                  <a:spcPct val="0"/>
                </a:spcAft>
                <a:buNone/>
              </a:pPr>
              <a:t>1965</a:t>
            </a:fld>
            <a:endParaRPr lang="en-US" sz="1400"/>
          </a:p>
        </p:txBody>
      </p:sp>
      <p:sp>
        <p:nvSpPr>
          <p:cNvPr id="45" name="Text Placeholder 10">
            <a:extLst>
              <a:ext uri="{FF2B5EF4-FFF2-40B4-BE49-F238E27FC236}">
                <a16:creationId xmlns:a16="http://schemas.microsoft.com/office/drawing/2014/main" id="{81D51E5B-C2F9-67C0-65F5-764D655601A7}"/>
              </a:ext>
            </a:extLst>
          </p:cNvPr>
          <p:cNvSpPr>
            <a:spLocks noGrp="1"/>
          </p:cNvSpPr>
          <p:nvPr>
            <p:custDataLst>
              <p:tags r:id="rId12"/>
            </p:custDataLst>
          </p:nvPr>
        </p:nvSpPr>
        <p:spPr bwMode="auto">
          <a:xfrm>
            <a:off x="2343150" y="59626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4F82698-A283-4F9E-A8B7-8086B600C3F9}" type="datetime'''''''''''''''1''''''''''9''''7''''''''''''''''0'''''''''''''">
              <a:rPr lang="en-US" altLang="en-US" sz="1400" smtClean="0"/>
              <a:pPr marL="0" lvl="0" indent="0" algn="ctr">
                <a:spcBef>
                  <a:spcPct val="0"/>
                </a:spcBef>
                <a:spcAft>
                  <a:spcPct val="0"/>
                </a:spcAft>
                <a:buNone/>
              </a:pPr>
              <a:t>1970</a:t>
            </a:fld>
            <a:endParaRPr lang="en-US" sz="1400"/>
          </a:p>
        </p:txBody>
      </p:sp>
      <p:sp>
        <p:nvSpPr>
          <p:cNvPr id="50" name="Text Placeholder 10">
            <a:extLst>
              <a:ext uri="{FF2B5EF4-FFF2-40B4-BE49-F238E27FC236}">
                <a16:creationId xmlns:a16="http://schemas.microsoft.com/office/drawing/2014/main" id="{16EBE35A-EEDE-8095-E405-3F8A2124A372}"/>
              </a:ext>
            </a:extLst>
          </p:cNvPr>
          <p:cNvSpPr>
            <a:spLocks noGrp="1"/>
          </p:cNvSpPr>
          <p:nvPr>
            <p:custDataLst>
              <p:tags r:id="rId13"/>
            </p:custDataLst>
          </p:nvPr>
        </p:nvSpPr>
        <p:spPr bwMode="auto">
          <a:xfrm>
            <a:off x="2895600" y="59626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B8E54B4-2640-48B0-B5CC-BD52B24405C6}" type="datetime'''''''''1''''''''9''''''7''''''5'''''''''">
              <a:rPr lang="en-US" altLang="en-US" sz="1400" smtClean="0"/>
              <a:pPr marL="0" lvl="0" indent="0" algn="ctr">
                <a:spcBef>
                  <a:spcPct val="0"/>
                </a:spcBef>
                <a:spcAft>
                  <a:spcPct val="0"/>
                </a:spcAft>
                <a:buNone/>
              </a:pPr>
              <a:t>1975</a:t>
            </a:fld>
            <a:endParaRPr lang="en-US" sz="1400"/>
          </a:p>
        </p:txBody>
      </p:sp>
      <p:sp>
        <p:nvSpPr>
          <p:cNvPr id="55" name="Text Placeholder 10">
            <a:extLst>
              <a:ext uri="{FF2B5EF4-FFF2-40B4-BE49-F238E27FC236}">
                <a16:creationId xmlns:a16="http://schemas.microsoft.com/office/drawing/2014/main" id="{9A9E4858-07B5-F945-C9C5-394E29E06D08}"/>
              </a:ext>
            </a:extLst>
          </p:cNvPr>
          <p:cNvSpPr>
            <a:spLocks noGrp="1"/>
          </p:cNvSpPr>
          <p:nvPr>
            <p:custDataLst>
              <p:tags r:id="rId14"/>
            </p:custDataLst>
          </p:nvPr>
        </p:nvSpPr>
        <p:spPr bwMode="auto">
          <a:xfrm>
            <a:off x="3449638" y="59626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FF21183-753A-41C5-8E7E-13A0287A1ABD}" type="datetime'''1''''''''''''''''''''''''''''''''''''9''''8''''''0'''''">
              <a:rPr lang="en-US" altLang="en-US" sz="1400" smtClean="0"/>
              <a:pPr marL="0" lvl="0" indent="0" algn="ctr">
                <a:spcBef>
                  <a:spcPct val="0"/>
                </a:spcBef>
                <a:spcAft>
                  <a:spcPct val="0"/>
                </a:spcAft>
                <a:buNone/>
              </a:pPr>
              <a:t>1980</a:t>
            </a:fld>
            <a:endParaRPr lang="en-US" sz="1400"/>
          </a:p>
        </p:txBody>
      </p:sp>
      <p:sp>
        <p:nvSpPr>
          <p:cNvPr id="60" name="Text Placeholder 10">
            <a:extLst>
              <a:ext uri="{FF2B5EF4-FFF2-40B4-BE49-F238E27FC236}">
                <a16:creationId xmlns:a16="http://schemas.microsoft.com/office/drawing/2014/main" id="{57C2E859-7974-FE11-D587-F14E5B5E1B20}"/>
              </a:ext>
            </a:extLst>
          </p:cNvPr>
          <p:cNvSpPr>
            <a:spLocks noGrp="1"/>
          </p:cNvSpPr>
          <p:nvPr>
            <p:custDataLst>
              <p:tags r:id="rId15"/>
            </p:custDataLst>
          </p:nvPr>
        </p:nvSpPr>
        <p:spPr bwMode="auto">
          <a:xfrm>
            <a:off x="4003675" y="59626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548618D-F9A8-49FB-9670-BC05E1482440}" type="datetime'''''''''''''''''''''1''''''98''''''''''''''5'">
              <a:rPr lang="en-US" altLang="en-US" sz="1400" smtClean="0"/>
              <a:pPr marL="0" lvl="0" indent="0" algn="ctr">
                <a:spcBef>
                  <a:spcPct val="0"/>
                </a:spcBef>
                <a:spcAft>
                  <a:spcPct val="0"/>
                </a:spcAft>
                <a:buNone/>
              </a:pPr>
              <a:t>1985</a:t>
            </a:fld>
            <a:endParaRPr lang="en-US" sz="1400"/>
          </a:p>
        </p:txBody>
      </p:sp>
      <p:sp>
        <p:nvSpPr>
          <p:cNvPr id="65" name="Text Placeholder 10">
            <a:extLst>
              <a:ext uri="{FF2B5EF4-FFF2-40B4-BE49-F238E27FC236}">
                <a16:creationId xmlns:a16="http://schemas.microsoft.com/office/drawing/2014/main" id="{B8D7F0BA-8038-2EF8-62E0-891A1D003A22}"/>
              </a:ext>
            </a:extLst>
          </p:cNvPr>
          <p:cNvSpPr>
            <a:spLocks noGrp="1"/>
          </p:cNvSpPr>
          <p:nvPr>
            <p:custDataLst>
              <p:tags r:id="rId16"/>
            </p:custDataLst>
          </p:nvPr>
        </p:nvSpPr>
        <p:spPr bwMode="auto">
          <a:xfrm>
            <a:off x="4557713" y="59626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785585F-053F-4522-BCBB-969BB4A1AD30}" type="datetime'''''''''1''9''''''''''''''''''''''''9''''''''''''''''0'''''">
              <a:rPr lang="en-US" altLang="en-US" sz="1400" smtClean="0"/>
              <a:pPr marL="0" lvl="0" indent="0" algn="ctr">
                <a:spcBef>
                  <a:spcPct val="0"/>
                </a:spcBef>
                <a:spcAft>
                  <a:spcPct val="0"/>
                </a:spcAft>
                <a:buNone/>
              </a:pPr>
              <a:t>1990</a:t>
            </a:fld>
            <a:endParaRPr lang="en-US" sz="1400"/>
          </a:p>
        </p:txBody>
      </p:sp>
      <p:sp>
        <p:nvSpPr>
          <p:cNvPr id="70" name="Text Placeholder 10">
            <a:extLst>
              <a:ext uri="{FF2B5EF4-FFF2-40B4-BE49-F238E27FC236}">
                <a16:creationId xmlns:a16="http://schemas.microsoft.com/office/drawing/2014/main" id="{782E85DD-E75D-2229-0CB4-9AD8E797DD6A}"/>
              </a:ext>
            </a:extLst>
          </p:cNvPr>
          <p:cNvSpPr>
            <a:spLocks noGrp="1"/>
          </p:cNvSpPr>
          <p:nvPr>
            <p:custDataLst>
              <p:tags r:id="rId17"/>
            </p:custDataLst>
          </p:nvPr>
        </p:nvSpPr>
        <p:spPr bwMode="auto">
          <a:xfrm>
            <a:off x="5111750" y="59626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8CF4389-8E20-4143-94F8-5D086258DDA0}" type="datetime'''''''''''''''1''''''''''''''99''''''5'">
              <a:rPr lang="en-US" altLang="en-US" sz="1400" smtClean="0"/>
              <a:pPr marL="0" lvl="0" indent="0" algn="ctr">
                <a:spcBef>
                  <a:spcPct val="0"/>
                </a:spcBef>
                <a:spcAft>
                  <a:spcPct val="0"/>
                </a:spcAft>
                <a:buNone/>
              </a:pPr>
              <a:t>1995</a:t>
            </a:fld>
            <a:endParaRPr lang="en-US" sz="1400"/>
          </a:p>
        </p:txBody>
      </p:sp>
      <p:sp>
        <p:nvSpPr>
          <p:cNvPr id="75" name="Text Placeholder 10">
            <a:extLst>
              <a:ext uri="{FF2B5EF4-FFF2-40B4-BE49-F238E27FC236}">
                <a16:creationId xmlns:a16="http://schemas.microsoft.com/office/drawing/2014/main" id="{C8B81E94-6A0F-7F4A-84BB-411F93076D17}"/>
              </a:ext>
            </a:extLst>
          </p:cNvPr>
          <p:cNvSpPr>
            <a:spLocks noGrp="1"/>
          </p:cNvSpPr>
          <p:nvPr>
            <p:custDataLst>
              <p:tags r:id="rId18"/>
            </p:custDataLst>
          </p:nvPr>
        </p:nvSpPr>
        <p:spPr bwMode="auto">
          <a:xfrm>
            <a:off x="5665788" y="59626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56E17C-3EF4-438D-9848-BC2103064175}" type="datetime'2''''''''0''''''''''''0''''''0'">
              <a:rPr lang="en-US" altLang="en-US" sz="1400" smtClean="0"/>
              <a:pPr marL="0" lvl="0" indent="0" algn="ctr">
                <a:spcBef>
                  <a:spcPct val="0"/>
                </a:spcBef>
                <a:spcAft>
                  <a:spcPct val="0"/>
                </a:spcAft>
                <a:buNone/>
              </a:pPr>
              <a:t>2000</a:t>
            </a:fld>
            <a:endParaRPr lang="en-US" sz="1400"/>
          </a:p>
        </p:txBody>
      </p:sp>
      <p:sp>
        <p:nvSpPr>
          <p:cNvPr id="80" name="Text Placeholder 10">
            <a:extLst>
              <a:ext uri="{FF2B5EF4-FFF2-40B4-BE49-F238E27FC236}">
                <a16:creationId xmlns:a16="http://schemas.microsoft.com/office/drawing/2014/main" id="{DCCA3F5B-6E79-7147-5D88-E54DC241C84D}"/>
              </a:ext>
            </a:extLst>
          </p:cNvPr>
          <p:cNvSpPr>
            <a:spLocks noGrp="1"/>
          </p:cNvSpPr>
          <p:nvPr>
            <p:custDataLst>
              <p:tags r:id="rId19"/>
            </p:custDataLst>
          </p:nvPr>
        </p:nvSpPr>
        <p:spPr bwMode="auto">
          <a:xfrm>
            <a:off x="6219825" y="59626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76C156-8ADD-4D46-952B-20C8FCD7353E}" type="datetime'''''''''''''2''''''''''''''''''''''''0''''''05'''''''''''">
              <a:rPr lang="en-US" altLang="en-US" sz="1400" smtClean="0"/>
              <a:pPr marL="0" lvl="0" indent="0" algn="ctr">
                <a:spcBef>
                  <a:spcPct val="0"/>
                </a:spcBef>
                <a:spcAft>
                  <a:spcPct val="0"/>
                </a:spcAft>
                <a:buNone/>
              </a:pPr>
              <a:t>2005</a:t>
            </a:fld>
            <a:endParaRPr lang="en-US" sz="1400"/>
          </a:p>
        </p:txBody>
      </p:sp>
      <p:sp>
        <p:nvSpPr>
          <p:cNvPr id="85" name="Text Placeholder 10">
            <a:extLst>
              <a:ext uri="{FF2B5EF4-FFF2-40B4-BE49-F238E27FC236}">
                <a16:creationId xmlns:a16="http://schemas.microsoft.com/office/drawing/2014/main" id="{EF812427-2180-216C-48F7-116C60907D73}"/>
              </a:ext>
            </a:extLst>
          </p:cNvPr>
          <p:cNvSpPr>
            <a:spLocks noGrp="1"/>
          </p:cNvSpPr>
          <p:nvPr>
            <p:custDataLst>
              <p:tags r:id="rId20"/>
            </p:custDataLst>
          </p:nvPr>
        </p:nvSpPr>
        <p:spPr bwMode="auto">
          <a:xfrm>
            <a:off x="6772275" y="59626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B2FAB57-3C52-455C-AEFC-9CCE42E854CE}" type="datetime'''''''''''2''''''''''01''''''''''0'''''''''''''''''">
              <a:rPr lang="en-US" altLang="en-US" sz="1400" smtClean="0"/>
              <a:pPr marL="0" lvl="0" indent="0" algn="ctr">
                <a:spcBef>
                  <a:spcPct val="0"/>
                </a:spcBef>
                <a:spcAft>
                  <a:spcPct val="0"/>
                </a:spcAft>
                <a:buNone/>
              </a:pPr>
              <a:t>2010</a:t>
            </a:fld>
            <a:endParaRPr lang="en-US" sz="1400"/>
          </a:p>
        </p:txBody>
      </p:sp>
      <p:sp>
        <p:nvSpPr>
          <p:cNvPr id="90" name="Text Placeholder 10">
            <a:extLst>
              <a:ext uri="{FF2B5EF4-FFF2-40B4-BE49-F238E27FC236}">
                <a16:creationId xmlns:a16="http://schemas.microsoft.com/office/drawing/2014/main" id="{679FE720-DCC8-76BC-9865-084862036C53}"/>
              </a:ext>
            </a:extLst>
          </p:cNvPr>
          <p:cNvSpPr>
            <a:spLocks noGrp="1"/>
          </p:cNvSpPr>
          <p:nvPr>
            <p:custDataLst>
              <p:tags r:id="rId21"/>
            </p:custDataLst>
          </p:nvPr>
        </p:nvSpPr>
        <p:spPr bwMode="auto">
          <a:xfrm>
            <a:off x="7326313" y="59626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DB734E-E8C3-432B-8695-5DD258A87F88}" type="datetime'''''''2''''''01''''''''''''''''''5'''''''''''''''">
              <a:rPr lang="en-US" altLang="en-US" sz="1400" smtClean="0"/>
              <a:pPr marL="0" lvl="0" indent="0" algn="ctr">
                <a:spcBef>
                  <a:spcPct val="0"/>
                </a:spcBef>
                <a:spcAft>
                  <a:spcPct val="0"/>
                </a:spcAft>
                <a:buNone/>
              </a:pPr>
              <a:t>2015</a:t>
            </a:fld>
            <a:endParaRPr lang="en-US" sz="1400"/>
          </a:p>
        </p:txBody>
      </p:sp>
      <p:sp>
        <p:nvSpPr>
          <p:cNvPr id="95" name="Text Placeholder 10">
            <a:extLst>
              <a:ext uri="{FF2B5EF4-FFF2-40B4-BE49-F238E27FC236}">
                <a16:creationId xmlns:a16="http://schemas.microsoft.com/office/drawing/2014/main" id="{CC6AD56D-30D7-D791-465A-B1A60068CD38}"/>
              </a:ext>
            </a:extLst>
          </p:cNvPr>
          <p:cNvSpPr>
            <a:spLocks noGrp="1"/>
          </p:cNvSpPr>
          <p:nvPr>
            <p:custDataLst>
              <p:tags r:id="rId22"/>
            </p:custDataLst>
          </p:nvPr>
        </p:nvSpPr>
        <p:spPr bwMode="auto">
          <a:xfrm>
            <a:off x="7880350" y="59626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760206-AB01-4989-9273-1C2C7AC664FE}" type="datetime'''''''''''''''''''2''''0''''''''''''''''2''''''''''0'">
              <a:rPr lang="en-US" altLang="en-US" sz="1400" smtClean="0"/>
              <a:pPr marL="0" lvl="0" indent="0" algn="ctr">
                <a:spcBef>
                  <a:spcPct val="0"/>
                </a:spcBef>
                <a:spcAft>
                  <a:spcPct val="0"/>
                </a:spcAft>
                <a:buNone/>
              </a:pPr>
              <a:t>2020</a:t>
            </a:fld>
            <a:endParaRPr lang="en-US" sz="1400"/>
          </a:p>
        </p:txBody>
      </p:sp>
      <p:sp>
        <p:nvSpPr>
          <p:cNvPr id="162" name="Text Placeholder 10">
            <a:extLst>
              <a:ext uri="{FF2B5EF4-FFF2-40B4-BE49-F238E27FC236}">
                <a16:creationId xmlns:a16="http://schemas.microsoft.com/office/drawing/2014/main" id="{2FFDC505-3E3B-1F9D-9421-212A19BCCD95}"/>
              </a:ext>
            </a:extLst>
          </p:cNvPr>
          <p:cNvSpPr>
            <a:spLocks noGrp="1"/>
          </p:cNvSpPr>
          <p:nvPr>
            <p:custDataLst>
              <p:tags r:id="rId23"/>
            </p:custDataLst>
          </p:nvPr>
        </p:nvSpPr>
        <p:spPr bwMode="auto">
          <a:xfrm>
            <a:off x="8434388" y="59626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8F7E89-74F6-4C10-94C5-026E8B733CB0}" type="datetime'''''''''''''''20''''''''2''''5'''''''">
              <a:rPr lang="en-US" altLang="en-US" sz="1400" smtClean="0"/>
              <a:pPr marL="0" lvl="0" indent="0" algn="ctr">
                <a:spcBef>
                  <a:spcPct val="0"/>
                </a:spcBef>
                <a:spcAft>
                  <a:spcPct val="0"/>
                </a:spcAft>
                <a:buNone/>
              </a:pPr>
              <a:t>2025</a:t>
            </a:fld>
            <a:endParaRPr lang="en-US" sz="1400"/>
          </a:p>
        </p:txBody>
      </p:sp>
      <p:sp>
        <p:nvSpPr>
          <p:cNvPr id="234" name="Rectangle 233">
            <a:extLst>
              <a:ext uri="{FF2B5EF4-FFF2-40B4-BE49-F238E27FC236}">
                <a16:creationId xmlns:a16="http://schemas.microsoft.com/office/drawing/2014/main" id="{4DEF3B65-0933-B585-2B9C-B79C0EB2B362}"/>
              </a:ext>
            </a:extLst>
          </p:cNvPr>
          <p:cNvSpPr/>
          <p:nvPr>
            <p:custDataLst>
              <p:tags r:id="rId24"/>
            </p:custDataLst>
          </p:nvPr>
        </p:nvSpPr>
        <p:spPr bwMode="auto">
          <a:xfrm>
            <a:off x="4318000" y="1809750"/>
            <a:ext cx="214313" cy="160338"/>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5" name="Rectangle 234">
            <a:extLst>
              <a:ext uri="{FF2B5EF4-FFF2-40B4-BE49-F238E27FC236}">
                <a16:creationId xmlns:a16="http://schemas.microsoft.com/office/drawing/2014/main" id="{2CD9332E-A098-0D32-B89C-7166F0903569}"/>
              </a:ext>
            </a:extLst>
          </p:cNvPr>
          <p:cNvSpPr/>
          <p:nvPr>
            <p:custDataLst>
              <p:tags r:id="rId25"/>
            </p:custDataLst>
          </p:nvPr>
        </p:nvSpPr>
        <p:spPr bwMode="auto">
          <a:xfrm>
            <a:off x="4318000" y="2043113"/>
            <a:ext cx="214313" cy="160338"/>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8" name="Rectangle 337">
            <a:extLst>
              <a:ext uri="{FF2B5EF4-FFF2-40B4-BE49-F238E27FC236}">
                <a16:creationId xmlns:a16="http://schemas.microsoft.com/office/drawing/2014/main" id="{91717999-070A-989E-13A2-43D0FA0AE4C5}"/>
              </a:ext>
            </a:extLst>
          </p:cNvPr>
          <p:cNvSpPr/>
          <p:nvPr>
            <p:custDataLst>
              <p:tags r:id="rId26"/>
            </p:custDataLst>
          </p:nvPr>
        </p:nvSpPr>
        <p:spPr bwMode="auto">
          <a:xfrm>
            <a:off x="4318000" y="2276475"/>
            <a:ext cx="214313" cy="160338"/>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4" name="Rectangle 333">
            <a:extLst>
              <a:ext uri="{FF2B5EF4-FFF2-40B4-BE49-F238E27FC236}">
                <a16:creationId xmlns:a16="http://schemas.microsoft.com/office/drawing/2014/main" id="{5E414C42-2FBC-6A13-3F68-A316C39A40AF}"/>
              </a:ext>
            </a:extLst>
          </p:cNvPr>
          <p:cNvSpPr/>
          <p:nvPr>
            <p:custDataLst>
              <p:tags r:id="rId27"/>
            </p:custDataLst>
          </p:nvPr>
        </p:nvSpPr>
        <p:spPr bwMode="auto">
          <a:xfrm>
            <a:off x="4318000" y="2509838"/>
            <a:ext cx="214313" cy="160338"/>
          </a:xfrm>
          <a:prstGeom prst="rect">
            <a:avLst/>
          </a:prstGeom>
          <a:solidFill>
            <a:srgbClr val="364D6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6" name="Rectangle 235">
            <a:extLst>
              <a:ext uri="{FF2B5EF4-FFF2-40B4-BE49-F238E27FC236}">
                <a16:creationId xmlns:a16="http://schemas.microsoft.com/office/drawing/2014/main" id="{8F9DA7F2-0AF0-F4B3-8C53-3E7A48F16180}"/>
              </a:ext>
            </a:extLst>
          </p:cNvPr>
          <p:cNvSpPr/>
          <p:nvPr>
            <p:custDataLst>
              <p:tags r:id="rId28"/>
            </p:custDataLst>
          </p:nvPr>
        </p:nvSpPr>
        <p:spPr bwMode="auto">
          <a:xfrm>
            <a:off x="4318000" y="2743200"/>
            <a:ext cx="214313" cy="160338"/>
          </a:xfrm>
          <a:prstGeom prst="rect">
            <a:avLst/>
          </a:prstGeom>
          <a:solidFill>
            <a:srgbClr val="004FD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0" name="Rectangle 329">
            <a:extLst>
              <a:ext uri="{FF2B5EF4-FFF2-40B4-BE49-F238E27FC236}">
                <a16:creationId xmlns:a16="http://schemas.microsoft.com/office/drawing/2014/main" id="{AB2C2BC8-4D55-1E5C-8078-A77D53280F93}"/>
              </a:ext>
            </a:extLst>
          </p:cNvPr>
          <p:cNvSpPr/>
          <p:nvPr>
            <p:custDataLst>
              <p:tags r:id="rId29"/>
            </p:custDataLst>
          </p:nvPr>
        </p:nvSpPr>
        <p:spPr bwMode="auto">
          <a:xfrm>
            <a:off x="4318000" y="2976563"/>
            <a:ext cx="214313" cy="160338"/>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6" name="Rectangle 325">
            <a:extLst>
              <a:ext uri="{FF2B5EF4-FFF2-40B4-BE49-F238E27FC236}">
                <a16:creationId xmlns:a16="http://schemas.microsoft.com/office/drawing/2014/main" id="{0154739C-B645-DF26-946A-5A110A115747}"/>
              </a:ext>
            </a:extLst>
          </p:cNvPr>
          <p:cNvSpPr/>
          <p:nvPr>
            <p:custDataLst>
              <p:tags r:id="rId30"/>
            </p:custDataLst>
          </p:nvPr>
        </p:nvSpPr>
        <p:spPr bwMode="auto">
          <a:xfrm>
            <a:off x="7031038" y="1809750"/>
            <a:ext cx="214313" cy="160338"/>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7" name="Rectangle 236">
            <a:extLst>
              <a:ext uri="{FF2B5EF4-FFF2-40B4-BE49-F238E27FC236}">
                <a16:creationId xmlns:a16="http://schemas.microsoft.com/office/drawing/2014/main" id="{3F7CE260-9909-4981-C2CF-FD1DF0EF50E0}"/>
              </a:ext>
            </a:extLst>
          </p:cNvPr>
          <p:cNvSpPr/>
          <p:nvPr>
            <p:custDataLst>
              <p:tags r:id="rId31"/>
            </p:custDataLst>
          </p:nvPr>
        </p:nvSpPr>
        <p:spPr bwMode="auto">
          <a:xfrm>
            <a:off x="7031038" y="2043113"/>
            <a:ext cx="214313" cy="160338"/>
          </a:xfrm>
          <a:prstGeom prst="rect">
            <a:avLst/>
          </a:prstGeom>
          <a:solidFill>
            <a:srgbClr val="00777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8" name="Rectangle 237">
            <a:extLst>
              <a:ext uri="{FF2B5EF4-FFF2-40B4-BE49-F238E27FC236}">
                <a16:creationId xmlns:a16="http://schemas.microsoft.com/office/drawing/2014/main" id="{2295DCDC-8FEF-67FD-1322-5FD99E975CAF}"/>
              </a:ext>
            </a:extLst>
          </p:cNvPr>
          <p:cNvSpPr/>
          <p:nvPr>
            <p:custDataLst>
              <p:tags r:id="rId32"/>
            </p:custDataLst>
          </p:nvPr>
        </p:nvSpPr>
        <p:spPr bwMode="auto">
          <a:xfrm>
            <a:off x="7031038" y="2276475"/>
            <a:ext cx="214313" cy="160338"/>
          </a:xfrm>
          <a:prstGeom prst="rect">
            <a:avLst/>
          </a:prstGeom>
          <a:solidFill>
            <a:srgbClr val="C3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5" name="Rectangle 314">
            <a:extLst>
              <a:ext uri="{FF2B5EF4-FFF2-40B4-BE49-F238E27FC236}">
                <a16:creationId xmlns:a16="http://schemas.microsoft.com/office/drawing/2014/main" id="{59939150-8F7C-6257-76CB-C08F9B11C362}"/>
              </a:ext>
            </a:extLst>
          </p:cNvPr>
          <p:cNvSpPr/>
          <p:nvPr>
            <p:custDataLst>
              <p:tags r:id="rId33"/>
            </p:custDataLst>
          </p:nvPr>
        </p:nvSpPr>
        <p:spPr bwMode="auto">
          <a:xfrm>
            <a:off x="7031038" y="2509838"/>
            <a:ext cx="214313" cy="160338"/>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8" name="Rectangle 317">
            <a:extLst>
              <a:ext uri="{FF2B5EF4-FFF2-40B4-BE49-F238E27FC236}">
                <a16:creationId xmlns:a16="http://schemas.microsoft.com/office/drawing/2014/main" id="{E6074BE8-3E26-C4A5-38AA-983CA88DEDB0}"/>
              </a:ext>
            </a:extLst>
          </p:cNvPr>
          <p:cNvSpPr/>
          <p:nvPr>
            <p:custDataLst>
              <p:tags r:id="rId34"/>
            </p:custDataLst>
          </p:nvPr>
        </p:nvSpPr>
        <p:spPr bwMode="auto">
          <a:xfrm>
            <a:off x="7031038" y="2743200"/>
            <a:ext cx="214313" cy="160338"/>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9" name="Rectangle 318">
            <a:extLst>
              <a:ext uri="{FF2B5EF4-FFF2-40B4-BE49-F238E27FC236}">
                <a16:creationId xmlns:a16="http://schemas.microsoft.com/office/drawing/2014/main" id="{C9C9C0D0-5D31-773F-F319-F7FB22B3D4E5}"/>
              </a:ext>
            </a:extLst>
          </p:cNvPr>
          <p:cNvSpPr/>
          <p:nvPr>
            <p:custDataLst>
              <p:tags r:id="rId35"/>
            </p:custDataLst>
          </p:nvPr>
        </p:nvSpPr>
        <p:spPr bwMode="auto">
          <a:xfrm>
            <a:off x="7031038" y="2976563"/>
            <a:ext cx="214313" cy="160338"/>
          </a:xfrm>
          <a:prstGeom prst="rect">
            <a:avLst/>
          </a:prstGeom>
          <a:solidFill>
            <a:srgbClr val="D6D7D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4"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4583113" y="1804988"/>
            <a:ext cx="958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53CC68C-3785-4D84-81FF-6263F4382470}" type="datetime'W''e''''s''''t''in''g''ho''''''''''''u''''''se'''''">
              <a:rPr lang="en-US" altLang="en-US" sz="1200" smtClean="0">
                <a:effectLst/>
              </a:rPr>
              <a:pPr marL="0" lvl="0" indent="0">
                <a:spcBef>
                  <a:spcPct val="0"/>
                </a:spcBef>
                <a:spcAft>
                  <a:spcPct val="0"/>
                </a:spcAft>
                <a:buNone/>
              </a:pPr>
              <a:t>Westinghouse</a:t>
            </a:fld>
            <a:endParaRPr lang="en-US" sz="1200"/>
          </a:p>
        </p:txBody>
      </p:sp>
      <p:sp>
        <p:nvSpPr>
          <p:cNvPr id="213"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4583113" y="2038350"/>
            <a:ext cx="1081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FAF7D45-3E8D-4995-A90B-6AE0F7D720DE}" type="datetime'''Gen''e''''''r''''''a''''l'''''''''' Electri''''''c'''">
              <a:rPr lang="en-US" altLang="en-US" sz="1200" smtClean="0"/>
              <a:pPr marL="0" lvl="0" indent="0">
                <a:spcBef>
                  <a:spcPct val="0"/>
                </a:spcBef>
                <a:spcAft>
                  <a:spcPct val="0"/>
                </a:spcAft>
                <a:buNone/>
              </a:pPr>
              <a:t>General Electric</a:t>
            </a:fld>
            <a:endParaRPr lang="en-US" sz="1200"/>
          </a:p>
        </p:txBody>
      </p:sp>
      <p:sp>
        <p:nvSpPr>
          <p:cNvPr id="335" name="Text Placeholder 10">
            <a:extLst>
              <a:ext uri="{FF2B5EF4-FFF2-40B4-BE49-F238E27FC236}">
                <a16:creationId xmlns:a16="http://schemas.microsoft.com/office/drawing/2014/main" id="{CEE25581-F8AE-6273-84B3-8B2E3F19CDCA}"/>
              </a:ext>
            </a:extLst>
          </p:cNvPr>
          <p:cNvSpPr>
            <a:spLocks noGrp="1"/>
          </p:cNvSpPr>
          <p:nvPr>
            <p:custDataLst>
              <p:tags r:id="rId38"/>
            </p:custDataLst>
          </p:nvPr>
        </p:nvSpPr>
        <p:spPr bwMode="auto">
          <a:xfrm>
            <a:off x="4583113" y="2271713"/>
            <a:ext cx="23463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C40BD4B-DE27-42F8-BDBE-22B13A457BE3}" type="datetime'C''omb''''''''''''ust''io''n'' E''''n''ginee''r''ing'''''''">
              <a:rPr lang="en-US" altLang="en-US" sz="1200" smtClean="0"/>
              <a:pPr marL="0" lvl="0" indent="0">
                <a:spcBef>
                  <a:spcPct val="0"/>
                </a:spcBef>
                <a:spcAft>
                  <a:spcPct val="0"/>
                </a:spcAft>
                <a:buNone/>
              </a:pPr>
              <a:t>Combustion Engineering</a:t>
            </a:fld>
            <a:r>
              <a:rPr lang="en-US" altLang="en-US" sz="1200"/>
              <a:t>                </a:t>
            </a:r>
            <a:endParaRPr lang="en-US" sz="1200"/>
          </a:p>
        </p:txBody>
      </p:sp>
      <p:sp>
        <p:nvSpPr>
          <p:cNvPr id="331" name="Text Placeholder 10">
            <a:extLst>
              <a:ext uri="{FF2B5EF4-FFF2-40B4-BE49-F238E27FC236}">
                <a16:creationId xmlns:a16="http://schemas.microsoft.com/office/drawing/2014/main" id="{D7EE2510-0594-4EFD-7F07-21C63AB1CFB0}"/>
              </a:ext>
            </a:extLst>
          </p:cNvPr>
          <p:cNvSpPr>
            <a:spLocks noGrp="1"/>
          </p:cNvSpPr>
          <p:nvPr>
            <p:custDataLst>
              <p:tags r:id="rId39"/>
            </p:custDataLst>
          </p:nvPr>
        </p:nvSpPr>
        <p:spPr bwMode="auto">
          <a:xfrm>
            <a:off x="4583113" y="2505075"/>
            <a:ext cx="396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3B963A8-9405-4D35-B1ED-3716E52C41C7}" type="datetime'''''''''''A''''''''''EC''''L'''''">
              <a:rPr lang="en-US" altLang="en-US" sz="1200" smtClean="0"/>
              <a:pPr marL="0" lvl="0" indent="0">
                <a:spcBef>
                  <a:spcPct val="0"/>
                </a:spcBef>
                <a:spcAft>
                  <a:spcPct val="0"/>
                </a:spcAft>
                <a:buNone/>
              </a:pPr>
              <a:t>AECL</a:t>
            </a:fld>
            <a:endParaRPr lang="en-US" sz="1200"/>
          </a:p>
        </p:txBody>
      </p:sp>
      <p:sp>
        <p:nvSpPr>
          <p:cNvPr id="212"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auto">
          <a:xfrm>
            <a:off x="4583113" y="2738438"/>
            <a:ext cx="777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02B935D-DEB9-4505-9682-900707F1EBD8}" type="datetime'F''''r''''''''''''''''a''m''''''a''''to''me'">
              <a:rPr lang="en-US" altLang="en-US" sz="1200" smtClean="0"/>
              <a:pPr marL="0" lvl="0" indent="0">
                <a:spcBef>
                  <a:spcPct val="0"/>
                </a:spcBef>
                <a:spcAft>
                  <a:spcPct val="0"/>
                </a:spcAft>
                <a:buNone/>
              </a:pPr>
              <a:t>Framatome</a:t>
            </a:fld>
            <a:endParaRPr lang="en-US" sz="1200"/>
          </a:p>
        </p:txBody>
      </p:sp>
      <p:sp>
        <p:nvSpPr>
          <p:cNvPr id="327" name="Text Placeholder 10">
            <a:extLst>
              <a:ext uri="{FF2B5EF4-FFF2-40B4-BE49-F238E27FC236}">
                <a16:creationId xmlns:a16="http://schemas.microsoft.com/office/drawing/2014/main" id="{17ABAF1A-B257-74F3-69AC-90D19EF7A1DA}"/>
              </a:ext>
            </a:extLst>
          </p:cNvPr>
          <p:cNvSpPr>
            <a:spLocks noGrp="1"/>
          </p:cNvSpPr>
          <p:nvPr>
            <p:custDataLst>
              <p:tags r:id="rId41"/>
            </p:custDataLst>
          </p:nvPr>
        </p:nvSpPr>
        <p:spPr bwMode="auto">
          <a:xfrm>
            <a:off x="4583113" y="2971800"/>
            <a:ext cx="590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293AB0A-2EBF-4445-A4F5-351C4E33BF09}" type="datetime'''''''''''''''S''''''''''''''''''''''i''''''''em''''''e''n''s'">
              <a:rPr lang="en-US" altLang="en-US" sz="1200" smtClean="0"/>
              <a:pPr marL="0" lvl="0" indent="0">
                <a:spcBef>
                  <a:spcPct val="0"/>
                </a:spcBef>
                <a:spcAft>
                  <a:spcPct val="0"/>
                </a:spcAft>
                <a:buNone/>
              </a:pPr>
              <a:t>Siemens</a:t>
            </a:fld>
            <a:endParaRPr lang="en-US" sz="1200"/>
          </a:p>
        </p:txBody>
      </p:sp>
      <p:sp>
        <p:nvSpPr>
          <p:cNvPr id="323" name="Text Placeholder 10">
            <a:extLst>
              <a:ext uri="{FF2B5EF4-FFF2-40B4-BE49-F238E27FC236}">
                <a16:creationId xmlns:a16="http://schemas.microsoft.com/office/drawing/2014/main" id="{25872915-CEAF-C856-977E-A1276DEC4CF9}"/>
              </a:ext>
            </a:extLst>
          </p:cNvPr>
          <p:cNvSpPr>
            <a:spLocks noGrp="1"/>
          </p:cNvSpPr>
          <p:nvPr>
            <p:custDataLst>
              <p:tags r:id="rId42"/>
            </p:custDataLst>
          </p:nvPr>
        </p:nvSpPr>
        <p:spPr bwMode="auto">
          <a:xfrm>
            <a:off x="7296150" y="1804988"/>
            <a:ext cx="608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20971C3-D20E-4649-BCE3-4C1D6A994993}" type="datetime'''''''''''''''''''''''''''Ro''''''''sa''''''''''''''t''o''m'">
              <a:rPr lang="en-US" altLang="en-US" sz="1200" smtClean="0"/>
              <a:pPr marL="0" lvl="0" indent="0">
                <a:spcBef>
                  <a:spcPct val="0"/>
                </a:spcBef>
                <a:spcAft>
                  <a:spcPct val="0"/>
                </a:spcAft>
                <a:buNone/>
              </a:pPr>
              <a:t>Rosatom</a:t>
            </a:fld>
            <a:endParaRPr lang="en-US" sz="1200"/>
          </a:p>
        </p:txBody>
      </p:sp>
      <p:sp>
        <p:nvSpPr>
          <p:cNvPr id="211"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7296150" y="2038350"/>
            <a:ext cx="11985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F4FE19D-B8A3-4F11-903C-C9160BB14242}" type="datetime'''Ato''''''m''e''''''''n''''''''ergom''a''s''''h'''''''''''">
              <a:rPr lang="en-US" altLang="en-US" sz="1200" smtClean="0">
                <a:effectLst/>
              </a:rPr>
              <a:pPr marL="0" lvl="0" indent="0">
                <a:spcBef>
                  <a:spcPct val="0"/>
                </a:spcBef>
                <a:spcAft>
                  <a:spcPct val="0"/>
                </a:spcAft>
                <a:buNone/>
              </a:pPr>
              <a:t>Atomenergomash</a:t>
            </a:fld>
            <a:endParaRPr lang="en-US" sz="1200"/>
          </a:p>
        </p:txBody>
      </p:sp>
      <p:sp>
        <p:nvSpPr>
          <p:cNvPr id="210"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7296150" y="2271713"/>
            <a:ext cx="438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D0C21CC-83FF-47DC-A7E1-39A10206BA73}" type="datetime'''''''''''''C''''''''N''''''''''''''N''''''''''''C'''''''''">
              <a:rPr lang="en-US" altLang="en-US" sz="1200" smtClean="0">
                <a:effectLst/>
              </a:rPr>
              <a:pPr marL="0" lvl="0" indent="0">
                <a:spcBef>
                  <a:spcPct val="0"/>
                </a:spcBef>
                <a:spcAft>
                  <a:spcPct val="0"/>
                </a:spcAft>
                <a:buNone/>
              </a:pPr>
              <a:t>CNNC</a:t>
            </a:fld>
            <a:endParaRPr lang="en-US" sz="1200"/>
          </a:p>
        </p:txBody>
      </p:sp>
      <p:sp>
        <p:nvSpPr>
          <p:cNvPr id="309" name="Text Placeholder 10">
            <a:extLst>
              <a:ext uri="{FF2B5EF4-FFF2-40B4-BE49-F238E27FC236}">
                <a16:creationId xmlns:a16="http://schemas.microsoft.com/office/drawing/2014/main" id="{B1CEBA27-51BB-DE4A-6030-9154FBC8F8DD}"/>
              </a:ext>
            </a:extLst>
          </p:cNvPr>
          <p:cNvSpPr>
            <a:spLocks noGrp="1"/>
          </p:cNvSpPr>
          <p:nvPr>
            <p:custDataLst>
              <p:tags r:id="rId45"/>
            </p:custDataLst>
          </p:nvPr>
        </p:nvSpPr>
        <p:spPr bwMode="auto">
          <a:xfrm>
            <a:off x="7296150" y="2505075"/>
            <a:ext cx="525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28B42F6-C029-45F4-8D2B-B3AC5E7EB0E0}" type="datetime'''''''''''''KEP''''''K''''''''O'''''''''">
              <a:rPr lang="en-US" altLang="en-US" sz="1200" smtClean="0"/>
              <a:pPr marL="0" lvl="0" indent="0">
                <a:spcBef>
                  <a:spcPct val="0"/>
                </a:spcBef>
                <a:spcAft>
                  <a:spcPct val="0"/>
                </a:spcAft>
                <a:buNone/>
              </a:pPr>
              <a:t>KEPKO</a:t>
            </a:fld>
            <a:endParaRPr lang="en-US" sz="1200"/>
          </a:p>
        </p:txBody>
      </p:sp>
      <p:sp>
        <p:nvSpPr>
          <p:cNvPr id="308" name="Text Placeholder 10">
            <a:extLst>
              <a:ext uri="{FF2B5EF4-FFF2-40B4-BE49-F238E27FC236}">
                <a16:creationId xmlns:a16="http://schemas.microsoft.com/office/drawing/2014/main" id="{BD3C558C-36E1-DEF7-F81C-03950CB6DD7B}"/>
              </a:ext>
            </a:extLst>
          </p:cNvPr>
          <p:cNvSpPr>
            <a:spLocks noGrp="1"/>
          </p:cNvSpPr>
          <p:nvPr>
            <p:custDataLst>
              <p:tags r:id="rId46"/>
            </p:custDataLst>
          </p:nvPr>
        </p:nvSpPr>
        <p:spPr bwMode="auto">
          <a:xfrm>
            <a:off x="7296150" y="2738438"/>
            <a:ext cx="463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8919C3C-37BA-4577-AB93-CC11A509688F}" type="datetime'''''''''Hi''''''tac''''''''h''''''''i'''''''''''''''''''">
              <a:rPr lang="en-US" altLang="en-US" sz="1200" smtClean="0"/>
              <a:pPr marL="0" lvl="0" indent="0">
                <a:spcBef>
                  <a:spcPct val="0"/>
                </a:spcBef>
                <a:spcAft>
                  <a:spcPct val="0"/>
                </a:spcAft>
                <a:buNone/>
              </a:pPr>
              <a:t>Hitachi</a:t>
            </a:fld>
            <a:endParaRPr lang="en-US" sz="1200"/>
          </a:p>
        </p:txBody>
      </p:sp>
      <p:sp>
        <p:nvSpPr>
          <p:cNvPr id="306" name="Text Placeholder 10">
            <a:extLst>
              <a:ext uri="{FF2B5EF4-FFF2-40B4-BE49-F238E27FC236}">
                <a16:creationId xmlns:a16="http://schemas.microsoft.com/office/drawing/2014/main" id="{F0371D4A-32B3-A35C-4D45-A0D64DA9B2C9}"/>
              </a:ext>
            </a:extLst>
          </p:cNvPr>
          <p:cNvSpPr>
            <a:spLocks noGrp="1"/>
          </p:cNvSpPr>
          <p:nvPr>
            <p:custDataLst>
              <p:tags r:id="rId47"/>
            </p:custDataLst>
          </p:nvPr>
        </p:nvSpPr>
        <p:spPr bwMode="auto">
          <a:xfrm>
            <a:off x="7296150" y="2971800"/>
            <a:ext cx="457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C052AAB-EEEB-46EF-B904-6CD23F227B81}" type="datetime'''''''O''''t''h''''e''''''''r''''s'''''''''''''''">
              <a:rPr lang="en-US" altLang="en-US" sz="1200" smtClean="0"/>
              <a:pPr marL="0" lvl="0" indent="0">
                <a:spcBef>
                  <a:spcPct val="0"/>
                </a:spcBef>
                <a:spcAft>
                  <a:spcPct val="0"/>
                </a:spcAft>
                <a:buNone/>
              </a:pPr>
              <a:t>Others</a:t>
            </a:fld>
            <a:endParaRPr lang="en-US" sz="1200"/>
          </a:p>
        </p:txBody>
      </p:sp>
      <p:sp>
        <p:nvSpPr>
          <p:cNvPr id="304" name="btfpColumnHeaderBoxText223027">
            <a:extLst>
              <a:ext uri="{FF2B5EF4-FFF2-40B4-BE49-F238E27FC236}">
                <a16:creationId xmlns:a16="http://schemas.microsoft.com/office/drawing/2014/main" id="{B96A40BB-31E6-4568-5F9C-61DDD0AFA82D}"/>
              </a:ext>
            </a:extLst>
          </p:cNvPr>
          <p:cNvSpPr txBox="1"/>
          <p:nvPr/>
        </p:nvSpPr>
        <p:spPr bwMode="gray">
          <a:xfrm>
            <a:off x="371324" y="1392064"/>
            <a:ext cx="7732890"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Nuclear reactors under construction by OEM, </a:t>
            </a:r>
            <a:r>
              <a:rPr lang="en-US" sz="1400">
                <a:solidFill>
                  <a:srgbClr val="000000"/>
                </a:solidFill>
              </a:rPr>
              <a:t>GW, 1955-2025</a:t>
            </a:r>
            <a:endParaRPr lang="en-US" sz="1400" b="1">
              <a:solidFill>
                <a:srgbClr val="000000"/>
              </a:solidFill>
            </a:endParaRPr>
          </a:p>
        </p:txBody>
      </p:sp>
      <p:cxnSp>
        <p:nvCxnSpPr>
          <p:cNvPr id="305" name="btfpColumnHeaderBoxLine223027">
            <a:extLst>
              <a:ext uri="{FF2B5EF4-FFF2-40B4-BE49-F238E27FC236}">
                <a16:creationId xmlns:a16="http://schemas.microsoft.com/office/drawing/2014/main" id="{9F146561-1D4B-92A0-37B7-64B8365624E4}"/>
              </a:ext>
            </a:extLst>
          </p:cNvPr>
          <p:cNvCxnSpPr>
            <a:cxnSpLocks/>
          </p:cNvCxnSpPr>
          <p:nvPr/>
        </p:nvCxnSpPr>
        <p:spPr bwMode="gray">
          <a:xfrm>
            <a:off x="404484" y="1706517"/>
            <a:ext cx="856626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2071" name="Group 2070">
            <a:extLst>
              <a:ext uri="{FF2B5EF4-FFF2-40B4-BE49-F238E27FC236}">
                <a16:creationId xmlns:a16="http://schemas.microsoft.com/office/drawing/2014/main" id="{BFF13184-2F43-0DC3-CBBA-7D1C5A1D7E69}"/>
              </a:ext>
            </a:extLst>
          </p:cNvPr>
          <p:cNvGrpSpPr/>
          <p:nvPr/>
        </p:nvGrpSpPr>
        <p:grpSpPr>
          <a:xfrm>
            <a:off x="6442387" y="1810540"/>
            <a:ext cx="182881" cy="1326361"/>
            <a:chOff x="6442387" y="1810540"/>
            <a:chExt cx="182881" cy="1326361"/>
          </a:xfrm>
        </p:grpSpPr>
        <p:pic>
          <p:nvPicPr>
            <p:cNvPr id="2050" name="Picture 2" descr="Flag of France - Wikipedia">
              <a:extLst>
                <a:ext uri="{FF2B5EF4-FFF2-40B4-BE49-F238E27FC236}">
                  <a16:creationId xmlns:a16="http://schemas.microsoft.com/office/drawing/2014/main" id="{1222160D-3ACF-CE72-6539-D5E7673C9FEE}"/>
                </a:ext>
              </a:extLst>
            </p:cNvPr>
            <p:cNvPicPr>
              <a:picLocks noChangeArrowheads="1"/>
            </p:cNvPicPr>
            <p:nvPr/>
          </p:nvPicPr>
          <p:blipFill rotWithShape="1">
            <a:blip r:embed="rId55" cstate="screen">
              <a:extLst>
                <a:ext uri="{28A0092B-C50C-407E-A947-70E740481C1C}">
                  <a14:useLocalDpi xmlns:a14="http://schemas.microsoft.com/office/drawing/2010/main"/>
                </a:ext>
              </a:extLst>
            </a:blip>
            <a:srcRect l="10366" r="8463"/>
            <a:stretch/>
          </p:blipFill>
          <p:spPr bwMode="auto">
            <a:xfrm>
              <a:off x="6442387" y="2725324"/>
              <a:ext cx="182880" cy="18288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060" name="Picture 12">
              <a:extLst>
                <a:ext uri="{FF2B5EF4-FFF2-40B4-BE49-F238E27FC236}">
                  <a16:creationId xmlns:a16="http://schemas.microsoft.com/office/drawing/2014/main" id="{5A200FF8-061A-7B5F-C166-FA1F051A579C}"/>
                </a:ext>
              </a:extLst>
            </p:cNvPr>
            <p:cNvPicPr>
              <a:picLocks noChangeArrowheads="1"/>
            </p:cNvPicPr>
            <p:nvPr/>
          </p:nvPicPr>
          <p:blipFill>
            <a:blip r:embed="rId56" cstate="screen">
              <a:extLst>
                <a:ext uri="{28A0092B-C50C-407E-A947-70E740481C1C}">
                  <a14:useLocalDpi xmlns:a14="http://schemas.microsoft.com/office/drawing/2010/main"/>
                </a:ext>
              </a:extLst>
            </a:blip>
            <a:srcRect/>
            <a:stretch>
              <a:fillRect/>
            </a:stretch>
          </p:blipFill>
          <p:spPr bwMode="auto">
            <a:xfrm>
              <a:off x="6442387" y="2954021"/>
              <a:ext cx="182880" cy="18288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67" name="Picture 366">
              <a:extLst>
                <a:ext uri="{FF2B5EF4-FFF2-40B4-BE49-F238E27FC236}">
                  <a16:creationId xmlns:a16="http://schemas.microsoft.com/office/drawing/2014/main" id="{B2CFEA21-63CC-7532-BE6E-B66E2745B735}"/>
                </a:ext>
              </a:extLst>
            </p:cNvPr>
            <p:cNvPicPr>
              <a:picLocks/>
            </p:cNvPicPr>
            <p:nvPr/>
          </p:nvPicPr>
          <p:blipFill>
            <a:blip r:embed="rId57" cstate="screen">
              <a:extLst>
                <a:ext uri="{28A0092B-C50C-407E-A947-70E740481C1C}">
                  <a14:useLocalDpi xmlns:a14="http://schemas.microsoft.com/office/drawing/2010/main"/>
                </a:ext>
              </a:extLst>
            </a:blip>
            <a:srcRect/>
            <a:stretch/>
          </p:blipFill>
          <p:spPr>
            <a:xfrm>
              <a:off x="6442387" y="2496628"/>
              <a:ext cx="182880" cy="18288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369" name="Picture 6" descr="Flag of the United States - Wikipedia">
              <a:extLst>
                <a:ext uri="{FF2B5EF4-FFF2-40B4-BE49-F238E27FC236}">
                  <a16:creationId xmlns:a16="http://schemas.microsoft.com/office/drawing/2014/main" id="{403B5791-F3E6-9D68-08C3-747B6CB43F7B}"/>
                </a:ext>
              </a:extLst>
            </p:cNvPr>
            <p:cNvPicPr>
              <a:picLocks noChangeArrowheads="1"/>
            </p:cNvPicPr>
            <p:nvPr/>
          </p:nvPicPr>
          <p:blipFill rotWithShape="1">
            <a:blip r:embed="rId58" cstate="screen">
              <a:extLst>
                <a:ext uri="{28A0092B-C50C-407E-A947-70E740481C1C}">
                  <a14:useLocalDpi xmlns:a14="http://schemas.microsoft.com/office/drawing/2010/main"/>
                </a:ext>
              </a:extLst>
            </a:blip>
            <a:srcRect r="11190"/>
            <a:stretch/>
          </p:blipFill>
          <p:spPr bwMode="auto">
            <a:xfrm>
              <a:off x="6442387" y="1810540"/>
              <a:ext cx="182880" cy="182880"/>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pic>
          <p:nvPicPr>
            <p:cNvPr id="383" name="Picture 6" descr="Flag of the United States - Wikipedia">
              <a:extLst>
                <a:ext uri="{FF2B5EF4-FFF2-40B4-BE49-F238E27FC236}">
                  <a16:creationId xmlns:a16="http://schemas.microsoft.com/office/drawing/2014/main" id="{54C2961F-4B53-5DDB-C09E-5BC65322081D}"/>
                </a:ext>
              </a:extLst>
            </p:cNvPr>
            <p:cNvPicPr>
              <a:picLocks noChangeArrowheads="1"/>
            </p:cNvPicPr>
            <p:nvPr/>
          </p:nvPicPr>
          <p:blipFill rotWithShape="1">
            <a:blip r:embed="rId58" cstate="screen">
              <a:extLst>
                <a:ext uri="{28A0092B-C50C-407E-A947-70E740481C1C}">
                  <a14:useLocalDpi xmlns:a14="http://schemas.microsoft.com/office/drawing/2010/main"/>
                </a:ext>
              </a:extLst>
            </a:blip>
            <a:srcRect r="11190"/>
            <a:stretch/>
          </p:blipFill>
          <p:spPr bwMode="auto">
            <a:xfrm>
              <a:off x="6442387" y="2039236"/>
              <a:ext cx="182880" cy="182880"/>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pic>
          <p:nvPicPr>
            <p:cNvPr id="2048" name="Picture 6" descr="Flag of the United States - Wikipedia">
              <a:extLst>
                <a:ext uri="{FF2B5EF4-FFF2-40B4-BE49-F238E27FC236}">
                  <a16:creationId xmlns:a16="http://schemas.microsoft.com/office/drawing/2014/main" id="{2246D2A6-9CC5-ED27-C01D-E282E23C9953}"/>
                </a:ext>
              </a:extLst>
            </p:cNvPr>
            <p:cNvPicPr>
              <a:picLocks noChangeArrowheads="1"/>
            </p:cNvPicPr>
            <p:nvPr/>
          </p:nvPicPr>
          <p:blipFill rotWithShape="1">
            <a:blip r:embed="rId58" cstate="screen">
              <a:extLst>
                <a:ext uri="{28A0092B-C50C-407E-A947-70E740481C1C}">
                  <a14:useLocalDpi xmlns:a14="http://schemas.microsoft.com/office/drawing/2010/main"/>
                </a:ext>
              </a:extLst>
            </a:blip>
            <a:srcRect r="11190"/>
            <a:stretch/>
          </p:blipFill>
          <p:spPr bwMode="auto">
            <a:xfrm>
              <a:off x="6442388" y="2267932"/>
              <a:ext cx="182880" cy="182880"/>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grpSp>
      <p:grpSp>
        <p:nvGrpSpPr>
          <p:cNvPr id="2070" name="Group 2069">
            <a:extLst>
              <a:ext uri="{FF2B5EF4-FFF2-40B4-BE49-F238E27FC236}">
                <a16:creationId xmlns:a16="http://schemas.microsoft.com/office/drawing/2014/main" id="{60ADA118-DA1B-212A-19BF-692EABD4DE83}"/>
              </a:ext>
            </a:extLst>
          </p:cNvPr>
          <p:cNvGrpSpPr/>
          <p:nvPr/>
        </p:nvGrpSpPr>
        <p:grpSpPr>
          <a:xfrm>
            <a:off x="8637406" y="1810540"/>
            <a:ext cx="197033" cy="1097664"/>
            <a:chOff x="8637406" y="1810540"/>
            <a:chExt cx="197033" cy="1097664"/>
          </a:xfrm>
        </p:grpSpPr>
        <p:pic>
          <p:nvPicPr>
            <p:cNvPr id="2052" name="Picture 4" descr="Flag of Russia - Wikipedia">
              <a:extLst>
                <a:ext uri="{FF2B5EF4-FFF2-40B4-BE49-F238E27FC236}">
                  <a16:creationId xmlns:a16="http://schemas.microsoft.com/office/drawing/2014/main" id="{305A9B7A-66B9-8376-705C-A39DB27841BC}"/>
                </a:ext>
              </a:extLst>
            </p:cNvPr>
            <p:cNvPicPr>
              <a:picLocks noChangeArrowheads="1"/>
            </p:cNvPicPr>
            <p:nvPr/>
          </p:nvPicPr>
          <p:blipFill>
            <a:blip r:embed="rId59" cstate="screen">
              <a:extLst>
                <a:ext uri="{28A0092B-C50C-407E-A947-70E740481C1C}">
                  <a14:useLocalDpi xmlns:a14="http://schemas.microsoft.com/office/drawing/2010/main"/>
                </a:ext>
              </a:extLst>
            </a:blip>
            <a:srcRect/>
            <a:stretch>
              <a:fillRect/>
            </a:stretch>
          </p:blipFill>
          <p:spPr bwMode="auto">
            <a:xfrm>
              <a:off x="8651876" y="1810540"/>
              <a:ext cx="182563" cy="182880"/>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pic>
          <p:nvPicPr>
            <p:cNvPr id="2056" name="Picture 8" descr="Flag of South Korea - Wikipedia">
              <a:extLst>
                <a:ext uri="{FF2B5EF4-FFF2-40B4-BE49-F238E27FC236}">
                  <a16:creationId xmlns:a16="http://schemas.microsoft.com/office/drawing/2014/main" id="{B5BA1BCE-C56A-FFC6-1A3D-602C772029E6}"/>
                </a:ext>
              </a:extLst>
            </p:cNvPr>
            <p:cNvPicPr>
              <a:picLocks noChangeAspect="1" noChangeArrowheads="1"/>
            </p:cNvPicPr>
            <p:nvPr/>
          </p:nvPicPr>
          <p:blipFill rotWithShape="1">
            <a:blip r:embed="rId60" cstate="screen">
              <a:extLst>
                <a:ext uri="{28A0092B-C50C-407E-A947-70E740481C1C}">
                  <a14:useLocalDpi xmlns:a14="http://schemas.microsoft.com/office/drawing/2010/main"/>
                </a:ext>
              </a:extLst>
            </a:blip>
            <a:srcRect l="16393" t="2" r="17476" b="-2"/>
            <a:stretch/>
          </p:blipFill>
          <p:spPr bwMode="auto">
            <a:xfrm>
              <a:off x="8643939" y="2496865"/>
              <a:ext cx="182563" cy="18256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058" name="Picture 10" descr="Flag of Japan - Wikipedia">
              <a:extLst>
                <a:ext uri="{FF2B5EF4-FFF2-40B4-BE49-F238E27FC236}">
                  <a16:creationId xmlns:a16="http://schemas.microsoft.com/office/drawing/2014/main" id="{3154A5D2-DCE3-AAB9-D1E8-81F5159DE33B}"/>
                </a:ext>
              </a:extLst>
            </p:cNvPr>
            <p:cNvPicPr>
              <a:picLocks noChangeAspect="1" noChangeArrowheads="1"/>
            </p:cNvPicPr>
            <p:nvPr/>
          </p:nvPicPr>
          <p:blipFill rotWithShape="1">
            <a:blip r:embed="rId61" cstate="screen">
              <a:extLst>
                <a:ext uri="{28A0092B-C50C-407E-A947-70E740481C1C}">
                  <a14:useLocalDpi xmlns:a14="http://schemas.microsoft.com/office/drawing/2010/main"/>
                </a:ext>
              </a:extLst>
            </a:blip>
            <a:srcRect l="12260" t="-5509" r="10524" b="-7512"/>
            <a:stretch/>
          </p:blipFill>
          <p:spPr bwMode="auto">
            <a:xfrm>
              <a:off x="8637406" y="2725324"/>
              <a:ext cx="186442" cy="182880"/>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pic>
          <p:nvPicPr>
            <p:cNvPr id="2066" name="Picture 18" descr="Flag of China - Wikipedia">
              <a:extLst>
                <a:ext uri="{FF2B5EF4-FFF2-40B4-BE49-F238E27FC236}">
                  <a16:creationId xmlns:a16="http://schemas.microsoft.com/office/drawing/2014/main" id="{2E35A6A7-42D4-2D05-ACDA-63D958D95E49}"/>
                </a:ext>
              </a:extLst>
            </p:cNvPr>
            <p:cNvPicPr>
              <a:picLocks noChangeArrowheads="1"/>
            </p:cNvPicPr>
            <p:nvPr/>
          </p:nvPicPr>
          <p:blipFill>
            <a:blip r:embed="rId62" cstate="screen">
              <a:extLst>
                <a:ext uri="{28A0092B-C50C-407E-A947-70E740481C1C}">
                  <a14:useLocalDpi xmlns:a14="http://schemas.microsoft.com/office/drawing/2010/main"/>
                </a:ext>
              </a:extLst>
            </a:blip>
            <a:srcRect/>
            <a:stretch>
              <a:fillRect/>
            </a:stretch>
          </p:blipFill>
          <p:spPr bwMode="auto">
            <a:xfrm>
              <a:off x="8648700" y="2268090"/>
              <a:ext cx="184150" cy="182880"/>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pic>
          <p:nvPicPr>
            <p:cNvPr id="2049" name="Picture 4" descr="Flag of Russia - Wikipedia">
              <a:extLst>
                <a:ext uri="{FF2B5EF4-FFF2-40B4-BE49-F238E27FC236}">
                  <a16:creationId xmlns:a16="http://schemas.microsoft.com/office/drawing/2014/main" id="{57E3AE91-A6FF-2F4B-BF02-F95947356745}"/>
                </a:ext>
              </a:extLst>
            </p:cNvPr>
            <p:cNvPicPr>
              <a:picLocks noChangeArrowheads="1"/>
            </p:cNvPicPr>
            <p:nvPr/>
          </p:nvPicPr>
          <p:blipFill>
            <a:blip r:embed="rId59" cstate="screen">
              <a:extLst>
                <a:ext uri="{28A0092B-C50C-407E-A947-70E740481C1C}">
                  <a14:useLocalDpi xmlns:a14="http://schemas.microsoft.com/office/drawing/2010/main"/>
                </a:ext>
              </a:extLst>
            </a:blip>
            <a:srcRect/>
            <a:stretch>
              <a:fillRect/>
            </a:stretch>
          </p:blipFill>
          <p:spPr bwMode="auto">
            <a:xfrm>
              <a:off x="8651876" y="2039315"/>
              <a:ext cx="182563" cy="182880"/>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grpSp>
      <p:sp>
        <p:nvSpPr>
          <p:cNvPr id="5" name="TextBox 4">
            <a:extLst>
              <a:ext uri="{FF2B5EF4-FFF2-40B4-BE49-F238E27FC236}">
                <a16:creationId xmlns:a16="http://schemas.microsoft.com/office/drawing/2014/main" id="{C82A2327-11D0-424E-179D-C520D6D4241B}"/>
              </a:ext>
            </a:extLst>
          </p:cNvPr>
          <p:cNvSpPr txBox="1"/>
          <p:nvPr/>
        </p:nvSpPr>
        <p:spPr bwMode="gray">
          <a:xfrm>
            <a:off x="0" y="0"/>
            <a:ext cx="2926080" cy="385540"/>
          </a:xfrm>
          <a:prstGeom prst="rect">
            <a:avLst/>
          </a:prstGeom>
          <a:solidFill>
            <a:schemeClr val="bg2">
              <a:lumMod val="75000"/>
            </a:schemeClr>
          </a:solidFill>
          <a:ln w="28575">
            <a:noFill/>
            <a:prstDash val="dash"/>
          </a:ln>
        </p:spPr>
        <p:txBody>
          <a:bodyPr wrap="square" lIns="91440" tIns="91440" rIns="91440" bIns="91440" rtlCol="0" anchor="ctr">
            <a:noAutofit/>
          </a:bodyPr>
          <a:lstStyle/>
          <a:p>
            <a:pPr marL="0" indent="0" algn="ctr">
              <a:spcAft>
                <a:spcPts val="600"/>
              </a:spcAft>
              <a:buNone/>
            </a:pPr>
            <a:r>
              <a:rPr lang="en-US" sz="1200" b="1">
                <a:solidFill>
                  <a:srgbClr val="FFFFFF"/>
                </a:solidFill>
              </a:rPr>
              <a:t>Deep-dive: Reactor OEMs</a:t>
            </a:r>
          </a:p>
        </p:txBody>
      </p:sp>
    </p:spTree>
    <p:extLst>
      <p:ext uri="{BB962C8B-B14F-4D97-AF65-F5344CB8AC3E}">
        <p14:creationId xmlns:p14="http://schemas.microsoft.com/office/powerpoint/2010/main" val="6545302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F9F41B-7394-0F2A-9177-54D0CC32443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FC7E541-0793-B5EB-2315-4721B32C95A8}"/>
              </a:ext>
            </a:extLst>
          </p:cNvPr>
          <p:cNvGraphicFramePr>
            <a:graphicFrameLocks noChangeAspect="1"/>
          </p:cNvGraphicFramePr>
          <p:nvPr>
            <p:custDataLst>
              <p:tags r:id="rId1"/>
            </p:custDataLst>
            <p:extLst>
              <p:ext uri="{D42A27DB-BD31-4B8C-83A1-F6EECF244321}">
                <p14:modId xmlns:p14="http://schemas.microsoft.com/office/powerpoint/2010/main" val="4954935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6" imgW="7772400" imgH="10058400" progId="TCLayout.ActiveDocument.1">
                  <p:embed/>
                </p:oleObj>
              </mc:Choice>
              <mc:Fallback>
                <p:oleObj name="think-cell Slide" r:id="rId66" imgW="7772400" imgH="10058400" progId="TCLayout.ActiveDocument.1">
                  <p:embed/>
                  <p:pic>
                    <p:nvPicPr>
                      <p:cNvPr id="4" name="think-cell data - do not delete" hidden="1">
                        <a:extLst>
                          <a:ext uri="{FF2B5EF4-FFF2-40B4-BE49-F238E27FC236}">
                            <a16:creationId xmlns:a16="http://schemas.microsoft.com/office/drawing/2014/main" id="{7FC7E541-0793-B5EB-2315-4721B32C95A8}"/>
                          </a:ext>
                        </a:extLst>
                      </p:cNvPr>
                      <p:cNvPicPr/>
                      <p:nvPr/>
                    </p:nvPicPr>
                    <p:blipFill>
                      <a:blip r:embed="rId6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8381DB-6402-4EE8-41B2-3E2A8814CE1F}"/>
              </a:ext>
            </a:extLst>
          </p:cNvPr>
          <p:cNvSpPr>
            <a:spLocks noGrp="1"/>
          </p:cNvSpPr>
          <p:nvPr>
            <p:ph type="title"/>
          </p:nvPr>
        </p:nvSpPr>
        <p:spPr>
          <a:xfrm>
            <a:off x="330200" y="523318"/>
            <a:ext cx="11694160" cy="882788"/>
          </a:xfrm>
        </p:spPr>
        <p:txBody>
          <a:bodyPr vert="horz">
            <a:noAutofit/>
          </a:bodyPr>
          <a:lstStyle/>
          <a:p>
            <a:r>
              <a:rPr lang="en-US" b="1" dirty="0"/>
              <a:t>Uranium producing and consuming countries have little overlap, as most uranium resources are in Kazakhstan, Canada, and Australia</a:t>
            </a:r>
            <a:endParaRPr lang="en-US" dirty="0"/>
          </a:p>
        </p:txBody>
      </p:sp>
      <p:sp>
        <p:nvSpPr>
          <p:cNvPr id="11" name="TextBox 10">
            <a:extLst>
              <a:ext uri="{FF2B5EF4-FFF2-40B4-BE49-F238E27FC236}">
                <a16:creationId xmlns:a16="http://schemas.microsoft.com/office/drawing/2014/main" id="{77B580EB-BD68-3DE2-84EB-7032EFCDBA44}"/>
              </a:ext>
            </a:extLst>
          </p:cNvPr>
          <p:cNvSpPr txBox="1"/>
          <p:nvPr/>
        </p:nvSpPr>
        <p:spPr bwMode="gray">
          <a:xfrm>
            <a:off x="9246282" y="1554480"/>
            <a:ext cx="2717119" cy="3839513"/>
          </a:xfrm>
          <a:prstGeom prst="rect">
            <a:avLst/>
          </a:prstGeom>
          <a:solidFill>
            <a:srgbClr val="E3E8EE"/>
          </a:solidFill>
        </p:spPr>
        <p:txBody>
          <a:bodyPr wrap="square" lIns="137160" tIns="137160" rIns="274320" bIns="137160" rtlCol="0" anchor="t">
            <a:spAutoFit/>
          </a:bodyPr>
          <a:lstStyle/>
          <a:p>
            <a:pPr>
              <a:spcBef>
                <a:spcPts val="600"/>
              </a:spcBef>
            </a:pPr>
            <a:r>
              <a:rPr lang="en-US" sz="1200" b="1" dirty="0"/>
              <a:t>Observations</a:t>
            </a:r>
          </a:p>
          <a:p>
            <a:pPr marL="171450" indent="-171450">
              <a:spcBef>
                <a:spcPts val="600"/>
              </a:spcBef>
              <a:buFont typeface="Arial" panose="020B0604020202020204" pitchFamily="34" charset="0"/>
              <a:buChar char="•"/>
            </a:pPr>
            <a:r>
              <a:rPr lang="en-US" sz="1050" b="1" dirty="0"/>
              <a:t>The world requirement for uranium ore was 68 </a:t>
            </a:r>
            <a:r>
              <a:rPr lang="en-US" sz="1050" b="1" dirty="0" err="1"/>
              <a:t>kilotonnes</a:t>
            </a:r>
            <a:r>
              <a:rPr lang="en-US" sz="1050" b="1" dirty="0"/>
              <a:t> in 2022</a:t>
            </a:r>
            <a:r>
              <a:rPr lang="en-US" sz="1050" dirty="0"/>
              <a:t>. This is significantly more than the 55 </a:t>
            </a:r>
            <a:r>
              <a:rPr lang="en-US" sz="1050" dirty="0" err="1"/>
              <a:t>kilotonnes</a:t>
            </a:r>
            <a:r>
              <a:rPr lang="en-US" sz="1050" dirty="0"/>
              <a:t> produced.</a:t>
            </a:r>
          </a:p>
          <a:p>
            <a:pPr marL="171450" indent="-171450">
              <a:spcBef>
                <a:spcPts val="600"/>
              </a:spcBef>
              <a:buFont typeface="Arial" panose="020B0604020202020204" pitchFamily="34" charset="0"/>
              <a:buChar char="•"/>
            </a:pPr>
            <a:r>
              <a:rPr lang="en-US" sz="1050" dirty="0"/>
              <a:t>The gap is covered by stockpiles and re-enrichment.</a:t>
            </a:r>
          </a:p>
          <a:p>
            <a:pPr marL="171450" indent="-171450">
              <a:spcBef>
                <a:spcPts val="600"/>
              </a:spcBef>
              <a:buFont typeface="Arial" panose="020B0604020202020204" pitchFamily="34" charset="0"/>
              <a:buChar char="•"/>
            </a:pPr>
            <a:r>
              <a:rPr lang="en-US" sz="1050" dirty="0"/>
              <a:t>Countries with the highest uranium consumption (United States, Europe, and China) have hardly any uranium production or resources.</a:t>
            </a:r>
            <a:endParaRPr lang="en-US" sz="1050" dirty="0">
              <a:cs typeface="Arial"/>
            </a:endParaRPr>
          </a:p>
          <a:p>
            <a:pPr marL="171450" indent="-171450">
              <a:spcBef>
                <a:spcPts val="600"/>
              </a:spcBef>
              <a:buFont typeface="Arial" panose="020B0604020202020204" pitchFamily="34" charset="0"/>
              <a:buChar char="•"/>
            </a:pPr>
            <a:r>
              <a:rPr lang="en-US" sz="1050" dirty="0"/>
              <a:t>This makes the West and China dependent on uranium ore imports. As this is considered a national security risk, countries keep </a:t>
            </a:r>
            <a:r>
              <a:rPr lang="en-US" sz="1050" b="1" dirty="0"/>
              <a:t>large stockpiles of uranium (the United States keeps ~480 </a:t>
            </a:r>
            <a:r>
              <a:rPr lang="en-US" sz="1050" b="1" dirty="0" err="1"/>
              <a:t>tonnes</a:t>
            </a:r>
            <a:r>
              <a:rPr lang="en-US" sz="1050" b="1" dirty="0"/>
              <a:t> of unirradiated highly enriched non-military uranium).  </a:t>
            </a:r>
          </a:p>
        </p:txBody>
      </p:sp>
      <p:sp>
        <p:nvSpPr>
          <p:cNvPr id="7" name="btfpNotesBox361175">
            <a:extLst>
              <a:ext uri="{FF2B5EF4-FFF2-40B4-BE49-F238E27FC236}">
                <a16:creationId xmlns:a16="http://schemas.microsoft.com/office/drawing/2014/main" id="{DCEC33EE-7F4A-C91E-3434-16322FB156EA}"/>
              </a:ext>
            </a:extLst>
          </p:cNvPr>
          <p:cNvSpPr txBox="1"/>
          <p:nvPr>
            <p:custDataLst>
              <p:tags r:id="rId2"/>
            </p:custDataLst>
          </p:nvPr>
        </p:nvSpPr>
        <p:spPr bwMode="gray">
          <a:xfrm>
            <a:off x="330200" y="6186250"/>
            <a:ext cx="9199283" cy="61555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 Interpolated due to lack of data.</a:t>
            </a:r>
          </a:p>
          <a:p>
            <a:pPr marL="0" indent="0">
              <a:spcBef>
                <a:spcPts val="0"/>
              </a:spcBef>
              <a:buNone/>
            </a:pPr>
            <a:r>
              <a:rPr lang="en-US" sz="800" dirty="0">
                <a:solidFill>
                  <a:srgbClr val="000000"/>
                </a:solidFill>
              </a:rPr>
              <a:t>Sources: DoE, </a:t>
            </a:r>
            <a:r>
              <a:rPr lang="en-US" sz="800" dirty="0">
                <a:solidFill>
                  <a:srgbClr val="000000"/>
                </a:solidFill>
                <a:hlinkClick r:id="rId68"/>
              </a:rPr>
              <a:t>Nuclear Energy Supply Chain Deep Dive Assess</a:t>
            </a:r>
            <a:r>
              <a:rPr lang="en-US" sz="800" dirty="0">
                <a:solidFill>
                  <a:srgbClr val="000000"/>
                </a:solidFill>
              </a:rPr>
              <a:t> (2022); WNA, </a:t>
            </a:r>
            <a:r>
              <a:rPr lang="en-US" sz="800" dirty="0">
                <a:solidFill>
                  <a:srgbClr val="000000"/>
                </a:solidFill>
                <a:hlinkClick r:id="rId69" action="ppaction://hlinkfile"/>
              </a:rPr>
              <a:t>Uranium Enrichment</a:t>
            </a:r>
            <a:r>
              <a:rPr lang="en-US" sz="800" dirty="0">
                <a:solidFill>
                  <a:srgbClr val="000000"/>
                </a:solidFill>
              </a:rPr>
              <a:t> (2024); Storm van Leeuwen, </a:t>
            </a:r>
            <a:r>
              <a:rPr lang="en-US" sz="800" dirty="0">
                <a:solidFill>
                  <a:srgbClr val="000000"/>
                </a:solidFill>
                <a:hlinkClick r:id="rId70"/>
              </a:rPr>
              <a:t>Materials for nuclear power</a:t>
            </a:r>
            <a:r>
              <a:rPr lang="en-US" sz="800" dirty="0">
                <a:solidFill>
                  <a:srgbClr val="000000"/>
                </a:solidFill>
              </a:rPr>
              <a:t> (2019); BGR, </a:t>
            </a:r>
            <a:r>
              <a:rPr lang="en-US" sz="800" dirty="0">
                <a:solidFill>
                  <a:srgbClr val="000000"/>
                </a:solidFill>
                <a:hlinkClick r:id="rId71"/>
              </a:rPr>
              <a:t>Energy Study</a:t>
            </a:r>
            <a:r>
              <a:rPr lang="en-US" sz="800" dirty="0">
                <a:solidFill>
                  <a:srgbClr val="000000"/>
                </a:solidFill>
              </a:rPr>
              <a:t> (2014-2024); </a:t>
            </a:r>
            <a:r>
              <a:rPr lang="en-US" sz="800" dirty="0">
                <a:solidFill>
                  <a:srgbClr val="000000"/>
                </a:solidFill>
                <a:hlinkClick r:id="rId72"/>
              </a:rPr>
              <a:t>International Panel on Fissile Materials </a:t>
            </a:r>
            <a:r>
              <a:rPr lang="en-US" sz="800" dirty="0">
                <a:solidFill>
                  <a:srgbClr val="000000"/>
                </a:solidFill>
              </a:rPr>
              <a:t>(2025).</a:t>
            </a:r>
            <a:endParaRPr lang="en-US" sz="800" dirty="0">
              <a:solidFill>
                <a:srgbClr val="000000"/>
              </a:solidFill>
              <a:cs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3"/>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4"/>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graphicFrame>
        <p:nvGraphicFramePr>
          <p:cNvPr id="84" name="Chart 83"/>
          <p:cNvGraphicFramePr/>
          <p:nvPr>
            <p:custDataLst>
              <p:tags r:id="rId3"/>
            </p:custDataLst>
            <p:extLst>
              <p:ext uri="{D42A27DB-BD31-4B8C-83A1-F6EECF244321}">
                <p14:modId xmlns:p14="http://schemas.microsoft.com/office/powerpoint/2010/main" val="2188704746"/>
              </p:ext>
            </p:extLst>
          </p:nvPr>
        </p:nvGraphicFramePr>
        <p:xfrm>
          <a:off x="1398588" y="2166938"/>
          <a:ext cx="5959475" cy="1809750"/>
        </p:xfrm>
        <a:graphic>
          <a:graphicData uri="http://schemas.openxmlformats.org/drawingml/2006/chart">
            <c:chart xmlns:c="http://schemas.openxmlformats.org/drawingml/2006/chart" xmlns:r="http://schemas.openxmlformats.org/officeDocument/2006/relationships" r:id="rId75"/>
          </a:graphicData>
        </a:graphic>
      </p:graphicFrame>
      <p:sp>
        <p:nvSpPr>
          <p:cNvPr id="80"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auto">
          <a:xfrm>
            <a:off x="1597025" y="3937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36F8F31-AB99-466D-9E7C-FE1526C2A123}" type="datetime'''''''''''20''''''''''''''''1''''''''3'''''''''''''''">
              <a:rPr lang="en-US" altLang="en-US" sz="1000" smtClean="0"/>
              <a:pPr marL="0" lvl="0" indent="0" algn="ctr">
                <a:spcBef>
                  <a:spcPct val="0"/>
                </a:spcBef>
                <a:spcAft>
                  <a:spcPct val="0"/>
                </a:spcAft>
                <a:buNone/>
              </a:pPr>
              <a:t>2013</a:t>
            </a:fld>
            <a:endParaRPr lang="en-US" sz="1000"/>
          </a:p>
        </p:txBody>
      </p:sp>
      <p:sp>
        <p:nvSpPr>
          <p:cNvPr id="82"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2124075" y="3937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F1F0835-7B61-481E-ACBC-2FDE25D92A19}" type="datetime'2''''''01''''''''4'''''''''''''''''">
              <a:rPr lang="en-US" altLang="en-US" sz="1000" smtClean="0"/>
              <a:pPr marL="0" lvl="0" indent="0" algn="ctr">
                <a:spcBef>
                  <a:spcPct val="0"/>
                </a:spcBef>
                <a:spcAft>
                  <a:spcPct val="0"/>
                </a:spcAft>
                <a:buNone/>
              </a:pPr>
              <a:t>2014</a:t>
            </a:fld>
            <a:endParaRPr lang="en-US" sz="1000"/>
          </a:p>
        </p:txBody>
      </p:sp>
      <p:sp>
        <p:nvSpPr>
          <p:cNvPr id="83"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2651125" y="3937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54B657-DD8E-496F-B285-D821643189DF}" type="datetime'''''''''''''''2''''''0''''''1''''''''''''''''''''''''''5'">
              <a:rPr lang="en-US" altLang="en-US" sz="1000" smtClean="0"/>
              <a:pPr marL="0" lvl="0" indent="0" algn="ctr">
                <a:spcBef>
                  <a:spcPct val="0"/>
                </a:spcBef>
                <a:spcAft>
                  <a:spcPct val="0"/>
                </a:spcAft>
                <a:buNone/>
              </a:pPr>
              <a:t>2015</a:t>
            </a:fld>
            <a:endParaRPr lang="en-US" sz="1000"/>
          </a:p>
        </p:txBody>
      </p:sp>
      <p:sp>
        <p:nvSpPr>
          <p:cNvPr id="96" name="Text Placeholder 10">
            <a:extLst>
              <a:ext uri="{FF2B5EF4-FFF2-40B4-BE49-F238E27FC236}">
                <a16:creationId xmlns:a16="http://schemas.microsoft.com/office/drawing/2014/main" id="{C979885F-0232-C17B-F810-7650A29D25EC}"/>
              </a:ext>
            </a:extLst>
          </p:cNvPr>
          <p:cNvSpPr>
            <a:spLocks noGrp="1"/>
          </p:cNvSpPr>
          <p:nvPr>
            <p:custDataLst>
              <p:tags r:id="rId7"/>
            </p:custDataLst>
          </p:nvPr>
        </p:nvSpPr>
        <p:spPr bwMode="auto">
          <a:xfrm>
            <a:off x="3176588" y="3937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26F99B-079D-45B6-A4D4-365963D9A625}" type="datetime'''''''''''''''''''2''''''''0''''''16'''''''''''''''''">
              <a:rPr lang="en-US" altLang="en-US" sz="1000" smtClean="0"/>
              <a:pPr marL="0" lvl="0" indent="0" algn="ctr">
                <a:spcBef>
                  <a:spcPct val="0"/>
                </a:spcBef>
                <a:spcAft>
                  <a:spcPct val="0"/>
                </a:spcAft>
                <a:buNone/>
              </a:pPr>
              <a:t>2016</a:t>
            </a:fld>
            <a:endParaRPr lang="en-US" sz="1000"/>
          </a:p>
        </p:txBody>
      </p:sp>
      <p:sp>
        <p:nvSpPr>
          <p:cNvPr id="97" name="Text Placeholder 10">
            <a:extLst>
              <a:ext uri="{FF2B5EF4-FFF2-40B4-BE49-F238E27FC236}">
                <a16:creationId xmlns:a16="http://schemas.microsoft.com/office/drawing/2014/main" id="{109AF4C0-EAAA-3BC6-8F9A-1C25EEFA40B9}"/>
              </a:ext>
            </a:extLst>
          </p:cNvPr>
          <p:cNvSpPr>
            <a:spLocks noGrp="1"/>
          </p:cNvSpPr>
          <p:nvPr>
            <p:custDataLst>
              <p:tags r:id="rId8"/>
            </p:custDataLst>
          </p:nvPr>
        </p:nvSpPr>
        <p:spPr bwMode="auto">
          <a:xfrm>
            <a:off x="3703638" y="3937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DFD1BE-07FE-4EA9-8CE3-F4CE57E3641E}" type="datetime'''''2''''''''''''''''''''''''''''''0''''''''''''17'''''''''''">
              <a:rPr lang="en-US" altLang="en-US" sz="1000" smtClean="0"/>
              <a:pPr marL="0" lvl="0" indent="0" algn="ctr">
                <a:spcBef>
                  <a:spcPct val="0"/>
                </a:spcBef>
                <a:spcAft>
                  <a:spcPct val="0"/>
                </a:spcAft>
                <a:buNone/>
              </a:pPr>
              <a:t>2017</a:t>
            </a:fld>
            <a:endParaRPr lang="en-US" sz="1000"/>
          </a:p>
        </p:txBody>
      </p:sp>
      <p:sp>
        <p:nvSpPr>
          <p:cNvPr id="98" name="Text Placeholder 10">
            <a:extLst>
              <a:ext uri="{FF2B5EF4-FFF2-40B4-BE49-F238E27FC236}">
                <a16:creationId xmlns:a16="http://schemas.microsoft.com/office/drawing/2014/main" id="{2BB5B4BF-C049-D0F3-41BF-BE1197C64D2C}"/>
              </a:ext>
            </a:extLst>
          </p:cNvPr>
          <p:cNvSpPr>
            <a:spLocks noGrp="1"/>
          </p:cNvSpPr>
          <p:nvPr>
            <p:custDataLst>
              <p:tags r:id="rId9"/>
            </p:custDataLst>
          </p:nvPr>
        </p:nvSpPr>
        <p:spPr bwMode="auto">
          <a:xfrm>
            <a:off x="4230688" y="3937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85A19DE-5059-4720-B59F-78866C085877}" type="datetime'''''''20''''''''''''1''''''''''''''''''''''''''''''''''8'''''">
              <a:rPr lang="en-US" altLang="en-US" sz="1000" smtClean="0"/>
              <a:pPr marL="0" lvl="0" indent="0" algn="ctr">
                <a:spcBef>
                  <a:spcPct val="0"/>
                </a:spcBef>
                <a:spcAft>
                  <a:spcPct val="0"/>
                </a:spcAft>
                <a:buNone/>
              </a:pPr>
              <a:t>2018</a:t>
            </a:fld>
            <a:endParaRPr lang="en-US" sz="1000"/>
          </a:p>
        </p:txBody>
      </p:sp>
      <p:sp>
        <p:nvSpPr>
          <p:cNvPr id="99" name="Text Placeholder 10">
            <a:extLst>
              <a:ext uri="{FF2B5EF4-FFF2-40B4-BE49-F238E27FC236}">
                <a16:creationId xmlns:a16="http://schemas.microsoft.com/office/drawing/2014/main" id="{1B4A27D1-92C7-9837-340A-403D3B3D29F3}"/>
              </a:ext>
            </a:extLst>
          </p:cNvPr>
          <p:cNvSpPr>
            <a:spLocks noGrp="1"/>
          </p:cNvSpPr>
          <p:nvPr>
            <p:custDataLst>
              <p:tags r:id="rId10"/>
            </p:custDataLst>
          </p:nvPr>
        </p:nvSpPr>
        <p:spPr bwMode="auto">
          <a:xfrm>
            <a:off x="4757738" y="3937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5EDCA5C-8606-46EC-8915-74EC65AC0878}" type="datetime'''''''''''''2''''''''''0''''''''''''''''''''''1''''''''9'''">
              <a:rPr lang="en-US" altLang="en-US" sz="1000" smtClean="0"/>
              <a:pPr marL="0" lvl="0" indent="0" algn="ctr">
                <a:spcBef>
                  <a:spcPct val="0"/>
                </a:spcBef>
                <a:spcAft>
                  <a:spcPct val="0"/>
                </a:spcAft>
                <a:buNone/>
              </a:pPr>
              <a:t>2019</a:t>
            </a:fld>
            <a:endParaRPr lang="en-US" sz="1000"/>
          </a:p>
        </p:txBody>
      </p:sp>
      <p:sp>
        <p:nvSpPr>
          <p:cNvPr id="100" name="Text Placeholder 10">
            <a:extLst>
              <a:ext uri="{FF2B5EF4-FFF2-40B4-BE49-F238E27FC236}">
                <a16:creationId xmlns:a16="http://schemas.microsoft.com/office/drawing/2014/main" id="{733E00DE-C397-259A-5E46-44F6E80DE1E9}"/>
              </a:ext>
            </a:extLst>
          </p:cNvPr>
          <p:cNvSpPr>
            <a:spLocks noGrp="1"/>
          </p:cNvSpPr>
          <p:nvPr>
            <p:custDataLst>
              <p:tags r:id="rId11"/>
            </p:custDataLst>
          </p:nvPr>
        </p:nvSpPr>
        <p:spPr bwMode="auto">
          <a:xfrm>
            <a:off x="5260975" y="3937000"/>
            <a:ext cx="3413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93958BA-1769-44DD-A418-F5A6F9C04B86}" type="datetime'''''''''''''''''2''''''''''0''''''2''0'''''">
              <a:rPr lang="en-US" altLang="en-US" sz="1000" smtClean="0"/>
              <a:pPr marL="0" lvl="0" indent="0" algn="ctr">
                <a:spcBef>
                  <a:spcPct val="0"/>
                </a:spcBef>
                <a:spcAft>
                  <a:spcPct val="0"/>
                </a:spcAft>
                <a:buNone/>
              </a:pPr>
              <a:t>2020</a:t>
            </a:fld>
            <a:r>
              <a:rPr lang="en-US" altLang="en-US" sz="1000"/>
              <a:t>*</a:t>
            </a:r>
            <a:endParaRPr lang="en-US" sz="1000"/>
          </a:p>
        </p:txBody>
      </p:sp>
      <p:sp>
        <p:nvSpPr>
          <p:cNvPr id="101" name="Text Placeholder 10">
            <a:extLst>
              <a:ext uri="{FF2B5EF4-FFF2-40B4-BE49-F238E27FC236}">
                <a16:creationId xmlns:a16="http://schemas.microsoft.com/office/drawing/2014/main" id="{74B279A8-AB6C-6792-9A00-927DB855EFF8}"/>
              </a:ext>
            </a:extLst>
          </p:cNvPr>
          <p:cNvSpPr>
            <a:spLocks noGrp="1"/>
          </p:cNvSpPr>
          <p:nvPr>
            <p:custDataLst>
              <p:tags r:id="rId12"/>
            </p:custDataLst>
          </p:nvPr>
        </p:nvSpPr>
        <p:spPr bwMode="auto">
          <a:xfrm>
            <a:off x="5811838" y="3937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869553-EB8F-47E0-9EB4-89EFEB1392DE}" type="datetime'''''''20''''''''''''''''2''''''''''1'">
              <a:rPr lang="en-US" altLang="en-US" sz="1000" smtClean="0"/>
              <a:pPr marL="0" lvl="0" indent="0" algn="ctr">
                <a:spcBef>
                  <a:spcPct val="0"/>
                </a:spcBef>
                <a:spcAft>
                  <a:spcPct val="0"/>
                </a:spcAft>
                <a:buNone/>
              </a:pPr>
              <a:t>2021</a:t>
            </a:fld>
            <a:endParaRPr lang="en-US" sz="1000"/>
          </a:p>
        </p:txBody>
      </p:sp>
      <p:sp>
        <p:nvSpPr>
          <p:cNvPr id="102" name="Text Placeholder 10">
            <a:extLst>
              <a:ext uri="{FF2B5EF4-FFF2-40B4-BE49-F238E27FC236}">
                <a16:creationId xmlns:a16="http://schemas.microsoft.com/office/drawing/2014/main" id="{D99AABA3-42F2-8BB1-148B-3390188E98A2}"/>
              </a:ext>
            </a:extLst>
          </p:cNvPr>
          <p:cNvSpPr>
            <a:spLocks noGrp="1"/>
          </p:cNvSpPr>
          <p:nvPr>
            <p:custDataLst>
              <p:tags r:id="rId13"/>
            </p:custDataLst>
          </p:nvPr>
        </p:nvSpPr>
        <p:spPr bwMode="auto">
          <a:xfrm>
            <a:off x="6337300" y="3937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1EC9DD9-A2DF-462F-80F5-880A37C8CCA9}" type="datetime'''''2''''0''2''''''''''''''''''''''''2'''''''">
              <a:rPr lang="en-US" altLang="en-US" sz="1000" smtClean="0"/>
              <a:pPr marL="0" lvl="0" indent="0" algn="ctr">
                <a:spcBef>
                  <a:spcPct val="0"/>
                </a:spcBef>
                <a:spcAft>
                  <a:spcPct val="0"/>
                </a:spcAft>
                <a:buNone/>
              </a:pPr>
              <a:t>2022</a:t>
            </a:fld>
            <a:endParaRPr lang="en-US" sz="1000"/>
          </a:p>
        </p:txBody>
      </p:sp>
      <p:sp>
        <p:nvSpPr>
          <p:cNvPr id="10" name="Text Placeholder 10">
            <a:extLst>
              <a:ext uri="{FF2B5EF4-FFF2-40B4-BE49-F238E27FC236}">
                <a16:creationId xmlns:a16="http://schemas.microsoft.com/office/drawing/2014/main" id="{5BE7CCBA-C382-22D1-E3E2-9E31C665D6C4}"/>
              </a:ext>
            </a:extLst>
          </p:cNvPr>
          <p:cNvSpPr>
            <a:spLocks noGrp="1"/>
          </p:cNvSpPr>
          <p:nvPr>
            <p:custDataLst>
              <p:tags r:id="rId14"/>
            </p:custDataLst>
          </p:nvPr>
        </p:nvSpPr>
        <p:spPr bwMode="auto">
          <a:xfrm>
            <a:off x="6864350" y="3937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2F88E54-A64D-4417-9F56-E769D71FBCC5}" type="datetime'''''2''''''0''''''''2''''3'''">
              <a:rPr lang="en-US" altLang="en-US" sz="1000" smtClean="0"/>
              <a:pPr marL="0" lvl="0" indent="0" algn="ctr">
                <a:spcBef>
                  <a:spcPct val="0"/>
                </a:spcBef>
                <a:spcAft>
                  <a:spcPct val="0"/>
                </a:spcAft>
                <a:buNone/>
              </a:pPr>
              <a:t>2023</a:t>
            </a:fld>
            <a:endParaRPr lang="en-US" sz="1000"/>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1655763" y="21732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8AC981-3F74-47A8-BB0F-31DFFC3D7DA9}" type="datetime'5''''''''''''''''''''''''''''''''9'">
              <a:rPr lang="en-US" altLang="en-US" sz="1000" smtClean="0"/>
              <a:pPr marL="0" lvl="0" indent="0" algn="ctr">
                <a:spcBef>
                  <a:spcPct val="0"/>
                </a:spcBef>
                <a:spcAft>
                  <a:spcPct val="0"/>
                </a:spcAft>
                <a:buNone/>
              </a:pPr>
              <a:t>59</a:t>
            </a:fld>
            <a:endParaRPr lang="en-US" sz="1000"/>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2182813" y="22574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8B522AD-8C0A-416D-81E4-AB594A38E207}" type="datetime'''''''''''''''5''''''''''''''6'''''''''">
              <a:rPr lang="en-US" altLang="en-US" sz="1000" smtClean="0"/>
              <a:pPr marL="0" lvl="0" indent="0" algn="ctr">
                <a:spcBef>
                  <a:spcPct val="0"/>
                </a:spcBef>
                <a:spcAft>
                  <a:spcPct val="0"/>
                </a:spcAft>
                <a:buNone/>
              </a:pPr>
              <a:t>56</a:t>
            </a:fld>
            <a:endParaRPr lang="en-US" sz="100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2709863" y="21478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DE369F-AFB8-4424-972C-F8ED5C00CEA8}" type="datetime'''''''''6''''''''''0'''">
              <a:rPr lang="en-US" altLang="en-US" sz="1000" smtClean="0"/>
              <a:pPr marL="0" lvl="0" indent="0" algn="ctr">
                <a:spcBef>
                  <a:spcPct val="0"/>
                </a:spcBef>
                <a:spcAft>
                  <a:spcPct val="0"/>
                </a:spcAft>
                <a:buNone/>
              </a:pPr>
              <a:t>60</a:t>
            </a:fld>
            <a:endParaRPr lang="en-US" sz="1000"/>
          </a:p>
        </p:txBody>
      </p:sp>
      <p:sp>
        <p:nvSpPr>
          <p:cNvPr id="109" name="Text Placeholder 10">
            <a:extLst>
              <a:ext uri="{FF2B5EF4-FFF2-40B4-BE49-F238E27FC236}">
                <a16:creationId xmlns:a16="http://schemas.microsoft.com/office/drawing/2014/main" id="{6EC308EA-BB0B-0A96-6E4B-725274241BCA}"/>
              </a:ext>
            </a:extLst>
          </p:cNvPr>
          <p:cNvSpPr>
            <a:spLocks noGrp="1"/>
          </p:cNvSpPr>
          <p:nvPr>
            <p:custDataLst>
              <p:tags r:id="rId18"/>
            </p:custDataLst>
          </p:nvPr>
        </p:nvSpPr>
        <p:spPr bwMode="gray">
          <a:xfrm>
            <a:off x="3235325" y="20716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FD04980-6CF9-480E-9EB9-3161C966E6D6}" type="datetime'''6''''''''''''''''''''''''''''''''''3'''''''''''''''''''">
              <a:rPr lang="en-US" altLang="en-US" sz="1000" smtClean="0"/>
              <a:pPr marL="0" lvl="0" indent="0" algn="ctr">
                <a:spcBef>
                  <a:spcPct val="0"/>
                </a:spcBef>
                <a:spcAft>
                  <a:spcPct val="0"/>
                </a:spcAft>
                <a:buNone/>
              </a:pPr>
              <a:t>63</a:t>
            </a:fld>
            <a:endParaRPr lang="en-US" sz="1000"/>
          </a:p>
        </p:txBody>
      </p:sp>
      <p:sp>
        <p:nvSpPr>
          <p:cNvPr id="111" name="Text Placeholder 10">
            <a:extLst>
              <a:ext uri="{FF2B5EF4-FFF2-40B4-BE49-F238E27FC236}">
                <a16:creationId xmlns:a16="http://schemas.microsoft.com/office/drawing/2014/main" id="{7BCA294C-DA7C-655F-034C-BC4DBD014B92}"/>
              </a:ext>
            </a:extLst>
          </p:cNvPr>
          <p:cNvSpPr>
            <a:spLocks noGrp="1"/>
          </p:cNvSpPr>
          <p:nvPr>
            <p:custDataLst>
              <p:tags r:id="rId19"/>
            </p:custDataLst>
          </p:nvPr>
        </p:nvSpPr>
        <p:spPr bwMode="gray">
          <a:xfrm>
            <a:off x="3762375" y="21415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2E61F46-427F-42E2-956C-9CA2D06A96EE}" type="datetime'''''''''''''''''''''''''''''''''''''''''''''''''''''6''1'''">
              <a:rPr lang="en-US" altLang="en-US" sz="1000" smtClean="0"/>
              <a:pPr marL="0" lvl="0" indent="0" algn="ctr">
                <a:spcBef>
                  <a:spcPct val="0"/>
                </a:spcBef>
                <a:spcAft>
                  <a:spcPct val="0"/>
                </a:spcAft>
                <a:buNone/>
              </a:pPr>
              <a:t>61</a:t>
            </a:fld>
            <a:endParaRPr lang="en-US" sz="1000"/>
          </a:p>
        </p:txBody>
      </p:sp>
      <p:sp>
        <p:nvSpPr>
          <p:cNvPr id="113" name="Text Placeholder 10">
            <a:extLst>
              <a:ext uri="{FF2B5EF4-FFF2-40B4-BE49-F238E27FC236}">
                <a16:creationId xmlns:a16="http://schemas.microsoft.com/office/drawing/2014/main" id="{E45AD808-7841-96C0-4D6A-F42BBC87AB11}"/>
              </a:ext>
            </a:extLst>
          </p:cNvPr>
          <p:cNvSpPr>
            <a:spLocks noGrp="1"/>
          </p:cNvSpPr>
          <p:nvPr>
            <p:custDataLst>
              <p:tags r:id="rId20"/>
            </p:custDataLst>
          </p:nvPr>
        </p:nvSpPr>
        <p:spPr bwMode="gray">
          <a:xfrm>
            <a:off x="4289425" y="2306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AF28319-22BE-4646-8EA3-584D0775B3C7}" type="datetime'''''''''''''''''''''''5''''''''''''''''''4'''''">
              <a:rPr lang="en-US" altLang="en-US" sz="1000" smtClean="0"/>
              <a:pPr marL="0" lvl="0" indent="0" algn="ctr">
                <a:spcBef>
                  <a:spcPct val="0"/>
                </a:spcBef>
                <a:spcAft>
                  <a:spcPct val="0"/>
                </a:spcAft>
                <a:buNone/>
              </a:pPr>
              <a:t>54</a:t>
            </a:fld>
            <a:endParaRPr lang="en-US" sz="1000"/>
          </a:p>
        </p:txBody>
      </p:sp>
      <p:sp>
        <p:nvSpPr>
          <p:cNvPr id="115" name="Text Placeholder 10">
            <a:extLst>
              <a:ext uri="{FF2B5EF4-FFF2-40B4-BE49-F238E27FC236}">
                <a16:creationId xmlns:a16="http://schemas.microsoft.com/office/drawing/2014/main" id="{71ECEAD9-C239-3AEC-202D-D0BA34EC601A}"/>
              </a:ext>
            </a:extLst>
          </p:cNvPr>
          <p:cNvSpPr>
            <a:spLocks noGrp="1"/>
          </p:cNvSpPr>
          <p:nvPr>
            <p:custDataLst>
              <p:tags r:id="rId21"/>
            </p:custDataLst>
          </p:nvPr>
        </p:nvSpPr>
        <p:spPr bwMode="gray">
          <a:xfrm>
            <a:off x="4816475" y="2292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B5B886-71DB-40A5-AD56-011AFF151BEF}" type="datetime'''''''''''''''''''''''''''''55'''''''''''''''''''">
              <a:rPr lang="en-US" altLang="en-US" sz="1000" smtClean="0"/>
              <a:pPr marL="0" lvl="0" indent="0" algn="ctr">
                <a:spcBef>
                  <a:spcPct val="0"/>
                </a:spcBef>
                <a:spcAft>
                  <a:spcPct val="0"/>
                </a:spcAft>
                <a:buNone/>
              </a:pPr>
              <a:t>55</a:t>
            </a:fld>
            <a:endParaRPr lang="en-US" sz="1000"/>
          </a:p>
        </p:txBody>
      </p:sp>
      <p:sp>
        <p:nvSpPr>
          <p:cNvPr id="117" name="Text Placeholder 10">
            <a:extLst>
              <a:ext uri="{FF2B5EF4-FFF2-40B4-BE49-F238E27FC236}">
                <a16:creationId xmlns:a16="http://schemas.microsoft.com/office/drawing/2014/main" id="{67E1197C-F30A-F128-F5E1-36DCBF6808D9}"/>
              </a:ext>
            </a:extLst>
          </p:cNvPr>
          <p:cNvSpPr>
            <a:spLocks noGrp="1"/>
          </p:cNvSpPr>
          <p:nvPr>
            <p:custDataLst>
              <p:tags r:id="rId22"/>
            </p:custDataLst>
          </p:nvPr>
        </p:nvSpPr>
        <p:spPr bwMode="gray">
          <a:xfrm>
            <a:off x="5343525" y="2474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573B588-A277-4A50-87E3-C73453AA8874}" type="datetime'''''4''''''''8'''''''''''''''''''''''''''''''''''''''''''">
              <a:rPr lang="en-US" altLang="en-US" sz="1000" smtClean="0"/>
              <a:pPr marL="0" lvl="0" indent="0" algn="ctr">
                <a:spcBef>
                  <a:spcPct val="0"/>
                </a:spcBef>
                <a:spcAft>
                  <a:spcPct val="0"/>
                </a:spcAft>
                <a:buNone/>
              </a:pPr>
              <a:t>48</a:t>
            </a:fld>
            <a:endParaRPr lang="en-US" sz="1000"/>
          </a:p>
        </p:txBody>
      </p:sp>
      <p:sp>
        <p:nvSpPr>
          <p:cNvPr id="119" name="Text Placeholder 10">
            <a:extLst>
              <a:ext uri="{FF2B5EF4-FFF2-40B4-BE49-F238E27FC236}">
                <a16:creationId xmlns:a16="http://schemas.microsoft.com/office/drawing/2014/main" id="{C5BDA3CD-BED1-1CCE-64E1-A50A42B17363}"/>
              </a:ext>
            </a:extLst>
          </p:cNvPr>
          <p:cNvSpPr>
            <a:spLocks noGrp="1"/>
          </p:cNvSpPr>
          <p:nvPr>
            <p:custDataLst>
              <p:tags r:id="rId23"/>
            </p:custDataLst>
          </p:nvPr>
        </p:nvSpPr>
        <p:spPr bwMode="gray">
          <a:xfrm>
            <a:off x="5870575" y="24717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9A308EF-5F48-45C2-9FF3-6BA6BDAD2614}" type="datetime'''''''''4''''''''''''''''''''''''''''''''''''''''''''8'">
              <a:rPr lang="en-US" altLang="en-US" sz="1000" smtClean="0"/>
              <a:pPr marL="0" lvl="0" indent="0" algn="ctr">
                <a:spcBef>
                  <a:spcPct val="0"/>
                </a:spcBef>
                <a:spcAft>
                  <a:spcPct val="0"/>
                </a:spcAft>
                <a:buNone/>
              </a:pPr>
              <a:t>48</a:t>
            </a:fld>
            <a:endParaRPr lang="en-US" sz="1000"/>
          </a:p>
        </p:txBody>
      </p:sp>
      <p:sp>
        <p:nvSpPr>
          <p:cNvPr id="121" name="Text Placeholder 10">
            <a:extLst>
              <a:ext uri="{FF2B5EF4-FFF2-40B4-BE49-F238E27FC236}">
                <a16:creationId xmlns:a16="http://schemas.microsoft.com/office/drawing/2014/main" id="{865AC7BA-4F08-2FE0-8B1F-89456D4E14EF}"/>
              </a:ext>
            </a:extLst>
          </p:cNvPr>
          <p:cNvSpPr>
            <a:spLocks noGrp="1"/>
          </p:cNvSpPr>
          <p:nvPr>
            <p:custDataLst>
              <p:tags r:id="rId24"/>
            </p:custDataLst>
          </p:nvPr>
        </p:nvSpPr>
        <p:spPr bwMode="gray">
          <a:xfrm>
            <a:off x="6396038" y="24320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2241527-594B-4D80-9B05-9957C90583DB}" type="datetime'''''''''''4''''9'''''''''''''''''''''''">
              <a:rPr lang="en-US" altLang="en-US" sz="1000" smtClean="0"/>
              <a:pPr marL="0" lvl="0" indent="0" algn="ctr">
                <a:spcBef>
                  <a:spcPct val="0"/>
                </a:spcBef>
                <a:spcAft>
                  <a:spcPct val="0"/>
                </a:spcAft>
                <a:buNone/>
              </a:pPr>
              <a:t>49</a:t>
            </a:fld>
            <a:endParaRPr lang="en-US" sz="1000"/>
          </a:p>
        </p:txBody>
      </p:sp>
      <p:sp>
        <p:nvSpPr>
          <p:cNvPr id="16" name="Text Placeholder 10">
            <a:extLst>
              <a:ext uri="{FF2B5EF4-FFF2-40B4-BE49-F238E27FC236}">
                <a16:creationId xmlns:a16="http://schemas.microsoft.com/office/drawing/2014/main" id="{766836A1-3454-912C-46FD-8E2053D87DFE}"/>
              </a:ext>
            </a:extLst>
          </p:cNvPr>
          <p:cNvSpPr>
            <a:spLocks noGrp="1"/>
          </p:cNvSpPr>
          <p:nvPr>
            <p:custDataLst>
              <p:tags r:id="rId25"/>
            </p:custDataLst>
          </p:nvPr>
        </p:nvSpPr>
        <p:spPr bwMode="gray">
          <a:xfrm>
            <a:off x="6923088" y="22748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03BD5C-F673-4543-99ED-416FFB45BEF4}" type="datetime'''''''''''5''''''''''''''''''''''''5'''''''''''">
              <a:rPr lang="en-US" altLang="en-US" sz="1000" smtClean="0"/>
              <a:pPr marL="0" lvl="0" indent="0" algn="ctr">
                <a:spcBef>
                  <a:spcPct val="0"/>
                </a:spcBef>
                <a:spcAft>
                  <a:spcPct val="0"/>
                </a:spcAft>
                <a:buNone/>
              </a:pPr>
              <a:t>55</a:t>
            </a:fld>
            <a:endParaRPr lang="en-US" sz="1000"/>
          </a:p>
        </p:txBody>
      </p:sp>
      <p:sp>
        <p:nvSpPr>
          <p:cNvPr id="22" name="Rectangle 21">
            <a:extLst>
              <a:ext uri="{FF2B5EF4-FFF2-40B4-BE49-F238E27FC236}">
                <a16:creationId xmlns:a16="http://schemas.microsoft.com/office/drawing/2014/main" id="{4F7D8133-526A-C90E-5F6B-420855D8A2A7}"/>
              </a:ext>
            </a:extLst>
          </p:cNvPr>
          <p:cNvSpPr/>
          <p:nvPr>
            <p:custDataLst>
              <p:tags r:id="rId26"/>
            </p:custDataLst>
          </p:nvPr>
        </p:nvSpPr>
        <p:spPr bwMode="auto">
          <a:xfrm>
            <a:off x="7335838" y="2489200"/>
            <a:ext cx="214313" cy="160338"/>
          </a:xfrm>
          <a:prstGeom prst="rect">
            <a:avLst/>
          </a:prstGeom>
          <a:solidFill>
            <a:srgbClr val="C0C0C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6" name="Rectangle 435">
            <a:extLst>
              <a:ext uri="{FF2B5EF4-FFF2-40B4-BE49-F238E27FC236}">
                <a16:creationId xmlns:a16="http://schemas.microsoft.com/office/drawing/2014/main" id="{65B4C80C-C281-0648-74C3-96BA400E412C}"/>
              </a:ext>
            </a:extLst>
          </p:cNvPr>
          <p:cNvSpPr/>
          <p:nvPr>
            <p:custDataLst>
              <p:tags r:id="rId27"/>
            </p:custDataLst>
          </p:nvPr>
        </p:nvSpPr>
        <p:spPr bwMode="auto">
          <a:xfrm>
            <a:off x="7335838" y="2722563"/>
            <a:ext cx="214313" cy="160338"/>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4" name="Rectangle 433">
            <a:extLst>
              <a:ext uri="{FF2B5EF4-FFF2-40B4-BE49-F238E27FC236}">
                <a16:creationId xmlns:a16="http://schemas.microsoft.com/office/drawing/2014/main" id="{3D27BF63-FBC7-A2AF-7DFF-ADA828FA624B}"/>
              </a:ext>
            </a:extLst>
          </p:cNvPr>
          <p:cNvSpPr/>
          <p:nvPr>
            <p:custDataLst>
              <p:tags r:id="rId28"/>
            </p:custDataLst>
          </p:nvPr>
        </p:nvSpPr>
        <p:spPr bwMode="auto">
          <a:xfrm>
            <a:off x="7335838" y="2955925"/>
            <a:ext cx="214313" cy="160338"/>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3" name="Rectangle 432">
            <a:extLst>
              <a:ext uri="{FF2B5EF4-FFF2-40B4-BE49-F238E27FC236}">
                <a16:creationId xmlns:a16="http://schemas.microsoft.com/office/drawing/2014/main" id="{C8789175-73E4-6925-C959-9ED94ADAAE06}"/>
              </a:ext>
            </a:extLst>
          </p:cNvPr>
          <p:cNvSpPr/>
          <p:nvPr>
            <p:custDataLst>
              <p:tags r:id="rId29"/>
            </p:custDataLst>
          </p:nvPr>
        </p:nvSpPr>
        <p:spPr bwMode="auto">
          <a:xfrm>
            <a:off x="7335838" y="3189288"/>
            <a:ext cx="214313" cy="160338"/>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2" name="Rectangle 431">
            <a:extLst>
              <a:ext uri="{FF2B5EF4-FFF2-40B4-BE49-F238E27FC236}">
                <a16:creationId xmlns:a16="http://schemas.microsoft.com/office/drawing/2014/main" id="{8C114716-EE9B-A6BF-AAA0-A54B287CD185}"/>
              </a:ext>
            </a:extLst>
          </p:cNvPr>
          <p:cNvSpPr/>
          <p:nvPr>
            <p:custDataLst>
              <p:tags r:id="rId30"/>
            </p:custDataLst>
          </p:nvPr>
        </p:nvSpPr>
        <p:spPr bwMode="auto">
          <a:xfrm>
            <a:off x="7335838" y="3422650"/>
            <a:ext cx="214313" cy="160338"/>
          </a:xfrm>
          <a:prstGeom prst="rect">
            <a:avLst/>
          </a:prstGeom>
          <a:solidFill>
            <a:srgbClr val="364D6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1" name="Rectangle 430">
            <a:extLst>
              <a:ext uri="{FF2B5EF4-FFF2-40B4-BE49-F238E27FC236}">
                <a16:creationId xmlns:a16="http://schemas.microsoft.com/office/drawing/2014/main" id="{48675860-47A5-27F5-6D2C-0433C280B526}"/>
              </a:ext>
            </a:extLst>
          </p:cNvPr>
          <p:cNvSpPr/>
          <p:nvPr>
            <p:custDataLst>
              <p:tags r:id="rId31"/>
            </p:custDataLst>
          </p:nvPr>
        </p:nvSpPr>
        <p:spPr bwMode="auto">
          <a:xfrm>
            <a:off x="7335838" y="3656013"/>
            <a:ext cx="214313" cy="160338"/>
          </a:xfrm>
          <a:prstGeom prst="rect">
            <a:avLst/>
          </a:prstGeom>
          <a:solidFill>
            <a:srgbClr val="00777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 name="Text Placeholder 10">
            <a:extLst>
              <a:ext uri="{FF2B5EF4-FFF2-40B4-BE49-F238E27FC236}">
                <a16:creationId xmlns:a16="http://schemas.microsoft.com/office/drawing/2014/main" id="{51DCB593-1260-902C-2FA2-293B57D069C8}"/>
              </a:ext>
            </a:extLst>
          </p:cNvPr>
          <p:cNvSpPr>
            <a:spLocks noGrp="1"/>
          </p:cNvSpPr>
          <p:nvPr>
            <p:custDataLst>
              <p:tags r:id="rId32"/>
            </p:custDataLst>
          </p:nvPr>
        </p:nvSpPr>
        <p:spPr bwMode="auto">
          <a:xfrm>
            <a:off x="7600950" y="248443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CE1EAE9-1FBD-40C3-AE08-346F61E2EB28}" type="datetime'''''O''''''''''''''''''''''th''''''''''e''''''''''''''''''r'">
              <a:rPr lang="en-US" altLang="en-US" sz="1200" smtClean="0"/>
              <a:pPr marL="0" lvl="0" indent="0">
                <a:spcBef>
                  <a:spcPct val="0"/>
                </a:spcBef>
                <a:spcAft>
                  <a:spcPct val="0"/>
                </a:spcAft>
                <a:buNone/>
              </a:pPr>
              <a:t>Other</a:t>
            </a:fld>
            <a:endParaRPr lang="en-US" sz="1200"/>
          </a:p>
        </p:txBody>
      </p:sp>
      <p:sp>
        <p:nvSpPr>
          <p:cNvPr id="106" name="Text Placeholder 10">
            <a:extLst>
              <a:ext uri="{FF2B5EF4-FFF2-40B4-BE49-F238E27FC236}">
                <a16:creationId xmlns:a16="http://schemas.microsoft.com/office/drawing/2014/main" id="{F295A738-9FFD-348A-78F7-9C2CDF9ABE50}"/>
              </a:ext>
            </a:extLst>
          </p:cNvPr>
          <p:cNvSpPr>
            <a:spLocks noGrp="1"/>
          </p:cNvSpPr>
          <p:nvPr>
            <p:custDataLst>
              <p:tags r:id="rId33"/>
            </p:custDataLst>
          </p:nvPr>
        </p:nvSpPr>
        <p:spPr bwMode="auto">
          <a:xfrm>
            <a:off x="7600950" y="2717800"/>
            <a:ext cx="827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B485C80-63D1-467A-A431-675234188F2C}" type="datetime'''''R''u''''''''s''''''''''''''s''i''''''a'''''''">
              <a:rPr lang="en-US" altLang="en-US" sz="1200" smtClean="0"/>
              <a:pPr marL="0" lvl="0" indent="0">
                <a:spcBef>
                  <a:spcPct val="0"/>
                </a:spcBef>
                <a:spcAft>
                  <a:spcPct val="0"/>
                </a:spcAft>
                <a:buNone/>
              </a:pPr>
              <a:t>Russia</a:t>
            </a:fld>
            <a:r>
              <a:rPr lang="en-US" altLang="en-US" sz="1200"/>
              <a:t> (8%)</a:t>
            </a:r>
            <a:endParaRPr lang="en-US" sz="1200"/>
          </a:p>
        </p:txBody>
      </p:sp>
      <p:sp>
        <p:nvSpPr>
          <p:cNvPr id="104" name="Text Placeholder 10">
            <a:extLst>
              <a:ext uri="{FF2B5EF4-FFF2-40B4-BE49-F238E27FC236}">
                <a16:creationId xmlns:a16="http://schemas.microsoft.com/office/drawing/2014/main" id="{F914A9C6-410E-4078-F848-00DD8E4C0D88}"/>
              </a:ext>
            </a:extLst>
          </p:cNvPr>
          <p:cNvSpPr>
            <a:spLocks noGrp="1"/>
          </p:cNvSpPr>
          <p:nvPr>
            <p:custDataLst>
              <p:tags r:id="rId34"/>
            </p:custDataLst>
          </p:nvPr>
        </p:nvSpPr>
        <p:spPr bwMode="auto">
          <a:xfrm>
            <a:off x="7600950" y="2951163"/>
            <a:ext cx="1038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DD504B1-277D-4A7A-98D9-1395789304E6}" type="datetime'Au''''''st''''''''''''''''''ra''''''''l''i''''a'''">
              <a:rPr lang="en-US" altLang="en-US" sz="1200" smtClean="0"/>
              <a:pPr marL="0" lvl="0" indent="0">
                <a:spcBef>
                  <a:spcPct val="0"/>
                </a:spcBef>
                <a:spcAft>
                  <a:spcPct val="0"/>
                </a:spcAft>
                <a:buNone/>
              </a:pPr>
              <a:t>Australia</a:t>
            </a:fld>
            <a:r>
              <a:rPr lang="en-US" altLang="en-US" sz="1200"/>
              <a:t> (28%)</a:t>
            </a:r>
            <a:endParaRPr lang="en-US" sz="1200"/>
          </a:p>
        </p:txBody>
      </p:sp>
      <p:sp>
        <p:nvSpPr>
          <p:cNvPr id="103" name="Text Placeholder 10">
            <a:extLst>
              <a:ext uri="{FF2B5EF4-FFF2-40B4-BE49-F238E27FC236}">
                <a16:creationId xmlns:a16="http://schemas.microsoft.com/office/drawing/2014/main" id="{039E69A7-F1A2-078D-21BD-1603B654CB6E}"/>
              </a:ext>
            </a:extLst>
          </p:cNvPr>
          <p:cNvSpPr>
            <a:spLocks noGrp="1"/>
          </p:cNvSpPr>
          <p:nvPr>
            <p:custDataLst>
              <p:tags r:id="rId35"/>
            </p:custDataLst>
          </p:nvPr>
        </p:nvSpPr>
        <p:spPr bwMode="auto">
          <a:xfrm>
            <a:off x="7600950" y="3184525"/>
            <a:ext cx="9191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CB003B9-E562-42AE-A818-416F425B09CD}" type="datetime'N''''''''''am''''''''''''''i''b''''i''''''''''''''a'''''''''''">
              <a:rPr lang="en-US" altLang="en-US" sz="1200" smtClean="0"/>
              <a:pPr marL="0" lvl="0" indent="0">
                <a:spcBef>
                  <a:spcPct val="0"/>
                </a:spcBef>
                <a:spcAft>
                  <a:spcPct val="0"/>
                </a:spcAft>
                <a:buNone/>
              </a:pPr>
              <a:t>Namibia</a:t>
            </a:fld>
            <a:r>
              <a:rPr lang="en-US" altLang="en-US" sz="1200"/>
              <a:t> (7%)</a:t>
            </a:r>
            <a:endParaRPr lang="en-US" sz="1200"/>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7600950" y="3417888"/>
            <a:ext cx="893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E67279F-6038-410F-BA14-9677E10A658E}" type="datetime'''''''''''''C''''''''a''''''''n''''''''a''''''''d''''''''''a'">
              <a:rPr lang="en-US" altLang="en-US" sz="1200" smtClean="0"/>
              <a:pPr marL="0" lvl="0" indent="0">
                <a:spcBef>
                  <a:spcPct val="0"/>
                </a:spcBef>
                <a:spcAft>
                  <a:spcPct val="0"/>
                </a:spcAft>
                <a:buNone/>
              </a:pPr>
              <a:t>Canada</a:t>
            </a:fld>
            <a:r>
              <a:rPr lang="en-US" altLang="en-US" sz="1200"/>
              <a:t> (9%)</a:t>
            </a:r>
            <a:endParaRPr lang="en-US" sz="1200"/>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7600950" y="3651250"/>
            <a:ext cx="1241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C24E9A1-D010-4E30-95E6-6FED5742E773}" type="datetime'''''K''''az''a''''k''''''hs''t''''''an'''''''''''''''''">
              <a:rPr lang="en-US" altLang="en-US" sz="1200" smtClean="0"/>
              <a:pPr marL="0" lvl="0" indent="0">
                <a:spcBef>
                  <a:spcPct val="0"/>
                </a:spcBef>
                <a:spcAft>
                  <a:spcPct val="0"/>
                </a:spcAft>
                <a:buNone/>
              </a:pPr>
              <a:t>Kazakhstan</a:t>
            </a:fld>
            <a:r>
              <a:rPr lang="en-US" altLang="en-US" sz="1200"/>
              <a:t> (15%)</a:t>
            </a:r>
            <a:endParaRPr lang="en-US" sz="1200"/>
          </a:p>
        </p:txBody>
      </p:sp>
      <p:graphicFrame>
        <p:nvGraphicFramePr>
          <p:cNvPr id="90" name="Chart 89"/>
          <p:cNvGraphicFramePr/>
          <p:nvPr>
            <p:custDataLst>
              <p:tags r:id="rId38"/>
            </p:custDataLst>
            <p:extLst>
              <p:ext uri="{D42A27DB-BD31-4B8C-83A1-F6EECF244321}">
                <p14:modId xmlns:p14="http://schemas.microsoft.com/office/powerpoint/2010/main" val="3223387616"/>
              </p:ext>
            </p:extLst>
          </p:nvPr>
        </p:nvGraphicFramePr>
        <p:xfrm>
          <a:off x="1398588" y="4062413"/>
          <a:ext cx="5959475" cy="1809750"/>
        </p:xfrm>
        <a:graphic>
          <a:graphicData uri="http://schemas.openxmlformats.org/drawingml/2006/chart">
            <c:chart xmlns:c="http://schemas.openxmlformats.org/drawingml/2006/chart" xmlns:r="http://schemas.openxmlformats.org/officeDocument/2006/relationships" r:id="rId76"/>
          </a:graphicData>
        </a:graphic>
      </p:graphicFrame>
      <p:sp>
        <p:nvSpPr>
          <p:cNvPr id="453" name="Text Placeholder 10">
            <a:extLst>
              <a:ext uri="{FF2B5EF4-FFF2-40B4-BE49-F238E27FC236}">
                <a16:creationId xmlns:a16="http://schemas.microsoft.com/office/drawing/2014/main" id="{B4B54472-90D5-F421-0BFC-F5FFD58B924D}"/>
              </a:ext>
            </a:extLst>
          </p:cNvPr>
          <p:cNvSpPr>
            <a:spLocks noGrp="1"/>
          </p:cNvSpPr>
          <p:nvPr>
            <p:custDataLst>
              <p:tags r:id="rId39"/>
            </p:custDataLst>
          </p:nvPr>
        </p:nvSpPr>
        <p:spPr bwMode="gray">
          <a:xfrm>
            <a:off x="1655763" y="5737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889ED3-E6F8-48D8-935C-94D5EC75656F}" type="datetime'''6''5'''''''''''''''''''''''''''''''''">
              <a:rPr lang="en-US" altLang="en-US" sz="1000" smtClean="0"/>
              <a:pPr marL="0" lvl="0" indent="0" algn="ctr">
                <a:spcBef>
                  <a:spcPct val="0"/>
                </a:spcBef>
                <a:spcAft>
                  <a:spcPct val="0"/>
                </a:spcAft>
                <a:buNone/>
              </a:pPr>
              <a:t>65</a:t>
            </a:fld>
            <a:endParaRPr lang="en-US" sz="1000"/>
          </a:p>
        </p:txBody>
      </p:sp>
      <p:sp>
        <p:nvSpPr>
          <p:cNvPr id="454" name="Text Placeholder 10">
            <a:extLst>
              <a:ext uri="{FF2B5EF4-FFF2-40B4-BE49-F238E27FC236}">
                <a16:creationId xmlns:a16="http://schemas.microsoft.com/office/drawing/2014/main" id="{89762BF0-B4ED-0F9A-3546-D4324E34D6CD}"/>
              </a:ext>
            </a:extLst>
          </p:cNvPr>
          <p:cNvSpPr>
            <a:spLocks noGrp="1"/>
          </p:cNvSpPr>
          <p:nvPr>
            <p:custDataLst>
              <p:tags r:id="rId40"/>
            </p:custDataLst>
          </p:nvPr>
        </p:nvSpPr>
        <p:spPr bwMode="gray">
          <a:xfrm>
            <a:off x="2182813" y="57578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9D01100-E061-412C-BB72-BEC4A62F9D4F}" type="datetime'''6''''6'''''''''''''''">
              <a:rPr lang="en-US" altLang="en-US" sz="1000" smtClean="0"/>
              <a:pPr marL="0" lvl="0" indent="0" algn="ctr">
                <a:spcBef>
                  <a:spcPct val="0"/>
                </a:spcBef>
                <a:spcAft>
                  <a:spcPct val="0"/>
                </a:spcAft>
                <a:buNone/>
              </a:pPr>
              <a:t>66</a:t>
            </a:fld>
            <a:endParaRPr lang="en-US" sz="1000"/>
          </a:p>
        </p:txBody>
      </p:sp>
      <p:sp>
        <p:nvSpPr>
          <p:cNvPr id="455" name="Text Placeholder 10">
            <a:extLst>
              <a:ext uri="{FF2B5EF4-FFF2-40B4-BE49-F238E27FC236}">
                <a16:creationId xmlns:a16="http://schemas.microsoft.com/office/drawing/2014/main" id="{5759EA12-5E0F-0127-9178-ED2E30FE7CD6}"/>
              </a:ext>
            </a:extLst>
          </p:cNvPr>
          <p:cNvSpPr>
            <a:spLocks noGrp="1"/>
          </p:cNvSpPr>
          <p:nvPr>
            <p:custDataLst>
              <p:tags r:id="rId41"/>
            </p:custDataLst>
          </p:nvPr>
        </p:nvSpPr>
        <p:spPr bwMode="gray">
          <a:xfrm>
            <a:off x="2709863" y="57816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45026EE-D020-4FFC-89F7-6F70C2DD448B}" type="datetime'6''''''''''''''''''''''''''''''''''''''''''''''''''''''7'''">
              <a:rPr lang="en-US" altLang="en-US" sz="1000" smtClean="0"/>
              <a:pPr marL="0" lvl="0" indent="0" algn="ctr">
                <a:spcBef>
                  <a:spcPct val="0"/>
                </a:spcBef>
                <a:spcAft>
                  <a:spcPct val="0"/>
                </a:spcAft>
                <a:buNone/>
              </a:pPr>
              <a:t>67</a:t>
            </a:fld>
            <a:endParaRPr lang="en-US" sz="1000"/>
          </a:p>
        </p:txBody>
      </p:sp>
      <p:sp>
        <p:nvSpPr>
          <p:cNvPr id="456" name="Text Placeholder 10">
            <a:extLst>
              <a:ext uri="{FF2B5EF4-FFF2-40B4-BE49-F238E27FC236}">
                <a16:creationId xmlns:a16="http://schemas.microsoft.com/office/drawing/2014/main" id="{08104866-4793-B876-D9BE-D4200F71A63B}"/>
              </a:ext>
            </a:extLst>
          </p:cNvPr>
          <p:cNvSpPr>
            <a:spLocks noGrp="1"/>
          </p:cNvSpPr>
          <p:nvPr>
            <p:custDataLst>
              <p:tags r:id="rId42"/>
            </p:custDataLst>
          </p:nvPr>
        </p:nvSpPr>
        <p:spPr bwMode="gray">
          <a:xfrm>
            <a:off x="3235325" y="56975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727EEA-3D14-4811-AA67-4774E2F1AA2D}" type="datetime'''''''''''''''6''''''''''''3'''''''''''''''''''''''''''''''">
              <a:rPr lang="en-US" altLang="en-US" sz="1000" smtClean="0"/>
              <a:pPr marL="0" lvl="0" indent="0" algn="ctr">
                <a:spcBef>
                  <a:spcPct val="0"/>
                </a:spcBef>
                <a:spcAft>
                  <a:spcPct val="0"/>
                </a:spcAft>
                <a:buNone/>
              </a:pPr>
              <a:t>63</a:t>
            </a:fld>
            <a:endParaRPr lang="en-US" sz="1000"/>
          </a:p>
        </p:txBody>
      </p:sp>
      <p:sp>
        <p:nvSpPr>
          <p:cNvPr id="457" name="Text Placeholder 10">
            <a:extLst>
              <a:ext uri="{FF2B5EF4-FFF2-40B4-BE49-F238E27FC236}">
                <a16:creationId xmlns:a16="http://schemas.microsoft.com/office/drawing/2014/main" id="{85AD643D-895F-7000-101E-F3FB26519B7D}"/>
              </a:ext>
            </a:extLst>
          </p:cNvPr>
          <p:cNvSpPr>
            <a:spLocks noGrp="1"/>
          </p:cNvSpPr>
          <p:nvPr>
            <p:custDataLst>
              <p:tags r:id="rId43"/>
            </p:custDataLst>
          </p:nvPr>
        </p:nvSpPr>
        <p:spPr bwMode="gray">
          <a:xfrm>
            <a:off x="3762375" y="5737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0C3B55-75DC-4FFA-B2FA-23A76EC3A2D8}" type="datetime'''''''''''''''''''''''''''''''''''6''''5'''''''''''''''''">
              <a:rPr lang="en-US" altLang="en-US" sz="1000" smtClean="0"/>
              <a:pPr marL="0" lvl="0" indent="0" algn="ctr">
                <a:spcBef>
                  <a:spcPct val="0"/>
                </a:spcBef>
                <a:spcAft>
                  <a:spcPct val="0"/>
                </a:spcAft>
                <a:buNone/>
              </a:pPr>
              <a:t>65</a:t>
            </a:fld>
            <a:endParaRPr lang="en-US" sz="1000"/>
          </a:p>
        </p:txBody>
      </p:sp>
      <p:sp>
        <p:nvSpPr>
          <p:cNvPr id="458" name="Text Placeholder 10">
            <a:extLst>
              <a:ext uri="{FF2B5EF4-FFF2-40B4-BE49-F238E27FC236}">
                <a16:creationId xmlns:a16="http://schemas.microsoft.com/office/drawing/2014/main" id="{AEDD2520-D954-4103-39EA-885829D8648C}"/>
              </a:ext>
            </a:extLst>
          </p:cNvPr>
          <p:cNvSpPr>
            <a:spLocks noGrp="1"/>
          </p:cNvSpPr>
          <p:nvPr>
            <p:custDataLst>
              <p:tags r:id="rId44"/>
            </p:custDataLst>
          </p:nvPr>
        </p:nvSpPr>
        <p:spPr bwMode="gray">
          <a:xfrm>
            <a:off x="4289425" y="5789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FE0ADD-6B3C-4D17-9881-80B49C07691E}" type="datetime'''''''6''7'''''''''''''''''''''''''''">
              <a:rPr lang="en-US" altLang="en-US" sz="1000" smtClean="0"/>
              <a:pPr marL="0" lvl="0" indent="0" algn="ctr">
                <a:spcBef>
                  <a:spcPct val="0"/>
                </a:spcBef>
                <a:spcAft>
                  <a:spcPct val="0"/>
                </a:spcAft>
                <a:buNone/>
              </a:pPr>
              <a:t>67</a:t>
            </a:fld>
            <a:endParaRPr lang="en-US" sz="1000"/>
          </a:p>
        </p:txBody>
      </p:sp>
      <p:sp>
        <p:nvSpPr>
          <p:cNvPr id="459" name="Text Placeholder 10">
            <a:extLst>
              <a:ext uri="{FF2B5EF4-FFF2-40B4-BE49-F238E27FC236}">
                <a16:creationId xmlns:a16="http://schemas.microsoft.com/office/drawing/2014/main" id="{DBE0625D-A247-90D1-D101-DB9C3128BEA9}"/>
              </a:ext>
            </a:extLst>
          </p:cNvPr>
          <p:cNvSpPr>
            <a:spLocks noGrp="1"/>
          </p:cNvSpPr>
          <p:nvPr>
            <p:custDataLst>
              <p:tags r:id="rId45"/>
            </p:custDataLst>
          </p:nvPr>
        </p:nvSpPr>
        <p:spPr bwMode="gray">
          <a:xfrm>
            <a:off x="4816475" y="58150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67FFE55-DD08-4B53-BB74-8A37B05271E7}" type="datetime'''''''''''''''''''''''''''''''''6''''''''''''''''''''8'''''''">
              <a:rPr lang="en-US" altLang="en-US" sz="1000" smtClean="0"/>
              <a:pPr marL="0" lvl="0" indent="0" algn="ctr">
                <a:spcBef>
                  <a:spcPct val="0"/>
                </a:spcBef>
                <a:spcAft>
                  <a:spcPct val="0"/>
                </a:spcAft>
                <a:buNone/>
              </a:pPr>
              <a:t>68</a:t>
            </a:fld>
            <a:endParaRPr lang="en-US" sz="1000"/>
          </a:p>
        </p:txBody>
      </p:sp>
      <p:sp>
        <p:nvSpPr>
          <p:cNvPr id="460" name="Text Placeholder 10">
            <a:extLst>
              <a:ext uri="{FF2B5EF4-FFF2-40B4-BE49-F238E27FC236}">
                <a16:creationId xmlns:a16="http://schemas.microsoft.com/office/drawing/2014/main" id="{0B7BF3AA-90D8-9615-7E2F-419538809F96}"/>
              </a:ext>
            </a:extLst>
          </p:cNvPr>
          <p:cNvSpPr>
            <a:spLocks noGrp="1"/>
          </p:cNvSpPr>
          <p:nvPr>
            <p:custDataLst>
              <p:tags r:id="rId46"/>
            </p:custDataLst>
          </p:nvPr>
        </p:nvSpPr>
        <p:spPr bwMode="gray">
          <a:xfrm>
            <a:off x="5343525" y="57451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7159480-D72A-46DA-9957-7C88F54B507F}" type="datetime'''''''''6''''''''''''''''''5'''''''''''''">
              <a:rPr lang="en-US" altLang="en-US" sz="1000" smtClean="0"/>
              <a:pPr marL="0" lvl="0" indent="0" algn="ctr">
                <a:spcBef>
                  <a:spcPct val="0"/>
                </a:spcBef>
                <a:spcAft>
                  <a:spcPct val="0"/>
                </a:spcAft>
                <a:buNone/>
              </a:pPr>
              <a:t>65</a:t>
            </a:fld>
            <a:endParaRPr lang="en-US" sz="1000"/>
          </a:p>
        </p:txBody>
      </p:sp>
      <p:sp>
        <p:nvSpPr>
          <p:cNvPr id="461" name="Text Placeholder 10">
            <a:extLst>
              <a:ext uri="{FF2B5EF4-FFF2-40B4-BE49-F238E27FC236}">
                <a16:creationId xmlns:a16="http://schemas.microsoft.com/office/drawing/2014/main" id="{88A27D3C-91BB-56D3-B831-1C2DAEBA84BF}"/>
              </a:ext>
            </a:extLst>
          </p:cNvPr>
          <p:cNvSpPr>
            <a:spLocks noGrp="1"/>
          </p:cNvSpPr>
          <p:nvPr>
            <p:custDataLst>
              <p:tags r:id="rId47"/>
            </p:custDataLst>
          </p:nvPr>
        </p:nvSpPr>
        <p:spPr bwMode="gray">
          <a:xfrm>
            <a:off x="5870575" y="56753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5FE960-35AA-4C91-B1C8-988F56611740}" type="datetime'''''''''''''''''''''''''''''6''''3'''''''''''''">
              <a:rPr lang="en-US" altLang="en-US" sz="1000" smtClean="0"/>
              <a:pPr marL="0" lvl="0" indent="0" algn="ctr">
                <a:spcBef>
                  <a:spcPct val="0"/>
                </a:spcBef>
                <a:spcAft>
                  <a:spcPct val="0"/>
                </a:spcAft>
                <a:buNone/>
              </a:pPr>
              <a:t>63</a:t>
            </a:fld>
            <a:endParaRPr lang="en-US" sz="1000"/>
          </a:p>
        </p:txBody>
      </p:sp>
      <p:sp>
        <p:nvSpPr>
          <p:cNvPr id="462" name="Text Placeholder 10">
            <a:extLst>
              <a:ext uri="{FF2B5EF4-FFF2-40B4-BE49-F238E27FC236}">
                <a16:creationId xmlns:a16="http://schemas.microsoft.com/office/drawing/2014/main" id="{09AA09D8-001F-EAD3-99EE-3F8DA92CFF3E}"/>
              </a:ext>
            </a:extLst>
          </p:cNvPr>
          <p:cNvSpPr>
            <a:spLocks noGrp="1"/>
          </p:cNvSpPr>
          <p:nvPr>
            <p:custDataLst>
              <p:tags r:id="rId48"/>
            </p:custDataLst>
          </p:nvPr>
        </p:nvSpPr>
        <p:spPr bwMode="gray">
          <a:xfrm>
            <a:off x="6396038" y="57515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4D559D-0565-44C3-9F40-E6F1ED5EDB58}" type="datetime'''''6''''''''''''''''''''''''''''6'''''''">
              <a:rPr lang="en-US" altLang="en-US" sz="1000" smtClean="0"/>
              <a:pPr marL="0" lvl="0" indent="0" algn="ctr">
                <a:spcBef>
                  <a:spcPct val="0"/>
                </a:spcBef>
                <a:spcAft>
                  <a:spcPct val="0"/>
                </a:spcAft>
                <a:buNone/>
              </a:pPr>
              <a:t>66</a:t>
            </a:fld>
            <a:endParaRPr lang="en-US" sz="1000"/>
          </a:p>
        </p:txBody>
      </p:sp>
      <p:sp>
        <p:nvSpPr>
          <p:cNvPr id="50" name="Text Placeholder 10">
            <a:extLst>
              <a:ext uri="{FF2B5EF4-FFF2-40B4-BE49-F238E27FC236}">
                <a16:creationId xmlns:a16="http://schemas.microsoft.com/office/drawing/2014/main" id="{8BE05B79-AC37-77B3-2D05-CCB6BBC42DC4}"/>
              </a:ext>
            </a:extLst>
          </p:cNvPr>
          <p:cNvSpPr>
            <a:spLocks noGrp="1"/>
          </p:cNvSpPr>
          <p:nvPr>
            <p:custDataLst>
              <p:tags r:id="rId49"/>
            </p:custDataLst>
          </p:nvPr>
        </p:nvSpPr>
        <p:spPr bwMode="gray">
          <a:xfrm>
            <a:off x="6923088" y="57975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75ECAE7-6599-469D-88EB-4077655A4FB4}" type="datetime'''''''''''''''''''''''6''''''''''''''''8'''''''''''''''''">
              <a:rPr lang="en-US" altLang="en-US" sz="1000" smtClean="0"/>
              <a:pPr marL="0" lvl="0" indent="0" algn="ctr">
                <a:spcBef>
                  <a:spcPct val="0"/>
                </a:spcBef>
                <a:spcAft>
                  <a:spcPct val="0"/>
                </a:spcAft>
                <a:buNone/>
              </a:pPr>
              <a:t>68</a:t>
            </a:fld>
            <a:endParaRPr lang="en-US" sz="1000"/>
          </a:p>
        </p:txBody>
      </p:sp>
      <p:sp>
        <p:nvSpPr>
          <p:cNvPr id="463" name="Rectangle 462">
            <a:extLst>
              <a:ext uri="{FF2B5EF4-FFF2-40B4-BE49-F238E27FC236}">
                <a16:creationId xmlns:a16="http://schemas.microsoft.com/office/drawing/2014/main" id="{E690933B-26B2-0CF5-50F0-C32DDF365D3B}"/>
              </a:ext>
            </a:extLst>
          </p:cNvPr>
          <p:cNvSpPr/>
          <p:nvPr>
            <p:custDataLst>
              <p:tags r:id="rId50"/>
            </p:custDataLst>
          </p:nvPr>
        </p:nvSpPr>
        <p:spPr bwMode="auto">
          <a:xfrm>
            <a:off x="7335838" y="4210050"/>
            <a:ext cx="214313" cy="160338"/>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4" name="Rectangle 463">
            <a:extLst>
              <a:ext uri="{FF2B5EF4-FFF2-40B4-BE49-F238E27FC236}">
                <a16:creationId xmlns:a16="http://schemas.microsoft.com/office/drawing/2014/main" id="{171A9C2A-B0A0-8BEF-A7A0-26DE7F8BC847}"/>
              </a:ext>
            </a:extLst>
          </p:cNvPr>
          <p:cNvSpPr/>
          <p:nvPr>
            <p:custDataLst>
              <p:tags r:id="rId51"/>
            </p:custDataLst>
          </p:nvPr>
        </p:nvSpPr>
        <p:spPr bwMode="auto">
          <a:xfrm>
            <a:off x="7335838" y="4443413"/>
            <a:ext cx="214313" cy="160338"/>
          </a:xfrm>
          <a:prstGeom prst="rect">
            <a:avLst/>
          </a:prstGeom>
          <a:solidFill>
            <a:srgbClr val="004FD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5" name="Rectangle 464">
            <a:extLst>
              <a:ext uri="{FF2B5EF4-FFF2-40B4-BE49-F238E27FC236}">
                <a16:creationId xmlns:a16="http://schemas.microsoft.com/office/drawing/2014/main" id="{1CCF2E11-F57F-70B4-864A-F0EDA4FB0C69}"/>
              </a:ext>
            </a:extLst>
          </p:cNvPr>
          <p:cNvSpPr/>
          <p:nvPr>
            <p:custDataLst>
              <p:tags r:id="rId52"/>
            </p:custDataLst>
          </p:nvPr>
        </p:nvSpPr>
        <p:spPr bwMode="auto">
          <a:xfrm>
            <a:off x="7335838" y="4676775"/>
            <a:ext cx="214313" cy="160338"/>
          </a:xfrm>
          <a:prstGeom prst="rect">
            <a:avLst/>
          </a:prstGeom>
          <a:solidFill>
            <a:srgbClr val="C3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6" name="Rectangle 465">
            <a:extLst>
              <a:ext uri="{FF2B5EF4-FFF2-40B4-BE49-F238E27FC236}">
                <a16:creationId xmlns:a16="http://schemas.microsoft.com/office/drawing/2014/main" id="{EEDC98AB-7A9C-86F2-57D8-D9A7EB48271A}"/>
              </a:ext>
            </a:extLst>
          </p:cNvPr>
          <p:cNvSpPr/>
          <p:nvPr>
            <p:custDataLst>
              <p:tags r:id="rId53"/>
            </p:custDataLst>
          </p:nvPr>
        </p:nvSpPr>
        <p:spPr bwMode="auto">
          <a:xfrm>
            <a:off x="7335838" y="4910138"/>
            <a:ext cx="214313" cy="160338"/>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7" name="Rectangle 466">
            <a:extLst>
              <a:ext uri="{FF2B5EF4-FFF2-40B4-BE49-F238E27FC236}">
                <a16:creationId xmlns:a16="http://schemas.microsoft.com/office/drawing/2014/main" id="{0F66E495-37A7-0F4C-C246-54A98E82C036}"/>
              </a:ext>
            </a:extLst>
          </p:cNvPr>
          <p:cNvSpPr/>
          <p:nvPr>
            <p:custDataLst>
              <p:tags r:id="rId54"/>
            </p:custDataLst>
          </p:nvPr>
        </p:nvSpPr>
        <p:spPr bwMode="auto">
          <a:xfrm>
            <a:off x="7335838" y="5143500"/>
            <a:ext cx="214313" cy="160338"/>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8" name="Rectangle 467">
            <a:extLst>
              <a:ext uri="{FF2B5EF4-FFF2-40B4-BE49-F238E27FC236}">
                <a16:creationId xmlns:a16="http://schemas.microsoft.com/office/drawing/2014/main" id="{30B413BE-EF8A-E469-8F92-3576CD0E593B}"/>
              </a:ext>
            </a:extLst>
          </p:cNvPr>
          <p:cNvSpPr/>
          <p:nvPr>
            <p:custDataLst>
              <p:tags r:id="rId55"/>
            </p:custDataLst>
          </p:nvPr>
        </p:nvSpPr>
        <p:spPr bwMode="auto">
          <a:xfrm>
            <a:off x="7335838" y="5376863"/>
            <a:ext cx="214313" cy="160338"/>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70" name="Rectangle 469">
            <a:extLst>
              <a:ext uri="{FF2B5EF4-FFF2-40B4-BE49-F238E27FC236}">
                <a16:creationId xmlns:a16="http://schemas.microsoft.com/office/drawing/2014/main" id="{EE2371E8-B0DD-D427-C20E-E850E521B475}"/>
              </a:ext>
            </a:extLst>
          </p:cNvPr>
          <p:cNvSpPr/>
          <p:nvPr>
            <p:custDataLst>
              <p:tags r:id="rId56"/>
            </p:custDataLst>
          </p:nvPr>
        </p:nvSpPr>
        <p:spPr bwMode="auto">
          <a:xfrm>
            <a:off x="7335838" y="5610225"/>
            <a:ext cx="214313" cy="160338"/>
          </a:xfrm>
          <a:prstGeom prst="rect">
            <a:avLst/>
          </a:prstGeom>
          <a:solidFill>
            <a:srgbClr val="C0C0C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71" name="Text Placeholder 10">
            <a:extLst>
              <a:ext uri="{FF2B5EF4-FFF2-40B4-BE49-F238E27FC236}">
                <a16:creationId xmlns:a16="http://schemas.microsoft.com/office/drawing/2014/main" id="{223CBC41-E118-FF82-379F-C65EE591A5BB}"/>
              </a:ext>
            </a:extLst>
          </p:cNvPr>
          <p:cNvSpPr>
            <a:spLocks noGrp="1"/>
          </p:cNvSpPr>
          <p:nvPr>
            <p:custDataLst>
              <p:tags r:id="rId57"/>
            </p:custDataLst>
          </p:nvPr>
        </p:nvSpPr>
        <p:spPr bwMode="auto">
          <a:xfrm>
            <a:off x="7600950" y="4205288"/>
            <a:ext cx="676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21A0FF6-DAB8-47D0-9B2B-2025A76D5E44}" type="datetime'''''''U''''''''''''''''''''S''''''''''''''''''A'''''''''''''''">
              <a:rPr lang="en-US" altLang="en-US" sz="1200" smtClean="0"/>
              <a:pPr marL="0" lvl="0" indent="0">
                <a:spcBef>
                  <a:spcPct val="0"/>
                </a:spcBef>
                <a:spcAft>
                  <a:spcPct val="0"/>
                </a:spcAft>
                <a:buNone/>
              </a:pPr>
              <a:t>USA</a:t>
            </a:fld>
            <a:r>
              <a:rPr lang="en-US" altLang="en-US" sz="1200"/>
              <a:t> (1%)</a:t>
            </a:r>
            <a:endParaRPr lang="en-US" sz="1200"/>
          </a:p>
        </p:txBody>
      </p:sp>
      <p:sp>
        <p:nvSpPr>
          <p:cNvPr id="472" name="Text Placeholder 10">
            <a:extLst>
              <a:ext uri="{FF2B5EF4-FFF2-40B4-BE49-F238E27FC236}">
                <a16:creationId xmlns:a16="http://schemas.microsoft.com/office/drawing/2014/main" id="{44E5196F-39B8-BF9D-6CD6-244D7AB4C793}"/>
              </a:ext>
            </a:extLst>
          </p:cNvPr>
          <p:cNvSpPr>
            <a:spLocks noGrp="1"/>
          </p:cNvSpPr>
          <p:nvPr>
            <p:custDataLst>
              <p:tags r:id="rId58"/>
            </p:custDataLst>
          </p:nvPr>
        </p:nvSpPr>
        <p:spPr bwMode="auto">
          <a:xfrm>
            <a:off x="7600950" y="4438650"/>
            <a:ext cx="941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D4A9003-5A2D-4ADF-8A67-F4ECBD3DD039}" type="datetime'E''''''''''u''''r''''''''''''''''''ope'''''''">
              <a:rPr lang="en-US" altLang="en-US" sz="1200" smtClean="0"/>
              <a:pPr marL="0" lvl="0" indent="0">
                <a:spcBef>
                  <a:spcPct val="0"/>
                </a:spcBef>
                <a:spcAft>
                  <a:spcPct val="0"/>
                </a:spcAft>
                <a:buNone/>
              </a:pPr>
              <a:t>Europe</a:t>
            </a:fld>
            <a:r>
              <a:rPr lang="en-US" altLang="en-US" sz="1200"/>
              <a:t> (&lt;1%)</a:t>
            </a:r>
            <a:endParaRPr lang="en-US" sz="1200"/>
          </a:p>
        </p:txBody>
      </p:sp>
      <p:sp>
        <p:nvSpPr>
          <p:cNvPr id="473" name="Text Placeholder 10">
            <a:extLst>
              <a:ext uri="{FF2B5EF4-FFF2-40B4-BE49-F238E27FC236}">
                <a16:creationId xmlns:a16="http://schemas.microsoft.com/office/drawing/2014/main" id="{9A7B7D7E-DA42-D6EF-92A4-78E70033A162}"/>
              </a:ext>
            </a:extLst>
          </p:cNvPr>
          <p:cNvSpPr>
            <a:spLocks noGrp="1"/>
          </p:cNvSpPr>
          <p:nvPr>
            <p:custDataLst>
              <p:tags r:id="rId59"/>
            </p:custDataLst>
          </p:nvPr>
        </p:nvSpPr>
        <p:spPr bwMode="auto">
          <a:xfrm>
            <a:off x="7600950" y="4672013"/>
            <a:ext cx="758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BED9A10-8B12-40B8-AA0E-EE606ADD1068}" type="datetime'''''''''''''Ch''''ina'''''''''''''''''">
              <a:rPr lang="en-US" altLang="en-US" sz="1200" smtClean="0"/>
              <a:pPr marL="0" lvl="0" indent="0">
                <a:spcBef>
                  <a:spcPct val="0"/>
                </a:spcBef>
                <a:spcAft>
                  <a:spcPct val="0"/>
                </a:spcAft>
                <a:buNone/>
              </a:pPr>
              <a:t>China</a:t>
            </a:fld>
            <a:r>
              <a:rPr lang="en-US" altLang="en-US" sz="1200"/>
              <a:t> (4%)</a:t>
            </a:r>
            <a:endParaRPr lang="en-US" sz="1200"/>
          </a:p>
        </p:txBody>
      </p:sp>
      <p:sp>
        <p:nvSpPr>
          <p:cNvPr id="474" name="Text Placeholder 10">
            <a:extLst>
              <a:ext uri="{FF2B5EF4-FFF2-40B4-BE49-F238E27FC236}">
                <a16:creationId xmlns:a16="http://schemas.microsoft.com/office/drawing/2014/main" id="{09015DD9-17B4-CD1E-2A98-A153F81B747A}"/>
              </a:ext>
            </a:extLst>
          </p:cNvPr>
          <p:cNvSpPr>
            <a:spLocks noGrp="1"/>
          </p:cNvSpPr>
          <p:nvPr>
            <p:custDataLst>
              <p:tags r:id="rId60"/>
            </p:custDataLst>
          </p:nvPr>
        </p:nvSpPr>
        <p:spPr bwMode="auto">
          <a:xfrm>
            <a:off x="7600950" y="4905375"/>
            <a:ext cx="827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BA17DF7-E9CA-42B2-846C-D9E2C66CD7CC}" type="datetime'R''''''''''''''u''''''''''''''''''''''''s''''''''''si''''a'">
              <a:rPr lang="en-US" altLang="en-US" sz="1200" smtClean="0"/>
              <a:pPr marL="0" lvl="0" indent="0">
                <a:spcBef>
                  <a:spcPct val="0"/>
                </a:spcBef>
                <a:spcAft>
                  <a:spcPct val="0"/>
                </a:spcAft>
                <a:buNone/>
              </a:pPr>
              <a:t>Russia</a:t>
            </a:fld>
            <a:r>
              <a:rPr lang="en-US" altLang="en-US" sz="1200"/>
              <a:t> (8%)</a:t>
            </a:r>
            <a:endParaRPr lang="en-US" sz="1200"/>
          </a:p>
        </p:txBody>
      </p:sp>
      <p:sp>
        <p:nvSpPr>
          <p:cNvPr id="478" name="Text Placeholder 10">
            <a:extLst>
              <a:ext uri="{FF2B5EF4-FFF2-40B4-BE49-F238E27FC236}">
                <a16:creationId xmlns:a16="http://schemas.microsoft.com/office/drawing/2014/main" id="{E05C91BF-956A-38B4-91D1-C0AF17C765CA}"/>
              </a:ext>
            </a:extLst>
          </p:cNvPr>
          <p:cNvSpPr>
            <a:spLocks noGrp="1"/>
          </p:cNvSpPr>
          <p:nvPr>
            <p:custDataLst>
              <p:tags r:id="rId61"/>
            </p:custDataLst>
          </p:nvPr>
        </p:nvSpPr>
        <p:spPr bwMode="auto">
          <a:xfrm>
            <a:off x="7600950" y="5138738"/>
            <a:ext cx="811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9D3B88-CD9A-4C24-8A93-473C32ECB84A}" type="datetime'Ko''''r''e''''a'''''''''''','' ''R''e''''''''''p''''''.'">
              <a:rPr lang="en-US" altLang="en-US" sz="1200" smtClean="0"/>
              <a:pPr marL="0" lvl="0" indent="0">
                <a:spcBef>
                  <a:spcPct val="0"/>
                </a:spcBef>
                <a:spcAft>
                  <a:spcPct val="0"/>
                </a:spcAft>
                <a:buNone/>
              </a:pPr>
              <a:t>Korea, Rep.</a:t>
            </a:fld>
            <a:endParaRPr lang="en-US" sz="1200"/>
          </a:p>
        </p:txBody>
      </p:sp>
      <p:sp>
        <p:nvSpPr>
          <p:cNvPr id="477" name="Text Placeholder 10">
            <a:extLst>
              <a:ext uri="{FF2B5EF4-FFF2-40B4-BE49-F238E27FC236}">
                <a16:creationId xmlns:a16="http://schemas.microsoft.com/office/drawing/2014/main" id="{8CDDF87B-1B8C-C413-2021-F42E8DB7E328}"/>
              </a:ext>
            </a:extLst>
          </p:cNvPr>
          <p:cNvSpPr>
            <a:spLocks noGrp="1"/>
          </p:cNvSpPr>
          <p:nvPr>
            <p:custDataLst>
              <p:tags r:id="rId62"/>
            </p:custDataLst>
          </p:nvPr>
        </p:nvSpPr>
        <p:spPr bwMode="auto">
          <a:xfrm>
            <a:off x="7600950" y="5372100"/>
            <a:ext cx="412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51FD5D1-242D-4065-BD4B-5D6B5686FB22}" type="datetime'J''''''''''ap''''''''''''''''''''''''a''''''''''''''n'''">
              <a:rPr lang="en-US" altLang="en-US" sz="1200" smtClean="0"/>
              <a:pPr marL="0" lvl="0" indent="0">
                <a:spcBef>
                  <a:spcPct val="0"/>
                </a:spcBef>
                <a:spcAft>
                  <a:spcPct val="0"/>
                </a:spcAft>
                <a:buNone/>
              </a:pPr>
              <a:t>Japan</a:t>
            </a:fld>
            <a:endParaRPr lang="en-US" sz="1200"/>
          </a:p>
        </p:txBody>
      </p:sp>
      <p:sp>
        <p:nvSpPr>
          <p:cNvPr id="475" name="Text Placeholder 10">
            <a:extLst>
              <a:ext uri="{FF2B5EF4-FFF2-40B4-BE49-F238E27FC236}">
                <a16:creationId xmlns:a16="http://schemas.microsoft.com/office/drawing/2014/main" id="{FBB2B928-0553-6A3A-1AB2-B0F7FAD1312E}"/>
              </a:ext>
            </a:extLst>
          </p:cNvPr>
          <p:cNvSpPr>
            <a:spLocks noGrp="1"/>
          </p:cNvSpPr>
          <p:nvPr>
            <p:custDataLst>
              <p:tags r:id="rId63"/>
            </p:custDataLst>
          </p:nvPr>
        </p:nvSpPr>
        <p:spPr bwMode="auto">
          <a:xfrm>
            <a:off x="7600950" y="5605463"/>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50DF63C-6B30-493A-9058-E193977B3842}" type="datetime'O''t''''h''''''''''''''''''''''''e''''''''''''''''r'''''''''">
              <a:rPr lang="en-US" altLang="en-US" sz="1200" smtClean="0"/>
              <a:pPr marL="0" lvl="0" indent="0">
                <a:spcBef>
                  <a:spcPct val="0"/>
                </a:spcBef>
                <a:spcAft>
                  <a:spcPct val="0"/>
                </a:spcAft>
                <a:buNone/>
              </a:pPr>
              <a:t>Other</a:t>
            </a:fld>
            <a:endParaRPr lang="en-US" sz="1200"/>
          </a:p>
        </p:txBody>
      </p:sp>
      <p:sp>
        <p:nvSpPr>
          <p:cNvPr id="494" name="btfpColumnHeaderBoxText223027">
            <a:extLst>
              <a:ext uri="{FF2B5EF4-FFF2-40B4-BE49-F238E27FC236}">
                <a16:creationId xmlns:a16="http://schemas.microsoft.com/office/drawing/2014/main" id="{E90852EF-FF8A-6CFA-3CC2-E924772F2381}"/>
              </a:ext>
            </a:extLst>
          </p:cNvPr>
          <p:cNvSpPr txBox="1"/>
          <p:nvPr/>
        </p:nvSpPr>
        <p:spPr bwMode="gray">
          <a:xfrm>
            <a:off x="329184" y="1554480"/>
            <a:ext cx="7732890"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Global uranium production and consumption, </a:t>
            </a:r>
            <a:r>
              <a:rPr lang="en-US" sz="1400">
                <a:solidFill>
                  <a:srgbClr val="000000"/>
                </a:solidFill>
              </a:rPr>
              <a:t>kt, 2013-2023</a:t>
            </a:r>
            <a:endParaRPr lang="en-US" sz="1400" b="1">
              <a:solidFill>
                <a:srgbClr val="000000"/>
              </a:solidFill>
            </a:endParaRPr>
          </a:p>
        </p:txBody>
      </p:sp>
      <p:cxnSp>
        <p:nvCxnSpPr>
          <p:cNvPr id="495" name="btfpColumnHeaderBoxLine223027">
            <a:extLst>
              <a:ext uri="{FF2B5EF4-FFF2-40B4-BE49-F238E27FC236}">
                <a16:creationId xmlns:a16="http://schemas.microsoft.com/office/drawing/2014/main" id="{2648C528-0443-91B3-BB03-0548F060A09C}"/>
              </a:ext>
            </a:extLst>
          </p:cNvPr>
          <p:cNvCxnSpPr>
            <a:cxnSpLocks/>
          </p:cNvCxnSpPr>
          <p:nvPr/>
        </p:nvCxnSpPr>
        <p:spPr bwMode="gray">
          <a:xfrm>
            <a:off x="329184" y="1827870"/>
            <a:ext cx="856626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98" name="btfpColumnHeaderBoxText223027">
            <a:extLst>
              <a:ext uri="{FF2B5EF4-FFF2-40B4-BE49-F238E27FC236}">
                <a16:creationId xmlns:a16="http://schemas.microsoft.com/office/drawing/2014/main" id="{632C5690-F5E9-F606-98A9-04A0A1CB33B4}"/>
              </a:ext>
            </a:extLst>
          </p:cNvPr>
          <p:cNvSpPr txBox="1"/>
          <p:nvPr/>
        </p:nvSpPr>
        <p:spPr bwMode="gray">
          <a:xfrm>
            <a:off x="404484" y="2822575"/>
            <a:ext cx="1076654" cy="258763"/>
          </a:xfrm>
          <a:prstGeom prst="rect">
            <a:avLst/>
          </a:prstGeom>
          <a:noFill/>
        </p:spPr>
        <p:txBody>
          <a:bodyPr vert="horz" wrap="square" lIns="36036" tIns="36036" rIns="36036" bIns="36036" rtlCol="0" anchor="b">
            <a:spAutoFit/>
          </a:bodyPr>
          <a:lstStyle/>
          <a:p>
            <a:pPr marL="0" indent="0">
              <a:spcBef>
                <a:spcPts val="0"/>
              </a:spcBef>
              <a:buNone/>
            </a:pPr>
            <a:r>
              <a:rPr lang="en-US" sz="1200" b="1">
                <a:solidFill>
                  <a:srgbClr val="000000"/>
                </a:solidFill>
              </a:rPr>
              <a:t>Production</a:t>
            </a:r>
          </a:p>
        </p:txBody>
      </p:sp>
      <p:sp>
        <p:nvSpPr>
          <p:cNvPr id="499" name="btfpColumnHeaderBoxText223027">
            <a:extLst>
              <a:ext uri="{FF2B5EF4-FFF2-40B4-BE49-F238E27FC236}">
                <a16:creationId xmlns:a16="http://schemas.microsoft.com/office/drawing/2014/main" id="{CD4D636F-7A7F-4804-D5BF-8048D87FA7E0}"/>
              </a:ext>
            </a:extLst>
          </p:cNvPr>
          <p:cNvSpPr txBox="1"/>
          <p:nvPr/>
        </p:nvSpPr>
        <p:spPr bwMode="gray">
          <a:xfrm>
            <a:off x="404484" y="4757738"/>
            <a:ext cx="1076654" cy="257175"/>
          </a:xfrm>
          <a:prstGeom prst="rect">
            <a:avLst/>
          </a:prstGeom>
          <a:noFill/>
        </p:spPr>
        <p:txBody>
          <a:bodyPr vert="horz" wrap="square" lIns="36036" tIns="36036" rIns="36036" bIns="36036" rtlCol="0" anchor="b">
            <a:spAutoFit/>
          </a:bodyPr>
          <a:lstStyle/>
          <a:p>
            <a:pPr marL="0" indent="0">
              <a:spcBef>
                <a:spcPts val="0"/>
              </a:spcBef>
              <a:buNone/>
            </a:pPr>
            <a:r>
              <a:rPr lang="en-US" sz="1200" b="1">
                <a:solidFill>
                  <a:srgbClr val="000000"/>
                </a:solidFill>
              </a:rPr>
              <a:t>Consumption</a:t>
            </a:r>
          </a:p>
        </p:txBody>
      </p:sp>
      <p:sp>
        <p:nvSpPr>
          <p:cNvPr id="503" name="btfpColumnHeaderBoxText223027">
            <a:extLst>
              <a:ext uri="{FF2B5EF4-FFF2-40B4-BE49-F238E27FC236}">
                <a16:creationId xmlns:a16="http://schemas.microsoft.com/office/drawing/2014/main" id="{2042C295-8ECF-DCC6-2716-006500C0381E}"/>
              </a:ext>
            </a:extLst>
          </p:cNvPr>
          <p:cNvSpPr txBox="1"/>
          <p:nvPr/>
        </p:nvSpPr>
        <p:spPr bwMode="gray">
          <a:xfrm>
            <a:off x="7296153" y="1935163"/>
            <a:ext cx="1707864" cy="441325"/>
          </a:xfrm>
          <a:prstGeom prst="rect">
            <a:avLst/>
          </a:prstGeom>
          <a:noFill/>
        </p:spPr>
        <p:txBody>
          <a:bodyPr vert="horz" wrap="square" lIns="36036" tIns="36036" rIns="36036" bIns="36036" rtlCol="0" anchor="b">
            <a:spAutoFit/>
          </a:bodyPr>
          <a:lstStyle/>
          <a:p>
            <a:pPr marL="0" indent="0">
              <a:spcBef>
                <a:spcPts val="0"/>
              </a:spcBef>
              <a:buNone/>
            </a:pPr>
            <a:r>
              <a:rPr lang="en-US" sz="1200">
                <a:solidFill>
                  <a:srgbClr val="000000"/>
                </a:solidFill>
              </a:rPr>
              <a:t>Countries (% of global natural resources)</a:t>
            </a:r>
          </a:p>
        </p:txBody>
      </p:sp>
      <p:sp>
        <p:nvSpPr>
          <p:cNvPr id="497" name="Speech Bubble: Rectangle 496">
            <a:extLst>
              <a:ext uri="{FF2B5EF4-FFF2-40B4-BE49-F238E27FC236}">
                <a16:creationId xmlns:a16="http://schemas.microsoft.com/office/drawing/2014/main" id="{34DFC953-7B82-9EC5-E3E3-54E7F513362B}"/>
              </a:ext>
            </a:extLst>
          </p:cNvPr>
          <p:cNvSpPr/>
          <p:nvPr/>
        </p:nvSpPr>
        <p:spPr bwMode="gray">
          <a:xfrm>
            <a:off x="2329565" y="4291013"/>
            <a:ext cx="1572273" cy="555625"/>
          </a:xfrm>
          <a:prstGeom prst="wedgeRectCallout">
            <a:avLst>
              <a:gd name="adj1" fmla="val 64101"/>
              <a:gd name="adj2" fmla="val 63474"/>
            </a:avLst>
          </a:prstGeom>
          <a:solidFill>
            <a:srgbClr val="004F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rgbClr val="FFFFFF"/>
                </a:solidFill>
              </a:rPr>
              <a:t>Europe has decreased its consumption by ~30% over the past decade.</a:t>
            </a:r>
          </a:p>
        </p:txBody>
      </p:sp>
      <p:sp>
        <p:nvSpPr>
          <p:cNvPr id="508" name="Speech Bubble: Rectangle 507">
            <a:extLst>
              <a:ext uri="{FF2B5EF4-FFF2-40B4-BE49-F238E27FC236}">
                <a16:creationId xmlns:a16="http://schemas.microsoft.com/office/drawing/2014/main" id="{7F625FB8-AF16-6D5A-6A98-B1954B76C95D}"/>
              </a:ext>
            </a:extLst>
          </p:cNvPr>
          <p:cNvSpPr/>
          <p:nvPr/>
        </p:nvSpPr>
        <p:spPr bwMode="gray">
          <a:xfrm>
            <a:off x="1876037" y="3168650"/>
            <a:ext cx="2608891" cy="674688"/>
          </a:xfrm>
          <a:prstGeom prst="wedgeRectCallout">
            <a:avLst>
              <a:gd name="adj1" fmla="val 65244"/>
              <a:gd name="adj2" fmla="val -34326"/>
            </a:avLst>
          </a:prstGeom>
          <a:solidFill>
            <a:srgbClr val="364D6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rgbClr val="FFFFFF"/>
                </a:solidFill>
              </a:rPr>
              <a:t>Uranium suppliers are stable, although Canadian supply decreased between 2020 and 2022 when McArthur River Mine was closed due to low uranium prices.</a:t>
            </a:r>
          </a:p>
        </p:txBody>
      </p:sp>
      <p:sp>
        <p:nvSpPr>
          <p:cNvPr id="509" name="Speech Bubble: Rectangle 508">
            <a:extLst>
              <a:ext uri="{FF2B5EF4-FFF2-40B4-BE49-F238E27FC236}">
                <a16:creationId xmlns:a16="http://schemas.microsoft.com/office/drawing/2014/main" id="{83F4D61F-5DB0-3F1F-BDF5-1F4F8F3996C4}"/>
              </a:ext>
            </a:extLst>
          </p:cNvPr>
          <p:cNvSpPr/>
          <p:nvPr/>
        </p:nvSpPr>
        <p:spPr bwMode="gray">
          <a:xfrm>
            <a:off x="5466652" y="4476750"/>
            <a:ext cx="1106424" cy="557213"/>
          </a:xfrm>
          <a:prstGeom prst="wedgeRectCallout">
            <a:avLst>
              <a:gd name="adj1" fmla="val 64101"/>
              <a:gd name="adj2" fmla="val 63474"/>
            </a:avLst>
          </a:prstGeom>
          <a:solidFill>
            <a:srgbClr val="C30C3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rgbClr val="FFFFFF"/>
                </a:solidFill>
              </a:rPr>
              <a:t>China increased consumption by 2x since 2013.</a:t>
            </a:r>
          </a:p>
        </p:txBody>
      </p:sp>
      <p:sp>
        <p:nvSpPr>
          <p:cNvPr id="5" name="TextBox 4">
            <a:extLst>
              <a:ext uri="{FF2B5EF4-FFF2-40B4-BE49-F238E27FC236}">
                <a16:creationId xmlns:a16="http://schemas.microsoft.com/office/drawing/2014/main" id="{323F0EA2-EE19-B121-A19E-8C1A084AAC05}"/>
              </a:ext>
            </a:extLst>
          </p:cNvPr>
          <p:cNvSpPr txBox="1"/>
          <p:nvPr/>
        </p:nvSpPr>
        <p:spPr bwMode="gray">
          <a:xfrm>
            <a:off x="1597" y="0"/>
            <a:ext cx="2926080" cy="382208"/>
          </a:xfrm>
          <a:prstGeom prst="rect">
            <a:avLst/>
          </a:prstGeom>
          <a:solidFill>
            <a:schemeClr val="accent5"/>
          </a:solidFill>
          <a:ln w="6350">
            <a:noFill/>
            <a:prstDash val="solid"/>
          </a:ln>
        </p:spPr>
        <p:txBody>
          <a:bodyPr wrap="square" lIns="91440" tIns="91440" rIns="91440" bIns="91440" rtlCol="0" anchor="ctr">
            <a:noAutofit/>
          </a:bodyPr>
          <a:lstStyle/>
          <a:p>
            <a:pPr marL="0" indent="0" algn="ctr">
              <a:spcAft>
                <a:spcPts val="600"/>
              </a:spcAft>
              <a:buNone/>
            </a:pPr>
            <a:r>
              <a:rPr lang="en-US" sz="1200" b="1">
                <a:solidFill>
                  <a:schemeClr val="bg1"/>
                </a:solidFill>
              </a:rPr>
              <a:t>Deep dive: Uranium</a:t>
            </a:r>
          </a:p>
        </p:txBody>
      </p:sp>
    </p:spTree>
    <p:extLst>
      <p:ext uri="{BB962C8B-B14F-4D97-AF65-F5344CB8AC3E}">
        <p14:creationId xmlns:p14="http://schemas.microsoft.com/office/powerpoint/2010/main" val="25096702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318E0C-134C-31E3-5BE5-AB44A964A61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CDF2AB2-C793-4B40-14A4-96CE88360182}"/>
              </a:ext>
            </a:extLst>
          </p:cNvPr>
          <p:cNvGraphicFramePr>
            <a:graphicFrameLocks noChangeAspect="1"/>
          </p:cNvGraphicFramePr>
          <p:nvPr>
            <p:custDataLst>
              <p:tags r:id="rId1"/>
            </p:custDataLst>
            <p:extLst>
              <p:ext uri="{D42A27DB-BD31-4B8C-83A1-F6EECF244321}">
                <p14:modId xmlns:p14="http://schemas.microsoft.com/office/powerpoint/2010/main" val="11161236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0" imgW="7772400" imgH="10058400" progId="TCLayout.ActiveDocument.1">
                  <p:embed/>
                </p:oleObj>
              </mc:Choice>
              <mc:Fallback>
                <p:oleObj name="think-cell Slide" r:id="rId40" imgW="7772400" imgH="10058400" progId="TCLayout.ActiveDocument.1">
                  <p:embed/>
                  <p:pic>
                    <p:nvPicPr>
                      <p:cNvPr id="4" name="think-cell data - do not delete" hidden="1">
                        <a:extLst>
                          <a:ext uri="{FF2B5EF4-FFF2-40B4-BE49-F238E27FC236}">
                            <a16:creationId xmlns:a16="http://schemas.microsoft.com/office/drawing/2014/main" id="{2742C477-69A9-3C51-35AC-D2F3182D776D}"/>
                          </a:ext>
                        </a:extLst>
                      </p:cNvPr>
                      <p:cNvPicPr/>
                      <p:nvPr/>
                    </p:nvPicPr>
                    <p:blipFill>
                      <a:blip r:embed="rId41"/>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ED5D9A-551B-ACBA-DB9F-87A95D6B6A4E}"/>
              </a:ext>
            </a:extLst>
          </p:cNvPr>
          <p:cNvSpPr>
            <a:spLocks noGrp="1"/>
          </p:cNvSpPr>
          <p:nvPr>
            <p:ph type="title"/>
          </p:nvPr>
        </p:nvSpPr>
        <p:spPr>
          <a:xfrm>
            <a:off x="330200" y="523318"/>
            <a:ext cx="11530584" cy="882788"/>
          </a:xfrm>
        </p:spPr>
        <p:txBody>
          <a:bodyPr vert="horz">
            <a:noAutofit/>
          </a:bodyPr>
          <a:lstStyle/>
          <a:p>
            <a:r>
              <a:rPr lang="en-US" b="1"/>
              <a:t>Mining and enrichment are dominated by few businesses in </a:t>
            </a:r>
            <a:br>
              <a:rPr lang="en-US" b="1"/>
            </a:br>
            <a:r>
              <a:rPr lang="en-US" b="1"/>
              <a:t>non-Western countries; fuel fabrication is more decentralized</a:t>
            </a:r>
            <a:endParaRPr lang="en-US"/>
          </a:p>
        </p:txBody>
      </p:sp>
      <p:sp>
        <p:nvSpPr>
          <p:cNvPr id="7" name="btfpNotesBox361175">
            <a:extLst>
              <a:ext uri="{FF2B5EF4-FFF2-40B4-BE49-F238E27FC236}">
                <a16:creationId xmlns:a16="http://schemas.microsoft.com/office/drawing/2014/main" id="{442A5820-8579-6948-7CB1-324889B87F72}"/>
              </a:ext>
            </a:extLst>
          </p:cNvPr>
          <p:cNvSpPr txBox="1"/>
          <p:nvPr>
            <p:custDataLst>
              <p:tags r:id="rId2"/>
            </p:custDataLst>
          </p:nvPr>
        </p:nvSpPr>
        <p:spPr bwMode="gray">
          <a:xfrm>
            <a:off x="330200" y="6186250"/>
            <a:ext cx="9221573" cy="61555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Refers to rod/assembly part of fuel production. Percentages differ slightly for pelletizing.</a:t>
            </a:r>
          </a:p>
          <a:p>
            <a:pPr marL="0" indent="0">
              <a:spcBef>
                <a:spcPts val="0"/>
              </a:spcBef>
              <a:buNone/>
            </a:pPr>
            <a:r>
              <a:rPr lang="en-US" sz="800" dirty="0">
                <a:solidFill>
                  <a:srgbClr val="000000"/>
                </a:solidFill>
              </a:rPr>
              <a:t>Sources: DoE, </a:t>
            </a:r>
            <a:r>
              <a:rPr lang="en-US" sz="800" dirty="0">
                <a:solidFill>
                  <a:srgbClr val="000000"/>
                </a:solidFill>
                <a:hlinkClick r:id="rId42"/>
              </a:rPr>
              <a:t>Nuclear Energy Supply Chain Deep Dive Assess</a:t>
            </a:r>
            <a:r>
              <a:rPr lang="en-US" sz="800" dirty="0">
                <a:solidFill>
                  <a:srgbClr val="000000"/>
                </a:solidFill>
              </a:rPr>
              <a:t> (2022); WNA, </a:t>
            </a:r>
            <a:r>
              <a:rPr lang="en-US" sz="800" dirty="0">
                <a:solidFill>
                  <a:srgbClr val="000000"/>
                </a:solidFill>
                <a:hlinkClick r:id="rId43"/>
              </a:rPr>
              <a:t>World Uranium Mining Production</a:t>
            </a:r>
            <a:r>
              <a:rPr lang="en-US" sz="800" dirty="0">
                <a:solidFill>
                  <a:srgbClr val="000000"/>
                </a:solidFill>
              </a:rPr>
              <a:t> (2024); Storm van </a:t>
            </a:r>
            <a:r>
              <a:rPr lang="en-US" sz="800" dirty="0" err="1">
                <a:solidFill>
                  <a:srgbClr val="000000"/>
                </a:solidFill>
              </a:rPr>
              <a:t>Leeuwen</a:t>
            </a:r>
            <a:r>
              <a:rPr lang="en-US" sz="800" dirty="0">
                <a:solidFill>
                  <a:srgbClr val="000000"/>
                </a:solidFill>
              </a:rPr>
              <a:t>, </a:t>
            </a:r>
            <a:r>
              <a:rPr lang="en-US" sz="800" dirty="0">
                <a:solidFill>
                  <a:srgbClr val="000000"/>
                </a:solidFill>
                <a:hlinkClick r:id="rId44"/>
              </a:rPr>
              <a:t>Materials for nuclear power</a:t>
            </a:r>
            <a:r>
              <a:rPr lang="en-US" sz="800" dirty="0">
                <a:solidFill>
                  <a:srgbClr val="000000"/>
                </a:solidFill>
              </a:rPr>
              <a:t> (2019); The World Nuclear Industry, </a:t>
            </a:r>
            <a:r>
              <a:rPr lang="en-US" sz="800" dirty="0">
                <a:solidFill>
                  <a:srgbClr val="000000"/>
                </a:solidFill>
                <a:hlinkClick r:id="rId45"/>
              </a:rPr>
              <a:t>Status Report</a:t>
            </a:r>
            <a:r>
              <a:rPr lang="en-US" sz="800" dirty="0">
                <a:solidFill>
                  <a:srgbClr val="000000"/>
                </a:solidFill>
              </a:rPr>
              <a:t> (2023); WNA, </a:t>
            </a:r>
            <a:r>
              <a:rPr lang="en-US" sz="800" dirty="0">
                <a:solidFill>
                  <a:srgbClr val="000000"/>
                </a:solidFill>
                <a:hlinkClick r:id="rId46"/>
              </a:rPr>
              <a:t>Nuclear Fuel and its Fabrication</a:t>
            </a:r>
            <a:r>
              <a:rPr lang="en-US" sz="800" dirty="0">
                <a:solidFill>
                  <a:srgbClr val="000000"/>
                </a:solidFill>
              </a:rPr>
              <a:t> (2021); WNA </a:t>
            </a:r>
            <a:r>
              <a:rPr lang="en-US" sz="800" dirty="0">
                <a:solidFill>
                  <a:srgbClr val="000000"/>
                </a:solidFill>
                <a:hlinkClick r:id="rId47"/>
              </a:rPr>
              <a:t>Uranium Enrichment</a:t>
            </a:r>
            <a:r>
              <a:rPr lang="en-US" sz="800" dirty="0">
                <a:solidFill>
                  <a:srgbClr val="000000"/>
                </a:solidFill>
              </a:rPr>
              <a:t> (2025); WNA, </a:t>
            </a:r>
            <a:r>
              <a:rPr lang="en-US" sz="800" dirty="0">
                <a:solidFill>
                  <a:srgbClr val="000000"/>
                </a:solidFill>
                <a:hlinkClick r:id="rId46"/>
              </a:rPr>
              <a:t>Nuclear Fuel and its Fabrication</a:t>
            </a:r>
            <a:r>
              <a:rPr lang="en-US" sz="800" dirty="0">
                <a:solidFill>
                  <a:srgbClr val="000000"/>
                </a:solidFill>
              </a:rPr>
              <a:t> (2021); WNA </a:t>
            </a:r>
            <a:r>
              <a:rPr lang="en-US" sz="800" dirty="0">
                <a:solidFill>
                  <a:srgbClr val="000000"/>
                </a:solidFill>
                <a:hlinkClick r:id="rId48"/>
              </a:rPr>
              <a:t>Processing of Used Nuclear Fuel</a:t>
            </a:r>
            <a:r>
              <a:rPr lang="en-US" sz="800" dirty="0">
                <a:solidFill>
                  <a:srgbClr val="000000"/>
                </a:solidFill>
              </a:rPr>
              <a:t> (2024); WNA, </a:t>
            </a:r>
            <a:r>
              <a:rPr lang="en-US" sz="800" dirty="0">
                <a:solidFill>
                  <a:srgbClr val="000000"/>
                </a:solidFill>
                <a:hlinkClick r:id="rId49"/>
              </a:rPr>
              <a:t>Nuclear Power Economics and Structuring</a:t>
            </a:r>
            <a:r>
              <a:rPr lang="en-US" sz="800" dirty="0">
                <a:solidFill>
                  <a:srgbClr val="000000"/>
                </a:solidFill>
              </a:rPr>
              <a:t> (2024).</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0"/>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1"/>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17" name="btfpColumnHeaderBoxText223027">
            <a:extLst>
              <a:ext uri="{FF2B5EF4-FFF2-40B4-BE49-F238E27FC236}">
                <a16:creationId xmlns:a16="http://schemas.microsoft.com/office/drawing/2014/main" id="{7694FC4E-3CE0-15E9-AA2D-4262EDF79240}"/>
              </a:ext>
            </a:extLst>
          </p:cNvPr>
          <p:cNvSpPr txBox="1"/>
          <p:nvPr/>
        </p:nvSpPr>
        <p:spPr bwMode="gray">
          <a:xfrm>
            <a:off x="364331" y="1412169"/>
            <a:ext cx="5274469" cy="288219"/>
          </a:xfrm>
          <a:prstGeom prst="rect">
            <a:avLst/>
          </a:prstGeom>
          <a:noFill/>
        </p:spPr>
        <p:txBody>
          <a:bodyPr vert="horz" wrap="square" lIns="36036" tIns="36036" rIns="36036" bIns="36036" rtlCol="0" anchor="b">
            <a:spAutoFit/>
          </a:bodyPr>
          <a:lstStyle/>
          <a:p>
            <a:r>
              <a:rPr lang="en-US" sz="1400" b="1"/>
              <a:t>Overview of the nuclear fuel cycle</a:t>
            </a:r>
            <a:endParaRPr lang="en-US" sz="1400"/>
          </a:p>
        </p:txBody>
      </p:sp>
      <p:sp>
        <p:nvSpPr>
          <p:cNvPr id="1045" name="btfpColumnHeaderBoxText223027">
            <a:extLst>
              <a:ext uri="{FF2B5EF4-FFF2-40B4-BE49-F238E27FC236}">
                <a16:creationId xmlns:a16="http://schemas.microsoft.com/office/drawing/2014/main" id="{F0749D4A-4D50-FE5C-FA1F-BFCD0049831A}"/>
              </a:ext>
            </a:extLst>
          </p:cNvPr>
          <p:cNvSpPr txBox="1"/>
          <p:nvPr/>
        </p:nvSpPr>
        <p:spPr bwMode="gray">
          <a:xfrm>
            <a:off x="364331" y="2320304"/>
            <a:ext cx="853831" cy="503663"/>
          </a:xfrm>
          <a:prstGeom prst="rect">
            <a:avLst/>
          </a:prstGeom>
          <a:noFill/>
        </p:spPr>
        <p:txBody>
          <a:bodyPr vert="horz" wrap="square" lIns="36036" tIns="36036" rIns="36036" bIns="36036" rtlCol="0" anchor="b">
            <a:spAutoFit/>
          </a:bodyPr>
          <a:lstStyle/>
          <a:p>
            <a:r>
              <a:rPr lang="en-US" sz="1400" b="1"/>
              <a:t>Material flows</a:t>
            </a:r>
            <a:endParaRPr lang="en-US" sz="1400"/>
          </a:p>
        </p:txBody>
      </p:sp>
      <p:sp>
        <p:nvSpPr>
          <p:cNvPr id="1046" name="btfpColumnHeaderBoxText223027">
            <a:extLst>
              <a:ext uri="{FF2B5EF4-FFF2-40B4-BE49-F238E27FC236}">
                <a16:creationId xmlns:a16="http://schemas.microsoft.com/office/drawing/2014/main" id="{910E5367-25AD-698C-E5F2-7E65D64DCE8A}"/>
              </a:ext>
            </a:extLst>
          </p:cNvPr>
          <p:cNvSpPr txBox="1"/>
          <p:nvPr/>
        </p:nvSpPr>
        <p:spPr bwMode="gray">
          <a:xfrm>
            <a:off x="364331" y="4835557"/>
            <a:ext cx="853831" cy="719107"/>
          </a:xfrm>
          <a:prstGeom prst="rect">
            <a:avLst/>
          </a:prstGeom>
          <a:noFill/>
        </p:spPr>
        <p:txBody>
          <a:bodyPr vert="horz" wrap="square" lIns="36036" tIns="36036" rIns="36036" bIns="36036" rtlCol="0" anchor="b">
            <a:spAutoFit/>
          </a:bodyPr>
          <a:lstStyle/>
          <a:p>
            <a:r>
              <a:rPr lang="en-US" sz="1400" b="1"/>
              <a:t>Market share, </a:t>
            </a:r>
            <a:r>
              <a:rPr lang="en-US" sz="1400"/>
              <a:t>2024</a:t>
            </a:r>
          </a:p>
        </p:txBody>
      </p:sp>
      <p:graphicFrame>
        <p:nvGraphicFramePr>
          <p:cNvPr id="46" name="Chart 45">
            <a:extLst>
              <a:ext uri="{FF2B5EF4-FFF2-40B4-BE49-F238E27FC236}">
                <a16:creationId xmlns:a16="http://schemas.microsoft.com/office/drawing/2014/main" id="{0E9A789E-79CC-7E53-57FF-92A34ECF57F4}"/>
              </a:ext>
            </a:extLst>
          </p:cNvPr>
          <p:cNvGraphicFramePr/>
          <p:nvPr>
            <p:custDataLst>
              <p:tags r:id="rId3"/>
            </p:custDataLst>
            <p:extLst>
              <p:ext uri="{D42A27DB-BD31-4B8C-83A1-F6EECF244321}">
                <p14:modId xmlns:p14="http://schemas.microsoft.com/office/powerpoint/2010/main" val="4234116241"/>
              </p:ext>
            </p:extLst>
          </p:nvPr>
        </p:nvGraphicFramePr>
        <p:xfrm>
          <a:off x="1557338" y="4706938"/>
          <a:ext cx="2165350" cy="1381125"/>
        </p:xfrm>
        <a:graphic>
          <a:graphicData uri="http://schemas.openxmlformats.org/drawingml/2006/chart">
            <c:chart xmlns:c="http://schemas.openxmlformats.org/drawingml/2006/chart" xmlns:r="http://schemas.openxmlformats.org/officeDocument/2006/relationships" r:id="rId52"/>
          </a:graphicData>
        </a:graphic>
      </p:graphicFrame>
      <p:sp>
        <p:nvSpPr>
          <p:cNvPr id="3138"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auto">
          <a:xfrm>
            <a:off x="3068638" y="5445125"/>
            <a:ext cx="681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4E096E2-0F35-46D8-A8F3-5B1C602E5A95}" type="datetime'C''a''m''''''''''''''e''''''co'' '''' ''   '''' '''">
              <a:rPr lang="en-US" altLang="en-US" sz="1000" smtClean="0">
                <a:effectLst/>
              </a:rPr>
              <a:pPr marL="0" lvl="0" indent="0">
                <a:spcBef>
                  <a:spcPct val="0"/>
                </a:spcBef>
                <a:spcAft>
                  <a:spcPct val="0"/>
                </a:spcAft>
                <a:buNone/>
              </a:pPr>
              <a:t>Cameco      </a:t>
            </a:fld>
            <a:endParaRPr lang="en-US" sz="1000"/>
          </a:p>
        </p:txBody>
      </p:sp>
      <p:sp>
        <p:nvSpPr>
          <p:cNvPr id="3139"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2852738" y="5745163"/>
            <a:ext cx="560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5CBA1D1-359E-48F9-ACD4-A517DE314BC8}" type="datetime'Ora''''n''o  '''' '''''''''''''''''''''''''' ''  '''''''''''''">
              <a:rPr lang="en-US" altLang="en-US" sz="1000" smtClean="0">
                <a:effectLst/>
              </a:rPr>
              <a:pPr marL="0" lvl="0" indent="0">
                <a:spcBef>
                  <a:spcPct val="0"/>
                </a:spcBef>
                <a:spcAft>
                  <a:spcPct val="0"/>
                </a:spcAft>
                <a:buNone/>
              </a:pPr>
              <a:t>Orano      </a:t>
            </a:fld>
            <a:endParaRPr lang="en-US" sz="1000"/>
          </a:p>
        </p:txBody>
      </p:sp>
      <p:sp>
        <p:nvSpPr>
          <p:cNvPr id="3140"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1839913" y="5848350"/>
            <a:ext cx="962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628657C-990E-47C5-824F-864D498D95E4}" type="datetime'''''Uran''''''''''''i''''um ''''''O''''''ne ''''''''   '' '' '">
              <a:rPr lang="en-US" altLang="en-US" sz="1000" smtClean="0">
                <a:effectLst/>
              </a:rPr>
              <a:pPr marL="0" lvl="0" indent="0" algn="r">
                <a:spcBef>
                  <a:spcPct val="0"/>
                </a:spcBef>
                <a:spcAft>
                  <a:spcPct val="0"/>
                </a:spcAft>
                <a:buNone/>
              </a:pPr>
              <a:t>Uranium One      </a:t>
            </a:fld>
            <a:endParaRPr lang="en-US" sz="1000"/>
          </a:p>
        </p:txBody>
      </p:sp>
      <p:sp>
        <p:nvSpPr>
          <p:cNvPr id="3136"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2911475" y="4933950"/>
            <a:ext cx="996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7A243CC-3E4A-4099-A7F4-CB27C5B17C69}" type="datetime'''K''''a''z''''a''t''om''pro''m''  '''''' '' '''''' '''''' '''">
              <a:rPr lang="en-US" altLang="en-US" sz="1000" smtClean="0">
                <a:effectLst/>
              </a:rPr>
              <a:pPr marL="0" lvl="0" indent="0">
                <a:spcBef>
                  <a:spcPct val="0"/>
                </a:spcBef>
                <a:spcAft>
                  <a:spcPct val="0"/>
                </a:spcAft>
                <a:buNone/>
              </a:pPr>
              <a:t>Kazatomprom      </a:t>
            </a:fld>
            <a:endParaRPr lang="en-US" sz="1000"/>
          </a:p>
        </p:txBody>
      </p:sp>
      <p:sp>
        <p:nvSpPr>
          <p:cNvPr id="3142"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auto">
          <a:xfrm>
            <a:off x="1652588" y="5522913"/>
            <a:ext cx="577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26B4189-529A-4505-8FC2-9E28C0A8281B}" type="datetime'''C''N''''''''N''''C''''  ''''  '''''''''''' '''''''''' '''">
              <a:rPr lang="en-US" altLang="en-US" sz="1000" smtClean="0">
                <a:effectLst/>
              </a:rPr>
              <a:pPr marL="0" lvl="0" indent="0" algn="r">
                <a:spcBef>
                  <a:spcPct val="0"/>
                </a:spcBef>
                <a:spcAft>
                  <a:spcPct val="0"/>
                </a:spcAft>
                <a:buNone/>
              </a:pPr>
              <a:t>CNNC      </a:t>
            </a:fld>
            <a:endParaRPr lang="en-US" sz="1000"/>
          </a:p>
        </p:txBody>
      </p:sp>
      <p:sp>
        <p:nvSpPr>
          <p:cNvPr id="3143"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1924050" y="4992688"/>
            <a:ext cx="379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E8AF778-0E25-429C-8BDC-5C5F17CD8958}" type="datetime'O''''''''t''h''''''''e''''''r''''''s'''''''">
              <a:rPr lang="en-US" altLang="en-US" sz="1000" smtClean="0">
                <a:effectLst/>
              </a:rPr>
              <a:pPr marL="0" lvl="0" indent="0" algn="r">
                <a:spcBef>
                  <a:spcPct val="0"/>
                </a:spcBef>
                <a:spcAft>
                  <a:spcPct val="0"/>
                </a:spcAft>
                <a:buNone/>
              </a:pPr>
              <a:t>Others</a:t>
            </a:fld>
            <a:endParaRPr lang="en-US" sz="1000"/>
          </a:p>
        </p:txBody>
      </p:sp>
      <p:sp>
        <p:nvSpPr>
          <p:cNvPr id="3141"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1860550" y="5695950"/>
            <a:ext cx="492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C375157-C22E-42FA-83C1-8589F22D2F73}" type="datetime'''''''''''''''C''''G''''''''''N''   '''''''' '' '''''''''' '">
              <a:rPr lang="en-US" altLang="en-US" sz="1000" smtClean="0">
                <a:effectLst/>
              </a:rPr>
              <a:pPr marL="0" lvl="0" indent="0" algn="r">
                <a:spcBef>
                  <a:spcPct val="0"/>
                </a:spcBef>
                <a:spcAft>
                  <a:spcPct val="0"/>
                </a:spcAft>
                <a:buNone/>
              </a:pPr>
              <a:t>CGN      </a:t>
            </a:fld>
            <a:endParaRPr lang="en-US" sz="1000"/>
          </a:p>
        </p:txBody>
      </p:sp>
      <p:graphicFrame>
        <p:nvGraphicFramePr>
          <p:cNvPr id="9" name="Chart 8">
            <a:extLst>
              <a:ext uri="{FF2B5EF4-FFF2-40B4-BE49-F238E27FC236}">
                <a16:creationId xmlns:a16="http://schemas.microsoft.com/office/drawing/2014/main" id="{038F7EEB-0301-9577-408F-A07950A03F80}"/>
              </a:ext>
            </a:extLst>
          </p:cNvPr>
          <p:cNvGraphicFramePr/>
          <p:nvPr>
            <p:custDataLst>
              <p:tags r:id="rId11"/>
            </p:custDataLst>
            <p:extLst>
              <p:ext uri="{D42A27DB-BD31-4B8C-83A1-F6EECF244321}">
                <p14:modId xmlns:p14="http://schemas.microsoft.com/office/powerpoint/2010/main" val="2450465487"/>
              </p:ext>
            </p:extLst>
          </p:nvPr>
        </p:nvGraphicFramePr>
        <p:xfrm>
          <a:off x="4173538" y="4706938"/>
          <a:ext cx="2165350" cy="1381125"/>
        </p:xfrm>
        <a:graphic>
          <a:graphicData uri="http://schemas.openxmlformats.org/drawingml/2006/chart">
            <c:chart xmlns:c="http://schemas.openxmlformats.org/drawingml/2006/chart" xmlns:r="http://schemas.openxmlformats.org/officeDocument/2006/relationships" r:id="rId53"/>
          </a:graphicData>
        </a:graphic>
      </p:graphicFrame>
      <p:sp>
        <p:nvSpPr>
          <p:cNvPr id="3175"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5424488" y="4873625"/>
            <a:ext cx="542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DA9C3E6-84C3-4AA9-B124-20C9E4043131}" type="datetime'''''''''''''''C''NN''C '''''' '''''''''''''''''''' '' '''''' '">
              <a:rPr lang="en-US" altLang="en-US" sz="1000" smtClean="0">
                <a:effectLst/>
              </a:rPr>
              <a:pPr marL="0" lvl="0" indent="0">
                <a:spcBef>
                  <a:spcPct val="0"/>
                </a:spcBef>
                <a:spcAft>
                  <a:spcPct val="0"/>
                </a:spcAft>
                <a:buNone/>
              </a:pPr>
              <a:t>CNNC     </a:t>
            </a:fld>
            <a:endParaRPr lang="en-US" sz="1000"/>
          </a:p>
        </p:txBody>
      </p:sp>
      <p:sp>
        <p:nvSpPr>
          <p:cNvPr id="3074"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5335588" y="5276850"/>
            <a:ext cx="287338" cy="152400"/>
          </a:xfrm>
          <a:prstGeom prst="rect">
            <a:avLst/>
          </a:prstGeom>
          <a:solidFill>
            <a:srgbClr val="004FDD"/>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2882DE-A6DB-4C41-99FA-BD0856C72786}" type="datetime'''''''''''''''''''''1''''''2%'''''''''''">
              <a:rPr lang="en-US" altLang="en-US" sz="1000" smtClean="0">
                <a:solidFill>
                  <a:schemeClr val="bg1"/>
                </a:solidFill>
                <a:effectLst/>
              </a:rPr>
              <a:pPr marL="0" lvl="0" indent="0" algn="ctr">
                <a:spcBef>
                  <a:spcPct val="0"/>
                </a:spcBef>
                <a:spcAft>
                  <a:spcPct val="0"/>
                </a:spcAft>
                <a:buNone/>
              </a:pPr>
              <a:t>12%</a:t>
            </a:fld>
            <a:endParaRPr lang="en-US" sz="1000">
              <a:solidFill>
                <a:schemeClr val="bg1"/>
              </a:solidFill>
            </a:endParaRPr>
          </a:p>
        </p:txBody>
      </p:sp>
      <p:sp>
        <p:nvSpPr>
          <p:cNvPr id="3177"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5688013" y="5224463"/>
            <a:ext cx="525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5FF9455-2DD1-4643-BDD2-8653025D42C8}" type="datetime'''O''''''''''''''''r''''''''''an''o'' '''''' '''' ''''  '''''">
              <a:rPr lang="en-US" altLang="en-US" sz="1000" smtClean="0">
                <a:effectLst/>
              </a:rPr>
              <a:pPr marL="0" lvl="0" indent="0">
                <a:spcBef>
                  <a:spcPct val="0"/>
                </a:spcBef>
                <a:spcAft>
                  <a:spcPct val="0"/>
                </a:spcAft>
                <a:buNone/>
              </a:pPr>
              <a:t>Orano     </a:t>
            </a:fld>
            <a:endParaRPr lang="en-US" sz="1000"/>
          </a:p>
        </p:txBody>
      </p:sp>
      <p:sp>
        <p:nvSpPr>
          <p:cNvPr id="3073"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5226050" y="5114925"/>
            <a:ext cx="287338" cy="152400"/>
          </a:xfrm>
          <a:prstGeom prst="rect">
            <a:avLst/>
          </a:prstGeom>
          <a:solidFill>
            <a:srgbClr val="C30C3E"/>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5457384-AA41-4CAA-AB6D-AE4BB88C2C0C}" type="datetime'''''''''1''''''''''''''''''''''''''''6''''''''''%'''">
              <a:rPr lang="en-US" altLang="en-US" sz="1000" smtClean="0">
                <a:solidFill>
                  <a:schemeClr val="bg1"/>
                </a:solidFill>
                <a:effectLst/>
              </a:rPr>
              <a:pPr marL="0" lvl="0" indent="0" algn="ctr">
                <a:spcBef>
                  <a:spcPct val="0"/>
                </a:spcBef>
                <a:spcAft>
                  <a:spcPct val="0"/>
                </a:spcAft>
                <a:buNone/>
              </a:pPr>
              <a:t>16%</a:t>
            </a:fld>
            <a:endParaRPr lang="en-US" sz="1000">
              <a:solidFill>
                <a:schemeClr val="bg1"/>
              </a:solidFill>
            </a:endParaRPr>
          </a:p>
        </p:txBody>
      </p:sp>
      <p:sp>
        <p:nvSpPr>
          <p:cNvPr id="3179"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4318000" y="5014913"/>
            <a:ext cx="582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9DBC3B2-F275-4EF8-8B35-8EAC8032C4AB}" type="datetime'Ur''''''''''''''e''''''''''n''''''''co''''     '''''''''''">
              <a:rPr lang="en-US" altLang="en-US" sz="1000" smtClean="0">
                <a:effectLst/>
              </a:rPr>
              <a:pPr marL="0" lvl="0" indent="0" algn="r">
                <a:spcBef>
                  <a:spcPct val="0"/>
                </a:spcBef>
                <a:spcAft>
                  <a:spcPct val="0"/>
                </a:spcAft>
                <a:buNone/>
              </a:pPr>
              <a:t>Urenco     </a:t>
            </a:fld>
            <a:endParaRPr lang="en-US" sz="1000"/>
          </a:p>
        </p:txBody>
      </p:sp>
      <p:sp>
        <p:nvSpPr>
          <p:cNvPr id="3180"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4994275" y="4837113"/>
            <a:ext cx="379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D377176-4176-4618-8C00-F195F1ECE039}" type="datetime'''''''''''''''''''''''''''''''O''''''''th''''''e''''''''rs'">
              <a:rPr lang="en-US" altLang="en-US" sz="1000" smtClean="0">
                <a:effectLst/>
              </a:rPr>
              <a:pPr marL="0" lvl="0" indent="0" algn="r">
                <a:spcBef>
                  <a:spcPct val="0"/>
                </a:spcBef>
                <a:spcAft>
                  <a:spcPct val="0"/>
                </a:spcAft>
                <a:buNone/>
              </a:pPr>
              <a:t>Others</a:t>
            </a:fld>
            <a:endParaRPr lang="en-US" sz="1000"/>
          </a:p>
        </p:txBody>
      </p:sp>
      <p:sp>
        <p:nvSpPr>
          <p:cNvPr id="8" name="Text Placeholder 10">
            <a:extLst>
              <a:ext uri="{FF2B5EF4-FFF2-40B4-BE49-F238E27FC236}">
                <a16:creationId xmlns:a16="http://schemas.microsoft.com/office/drawing/2014/main" id="{255DDC48-B731-0578-2833-D014C46F3480}"/>
              </a:ext>
            </a:extLst>
          </p:cNvPr>
          <p:cNvSpPr txBox="1">
            <a:spLocks/>
          </p:cNvSpPr>
          <p:nvPr>
            <p:custDataLst>
              <p:tags r:id="rId18"/>
            </p:custDataLst>
          </p:nvPr>
        </p:nvSpPr>
        <p:spPr bwMode="gray">
          <a:xfrm>
            <a:off x="5140325" y="4962525"/>
            <a:ext cx="217488" cy="152400"/>
          </a:xfrm>
          <a:prstGeom prst="rect">
            <a:avLst/>
          </a:prstGeom>
          <a:solidFill>
            <a:srgbClr val="D6D7D9"/>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D395C29-7D08-48D4-8C94-D034D00B959C}" type="datetime'''''''''''''''''''''''''1''''''''%'">
              <a:rPr lang="en-US" altLang="en-US" sz="1000" smtClean="0">
                <a:effectLst/>
              </a:rPr>
              <a:pPr marL="0" indent="0" algn="ctr">
                <a:spcBef>
                  <a:spcPct val="0"/>
                </a:spcBef>
                <a:spcAft>
                  <a:spcPct val="0"/>
                </a:spcAft>
                <a:buNone/>
              </a:pPr>
              <a:t>1%</a:t>
            </a:fld>
            <a:endParaRPr lang="en-US" sz="1000" dirty="0"/>
          </a:p>
        </p:txBody>
      </p:sp>
      <p:sp>
        <p:nvSpPr>
          <p:cNvPr id="3178"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4935538" y="5805488"/>
            <a:ext cx="681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D1F8B05-4FCA-4480-8ADB-E767484F642C}" type="datetime'R''''''''''''''''o''''s''''ato''''m'''''' ''   '' '">
              <a:rPr lang="en-US" altLang="en-US" sz="1000" smtClean="0">
                <a:effectLst/>
              </a:rPr>
              <a:pPr marL="0" lvl="0" indent="0">
                <a:spcBef>
                  <a:spcPct val="0"/>
                </a:spcBef>
                <a:spcAft>
                  <a:spcPct val="0"/>
                </a:spcAft>
                <a:buNone/>
              </a:pPr>
              <a:t>Rosatom     </a:t>
            </a:fld>
            <a:endParaRPr lang="en-US" sz="1000"/>
          </a:p>
        </p:txBody>
      </p:sp>
      <p:graphicFrame>
        <p:nvGraphicFramePr>
          <p:cNvPr id="48" name="Chart 47">
            <a:extLst>
              <a:ext uri="{FF2B5EF4-FFF2-40B4-BE49-F238E27FC236}">
                <a16:creationId xmlns:a16="http://schemas.microsoft.com/office/drawing/2014/main" id="{C3A372BB-742C-4680-0B21-1AE2655D2129}"/>
              </a:ext>
            </a:extLst>
          </p:cNvPr>
          <p:cNvGraphicFramePr/>
          <p:nvPr>
            <p:custDataLst>
              <p:tags r:id="rId20"/>
            </p:custDataLst>
            <p:extLst>
              <p:ext uri="{D42A27DB-BD31-4B8C-83A1-F6EECF244321}">
                <p14:modId xmlns:p14="http://schemas.microsoft.com/office/powerpoint/2010/main" val="2936718909"/>
              </p:ext>
            </p:extLst>
          </p:nvPr>
        </p:nvGraphicFramePr>
        <p:xfrm>
          <a:off x="6761163" y="4706938"/>
          <a:ext cx="2165350" cy="1381125"/>
        </p:xfrm>
        <a:graphic>
          <a:graphicData uri="http://schemas.openxmlformats.org/drawingml/2006/chart">
            <c:chart xmlns:c="http://schemas.openxmlformats.org/drawingml/2006/chart" xmlns:r="http://schemas.openxmlformats.org/officeDocument/2006/relationships" r:id="rId54"/>
          </a:graphicData>
        </a:graphic>
      </p:graphicFrame>
      <p:sp>
        <p:nvSpPr>
          <p:cNvPr id="3202"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7907338" y="4841875"/>
            <a:ext cx="542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5D6D78F-EEBD-4FEB-99D3-19CE70080068}" type="datetime'''CN''''''''N''''''''C'' '''''' '''''''''' '' '''''''''' '''''">
              <a:rPr lang="en-US" altLang="en-US" sz="1000" smtClean="0">
                <a:effectLst/>
              </a:rPr>
              <a:pPr marL="0" lvl="0" indent="0">
                <a:spcBef>
                  <a:spcPct val="0"/>
                </a:spcBef>
                <a:spcAft>
                  <a:spcPct val="0"/>
                </a:spcAft>
                <a:buNone/>
              </a:pPr>
              <a:t>CNNC     </a:t>
            </a:fld>
            <a:endParaRPr lang="en-US" sz="1000"/>
          </a:p>
        </p:txBody>
      </p:sp>
      <p:sp>
        <p:nvSpPr>
          <p:cNvPr id="3092"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7912100" y="5246688"/>
            <a:ext cx="287338" cy="152400"/>
          </a:xfrm>
          <a:prstGeom prst="rect">
            <a:avLst/>
          </a:prstGeom>
          <a:solidFill>
            <a:srgbClr val="004FDD"/>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6E9ED30-B29E-4B3F-8BE2-4B03367B1A5F}" type="datetime'2''''''''''''''''''''''1''''%'''''''''">
              <a:rPr lang="en-US" altLang="en-US" sz="1000" smtClean="0">
                <a:solidFill>
                  <a:schemeClr val="bg1"/>
                </a:solidFill>
                <a:effectLst/>
              </a:rPr>
              <a:pPr marL="0" lvl="0" indent="0" algn="ctr">
                <a:spcBef>
                  <a:spcPct val="0"/>
                </a:spcBef>
                <a:spcAft>
                  <a:spcPct val="0"/>
                </a:spcAft>
                <a:buNone/>
              </a:pPr>
              <a:t>21%</a:t>
            </a:fld>
            <a:endParaRPr lang="en-US" sz="1000">
              <a:solidFill>
                <a:schemeClr val="bg1"/>
              </a:solidFill>
            </a:endParaRPr>
          </a:p>
        </p:txBody>
      </p:sp>
      <p:sp>
        <p:nvSpPr>
          <p:cNvPr id="3204"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8264525" y="5153025"/>
            <a:ext cx="822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92C551E-29E2-4C13-A038-9CAF68FABA48}" type="datetime'''''F''''r''''a''ma''''''''''to''''m''e ''''    '''''">
              <a:rPr lang="en-US" altLang="en-US" sz="1000" smtClean="0">
                <a:effectLst/>
              </a:rPr>
              <a:pPr marL="0" lvl="0" indent="0">
                <a:spcBef>
                  <a:spcPct val="0"/>
                </a:spcBef>
                <a:spcAft>
                  <a:spcPct val="0"/>
                </a:spcAft>
                <a:buNone/>
              </a:pPr>
              <a:t>Framatome     </a:t>
            </a:fld>
            <a:endParaRPr lang="en-US" sz="1000"/>
          </a:p>
        </p:txBody>
      </p:sp>
      <p:sp>
        <p:nvSpPr>
          <p:cNvPr id="1362"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7845425" y="5495925"/>
            <a:ext cx="287338" cy="152400"/>
          </a:xfrm>
          <a:prstGeom prst="rect">
            <a:avLst/>
          </a:prstGeom>
          <a:solidFill>
            <a:schemeClr val="accent6"/>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D95B1FF-98C5-4200-811D-C991221678A3}" type="datetime'1''''''''''''''''''''''''8''''''''''''''''''%'''''''''''''">
              <a:rPr lang="en-US" altLang="en-US" sz="1000" smtClean="0">
                <a:solidFill>
                  <a:schemeClr val="bg1"/>
                </a:solidFill>
                <a:effectLst/>
              </a:rPr>
              <a:pPr marL="0" lvl="0" indent="0" algn="ctr">
                <a:spcBef>
                  <a:spcPct val="0"/>
                </a:spcBef>
                <a:spcAft>
                  <a:spcPct val="0"/>
                </a:spcAft>
                <a:buNone/>
              </a:pPr>
              <a:t>18%</a:t>
            </a:fld>
            <a:endParaRPr lang="en-US" sz="1000">
              <a:solidFill>
                <a:schemeClr val="bg1"/>
              </a:solidFill>
            </a:endParaRPr>
          </a:p>
        </p:txBody>
      </p:sp>
      <p:sp>
        <p:nvSpPr>
          <p:cNvPr id="1360"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7810500" y="5067300"/>
            <a:ext cx="217488" cy="152400"/>
          </a:xfrm>
          <a:prstGeom prst="rect">
            <a:avLst/>
          </a:prstGeom>
          <a:solidFill>
            <a:srgbClr val="C30C3E"/>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E7DD53-A3A3-46CE-87F6-B1B4AE4337E7}" type="datetime'''''''''''''''''''''9%'''''''''''''">
              <a:rPr lang="en-US" altLang="en-US" sz="1000" smtClean="0">
                <a:solidFill>
                  <a:schemeClr val="bg1"/>
                </a:solidFill>
                <a:effectLst/>
              </a:rPr>
              <a:pPr marL="0" lvl="0" indent="0" algn="ctr">
                <a:spcBef>
                  <a:spcPct val="0"/>
                </a:spcBef>
                <a:spcAft>
                  <a:spcPct val="0"/>
                </a:spcAft>
                <a:buNone/>
              </a:pPr>
              <a:t>9%</a:t>
            </a:fld>
            <a:endParaRPr lang="en-US" sz="1000">
              <a:solidFill>
                <a:schemeClr val="bg1"/>
              </a:solidFill>
            </a:endParaRPr>
          </a:p>
        </p:txBody>
      </p:sp>
      <p:sp>
        <p:nvSpPr>
          <p:cNvPr id="3206"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6654800" y="5745163"/>
            <a:ext cx="974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CC3E874-0922-4EDD-905C-D80471B57D2D}" type="datetime'''We''''s''t''i''''n''''''gho''u''se''  ''''   '">
              <a:rPr lang="en-US" altLang="en-US" sz="1000" smtClean="0">
                <a:effectLst/>
              </a:rPr>
              <a:pPr marL="0" lvl="0" indent="0" algn="r">
                <a:spcBef>
                  <a:spcPct val="0"/>
                </a:spcBef>
                <a:spcAft>
                  <a:spcPct val="0"/>
                </a:spcAft>
                <a:buNone/>
              </a:pPr>
              <a:t>Westinghouse     </a:t>
            </a:fld>
            <a:endParaRPr lang="en-US" sz="1000"/>
          </a:p>
        </p:txBody>
      </p:sp>
      <p:sp>
        <p:nvSpPr>
          <p:cNvPr id="3207"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6983413" y="5341938"/>
            <a:ext cx="427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EC20FD5-170F-4CD3-B648-B6213DB4223D}" type="datetime'''G''''''''E'''''''''' ''''''''''''''''''''  '' '''''''' ''  '">
              <a:rPr lang="en-US" altLang="en-US" sz="1000" smtClean="0"/>
              <a:pPr marL="0" lvl="0" indent="0" algn="r">
                <a:spcBef>
                  <a:spcPct val="0"/>
                </a:spcBef>
                <a:spcAft>
                  <a:spcPct val="0"/>
                </a:spcAft>
                <a:buNone/>
              </a:pPr>
              <a:t>GE       </a:t>
            </a:fld>
            <a:endParaRPr lang="en-US" sz="1000"/>
          </a:p>
        </p:txBody>
      </p:sp>
      <p:sp>
        <p:nvSpPr>
          <p:cNvPr id="3208"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6864351" y="5167313"/>
            <a:ext cx="555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09214A5-B3C7-43D1-B9DF-70330932DB89}" type="datetime'''''KNF''''C '' ''''''''''''''   '''''''''''''''''''''''' '">
              <a:rPr lang="en-US" altLang="en-US" sz="1000" smtClean="0"/>
              <a:pPr marL="0" lvl="0" indent="0" algn="r">
                <a:spcBef>
                  <a:spcPct val="0"/>
                </a:spcBef>
                <a:spcAft>
                  <a:spcPct val="0"/>
                </a:spcAft>
                <a:buNone/>
              </a:pPr>
              <a:t>KNFC      </a:t>
            </a:fld>
            <a:endParaRPr lang="en-US" sz="1000"/>
          </a:p>
        </p:txBody>
      </p:sp>
      <p:sp>
        <p:nvSpPr>
          <p:cNvPr id="3209"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7269163" y="4886325"/>
            <a:ext cx="379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83D2FD-5062-4634-AC86-48EBF48149E4}" type="datetime'''''O''''''''''''''''''''t''''''''''h''''''''''e''''''r''s'''">
              <a:rPr lang="en-US" altLang="en-US" sz="1000" smtClean="0">
                <a:effectLst/>
              </a:rPr>
              <a:pPr marL="0" lvl="0" indent="0" algn="r">
                <a:spcBef>
                  <a:spcPct val="0"/>
                </a:spcBef>
                <a:spcAft>
                  <a:spcPct val="0"/>
                </a:spcAft>
                <a:buNone/>
              </a:pPr>
              <a:t>Others</a:t>
            </a:fld>
            <a:endParaRPr lang="en-US" sz="1000"/>
          </a:p>
        </p:txBody>
      </p:sp>
      <p:sp>
        <p:nvSpPr>
          <p:cNvPr id="3205"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8102601" y="5718175"/>
            <a:ext cx="455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4C34D21-67F9-4CEC-AB9D-493471A0E90C}" type="datetime'''''''''''''''''''TVE''L''''''''''''   '' '''''''''''''''''">
              <a:rPr lang="en-US" altLang="en-US" sz="1000" smtClean="0"/>
              <a:pPr marL="0" lvl="0" indent="0">
                <a:spcBef>
                  <a:spcPct val="0"/>
                </a:spcBef>
                <a:spcAft>
                  <a:spcPct val="0"/>
                </a:spcAft>
                <a:buNone/>
              </a:pPr>
              <a:t>TVEL    </a:t>
            </a:fld>
            <a:endParaRPr lang="en-US" sz="1000"/>
          </a:p>
        </p:txBody>
      </p:sp>
      <p:sp>
        <p:nvSpPr>
          <p:cNvPr id="1127" name="TextBox 1126">
            <a:extLst>
              <a:ext uri="{FF2B5EF4-FFF2-40B4-BE49-F238E27FC236}">
                <a16:creationId xmlns:a16="http://schemas.microsoft.com/office/drawing/2014/main" id="{DA24C1E4-97C4-1A68-A4CC-1940128FCCB5}"/>
              </a:ext>
            </a:extLst>
          </p:cNvPr>
          <p:cNvSpPr txBox="1"/>
          <p:nvPr/>
        </p:nvSpPr>
        <p:spPr bwMode="gray">
          <a:xfrm>
            <a:off x="8247854" y="1435258"/>
            <a:ext cx="3745672" cy="2785378"/>
          </a:xfrm>
          <a:prstGeom prst="rect">
            <a:avLst/>
          </a:prstGeom>
          <a:solidFill>
            <a:srgbClr val="E3E8EE"/>
          </a:solidFill>
        </p:spPr>
        <p:txBody>
          <a:bodyPr wrap="square" lIns="137160" tIns="137160" rIns="274320" bIns="137160" rtlCol="0">
            <a:spAutoFit/>
          </a:bodyPr>
          <a:lstStyle/>
          <a:p>
            <a:pPr>
              <a:spcBef>
                <a:spcPts val="600"/>
              </a:spcBef>
            </a:pPr>
            <a:r>
              <a:rPr lang="en-US" sz="1200" b="1"/>
              <a:t>Observations</a:t>
            </a:r>
          </a:p>
          <a:p>
            <a:pPr marL="171450" indent="-171450">
              <a:spcBef>
                <a:spcPts val="600"/>
              </a:spcBef>
              <a:buFont typeface="Arial" panose="020B0604020202020204" pitchFamily="34" charset="0"/>
              <a:buChar char="•"/>
            </a:pPr>
            <a:r>
              <a:rPr lang="en-US" sz="1050"/>
              <a:t>Getting from mined uranium to nuclear fuel is an </a:t>
            </a:r>
            <a:r>
              <a:rPr lang="en-US" sz="1050" b="1"/>
              <a:t>extensive process involving specialized facilities.</a:t>
            </a:r>
          </a:p>
          <a:p>
            <a:pPr marL="171450" indent="-171450">
              <a:spcBef>
                <a:spcPts val="600"/>
              </a:spcBef>
              <a:buFont typeface="Arial" panose="020B0604020202020204" pitchFamily="34" charset="0"/>
              <a:buChar char="•"/>
            </a:pPr>
            <a:r>
              <a:rPr lang="en-US" sz="1050" b="1"/>
              <a:t>Enrichment is concentrated 4 businesses </a:t>
            </a:r>
            <a:r>
              <a:rPr lang="en-US" sz="1050"/>
              <a:t>around the world, with Russian </a:t>
            </a:r>
            <a:r>
              <a:rPr lang="en-US" sz="1050" err="1"/>
              <a:t>Rosatom</a:t>
            </a:r>
            <a:r>
              <a:rPr lang="en-US" sz="1050"/>
              <a:t> enriching 43% of global uranium.</a:t>
            </a:r>
          </a:p>
          <a:p>
            <a:pPr marL="171450" indent="-171450">
              <a:spcBef>
                <a:spcPts val="600"/>
              </a:spcBef>
              <a:buFont typeface="Arial" panose="020B0604020202020204" pitchFamily="34" charset="0"/>
              <a:buChar char="•"/>
            </a:pPr>
            <a:r>
              <a:rPr lang="en-US" sz="1050" b="1"/>
              <a:t>Fuel production is more decentralized</a:t>
            </a:r>
            <a:r>
              <a:rPr lang="en-US" sz="1050"/>
              <a:t>, with most countries with reactors having their own facilities.</a:t>
            </a:r>
          </a:p>
          <a:p>
            <a:pPr marL="171450" indent="-171450">
              <a:spcBef>
                <a:spcPts val="600"/>
              </a:spcBef>
              <a:buFont typeface="Arial" panose="020B0604020202020204" pitchFamily="34" charset="0"/>
              <a:buChar char="•"/>
            </a:pPr>
            <a:r>
              <a:rPr lang="en-US" sz="1050" b="1"/>
              <a:t>Only a few commercial businesses reprocess nuclear fuel</a:t>
            </a:r>
            <a:r>
              <a:rPr lang="en-US" sz="1050"/>
              <a:t>. The U.S. closed it reprocessing plants in the 1970’s.</a:t>
            </a:r>
          </a:p>
          <a:p>
            <a:pPr marL="171450" indent="-171450">
              <a:spcBef>
                <a:spcPts val="600"/>
              </a:spcBef>
              <a:buFont typeface="Arial" panose="020B0604020202020204" pitchFamily="34" charset="0"/>
              <a:buChar char="•"/>
            </a:pPr>
            <a:r>
              <a:rPr lang="en-US" sz="1050" b="1"/>
              <a:t>41% of fuel costs</a:t>
            </a:r>
            <a:r>
              <a:rPr lang="en-US" sz="1050"/>
              <a:t> come from </a:t>
            </a:r>
            <a:r>
              <a:rPr lang="en-US" sz="1050" b="1"/>
              <a:t>mining</a:t>
            </a:r>
            <a:r>
              <a:rPr lang="en-US" sz="1050"/>
              <a:t> the uranium, </a:t>
            </a:r>
            <a:r>
              <a:rPr lang="en-US" sz="1050" b="1"/>
              <a:t>45% enrichment </a:t>
            </a:r>
            <a:r>
              <a:rPr lang="en-US" sz="1050"/>
              <a:t>and only</a:t>
            </a:r>
            <a:r>
              <a:rPr lang="en-US" sz="1050" b="1"/>
              <a:t> 14% fuel production.</a:t>
            </a:r>
          </a:p>
        </p:txBody>
      </p:sp>
      <p:sp>
        <p:nvSpPr>
          <p:cNvPr id="1174" name="Rectangle 1173">
            <a:extLst>
              <a:ext uri="{FF2B5EF4-FFF2-40B4-BE49-F238E27FC236}">
                <a16:creationId xmlns:a16="http://schemas.microsoft.com/office/drawing/2014/main" id="{4F0277B2-AE1C-CF68-618C-1D1EABDF244D}"/>
              </a:ext>
            </a:extLst>
          </p:cNvPr>
          <p:cNvSpPr/>
          <p:nvPr/>
        </p:nvSpPr>
        <p:spPr bwMode="gray">
          <a:xfrm>
            <a:off x="5726815" y="3360960"/>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75" name="Rectangle 1174">
            <a:extLst>
              <a:ext uri="{FF2B5EF4-FFF2-40B4-BE49-F238E27FC236}">
                <a16:creationId xmlns:a16="http://schemas.microsoft.com/office/drawing/2014/main" id="{62526D68-CFFD-E4DC-93F0-3A91ADF96480}"/>
              </a:ext>
            </a:extLst>
          </p:cNvPr>
          <p:cNvSpPr/>
          <p:nvPr/>
        </p:nvSpPr>
        <p:spPr bwMode="gray">
          <a:xfrm>
            <a:off x="6181527" y="3360960"/>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72" name="Rectangle 1171">
            <a:extLst>
              <a:ext uri="{FF2B5EF4-FFF2-40B4-BE49-F238E27FC236}">
                <a16:creationId xmlns:a16="http://schemas.microsoft.com/office/drawing/2014/main" id="{4F436862-905B-8465-8262-90A6F856C27E}"/>
              </a:ext>
            </a:extLst>
          </p:cNvPr>
          <p:cNvSpPr/>
          <p:nvPr/>
        </p:nvSpPr>
        <p:spPr bwMode="gray">
          <a:xfrm rot="5400000">
            <a:off x="5463561" y="2804997"/>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73" name="Rectangle 1172">
            <a:extLst>
              <a:ext uri="{FF2B5EF4-FFF2-40B4-BE49-F238E27FC236}">
                <a16:creationId xmlns:a16="http://schemas.microsoft.com/office/drawing/2014/main" id="{B8E05788-602A-6AB5-6620-75F72B4862DC}"/>
              </a:ext>
            </a:extLst>
          </p:cNvPr>
          <p:cNvSpPr/>
          <p:nvPr/>
        </p:nvSpPr>
        <p:spPr bwMode="gray">
          <a:xfrm rot="5400000">
            <a:off x="5463561" y="3102359"/>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70" name="Rectangle 1169">
            <a:extLst>
              <a:ext uri="{FF2B5EF4-FFF2-40B4-BE49-F238E27FC236}">
                <a16:creationId xmlns:a16="http://schemas.microsoft.com/office/drawing/2014/main" id="{B035884C-D689-88CA-1977-EEBA36744874}"/>
              </a:ext>
            </a:extLst>
          </p:cNvPr>
          <p:cNvSpPr/>
          <p:nvPr/>
        </p:nvSpPr>
        <p:spPr bwMode="gray">
          <a:xfrm rot="5400000">
            <a:off x="6477646" y="2804998"/>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71" name="Rectangle 1170">
            <a:extLst>
              <a:ext uri="{FF2B5EF4-FFF2-40B4-BE49-F238E27FC236}">
                <a16:creationId xmlns:a16="http://schemas.microsoft.com/office/drawing/2014/main" id="{8B1DABF2-9EE8-2C31-6F12-0B6520791868}"/>
              </a:ext>
            </a:extLst>
          </p:cNvPr>
          <p:cNvSpPr/>
          <p:nvPr/>
        </p:nvSpPr>
        <p:spPr bwMode="gray">
          <a:xfrm rot="5400000">
            <a:off x="6477646" y="3102360"/>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68" name="Rectangle 1167">
            <a:extLst>
              <a:ext uri="{FF2B5EF4-FFF2-40B4-BE49-F238E27FC236}">
                <a16:creationId xmlns:a16="http://schemas.microsoft.com/office/drawing/2014/main" id="{54B58585-7BE3-C4D0-FD27-F21B9D98381C}"/>
              </a:ext>
            </a:extLst>
          </p:cNvPr>
          <p:cNvSpPr/>
          <p:nvPr/>
        </p:nvSpPr>
        <p:spPr bwMode="gray">
          <a:xfrm>
            <a:off x="5726815" y="2538075"/>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69" name="Rectangle 1168">
            <a:extLst>
              <a:ext uri="{FF2B5EF4-FFF2-40B4-BE49-F238E27FC236}">
                <a16:creationId xmlns:a16="http://schemas.microsoft.com/office/drawing/2014/main" id="{F8137CBE-5A87-40CB-24D7-F5A8B7418804}"/>
              </a:ext>
            </a:extLst>
          </p:cNvPr>
          <p:cNvSpPr/>
          <p:nvPr/>
        </p:nvSpPr>
        <p:spPr bwMode="gray">
          <a:xfrm>
            <a:off x="6181527" y="2538075"/>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63" name="Rectangle: Rounded Corners 1162">
            <a:extLst>
              <a:ext uri="{FF2B5EF4-FFF2-40B4-BE49-F238E27FC236}">
                <a16:creationId xmlns:a16="http://schemas.microsoft.com/office/drawing/2014/main" id="{77BD3633-ED5E-2FC9-EE6E-79B92CB0FA51}"/>
              </a:ext>
            </a:extLst>
          </p:cNvPr>
          <p:cNvSpPr/>
          <p:nvPr/>
        </p:nvSpPr>
        <p:spPr bwMode="gray">
          <a:xfrm>
            <a:off x="5453018" y="2538075"/>
            <a:ext cx="1097280" cy="914400"/>
          </a:xfrm>
          <a:prstGeom prst="roundRect">
            <a:avLst>
              <a:gd name="adj" fmla="val 16667"/>
            </a:avLst>
          </a:prstGeom>
          <a:solidFill>
            <a:schemeClr val="tx2">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5" name="Straight Arrow Connector 24">
            <a:extLst>
              <a:ext uri="{FF2B5EF4-FFF2-40B4-BE49-F238E27FC236}">
                <a16:creationId xmlns:a16="http://schemas.microsoft.com/office/drawing/2014/main" id="{023C7A5D-8242-0957-31DE-037E8405A146}"/>
              </a:ext>
            </a:extLst>
          </p:cNvPr>
          <p:cNvCxnSpPr>
            <a:cxnSpLocks/>
            <a:stCxn id="1119" idx="0"/>
            <a:endCxn id="1066" idx="2"/>
          </p:cNvCxnSpPr>
          <p:nvPr/>
        </p:nvCxnSpPr>
        <p:spPr bwMode="gray">
          <a:xfrm flipV="1">
            <a:off x="1659766" y="2739201"/>
            <a:ext cx="0" cy="565611"/>
          </a:xfrm>
          <a:prstGeom prst="straightConnector1">
            <a:avLst/>
          </a:prstGeom>
          <a:ln w="76200" cap="flat">
            <a:solidFill>
              <a:schemeClr val="accent4"/>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4A9E709-69CE-6F58-1EE7-90A4B4768A36}"/>
              </a:ext>
            </a:extLst>
          </p:cNvPr>
          <p:cNvCxnSpPr>
            <a:cxnSpLocks/>
            <a:stCxn id="1073" idx="0"/>
            <a:endCxn id="1144" idx="2"/>
          </p:cNvCxnSpPr>
          <p:nvPr/>
        </p:nvCxnSpPr>
        <p:spPr bwMode="gray">
          <a:xfrm flipV="1">
            <a:off x="2435762" y="2133321"/>
            <a:ext cx="1447485" cy="1"/>
          </a:xfrm>
          <a:prstGeom prst="straightConnector1">
            <a:avLst/>
          </a:prstGeom>
          <a:ln w="76200" cap="flat">
            <a:solidFill>
              <a:schemeClr val="accent3"/>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DD593EB-DFED-69FA-0143-26D747188B13}"/>
              </a:ext>
            </a:extLst>
          </p:cNvPr>
          <p:cNvCxnSpPr>
            <a:cxnSpLocks/>
            <a:stCxn id="1142" idx="0"/>
            <a:endCxn id="1186" idx="2"/>
          </p:cNvCxnSpPr>
          <p:nvPr/>
        </p:nvCxnSpPr>
        <p:spPr bwMode="gray">
          <a:xfrm flipV="1">
            <a:off x="4980527" y="2133321"/>
            <a:ext cx="2042265" cy="1"/>
          </a:xfrm>
          <a:prstGeom prst="straightConnector1">
            <a:avLst/>
          </a:prstGeom>
          <a:ln w="76200" cap="flat">
            <a:solidFill>
              <a:schemeClr val="accent6"/>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E0987D7F-3E80-52CA-464B-A737BC41D567}"/>
              </a:ext>
            </a:extLst>
          </p:cNvPr>
          <p:cNvCxnSpPr>
            <a:cxnSpLocks/>
            <a:stCxn id="1188" idx="2"/>
            <a:endCxn id="1170" idx="0"/>
          </p:cNvCxnSpPr>
          <p:nvPr/>
        </p:nvCxnSpPr>
        <p:spPr bwMode="gray">
          <a:xfrm rot="5400000">
            <a:off x="6893491" y="2396010"/>
            <a:ext cx="107395" cy="793777"/>
          </a:xfrm>
          <a:prstGeom prst="bentConnector2">
            <a:avLst/>
          </a:prstGeom>
          <a:ln w="76200" cap="flat">
            <a:solidFill>
              <a:srgbClr val="34A398">
                <a:alpha val="60000"/>
              </a:srgbClr>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71F45616-34E1-D1F6-E9D1-036F10140CA5}"/>
              </a:ext>
            </a:extLst>
          </p:cNvPr>
          <p:cNvCxnSpPr>
            <a:cxnSpLocks/>
            <a:stCxn id="1163" idx="1"/>
            <a:endCxn id="1067" idx="2"/>
          </p:cNvCxnSpPr>
          <p:nvPr/>
        </p:nvCxnSpPr>
        <p:spPr bwMode="gray">
          <a:xfrm rot="10800000">
            <a:off x="2114478" y="2739201"/>
            <a:ext cx="3338540" cy="256074"/>
          </a:xfrm>
          <a:prstGeom prst="bentConnector2">
            <a:avLst/>
          </a:prstGeom>
          <a:ln w="76200" cap="flat">
            <a:solidFill>
              <a:schemeClr val="accent4"/>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06F8B30E-F6A9-CCA6-A4EB-8CC78C4BE217}"/>
              </a:ext>
            </a:extLst>
          </p:cNvPr>
          <p:cNvCxnSpPr>
            <a:cxnSpLocks/>
            <a:stCxn id="1173" idx="2"/>
            <a:endCxn id="1155" idx="0"/>
          </p:cNvCxnSpPr>
          <p:nvPr/>
        </p:nvCxnSpPr>
        <p:spPr bwMode="gray">
          <a:xfrm rot="10800000" flipV="1">
            <a:off x="3655253" y="3143957"/>
            <a:ext cx="1797767" cy="166660"/>
          </a:xfrm>
          <a:prstGeom prst="bentConnector2">
            <a:avLst/>
          </a:prstGeom>
          <a:ln w="76200" cap="flat">
            <a:solidFill>
              <a:schemeClr val="bg2">
                <a:lumMod val="75000"/>
              </a:schemeClr>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52" name="Connector: Elbow 1051">
            <a:extLst>
              <a:ext uri="{FF2B5EF4-FFF2-40B4-BE49-F238E27FC236}">
                <a16:creationId xmlns:a16="http://schemas.microsoft.com/office/drawing/2014/main" id="{B5C19C2F-68A6-2241-C151-C6590DA1BCBF}"/>
              </a:ext>
            </a:extLst>
          </p:cNvPr>
          <p:cNvCxnSpPr>
            <a:cxnSpLocks/>
            <a:stCxn id="1189" idx="2"/>
            <a:endCxn id="1149" idx="3"/>
          </p:cNvCxnSpPr>
          <p:nvPr/>
        </p:nvCxnSpPr>
        <p:spPr bwMode="gray">
          <a:xfrm rot="5400000">
            <a:off x="5373354" y="1342383"/>
            <a:ext cx="1028616" cy="3822253"/>
          </a:xfrm>
          <a:prstGeom prst="bentConnector2">
            <a:avLst/>
          </a:prstGeom>
          <a:ln w="76200" cap="flat">
            <a:solidFill>
              <a:srgbClr val="454545"/>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066" name="Rectangle 1065">
            <a:extLst>
              <a:ext uri="{FF2B5EF4-FFF2-40B4-BE49-F238E27FC236}">
                <a16:creationId xmlns:a16="http://schemas.microsoft.com/office/drawing/2014/main" id="{9A487726-DD19-E298-211A-2317DEB05D05}"/>
              </a:ext>
            </a:extLst>
          </p:cNvPr>
          <p:cNvSpPr/>
          <p:nvPr/>
        </p:nvSpPr>
        <p:spPr bwMode="gray">
          <a:xfrm>
            <a:off x="1612278" y="2647686"/>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67" name="Rectangle 1066">
            <a:extLst>
              <a:ext uri="{FF2B5EF4-FFF2-40B4-BE49-F238E27FC236}">
                <a16:creationId xmlns:a16="http://schemas.microsoft.com/office/drawing/2014/main" id="{9D7DA7F2-19EF-6F5A-23C2-110212414CE7}"/>
              </a:ext>
            </a:extLst>
          </p:cNvPr>
          <p:cNvSpPr/>
          <p:nvPr/>
        </p:nvSpPr>
        <p:spPr bwMode="gray">
          <a:xfrm>
            <a:off x="2066990" y="2647686"/>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70" name="Rectangle 1069">
            <a:extLst>
              <a:ext uri="{FF2B5EF4-FFF2-40B4-BE49-F238E27FC236}">
                <a16:creationId xmlns:a16="http://schemas.microsoft.com/office/drawing/2014/main" id="{0F6A62C0-7660-2731-60BE-E93E40996906}"/>
              </a:ext>
            </a:extLst>
          </p:cNvPr>
          <p:cNvSpPr/>
          <p:nvPr/>
        </p:nvSpPr>
        <p:spPr bwMode="gray">
          <a:xfrm rot="5400000">
            <a:off x="1349024" y="2091723"/>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71" name="Rectangle 1070">
            <a:extLst>
              <a:ext uri="{FF2B5EF4-FFF2-40B4-BE49-F238E27FC236}">
                <a16:creationId xmlns:a16="http://schemas.microsoft.com/office/drawing/2014/main" id="{8A96A33B-1639-1CC4-D6CA-8F15BBD957A5}"/>
              </a:ext>
            </a:extLst>
          </p:cNvPr>
          <p:cNvSpPr/>
          <p:nvPr/>
        </p:nvSpPr>
        <p:spPr bwMode="gray">
          <a:xfrm rot="5400000">
            <a:off x="1349024" y="2389085"/>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73" name="Rectangle 1072">
            <a:extLst>
              <a:ext uri="{FF2B5EF4-FFF2-40B4-BE49-F238E27FC236}">
                <a16:creationId xmlns:a16="http://schemas.microsoft.com/office/drawing/2014/main" id="{BC3FCAA7-72B1-022B-A423-AC94D5AC3435}"/>
              </a:ext>
            </a:extLst>
          </p:cNvPr>
          <p:cNvSpPr/>
          <p:nvPr/>
        </p:nvSpPr>
        <p:spPr bwMode="gray">
          <a:xfrm rot="5400000">
            <a:off x="2363109" y="2091724"/>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74" name="Rectangle 1073">
            <a:extLst>
              <a:ext uri="{FF2B5EF4-FFF2-40B4-BE49-F238E27FC236}">
                <a16:creationId xmlns:a16="http://schemas.microsoft.com/office/drawing/2014/main" id="{4BDAAB68-F92C-5D3C-F3AC-44B98A5D658B}"/>
              </a:ext>
            </a:extLst>
          </p:cNvPr>
          <p:cNvSpPr/>
          <p:nvPr/>
        </p:nvSpPr>
        <p:spPr bwMode="gray">
          <a:xfrm rot="5400000">
            <a:off x="2363109" y="2389086"/>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82" name="Rectangle 1081">
            <a:extLst>
              <a:ext uri="{FF2B5EF4-FFF2-40B4-BE49-F238E27FC236}">
                <a16:creationId xmlns:a16="http://schemas.microsoft.com/office/drawing/2014/main" id="{85C74A94-A5C5-7D97-FDDC-E7CFE6875706}"/>
              </a:ext>
            </a:extLst>
          </p:cNvPr>
          <p:cNvSpPr/>
          <p:nvPr/>
        </p:nvSpPr>
        <p:spPr bwMode="gray">
          <a:xfrm>
            <a:off x="1899368" y="1824801"/>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89" name="Rectangle 1088">
            <a:extLst>
              <a:ext uri="{FF2B5EF4-FFF2-40B4-BE49-F238E27FC236}">
                <a16:creationId xmlns:a16="http://schemas.microsoft.com/office/drawing/2014/main" id="{2526CFE9-1ECC-5417-AA43-5AD19E4B27B3}"/>
              </a:ext>
            </a:extLst>
          </p:cNvPr>
          <p:cNvSpPr/>
          <p:nvPr/>
        </p:nvSpPr>
        <p:spPr bwMode="gray">
          <a:xfrm>
            <a:off x="2354080" y="1824801"/>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32" name="Rectangle 1131">
            <a:extLst>
              <a:ext uri="{FF2B5EF4-FFF2-40B4-BE49-F238E27FC236}">
                <a16:creationId xmlns:a16="http://schemas.microsoft.com/office/drawing/2014/main" id="{F8BF9A7B-67E6-0683-B7C5-6B88EFBE4C3D}"/>
              </a:ext>
            </a:extLst>
          </p:cNvPr>
          <p:cNvSpPr/>
          <p:nvPr/>
        </p:nvSpPr>
        <p:spPr bwMode="gray">
          <a:xfrm>
            <a:off x="1612278" y="4127697"/>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33" name="Rectangle 1132">
            <a:extLst>
              <a:ext uri="{FF2B5EF4-FFF2-40B4-BE49-F238E27FC236}">
                <a16:creationId xmlns:a16="http://schemas.microsoft.com/office/drawing/2014/main" id="{0CBCCB24-9C67-7BC8-4241-2A6148B999C3}"/>
              </a:ext>
            </a:extLst>
          </p:cNvPr>
          <p:cNvSpPr/>
          <p:nvPr/>
        </p:nvSpPr>
        <p:spPr bwMode="gray">
          <a:xfrm>
            <a:off x="2066990" y="4127697"/>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25" name="Rectangle 1124">
            <a:extLst>
              <a:ext uri="{FF2B5EF4-FFF2-40B4-BE49-F238E27FC236}">
                <a16:creationId xmlns:a16="http://schemas.microsoft.com/office/drawing/2014/main" id="{158290AC-F5FB-194B-A857-4EB040CFA21E}"/>
              </a:ext>
            </a:extLst>
          </p:cNvPr>
          <p:cNvSpPr/>
          <p:nvPr/>
        </p:nvSpPr>
        <p:spPr bwMode="gray">
          <a:xfrm rot="5400000">
            <a:off x="1349024" y="3571734"/>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31" name="Rectangle 1130">
            <a:extLst>
              <a:ext uri="{FF2B5EF4-FFF2-40B4-BE49-F238E27FC236}">
                <a16:creationId xmlns:a16="http://schemas.microsoft.com/office/drawing/2014/main" id="{C0AE5721-43F3-F7CA-881B-DC9B800300FF}"/>
              </a:ext>
            </a:extLst>
          </p:cNvPr>
          <p:cNvSpPr/>
          <p:nvPr/>
        </p:nvSpPr>
        <p:spPr bwMode="gray">
          <a:xfrm rot="5400000">
            <a:off x="1349024" y="3869096"/>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21" name="Rectangle 1120">
            <a:extLst>
              <a:ext uri="{FF2B5EF4-FFF2-40B4-BE49-F238E27FC236}">
                <a16:creationId xmlns:a16="http://schemas.microsoft.com/office/drawing/2014/main" id="{18A3D2B1-E020-82D9-5638-5C2149E3FB8E}"/>
              </a:ext>
            </a:extLst>
          </p:cNvPr>
          <p:cNvSpPr/>
          <p:nvPr/>
        </p:nvSpPr>
        <p:spPr bwMode="gray">
          <a:xfrm rot="5400000">
            <a:off x="2363109" y="3571735"/>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23" name="Rectangle 1122">
            <a:extLst>
              <a:ext uri="{FF2B5EF4-FFF2-40B4-BE49-F238E27FC236}">
                <a16:creationId xmlns:a16="http://schemas.microsoft.com/office/drawing/2014/main" id="{50F53FE5-2989-8223-C11A-2AFEF0E90147}"/>
              </a:ext>
            </a:extLst>
          </p:cNvPr>
          <p:cNvSpPr/>
          <p:nvPr/>
        </p:nvSpPr>
        <p:spPr bwMode="gray">
          <a:xfrm rot="5400000">
            <a:off x="2363109" y="3869097"/>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19" name="Rectangle 1118">
            <a:extLst>
              <a:ext uri="{FF2B5EF4-FFF2-40B4-BE49-F238E27FC236}">
                <a16:creationId xmlns:a16="http://schemas.microsoft.com/office/drawing/2014/main" id="{E9FAA3AB-6469-6778-5ED4-9E748A7EAF5C}"/>
              </a:ext>
            </a:extLst>
          </p:cNvPr>
          <p:cNvSpPr/>
          <p:nvPr/>
        </p:nvSpPr>
        <p:spPr bwMode="gray">
          <a:xfrm>
            <a:off x="1612278" y="3304812"/>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20" name="Rectangle 1119">
            <a:extLst>
              <a:ext uri="{FF2B5EF4-FFF2-40B4-BE49-F238E27FC236}">
                <a16:creationId xmlns:a16="http://schemas.microsoft.com/office/drawing/2014/main" id="{6AA92B31-D32A-03E4-0943-4DB65608E113}"/>
              </a:ext>
            </a:extLst>
          </p:cNvPr>
          <p:cNvSpPr/>
          <p:nvPr/>
        </p:nvSpPr>
        <p:spPr bwMode="gray">
          <a:xfrm>
            <a:off x="2066990" y="3304812"/>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46" name="Rectangle 1145">
            <a:extLst>
              <a:ext uri="{FF2B5EF4-FFF2-40B4-BE49-F238E27FC236}">
                <a16:creationId xmlns:a16="http://schemas.microsoft.com/office/drawing/2014/main" id="{098784EE-B43B-B57D-7338-6028216E120F}"/>
              </a:ext>
            </a:extLst>
          </p:cNvPr>
          <p:cNvSpPr/>
          <p:nvPr/>
        </p:nvSpPr>
        <p:spPr bwMode="gray">
          <a:xfrm>
            <a:off x="4157043" y="2647686"/>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47" name="Rectangle 1146">
            <a:extLst>
              <a:ext uri="{FF2B5EF4-FFF2-40B4-BE49-F238E27FC236}">
                <a16:creationId xmlns:a16="http://schemas.microsoft.com/office/drawing/2014/main" id="{11B8A16A-F2F5-2B5C-0292-80774B18FE1F}"/>
              </a:ext>
            </a:extLst>
          </p:cNvPr>
          <p:cNvSpPr/>
          <p:nvPr/>
        </p:nvSpPr>
        <p:spPr bwMode="gray">
          <a:xfrm>
            <a:off x="4611755" y="2647686"/>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44" name="Rectangle 1143">
            <a:extLst>
              <a:ext uri="{FF2B5EF4-FFF2-40B4-BE49-F238E27FC236}">
                <a16:creationId xmlns:a16="http://schemas.microsoft.com/office/drawing/2014/main" id="{41E9CBB3-EA83-0BEA-44AE-7C780F27D77B}"/>
              </a:ext>
            </a:extLst>
          </p:cNvPr>
          <p:cNvSpPr/>
          <p:nvPr/>
        </p:nvSpPr>
        <p:spPr bwMode="gray">
          <a:xfrm rot="5400000">
            <a:off x="3893789" y="2091723"/>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45" name="Rectangle 1144">
            <a:extLst>
              <a:ext uri="{FF2B5EF4-FFF2-40B4-BE49-F238E27FC236}">
                <a16:creationId xmlns:a16="http://schemas.microsoft.com/office/drawing/2014/main" id="{0BDFF8BB-96E0-F930-7C22-B6CBAB6BB7D4}"/>
              </a:ext>
            </a:extLst>
          </p:cNvPr>
          <p:cNvSpPr/>
          <p:nvPr/>
        </p:nvSpPr>
        <p:spPr bwMode="gray">
          <a:xfrm rot="5400000">
            <a:off x="3893789" y="2389085"/>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42" name="Rectangle 1141">
            <a:extLst>
              <a:ext uri="{FF2B5EF4-FFF2-40B4-BE49-F238E27FC236}">
                <a16:creationId xmlns:a16="http://schemas.microsoft.com/office/drawing/2014/main" id="{60C88329-DE61-9FC7-CF28-9058EA4713D4}"/>
              </a:ext>
            </a:extLst>
          </p:cNvPr>
          <p:cNvSpPr/>
          <p:nvPr/>
        </p:nvSpPr>
        <p:spPr bwMode="gray">
          <a:xfrm rot="5400000">
            <a:off x="4907874" y="2091724"/>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43" name="Rectangle 1142">
            <a:extLst>
              <a:ext uri="{FF2B5EF4-FFF2-40B4-BE49-F238E27FC236}">
                <a16:creationId xmlns:a16="http://schemas.microsoft.com/office/drawing/2014/main" id="{A42D78E6-A579-DB76-05AF-34DFD84877B8}"/>
              </a:ext>
            </a:extLst>
          </p:cNvPr>
          <p:cNvSpPr/>
          <p:nvPr/>
        </p:nvSpPr>
        <p:spPr bwMode="gray">
          <a:xfrm rot="5400000">
            <a:off x="4907874" y="2389086"/>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40" name="Rectangle 1139">
            <a:extLst>
              <a:ext uri="{FF2B5EF4-FFF2-40B4-BE49-F238E27FC236}">
                <a16:creationId xmlns:a16="http://schemas.microsoft.com/office/drawing/2014/main" id="{75CD2D55-49EE-2F08-5DED-BBD9376F2EA7}"/>
              </a:ext>
            </a:extLst>
          </p:cNvPr>
          <p:cNvSpPr/>
          <p:nvPr/>
        </p:nvSpPr>
        <p:spPr bwMode="gray">
          <a:xfrm>
            <a:off x="4444133" y="1824801"/>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41" name="Rectangle 1140">
            <a:extLst>
              <a:ext uri="{FF2B5EF4-FFF2-40B4-BE49-F238E27FC236}">
                <a16:creationId xmlns:a16="http://schemas.microsoft.com/office/drawing/2014/main" id="{9D01B056-5D76-402C-2DC0-FFD843B8626B}"/>
              </a:ext>
            </a:extLst>
          </p:cNvPr>
          <p:cNvSpPr/>
          <p:nvPr/>
        </p:nvSpPr>
        <p:spPr bwMode="gray">
          <a:xfrm>
            <a:off x="4898845" y="1824801"/>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60" name="Rectangle 1159">
            <a:extLst>
              <a:ext uri="{FF2B5EF4-FFF2-40B4-BE49-F238E27FC236}">
                <a16:creationId xmlns:a16="http://schemas.microsoft.com/office/drawing/2014/main" id="{5BCA3927-20A7-3A99-0D08-5555A386D166}"/>
              </a:ext>
            </a:extLst>
          </p:cNvPr>
          <p:cNvSpPr/>
          <p:nvPr/>
        </p:nvSpPr>
        <p:spPr bwMode="gray">
          <a:xfrm>
            <a:off x="3153052" y="4133502"/>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61" name="Rectangle 1160">
            <a:extLst>
              <a:ext uri="{FF2B5EF4-FFF2-40B4-BE49-F238E27FC236}">
                <a16:creationId xmlns:a16="http://schemas.microsoft.com/office/drawing/2014/main" id="{FF72840C-0BFD-328E-CED4-05E3F720266A}"/>
              </a:ext>
            </a:extLst>
          </p:cNvPr>
          <p:cNvSpPr/>
          <p:nvPr/>
        </p:nvSpPr>
        <p:spPr bwMode="gray">
          <a:xfrm>
            <a:off x="3607764" y="4133502"/>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58" name="Rectangle 1157">
            <a:extLst>
              <a:ext uri="{FF2B5EF4-FFF2-40B4-BE49-F238E27FC236}">
                <a16:creationId xmlns:a16="http://schemas.microsoft.com/office/drawing/2014/main" id="{B05748A7-B1C6-4068-AEDE-04168B4F31F8}"/>
              </a:ext>
            </a:extLst>
          </p:cNvPr>
          <p:cNvSpPr/>
          <p:nvPr/>
        </p:nvSpPr>
        <p:spPr bwMode="gray">
          <a:xfrm rot="5400000">
            <a:off x="2889798" y="3577539"/>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59" name="Rectangle 1158">
            <a:extLst>
              <a:ext uri="{FF2B5EF4-FFF2-40B4-BE49-F238E27FC236}">
                <a16:creationId xmlns:a16="http://schemas.microsoft.com/office/drawing/2014/main" id="{E9E10F3F-5835-1189-7303-99860E12C3CB}"/>
              </a:ext>
            </a:extLst>
          </p:cNvPr>
          <p:cNvSpPr/>
          <p:nvPr/>
        </p:nvSpPr>
        <p:spPr bwMode="gray">
          <a:xfrm rot="5400000">
            <a:off x="2889798" y="3874901"/>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56" name="Rectangle 1155">
            <a:extLst>
              <a:ext uri="{FF2B5EF4-FFF2-40B4-BE49-F238E27FC236}">
                <a16:creationId xmlns:a16="http://schemas.microsoft.com/office/drawing/2014/main" id="{0662704A-A62C-98C6-B374-FA12102742CE}"/>
              </a:ext>
            </a:extLst>
          </p:cNvPr>
          <p:cNvSpPr/>
          <p:nvPr/>
        </p:nvSpPr>
        <p:spPr bwMode="gray">
          <a:xfrm rot="5400000">
            <a:off x="3903883" y="3577540"/>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57" name="Rectangle 1156">
            <a:extLst>
              <a:ext uri="{FF2B5EF4-FFF2-40B4-BE49-F238E27FC236}">
                <a16:creationId xmlns:a16="http://schemas.microsoft.com/office/drawing/2014/main" id="{3E584EF2-E891-B309-6810-2A65C4B72CEC}"/>
              </a:ext>
            </a:extLst>
          </p:cNvPr>
          <p:cNvSpPr/>
          <p:nvPr/>
        </p:nvSpPr>
        <p:spPr bwMode="gray">
          <a:xfrm rot="5400000">
            <a:off x="3903883" y="3874902"/>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54" name="Rectangle 1153">
            <a:extLst>
              <a:ext uri="{FF2B5EF4-FFF2-40B4-BE49-F238E27FC236}">
                <a16:creationId xmlns:a16="http://schemas.microsoft.com/office/drawing/2014/main" id="{3BFF8D28-7CD9-314B-8BD1-77D0EBBF4591}"/>
              </a:ext>
            </a:extLst>
          </p:cNvPr>
          <p:cNvSpPr/>
          <p:nvPr/>
        </p:nvSpPr>
        <p:spPr bwMode="gray">
          <a:xfrm>
            <a:off x="3153052" y="3310617"/>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55" name="Rectangle 1154">
            <a:extLst>
              <a:ext uri="{FF2B5EF4-FFF2-40B4-BE49-F238E27FC236}">
                <a16:creationId xmlns:a16="http://schemas.microsoft.com/office/drawing/2014/main" id="{99FDB9AD-0B4E-C0F7-8B64-F71ABEAA5603}"/>
              </a:ext>
            </a:extLst>
          </p:cNvPr>
          <p:cNvSpPr/>
          <p:nvPr/>
        </p:nvSpPr>
        <p:spPr bwMode="gray">
          <a:xfrm>
            <a:off x="3607764" y="3310617"/>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88" name="Rectangle 1187">
            <a:extLst>
              <a:ext uri="{FF2B5EF4-FFF2-40B4-BE49-F238E27FC236}">
                <a16:creationId xmlns:a16="http://schemas.microsoft.com/office/drawing/2014/main" id="{378EDD48-8105-428E-EE26-26D99BCB3ECC}"/>
              </a:ext>
            </a:extLst>
          </p:cNvPr>
          <p:cNvSpPr/>
          <p:nvPr/>
        </p:nvSpPr>
        <p:spPr bwMode="gray">
          <a:xfrm>
            <a:off x="7296588" y="2647686"/>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89" name="Rectangle 1188">
            <a:extLst>
              <a:ext uri="{FF2B5EF4-FFF2-40B4-BE49-F238E27FC236}">
                <a16:creationId xmlns:a16="http://schemas.microsoft.com/office/drawing/2014/main" id="{B92370C7-418E-F304-4E30-CE6374F245A0}"/>
              </a:ext>
            </a:extLst>
          </p:cNvPr>
          <p:cNvSpPr/>
          <p:nvPr/>
        </p:nvSpPr>
        <p:spPr bwMode="gray">
          <a:xfrm>
            <a:off x="7751300" y="2647686"/>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86" name="Rectangle 1185">
            <a:extLst>
              <a:ext uri="{FF2B5EF4-FFF2-40B4-BE49-F238E27FC236}">
                <a16:creationId xmlns:a16="http://schemas.microsoft.com/office/drawing/2014/main" id="{EA9F6BD7-325E-C686-9E23-0AE3077B9CFB}"/>
              </a:ext>
            </a:extLst>
          </p:cNvPr>
          <p:cNvSpPr/>
          <p:nvPr/>
        </p:nvSpPr>
        <p:spPr bwMode="gray">
          <a:xfrm rot="5400000">
            <a:off x="7033334" y="2091723"/>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87" name="Rectangle 1186">
            <a:extLst>
              <a:ext uri="{FF2B5EF4-FFF2-40B4-BE49-F238E27FC236}">
                <a16:creationId xmlns:a16="http://schemas.microsoft.com/office/drawing/2014/main" id="{6B6BC0CB-A92A-8543-8BE3-D6229A8F2099}"/>
              </a:ext>
            </a:extLst>
          </p:cNvPr>
          <p:cNvSpPr/>
          <p:nvPr/>
        </p:nvSpPr>
        <p:spPr bwMode="gray">
          <a:xfrm rot="5400000">
            <a:off x="7033334" y="2389085"/>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84" name="Rectangle 1183">
            <a:extLst>
              <a:ext uri="{FF2B5EF4-FFF2-40B4-BE49-F238E27FC236}">
                <a16:creationId xmlns:a16="http://schemas.microsoft.com/office/drawing/2014/main" id="{BF7E0DA6-0B89-A551-6BC6-DA990293AB14}"/>
              </a:ext>
            </a:extLst>
          </p:cNvPr>
          <p:cNvSpPr/>
          <p:nvPr/>
        </p:nvSpPr>
        <p:spPr bwMode="gray">
          <a:xfrm rot="5400000">
            <a:off x="8047419" y="2091724"/>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85" name="Rectangle 1184">
            <a:extLst>
              <a:ext uri="{FF2B5EF4-FFF2-40B4-BE49-F238E27FC236}">
                <a16:creationId xmlns:a16="http://schemas.microsoft.com/office/drawing/2014/main" id="{9FB516A9-AB64-BBC4-4EDF-F68874765F66}"/>
              </a:ext>
            </a:extLst>
          </p:cNvPr>
          <p:cNvSpPr/>
          <p:nvPr/>
        </p:nvSpPr>
        <p:spPr bwMode="gray">
          <a:xfrm rot="5400000">
            <a:off x="8047419" y="2389086"/>
            <a:ext cx="62110" cy="831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82" name="Rectangle 1181">
            <a:extLst>
              <a:ext uri="{FF2B5EF4-FFF2-40B4-BE49-F238E27FC236}">
                <a16:creationId xmlns:a16="http://schemas.microsoft.com/office/drawing/2014/main" id="{79AF6177-23AA-24BA-E106-752C0BACC67B}"/>
              </a:ext>
            </a:extLst>
          </p:cNvPr>
          <p:cNvSpPr/>
          <p:nvPr/>
        </p:nvSpPr>
        <p:spPr bwMode="gray">
          <a:xfrm>
            <a:off x="7583678" y="1824801"/>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83" name="Rectangle 1182">
            <a:extLst>
              <a:ext uri="{FF2B5EF4-FFF2-40B4-BE49-F238E27FC236}">
                <a16:creationId xmlns:a16="http://schemas.microsoft.com/office/drawing/2014/main" id="{7920B880-8156-BF4E-7398-1A1BB1B95F06}"/>
              </a:ext>
            </a:extLst>
          </p:cNvPr>
          <p:cNvSpPr/>
          <p:nvPr/>
        </p:nvSpPr>
        <p:spPr bwMode="gray">
          <a:xfrm>
            <a:off x="8038390" y="1824801"/>
            <a:ext cx="94975" cy="915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05" name="Connector: Elbow 1204">
            <a:extLst>
              <a:ext uri="{FF2B5EF4-FFF2-40B4-BE49-F238E27FC236}">
                <a16:creationId xmlns:a16="http://schemas.microsoft.com/office/drawing/2014/main" id="{00E61C4E-DDE3-2D05-D1AE-D2BCE5530AB0}"/>
              </a:ext>
            </a:extLst>
          </p:cNvPr>
          <p:cNvCxnSpPr>
            <a:cxnSpLocks/>
            <a:stCxn id="1172" idx="2"/>
            <a:endCxn id="1145" idx="2"/>
          </p:cNvCxnSpPr>
          <p:nvPr/>
        </p:nvCxnSpPr>
        <p:spPr bwMode="gray">
          <a:xfrm rot="10800000">
            <a:off x="3883247" y="2430683"/>
            <a:ext cx="1569772" cy="415912"/>
          </a:xfrm>
          <a:prstGeom prst="bentConnector3">
            <a:avLst>
              <a:gd name="adj1" fmla="val 113891"/>
            </a:avLst>
          </a:prstGeom>
          <a:ln w="76200" cap="flat">
            <a:solidFill>
              <a:srgbClr val="1A524C"/>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219" name="Straight Arrow Connector 1218">
            <a:extLst>
              <a:ext uri="{FF2B5EF4-FFF2-40B4-BE49-F238E27FC236}">
                <a16:creationId xmlns:a16="http://schemas.microsoft.com/office/drawing/2014/main" id="{62D14D1A-C688-CF23-DC75-609F24D43727}"/>
              </a:ext>
            </a:extLst>
          </p:cNvPr>
          <p:cNvCxnSpPr>
            <a:cxnSpLocks/>
            <a:stCxn id="1143" idx="0"/>
            <a:endCxn id="1187" idx="2"/>
          </p:cNvCxnSpPr>
          <p:nvPr/>
        </p:nvCxnSpPr>
        <p:spPr bwMode="gray">
          <a:xfrm flipV="1">
            <a:off x="4980527" y="2430683"/>
            <a:ext cx="2042265" cy="1"/>
          </a:xfrm>
          <a:prstGeom prst="straightConnector1">
            <a:avLst/>
          </a:prstGeom>
          <a:ln w="76200" cap="flat">
            <a:solidFill>
              <a:schemeClr val="accent6">
                <a:lumMod val="50000"/>
              </a:schemeClr>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228" name="Connector: Elbow 1227">
            <a:extLst>
              <a:ext uri="{FF2B5EF4-FFF2-40B4-BE49-F238E27FC236}">
                <a16:creationId xmlns:a16="http://schemas.microsoft.com/office/drawing/2014/main" id="{38354E42-45B4-2E59-1CCE-AB3068C3C3E8}"/>
              </a:ext>
            </a:extLst>
          </p:cNvPr>
          <p:cNvCxnSpPr>
            <a:cxnSpLocks/>
            <a:stCxn id="1177" idx="2"/>
            <a:endCxn id="1171" idx="0"/>
          </p:cNvCxnSpPr>
          <p:nvPr/>
        </p:nvCxnSpPr>
        <p:spPr bwMode="gray">
          <a:xfrm rot="5400000">
            <a:off x="6858487" y="2431013"/>
            <a:ext cx="404757" cy="1021132"/>
          </a:xfrm>
          <a:prstGeom prst="bentConnector2">
            <a:avLst/>
          </a:prstGeom>
          <a:ln w="76200" cap="flat">
            <a:solidFill>
              <a:srgbClr val="1A524C">
                <a:alpha val="69804"/>
              </a:srgbClr>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240" name="Connector: Elbow 1239">
            <a:extLst>
              <a:ext uri="{FF2B5EF4-FFF2-40B4-BE49-F238E27FC236}">
                <a16:creationId xmlns:a16="http://schemas.microsoft.com/office/drawing/2014/main" id="{156DB539-1583-C5F1-AE0E-564C6A241354}"/>
              </a:ext>
            </a:extLst>
          </p:cNvPr>
          <p:cNvCxnSpPr>
            <a:cxnSpLocks/>
            <a:stCxn id="1062" idx="3"/>
            <a:endCxn id="1135" idx="1"/>
          </p:cNvCxnSpPr>
          <p:nvPr/>
        </p:nvCxnSpPr>
        <p:spPr bwMode="gray">
          <a:xfrm>
            <a:off x="2435761" y="2282001"/>
            <a:ext cx="1447485" cy="0"/>
          </a:xfrm>
          <a:prstGeom prst="bentConnector3">
            <a:avLst>
              <a:gd name="adj1" fmla="val 50000"/>
            </a:avLst>
          </a:prstGeom>
          <a:ln w="76200" cap="flat">
            <a:solidFill>
              <a:schemeClr val="bg1">
                <a:lumMod val="50000"/>
              </a:schemeClr>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243" name="Connector: Elbow 1242">
            <a:extLst>
              <a:ext uri="{FF2B5EF4-FFF2-40B4-BE49-F238E27FC236}">
                <a16:creationId xmlns:a16="http://schemas.microsoft.com/office/drawing/2014/main" id="{837729FC-A428-4CCC-6AE8-79EA50770EDB}"/>
              </a:ext>
            </a:extLst>
          </p:cNvPr>
          <p:cNvCxnSpPr>
            <a:cxnSpLocks/>
            <a:stCxn id="1062" idx="3"/>
            <a:endCxn id="1154" idx="0"/>
          </p:cNvCxnSpPr>
          <p:nvPr/>
        </p:nvCxnSpPr>
        <p:spPr bwMode="gray">
          <a:xfrm>
            <a:off x="2435761" y="2282001"/>
            <a:ext cx="764779" cy="1028616"/>
          </a:xfrm>
          <a:prstGeom prst="bentConnector2">
            <a:avLst/>
          </a:prstGeom>
          <a:ln w="76200" cap="flat">
            <a:solidFill>
              <a:schemeClr val="bg1">
                <a:lumMod val="50000"/>
              </a:schemeClr>
            </a:solidFill>
            <a:miter lim="800000"/>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062" name="Rectangle: Rounded Corners 1061">
            <a:extLst>
              <a:ext uri="{FF2B5EF4-FFF2-40B4-BE49-F238E27FC236}">
                <a16:creationId xmlns:a16="http://schemas.microsoft.com/office/drawing/2014/main" id="{A177A70A-7EF6-66AA-188D-48DE4AE9A6F6}"/>
              </a:ext>
            </a:extLst>
          </p:cNvPr>
          <p:cNvSpPr/>
          <p:nvPr/>
        </p:nvSpPr>
        <p:spPr bwMode="gray">
          <a:xfrm>
            <a:off x="1338481" y="1824801"/>
            <a:ext cx="1097280" cy="914400"/>
          </a:xfrm>
          <a:prstGeom prst="roundRect">
            <a:avLst>
              <a:gd name="adj" fmla="val 16667"/>
            </a:avLst>
          </a:prstGeom>
          <a:solidFill>
            <a:schemeClr val="tx2">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06" name="Rectangle: Rounded Corners 1105">
            <a:extLst>
              <a:ext uri="{FF2B5EF4-FFF2-40B4-BE49-F238E27FC236}">
                <a16:creationId xmlns:a16="http://schemas.microsoft.com/office/drawing/2014/main" id="{017F078A-09AD-374F-0508-9573F017107B}"/>
              </a:ext>
            </a:extLst>
          </p:cNvPr>
          <p:cNvSpPr/>
          <p:nvPr/>
        </p:nvSpPr>
        <p:spPr bwMode="gray">
          <a:xfrm>
            <a:off x="1338481" y="3304812"/>
            <a:ext cx="1097280" cy="914400"/>
          </a:xfrm>
          <a:prstGeom prst="roundRect">
            <a:avLst>
              <a:gd name="adj" fmla="val 16667"/>
            </a:avLst>
          </a:prstGeom>
          <a:solidFill>
            <a:schemeClr val="tx2">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35" name="Rectangle: Rounded Corners 1134">
            <a:extLst>
              <a:ext uri="{FF2B5EF4-FFF2-40B4-BE49-F238E27FC236}">
                <a16:creationId xmlns:a16="http://schemas.microsoft.com/office/drawing/2014/main" id="{F1C5E1B4-B83E-DB06-0C09-265A2DC2BA60}"/>
              </a:ext>
            </a:extLst>
          </p:cNvPr>
          <p:cNvSpPr/>
          <p:nvPr/>
        </p:nvSpPr>
        <p:spPr bwMode="gray">
          <a:xfrm>
            <a:off x="3883246" y="1824801"/>
            <a:ext cx="1097280" cy="914400"/>
          </a:xfrm>
          <a:prstGeom prst="roundRect">
            <a:avLst>
              <a:gd name="adj" fmla="val 16667"/>
            </a:avLst>
          </a:prstGeom>
          <a:solidFill>
            <a:schemeClr val="tx2">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258" name="Graphic 1257" descr="Dump truck with solid fill">
            <a:extLst>
              <a:ext uri="{FF2B5EF4-FFF2-40B4-BE49-F238E27FC236}">
                <a16:creationId xmlns:a16="http://schemas.microsoft.com/office/drawing/2014/main" id="{7FE23F2A-AB4B-5CF0-6592-85CC277CA38A}"/>
              </a:ext>
            </a:extLst>
          </p:cNvPr>
          <p:cNvPicPr>
            <a:picLocks noChangeAspect="1"/>
          </p:cNvPicPr>
          <p:nvPr/>
        </p:nvPicPr>
        <p:blipFill>
          <a:blip>
            <a:extLst>
              <a:ext uri="{96DAC541-7B7A-43D3-8B79-37D633B846F1}">
                <asvg:svgBlip xmlns:asvg="http://schemas.microsoft.com/office/drawing/2016/SVG/main" r:embed="rId55"/>
              </a:ext>
            </a:extLst>
          </a:blip>
          <a:stretch>
            <a:fillRect/>
          </a:stretch>
        </p:blipFill>
        <p:spPr>
          <a:xfrm>
            <a:off x="1567081" y="3579132"/>
            <a:ext cx="640080" cy="640080"/>
          </a:xfrm>
          <a:prstGeom prst="rect">
            <a:avLst/>
          </a:prstGeom>
          <a:noFill/>
        </p:spPr>
      </p:pic>
      <p:pic>
        <p:nvPicPr>
          <p:cNvPr id="1262" name="Graphic 1261" descr="Test tubes with solid fill">
            <a:extLst>
              <a:ext uri="{FF2B5EF4-FFF2-40B4-BE49-F238E27FC236}">
                <a16:creationId xmlns:a16="http://schemas.microsoft.com/office/drawing/2014/main" id="{991B0A65-897F-3E3D-C160-22CB1035FBA0}"/>
              </a:ext>
            </a:extLst>
          </p:cNvPr>
          <p:cNvPicPr>
            <a:picLocks noChangeAspect="1"/>
          </p:cNvPicPr>
          <p:nvPr/>
        </p:nvPicPr>
        <p:blipFill>
          <a:blip>
            <a:extLst>
              <a:ext uri="{96DAC541-7B7A-43D3-8B79-37D633B846F1}">
                <asvg:svgBlip xmlns:asvg="http://schemas.microsoft.com/office/drawing/2016/SVG/main" r:embed="rId56"/>
              </a:ext>
            </a:extLst>
          </a:blip>
          <a:stretch>
            <a:fillRect/>
          </a:stretch>
        </p:blipFill>
        <p:spPr>
          <a:xfrm>
            <a:off x="4191435" y="2258299"/>
            <a:ext cx="480902" cy="480902"/>
          </a:xfrm>
          <a:prstGeom prst="rect">
            <a:avLst/>
          </a:prstGeom>
          <a:noFill/>
        </p:spPr>
      </p:pic>
      <p:pic>
        <p:nvPicPr>
          <p:cNvPr id="1264" name="Graphic 1263" descr="Atom with solid fill">
            <a:extLst>
              <a:ext uri="{FF2B5EF4-FFF2-40B4-BE49-F238E27FC236}">
                <a16:creationId xmlns:a16="http://schemas.microsoft.com/office/drawing/2014/main" id="{EC813707-34A6-CB16-14AD-483AB389D161}"/>
              </a:ext>
            </a:extLst>
          </p:cNvPr>
          <p:cNvPicPr>
            <a:picLocks noChangeAspect="1"/>
          </p:cNvPicPr>
          <p:nvPr/>
        </p:nvPicPr>
        <p:blipFill>
          <a:blip>
            <a:extLst>
              <a:ext uri="{96DAC541-7B7A-43D3-8B79-37D633B846F1}">
                <asvg:svgBlip xmlns:asvg="http://schemas.microsoft.com/office/drawing/2016/SVG/main" r:embed="rId57"/>
              </a:ext>
            </a:extLst>
          </a:blip>
          <a:stretch>
            <a:fillRect/>
          </a:stretch>
        </p:blipFill>
        <p:spPr>
          <a:xfrm>
            <a:off x="1567081" y="2099121"/>
            <a:ext cx="640080" cy="640080"/>
          </a:xfrm>
          <a:prstGeom prst="rect">
            <a:avLst/>
          </a:prstGeom>
          <a:noFill/>
        </p:spPr>
      </p:pic>
      <p:pic>
        <p:nvPicPr>
          <p:cNvPr id="1274" name="Graphic 1273" descr="Oil Barrel with solid fill">
            <a:extLst>
              <a:ext uri="{FF2B5EF4-FFF2-40B4-BE49-F238E27FC236}">
                <a16:creationId xmlns:a16="http://schemas.microsoft.com/office/drawing/2014/main" id="{4DFB9743-4658-F8FB-F1CF-9B71EAA8746A}"/>
              </a:ext>
            </a:extLst>
          </p:cNvPr>
          <p:cNvPicPr>
            <a:picLocks noChangeAspect="1"/>
          </p:cNvPicPr>
          <p:nvPr/>
        </p:nvPicPr>
        <p:blipFill>
          <a:blip>
            <a:extLst>
              <a:ext uri="{96DAC541-7B7A-43D3-8B79-37D633B846F1}">
                <asvg:svgBlip xmlns:asvg="http://schemas.microsoft.com/office/drawing/2016/SVG/main" r:embed="rId58"/>
              </a:ext>
            </a:extLst>
          </a:blip>
          <a:stretch>
            <a:fillRect/>
          </a:stretch>
        </p:blipFill>
        <p:spPr>
          <a:xfrm>
            <a:off x="3153575" y="3676377"/>
            <a:ext cx="548640" cy="548640"/>
          </a:xfrm>
          <a:prstGeom prst="rect">
            <a:avLst/>
          </a:prstGeom>
        </p:spPr>
      </p:pic>
      <p:pic>
        <p:nvPicPr>
          <p:cNvPr id="1276" name="Graphic 1275" descr="Power Plant with solid fill">
            <a:extLst>
              <a:ext uri="{FF2B5EF4-FFF2-40B4-BE49-F238E27FC236}">
                <a16:creationId xmlns:a16="http://schemas.microsoft.com/office/drawing/2014/main" id="{D9A89313-29D2-4D33-EA47-0AE21FC81C12}"/>
              </a:ext>
            </a:extLst>
          </p:cNvPr>
          <p:cNvPicPr>
            <a:picLocks noChangeAspect="1"/>
          </p:cNvPicPr>
          <p:nvPr/>
        </p:nvPicPr>
        <p:blipFill>
          <a:blip>
            <a:extLst>
              <a:ext uri="{96DAC541-7B7A-43D3-8B79-37D633B846F1}">
                <asvg:svgBlip xmlns:asvg="http://schemas.microsoft.com/office/drawing/2016/SVG/main" r:embed="rId59"/>
              </a:ext>
            </a:extLst>
          </a:blip>
          <a:stretch>
            <a:fillRect/>
          </a:stretch>
        </p:blipFill>
        <p:spPr>
          <a:xfrm>
            <a:off x="7297110" y="2156693"/>
            <a:ext cx="548640" cy="548640"/>
          </a:xfrm>
          <a:prstGeom prst="rect">
            <a:avLst/>
          </a:prstGeom>
        </p:spPr>
      </p:pic>
      <p:sp>
        <p:nvSpPr>
          <p:cNvPr id="1035" name="Rectangle 1034">
            <a:extLst>
              <a:ext uri="{FF2B5EF4-FFF2-40B4-BE49-F238E27FC236}">
                <a16:creationId xmlns:a16="http://schemas.microsoft.com/office/drawing/2014/main" id="{1A86AAA4-58EA-7793-1C72-6F15F6CB8263}"/>
              </a:ext>
            </a:extLst>
          </p:cNvPr>
          <p:cNvSpPr/>
          <p:nvPr/>
        </p:nvSpPr>
        <p:spPr bwMode="gray">
          <a:xfrm>
            <a:off x="7022791" y="1824801"/>
            <a:ext cx="109728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Reactor</a:t>
            </a:r>
          </a:p>
        </p:txBody>
      </p:sp>
      <p:sp>
        <p:nvSpPr>
          <p:cNvPr id="1278" name="Rectangle 1277">
            <a:extLst>
              <a:ext uri="{FF2B5EF4-FFF2-40B4-BE49-F238E27FC236}">
                <a16:creationId xmlns:a16="http://schemas.microsoft.com/office/drawing/2014/main" id="{E3F6B4FA-B1AC-134F-18C5-2089B3EC1187}"/>
              </a:ext>
            </a:extLst>
          </p:cNvPr>
          <p:cNvSpPr/>
          <p:nvPr/>
        </p:nvSpPr>
        <p:spPr bwMode="gray">
          <a:xfrm>
            <a:off x="2879255" y="3310617"/>
            <a:ext cx="109728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Disposal</a:t>
            </a:r>
          </a:p>
        </p:txBody>
      </p:sp>
      <p:pic>
        <p:nvPicPr>
          <p:cNvPr id="1268" name="Graphic 1267" descr="Radioactive with solid fill">
            <a:extLst>
              <a:ext uri="{FF2B5EF4-FFF2-40B4-BE49-F238E27FC236}">
                <a16:creationId xmlns:a16="http://schemas.microsoft.com/office/drawing/2014/main" id="{B36E99AE-9F1F-2C97-D67D-D4D03063939F}"/>
              </a:ext>
            </a:extLst>
          </p:cNvPr>
          <p:cNvPicPr>
            <a:picLocks noChangeAspect="1"/>
          </p:cNvPicPr>
          <p:nvPr/>
        </p:nvPicPr>
        <p:blipFill>
          <a:blip>
            <a:extLst>
              <a:ext uri="{96DAC541-7B7A-43D3-8B79-37D633B846F1}">
                <asvg:svgBlip xmlns:asvg="http://schemas.microsoft.com/office/drawing/2016/SVG/main" r:embed="rId60"/>
              </a:ext>
            </a:extLst>
          </a:blip>
          <a:stretch>
            <a:fillRect/>
          </a:stretch>
        </p:blipFill>
        <p:spPr>
          <a:xfrm>
            <a:off x="5898425" y="3067304"/>
            <a:ext cx="206462" cy="206462"/>
          </a:xfrm>
          <a:prstGeom prst="rect">
            <a:avLst/>
          </a:prstGeom>
        </p:spPr>
      </p:pic>
      <p:pic>
        <p:nvPicPr>
          <p:cNvPr id="1281" name="Graphic 1280" descr="Recycle with solid fill">
            <a:extLst>
              <a:ext uri="{FF2B5EF4-FFF2-40B4-BE49-F238E27FC236}">
                <a16:creationId xmlns:a16="http://schemas.microsoft.com/office/drawing/2014/main" id="{F5C0D297-EAF2-AA4B-5600-145F79E71560}"/>
              </a:ext>
            </a:extLst>
          </p:cNvPr>
          <p:cNvPicPr>
            <a:picLocks noChangeAspect="1"/>
          </p:cNvPicPr>
          <p:nvPr/>
        </p:nvPicPr>
        <p:blipFill>
          <a:blip>
            <a:extLst>
              <a:ext uri="{96DAC541-7B7A-43D3-8B79-37D633B846F1}">
                <asvg:svgBlip xmlns:asvg="http://schemas.microsoft.com/office/drawing/2016/SVG/main" r:embed="rId61"/>
              </a:ext>
            </a:extLst>
          </a:blip>
          <a:stretch>
            <a:fillRect/>
          </a:stretch>
        </p:blipFill>
        <p:spPr>
          <a:xfrm>
            <a:off x="5681617" y="2812395"/>
            <a:ext cx="640080" cy="640080"/>
          </a:xfrm>
          <a:prstGeom prst="rect">
            <a:avLst/>
          </a:prstGeom>
          <a:noFill/>
        </p:spPr>
      </p:pic>
      <p:sp>
        <p:nvSpPr>
          <p:cNvPr id="1283" name="Rectangle 1282">
            <a:extLst>
              <a:ext uri="{FF2B5EF4-FFF2-40B4-BE49-F238E27FC236}">
                <a16:creationId xmlns:a16="http://schemas.microsoft.com/office/drawing/2014/main" id="{D529AA4F-3E84-D3DD-AFA1-1DF1C36202C1}"/>
              </a:ext>
            </a:extLst>
          </p:cNvPr>
          <p:cNvSpPr/>
          <p:nvPr/>
        </p:nvSpPr>
        <p:spPr bwMode="gray">
          <a:xfrm>
            <a:off x="1338481" y="1824801"/>
            <a:ext cx="109728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Enrichment</a:t>
            </a:r>
          </a:p>
        </p:txBody>
      </p:sp>
      <p:sp>
        <p:nvSpPr>
          <p:cNvPr id="1284" name="Rectangle 1283">
            <a:extLst>
              <a:ext uri="{FF2B5EF4-FFF2-40B4-BE49-F238E27FC236}">
                <a16:creationId xmlns:a16="http://schemas.microsoft.com/office/drawing/2014/main" id="{73564752-07AE-069F-7732-CBEDA78DCA44}"/>
              </a:ext>
            </a:extLst>
          </p:cNvPr>
          <p:cNvSpPr/>
          <p:nvPr/>
        </p:nvSpPr>
        <p:spPr bwMode="gray">
          <a:xfrm>
            <a:off x="3883245" y="1824801"/>
            <a:ext cx="1097280" cy="401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Fuel </a:t>
            </a:r>
            <a:br>
              <a:rPr lang="en-US" sz="1200">
                <a:solidFill>
                  <a:schemeClr val="tx1"/>
                </a:solidFill>
              </a:rPr>
            </a:br>
            <a:r>
              <a:rPr lang="en-US" sz="1200">
                <a:solidFill>
                  <a:schemeClr val="tx1"/>
                </a:solidFill>
              </a:rPr>
              <a:t>production</a:t>
            </a:r>
          </a:p>
        </p:txBody>
      </p:sp>
      <p:sp>
        <p:nvSpPr>
          <p:cNvPr id="1285" name="Rectangle 1284">
            <a:extLst>
              <a:ext uri="{FF2B5EF4-FFF2-40B4-BE49-F238E27FC236}">
                <a16:creationId xmlns:a16="http://schemas.microsoft.com/office/drawing/2014/main" id="{AC328EE3-1124-DA6B-530B-1A20975D38B1}"/>
              </a:ext>
            </a:extLst>
          </p:cNvPr>
          <p:cNvSpPr/>
          <p:nvPr/>
        </p:nvSpPr>
        <p:spPr bwMode="gray">
          <a:xfrm>
            <a:off x="1338481" y="3310617"/>
            <a:ext cx="109728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Mine</a:t>
            </a:r>
          </a:p>
        </p:txBody>
      </p:sp>
      <p:sp>
        <p:nvSpPr>
          <p:cNvPr id="1286" name="Rectangle 1285">
            <a:extLst>
              <a:ext uri="{FF2B5EF4-FFF2-40B4-BE49-F238E27FC236}">
                <a16:creationId xmlns:a16="http://schemas.microsoft.com/office/drawing/2014/main" id="{23271694-17F7-D0D3-30D7-491CBDB76326}"/>
              </a:ext>
            </a:extLst>
          </p:cNvPr>
          <p:cNvSpPr/>
          <p:nvPr/>
        </p:nvSpPr>
        <p:spPr bwMode="gray">
          <a:xfrm>
            <a:off x="5453018" y="2538075"/>
            <a:ext cx="109728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Reprocessing</a:t>
            </a:r>
          </a:p>
        </p:txBody>
      </p:sp>
      <p:sp>
        <p:nvSpPr>
          <p:cNvPr id="1287" name="Rectangle 1286">
            <a:extLst>
              <a:ext uri="{FF2B5EF4-FFF2-40B4-BE49-F238E27FC236}">
                <a16:creationId xmlns:a16="http://schemas.microsoft.com/office/drawing/2014/main" id="{93F58623-A6F0-F082-8751-924354FC72E0}"/>
              </a:ext>
            </a:extLst>
          </p:cNvPr>
          <p:cNvSpPr/>
          <p:nvPr/>
        </p:nvSpPr>
        <p:spPr bwMode="gray">
          <a:xfrm>
            <a:off x="1484275" y="3022963"/>
            <a:ext cx="109728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rgbClr val="A73DA7"/>
                </a:solidFill>
              </a:rPr>
              <a:t>Uranium</a:t>
            </a:r>
          </a:p>
        </p:txBody>
      </p:sp>
      <p:sp>
        <p:nvSpPr>
          <p:cNvPr id="1288" name="Rectangle 1287">
            <a:extLst>
              <a:ext uri="{FF2B5EF4-FFF2-40B4-BE49-F238E27FC236}">
                <a16:creationId xmlns:a16="http://schemas.microsoft.com/office/drawing/2014/main" id="{F3472783-5DC6-6062-FC53-C4CE23592C0C}"/>
              </a:ext>
            </a:extLst>
          </p:cNvPr>
          <p:cNvSpPr/>
          <p:nvPr/>
        </p:nvSpPr>
        <p:spPr bwMode="gray">
          <a:xfrm>
            <a:off x="2433021" y="1845677"/>
            <a:ext cx="1327709"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rgbClr val="805BC9"/>
                </a:solidFill>
              </a:rPr>
              <a:t>Enriched uranium</a:t>
            </a:r>
          </a:p>
        </p:txBody>
      </p:sp>
      <p:sp>
        <p:nvSpPr>
          <p:cNvPr id="1289" name="Rectangle 1288">
            <a:extLst>
              <a:ext uri="{FF2B5EF4-FFF2-40B4-BE49-F238E27FC236}">
                <a16:creationId xmlns:a16="http://schemas.microsoft.com/office/drawing/2014/main" id="{515A46C2-3379-A875-384C-DEA570B8F615}"/>
              </a:ext>
            </a:extLst>
          </p:cNvPr>
          <p:cNvSpPr/>
          <p:nvPr/>
        </p:nvSpPr>
        <p:spPr bwMode="gray">
          <a:xfrm>
            <a:off x="2338487" y="2526432"/>
            <a:ext cx="824403"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r">
              <a:buNone/>
            </a:pPr>
            <a:r>
              <a:rPr lang="en-US" sz="1200">
                <a:solidFill>
                  <a:srgbClr val="7F7F7F"/>
                </a:solidFill>
              </a:rPr>
              <a:t>Depleted uranium</a:t>
            </a:r>
          </a:p>
        </p:txBody>
      </p:sp>
      <p:sp>
        <p:nvSpPr>
          <p:cNvPr id="1290" name="Rectangle 1289">
            <a:extLst>
              <a:ext uri="{FF2B5EF4-FFF2-40B4-BE49-F238E27FC236}">
                <a16:creationId xmlns:a16="http://schemas.microsoft.com/office/drawing/2014/main" id="{7516CBEF-76D5-DB39-97F6-B60A9C33D69C}"/>
              </a:ext>
            </a:extLst>
          </p:cNvPr>
          <p:cNvSpPr/>
          <p:nvPr/>
        </p:nvSpPr>
        <p:spPr bwMode="gray">
          <a:xfrm>
            <a:off x="5394480" y="1861077"/>
            <a:ext cx="824403"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rgbClr val="34A398"/>
                </a:solidFill>
              </a:rPr>
              <a:t>Fresh UO</a:t>
            </a:r>
            <a:r>
              <a:rPr lang="en-US" sz="1200" baseline="-25000">
                <a:solidFill>
                  <a:srgbClr val="34A398"/>
                </a:solidFill>
              </a:rPr>
              <a:t>2</a:t>
            </a:r>
            <a:endParaRPr lang="en-US" sz="1200">
              <a:solidFill>
                <a:srgbClr val="34A398"/>
              </a:solidFill>
            </a:endParaRPr>
          </a:p>
        </p:txBody>
      </p:sp>
      <p:sp>
        <p:nvSpPr>
          <p:cNvPr id="1292" name="Rectangle 1291">
            <a:extLst>
              <a:ext uri="{FF2B5EF4-FFF2-40B4-BE49-F238E27FC236}">
                <a16:creationId xmlns:a16="http://schemas.microsoft.com/office/drawing/2014/main" id="{8115F7DB-0D74-1278-D4B1-009C844AD03A}"/>
              </a:ext>
            </a:extLst>
          </p:cNvPr>
          <p:cNvSpPr/>
          <p:nvPr/>
        </p:nvSpPr>
        <p:spPr bwMode="gray">
          <a:xfrm>
            <a:off x="5353260" y="2156975"/>
            <a:ext cx="906843"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rgbClr val="1A524C"/>
                </a:solidFill>
              </a:rPr>
              <a:t>Fresh MOX</a:t>
            </a:r>
          </a:p>
        </p:txBody>
      </p:sp>
      <p:sp>
        <p:nvSpPr>
          <p:cNvPr id="1293" name="Rectangle 1292">
            <a:extLst>
              <a:ext uri="{FF2B5EF4-FFF2-40B4-BE49-F238E27FC236}">
                <a16:creationId xmlns:a16="http://schemas.microsoft.com/office/drawing/2014/main" id="{D3F5EB13-1DD2-A8AC-3E96-74FBF44D7D61}"/>
              </a:ext>
            </a:extLst>
          </p:cNvPr>
          <p:cNvSpPr/>
          <p:nvPr/>
        </p:nvSpPr>
        <p:spPr bwMode="gray">
          <a:xfrm>
            <a:off x="3221029" y="2468403"/>
            <a:ext cx="423049"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rgbClr val="1A524C"/>
                </a:solidFill>
              </a:rPr>
              <a:t>MOX</a:t>
            </a:r>
          </a:p>
        </p:txBody>
      </p:sp>
      <p:sp>
        <p:nvSpPr>
          <p:cNvPr id="1294" name="Rectangle 1293">
            <a:extLst>
              <a:ext uri="{FF2B5EF4-FFF2-40B4-BE49-F238E27FC236}">
                <a16:creationId xmlns:a16="http://schemas.microsoft.com/office/drawing/2014/main" id="{E91D0698-F1AF-4671-36B0-CEC5AEBF8A6E}"/>
              </a:ext>
            </a:extLst>
          </p:cNvPr>
          <p:cNvSpPr/>
          <p:nvPr/>
        </p:nvSpPr>
        <p:spPr bwMode="gray">
          <a:xfrm>
            <a:off x="4244318" y="3317621"/>
            <a:ext cx="749458"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rgbClr val="454545"/>
                </a:solidFill>
              </a:rPr>
              <a:t>Depleted fuel</a:t>
            </a:r>
          </a:p>
        </p:txBody>
      </p:sp>
      <p:sp>
        <p:nvSpPr>
          <p:cNvPr id="1298" name="Rectangle 1297">
            <a:extLst>
              <a:ext uri="{FF2B5EF4-FFF2-40B4-BE49-F238E27FC236}">
                <a16:creationId xmlns:a16="http://schemas.microsoft.com/office/drawing/2014/main" id="{49787788-196B-A51F-9C3C-9EE0D9895DD8}"/>
              </a:ext>
            </a:extLst>
          </p:cNvPr>
          <p:cNvSpPr/>
          <p:nvPr/>
        </p:nvSpPr>
        <p:spPr bwMode="gray">
          <a:xfrm>
            <a:off x="6711961" y="2830916"/>
            <a:ext cx="824404"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rgbClr val="34A398"/>
                </a:solidFill>
              </a:rPr>
              <a:t>Spent UO</a:t>
            </a:r>
            <a:r>
              <a:rPr lang="en-US" sz="1200" baseline="-25000">
                <a:solidFill>
                  <a:srgbClr val="34A398"/>
                </a:solidFill>
              </a:rPr>
              <a:t>2</a:t>
            </a:r>
            <a:endParaRPr lang="en-US" sz="1200">
              <a:solidFill>
                <a:srgbClr val="34A398"/>
              </a:solidFill>
            </a:endParaRPr>
          </a:p>
        </p:txBody>
      </p:sp>
      <p:sp>
        <p:nvSpPr>
          <p:cNvPr id="1299" name="Rectangle 1298">
            <a:extLst>
              <a:ext uri="{FF2B5EF4-FFF2-40B4-BE49-F238E27FC236}">
                <a16:creationId xmlns:a16="http://schemas.microsoft.com/office/drawing/2014/main" id="{1DDB31B8-EAF2-BE7F-58A5-DF8F5DCA3BF3}"/>
              </a:ext>
            </a:extLst>
          </p:cNvPr>
          <p:cNvSpPr/>
          <p:nvPr/>
        </p:nvSpPr>
        <p:spPr bwMode="gray">
          <a:xfrm>
            <a:off x="6696141" y="3130620"/>
            <a:ext cx="906844"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rgbClr val="1A524C"/>
                </a:solidFill>
              </a:rPr>
              <a:t>Spent MOX</a:t>
            </a:r>
          </a:p>
        </p:txBody>
      </p:sp>
      <p:pic>
        <p:nvPicPr>
          <p:cNvPr id="1302" name="Picture 2" descr="Flag of France - Wikipedia">
            <a:extLst>
              <a:ext uri="{FF2B5EF4-FFF2-40B4-BE49-F238E27FC236}">
                <a16:creationId xmlns:a16="http://schemas.microsoft.com/office/drawing/2014/main" id="{1F22822C-6565-C136-EF0F-54F8540010EF}"/>
              </a:ext>
            </a:extLst>
          </p:cNvPr>
          <p:cNvPicPr>
            <a:picLocks noChangeArrowheads="1"/>
          </p:cNvPicPr>
          <p:nvPr/>
        </p:nvPicPr>
        <p:blipFill rotWithShape="1">
          <a:blip r:embed="rId62" cstate="screen">
            <a:extLst>
              <a:ext uri="{28A0092B-C50C-407E-A947-70E740481C1C}">
                <a14:useLocalDpi xmlns:a14="http://schemas.microsoft.com/office/drawing/2010/main"/>
              </a:ext>
            </a:extLst>
          </a:blip>
          <a:srcRect l="10366" r="8463"/>
          <a:stretch/>
        </p:blipFill>
        <p:spPr bwMode="auto">
          <a:xfrm>
            <a:off x="3252788" y="5726113"/>
            <a:ext cx="182880" cy="18256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304" name="Picture 1303">
            <a:extLst>
              <a:ext uri="{FF2B5EF4-FFF2-40B4-BE49-F238E27FC236}">
                <a16:creationId xmlns:a16="http://schemas.microsoft.com/office/drawing/2014/main" id="{DC3C5DDE-DD49-FF2D-DB6F-FF27C665B2D4}"/>
              </a:ext>
            </a:extLst>
          </p:cNvPr>
          <p:cNvPicPr>
            <a:picLocks/>
          </p:cNvPicPr>
          <p:nvPr/>
        </p:nvPicPr>
        <p:blipFill>
          <a:blip r:embed="rId63" cstate="screen">
            <a:extLst>
              <a:ext uri="{28A0092B-C50C-407E-A947-70E740481C1C}">
                <a14:useLocalDpi xmlns:a14="http://schemas.microsoft.com/office/drawing/2010/main"/>
              </a:ext>
            </a:extLst>
          </a:blip>
          <a:srcRect/>
          <a:stretch/>
        </p:blipFill>
        <p:spPr>
          <a:xfrm>
            <a:off x="3594577" y="5419725"/>
            <a:ext cx="182880" cy="18256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305" name="Picture 6" descr="Flag of the United States - Wikipedia">
            <a:extLst>
              <a:ext uri="{FF2B5EF4-FFF2-40B4-BE49-F238E27FC236}">
                <a16:creationId xmlns:a16="http://schemas.microsoft.com/office/drawing/2014/main" id="{7E85DFF2-48D1-92E1-E44F-78DFCF11A814}"/>
              </a:ext>
            </a:extLst>
          </p:cNvPr>
          <p:cNvPicPr>
            <a:picLocks noChangeArrowheads="1"/>
          </p:cNvPicPr>
          <p:nvPr/>
        </p:nvPicPr>
        <p:blipFill rotWithShape="1">
          <a:blip r:embed="rId64" cstate="screen">
            <a:extLst>
              <a:ext uri="{28A0092B-C50C-407E-A947-70E740481C1C}">
                <a14:useLocalDpi xmlns:a14="http://schemas.microsoft.com/office/drawing/2010/main"/>
              </a:ext>
            </a:extLst>
          </a:blip>
          <a:srcRect r="11190"/>
          <a:stretch/>
        </p:blipFill>
        <p:spPr bwMode="auto">
          <a:xfrm>
            <a:off x="7219108" y="5345113"/>
            <a:ext cx="182880" cy="182563"/>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pic>
        <p:nvPicPr>
          <p:cNvPr id="1310" name="Picture 8" descr="Flag of South Korea - Wikipedia">
            <a:extLst>
              <a:ext uri="{FF2B5EF4-FFF2-40B4-BE49-F238E27FC236}">
                <a16:creationId xmlns:a16="http://schemas.microsoft.com/office/drawing/2014/main" id="{6862C7EE-546C-2615-A142-BCE999FE18DA}"/>
              </a:ext>
            </a:extLst>
          </p:cNvPr>
          <p:cNvPicPr>
            <a:picLocks noChangeAspect="1" noChangeArrowheads="1"/>
          </p:cNvPicPr>
          <p:nvPr/>
        </p:nvPicPr>
        <p:blipFill rotWithShape="1">
          <a:blip r:embed="rId65" cstate="screen">
            <a:extLst>
              <a:ext uri="{28A0092B-C50C-407E-A947-70E740481C1C}">
                <a14:useLocalDpi xmlns:a14="http://schemas.microsoft.com/office/drawing/2010/main"/>
              </a:ext>
            </a:extLst>
          </a:blip>
          <a:srcRect l="16393" t="2" r="17476" b="-2"/>
          <a:stretch/>
        </p:blipFill>
        <p:spPr bwMode="auto">
          <a:xfrm>
            <a:off x="7269162" y="5149850"/>
            <a:ext cx="182563" cy="18256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312" name="Picture 18" descr="Flag of China - Wikipedia">
            <a:extLst>
              <a:ext uri="{FF2B5EF4-FFF2-40B4-BE49-F238E27FC236}">
                <a16:creationId xmlns:a16="http://schemas.microsoft.com/office/drawing/2014/main" id="{493D12F3-0D9D-ABA1-A9F3-5CBC5ABB63C6}"/>
              </a:ext>
            </a:extLst>
          </p:cNvPr>
          <p:cNvPicPr>
            <a:picLocks noChangeArrowheads="1"/>
          </p:cNvPicPr>
          <p:nvPr/>
        </p:nvPicPr>
        <p:blipFill>
          <a:blip r:embed="rId66" cstate="screen">
            <a:extLst>
              <a:ext uri="{28A0092B-C50C-407E-A947-70E740481C1C}">
                <a14:useLocalDpi xmlns:a14="http://schemas.microsoft.com/office/drawing/2010/main"/>
              </a:ext>
            </a:extLst>
          </a:blip>
          <a:srcRect/>
          <a:stretch>
            <a:fillRect/>
          </a:stretch>
        </p:blipFill>
        <p:spPr bwMode="auto">
          <a:xfrm>
            <a:off x="2053044" y="5513388"/>
            <a:ext cx="184150" cy="182563"/>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pic>
        <p:nvPicPr>
          <p:cNvPr id="1313" name="Picture 4" descr="Flag of Russia - Wikipedia">
            <a:extLst>
              <a:ext uri="{FF2B5EF4-FFF2-40B4-BE49-F238E27FC236}">
                <a16:creationId xmlns:a16="http://schemas.microsoft.com/office/drawing/2014/main" id="{4FEE2666-7221-F74F-0694-787877FA87B4}"/>
              </a:ext>
            </a:extLst>
          </p:cNvPr>
          <p:cNvPicPr>
            <a:picLocks noChangeArrowheads="1"/>
          </p:cNvPicPr>
          <p:nvPr/>
        </p:nvPicPr>
        <p:blipFill>
          <a:blip r:embed="rId67" cstate="screen">
            <a:extLst>
              <a:ext uri="{28A0092B-C50C-407E-A947-70E740481C1C}">
                <a14:useLocalDpi xmlns:a14="http://schemas.microsoft.com/office/drawing/2010/main"/>
              </a:ext>
            </a:extLst>
          </a:blip>
          <a:srcRect/>
          <a:stretch>
            <a:fillRect/>
          </a:stretch>
        </p:blipFill>
        <p:spPr bwMode="auto">
          <a:xfrm>
            <a:off x="2632400" y="5840413"/>
            <a:ext cx="182563" cy="184150"/>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pic>
        <p:nvPicPr>
          <p:cNvPr id="3076" name="Picture 4" descr="Flag of Kazakhstan | Meaning, Colors &amp; History | Britannica">
            <a:extLst>
              <a:ext uri="{FF2B5EF4-FFF2-40B4-BE49-F238E27FC236}">
                <a16:creationId xmlns:a16="http://schemas.microsoft.com/office/drawing/2014/main" id="{32C028C0-5EF2-5C51-1EEF-E1C9863B967E}"/>
              </a:ext>
            </a:extLst>
          </p:cNvPr>
          <p:cNvPicPr>
            <a:picLocks noChangeArrowheads="1"/>
          </p:cNvPicPr>
          <p:nvPr/>
        </p:nvPicPr>
        <p:blipFill rotWithShape="1">
          <a:blip r:embed="rId68" cstate="screen">
            <a:extLst>
              <a:ext uri="{28A0092B-C50C-407E-A947-70E740481C1C}">
                <a14:useLocalDpi xmlns:a14="http://schemas.microsoft.com/office/drawing/2010/main"/>
              </a:ext>
            </a:extLst>
          </a:blip>
          <a:srcRect/>
          <a:stretch/>
        </p:blipFill>
        <p:spPr bwMode="auto">
          <a:xfrm>
            <a:off x="3731083" y="4933950"/>
            <a:ext cx="182880" cy="18415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110" name="Picture 18" descr="Flag of China - Wikipedia">
            <a:extLst>
              <a:ext uri="{FF2B5EF4-FFF2-40B4-BE49-F238E27FC236}">
                <a16:creationId xmlns:a16="http://schemas.microsoft.com/office/drawing/2014/main" id="{B6ECB7AF-7ED3-3856-3050-EFA4D6482D1E}"/>
              </a:ext>
            </a:extLst>
          </p:cNvPr>
          <p:cNvPicPr>
            <a:picLocks noChangeArrowheads="1"/>
          </p:cNvPicPr>
          <p:nvPr/>
        </p:nvPicPr>
        <p:blipFill>
          <a:blip r:embed="rId66" cstate="screen">
            <a:extLst>
              <a:ext uri="{28A0092B-C50C-407E-A947-70E740481C1C}">
                <a14:useLocalDpi xmlns:a14="http://schemas.microsoft.com/office/drawing/2010/main"/>
              </a:ext>
            </a:extLst>
          </a:blip>
          <a:srcRect/>
          <a:stretch>
            <a:fillRect/>
          </a:stretch>
        </p:blipFill>
        <p:spPr bwMode="auto">
          <a:xfrm>
            <a:off x="2196306" y="5662613"/>
            <a:ext cx="184150" cy="182563"/>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pic>
        <p:nvPicPr>
          <p:cNvPr id="3174" name="Picture 3173" descr="A flag of the united kingdom and the netherlands&#10;&#10;AI-generated content may be incorrect.">
            <a:extLst>
              <a:ext uri="{FF2B5EF4-FFF2-40B4-BE49-F238E27FC236}">
                <a16:creationId xmlns:a16="http://schemas.microsoft.com/office/drawing/2014/main" id="{6E9FD0FB-AE47-8474-CA1F-87AAB8560014}"/>
              </a:ext>
            </a:extLst>
          </p:cNvPr>
          <p:cNvPicPr>
            <a:picLocks/>
          </p:cNvPicPr>
          <p:nvPr/>
        </p:nvPicPr>
        <p:blipFill>
          <a:blip r:embed="rId69" cstate="screen">
            <a:extLst>
              <a:ext uri="{28A0092B-C50C-407E-A947-70E740481C1C}">
                <a14:useLocalDpi xmlns:a14="http://schemas.microsoft.com/office/drawing/2010/main"/>
              </a:ext>
            </a:extLst>
          </a:blip>
          <a:stretch>
            <a:fillRect/>
          </a:stretch>
        </p:blipFill>
        <p:spPr>
          <a:xfrm>
            <a:off x="4759268" y="5022850"/>
            <a:ext cx="182880" cy="18256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3182" name="Picture 2" descr="Flag of France - Wikipedia">
            <a:extLst>
              <a:ext uri="{FF2B5EF4-FFF2-40B4-BE49-F238E27FC236}">
                <a16:creationId xmlns:a16="http://schemas.microsoft.com/office/drawing/2014/main" id="{04B58934-2CE4-9C0B-1B00-547B166EC20E}"/>
              </a:ext>
            </a:extLst>
          </p:cNvPr>
          <p:cNvPicPr>
            <a:picLocks noChangeArrowheads="1"/>
          </p:cNvPicPr>
          <p:nvPr/>
        </p:nvPicPr>
        <p:blipFill rotWithShape="1">
          <a:blip r:embed="rId62" cstate="screen">
            <a:extLst>
              <a:ext uri="{28A0092B-C50C-407E-A947-70E740481C1C}">
                <a14:useLocalDpi xmlns:a14="http://schemas.microsoft.com/office/drawing/2010/main"/>
              </a:ext>
            </a:extLst>
          </a:blip>
          <a:srcRect l="10366" r="8463"/>
          <a:stretch/>
        </p:blipFill>
        <p:spPr bwMode="auto">
          <a:xfrm>
            <a:off x="6073299" y="5199063"/>
            <a:ext cx="182880" cy="18256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183" name="Picture 18" descr="Flag of China - Wikipedia">
            <a:extLst>
              <a:ext uri="{FF2B5EF4-FFF2-40B4-BE49-F238E27FC236}">
                <a16:creationId xmlns:a16="http://schemas.microsoft.com/office/drawing/2014/main" id="{8694F7B2-FAA1-FB5F-250B-D9FC0CB1923E}"/>
              </a:ext>
            </a:extLst>
          </p:cNvPr>
          <p:cNvPicPr>
            <a:picLocks noChangeArrowheads="1"/>
          </p:cNvPicPr>
          <p:nvPr/>
        </p:nvPicPr>
        <p:blipFill>
          <a:blip r:embed="rId66" cstate="screen">
            <a:extLst>
              <a:ext uri="{28A0092B-C50C-407E-A947-70E740481C1C}">
                <a14:useLocalDpi xmlns:a14="http://schemas.microsoft.com/office/drawing/2010/main"/>
              </a:ext>
            </a:extLst>
          </a:blip>
          <a:srcRect/>
          <a:stretch>
            <a:fillRect/>
          </a:stretch>
        </p:blipFill>
        <p:spPr bwMode="auto">
          <a:xfrm>
            <a:off x="5813426" y="4851400"/>
            <a:ext cx="184150" cy="184150"/>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pic>
        <p:nvPicPr>
          <p:cNvPr id="3184" name="Picture 4" descr="Flag of Russia - Wikipedia">
            <a:extLst>
              <a:ext uri="{FF2B5EF4-FFF2-40B4-BE49-F238E27FC236}">
                <a16:creationId xmlns:a16="http://schemas.microsoft.com/office/drawing/2014/main" id="{D29FEEE3-D083-23A7-1BB9-814B824DD734}"/>
              </a:ext>
            </a:extLst>
          </p:cNvPr>
          <p:cNvPicPr>
            <a:picLocks noChangeArrowheads="1"/>
          </p:cNvPicPr>
          <p:nvPr/>
        </p:nvPicPr>
        <p:blipFill>
          <a:blip r:embed="rId67" cstate="screen">
            <a:extLst>
              <a:ext uri="{28A0092B-C50C-407E-A947-70E740481C1C}">
                <a14:useLocalDpi xmlns:a14="http://schemas.microsoft.com/office/drawing/2010/main"/>
              </a:ext>
            </a:extLst>
          </a:blip>
          <a:srcRect/>
          <a:stretch>
            <a:fillRect/>
          </a:stretch>
        </p:blipFill>
        <p:spPr bwMode="auto">
          <a:xfrm>
            <a:off x="5462587" y="5778500"/>
            <a:ext cx="182563" cy="184150"/>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pic>
        <p:nvPicPr>
          <p:cNvPr id="3211" name="Picture 18" descr="Flag of China - Wikipedia">
            <a:extLst>
              <a:ext uri="{FF2B5EF4-FFF2-40B4-BE49-F238E27FC236}">
                <a16:creationId xmlns:a16="http://schemas.microsoft.com/office/drawing/2014/main" id="{DF56EDB5-5288-8FA4-827D-BA443C918763}"/>
              </a:ext>
            </a:extLst>
          </p:cNvPr>
          <p:cNvPicPr>
            <a:picLocks noChangeArrowheads="1"/>
          </p:cNvPicPr>
          <p:nvPr/>
        </p:nvPicPr>
        <p:blipFill>
          <a:blip r:embed="rId66" cstate="screen">
            <a:extLst>
              <a:ext uri="{28A0092B-C50C-407E-A947-70E740481C1C}">
                <a14:useLocalDpi xmlns:a14="http://schemas.microsoft.com/office/drawing/2010/main"/>
              </a:ext>
            </a:extLst>
          </a:blip>
          <a:srcRect/>
          <a:stretch>
            <a:fillRect/>
          </a:stretch>
        </p:blipFill>
        <p:spPr bwMode="auto">
          <a:xfrm>
            <a:off x="8307052" y="4835525"/>
            <a:ext cx="184150" cy="182563"/>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pic>
        <p:nvPicPr>
          <p:cNvPr id="3229" name="Picture 4" descr="Flag of Russia - Wikipedia">
            <a:extLst>
              <a:ext uri="{FF2B5EF4-FFF2-40B4-BE49-F238E27FC236}">
                <a16:creationId xmlns:a16="http://schemas.microsoft.com/office/drawing/2014/main" id="{139A1213-803E-F1E1-2DAB-035BE0F2C256}"/>
              </a:ext>
            </a:extLst>
          </p:cNvPr>
          <p:cNvPicPr>
            <a:picLocks noChangeArrowheads="1"/>
          </p:cNvPicPr>
          <p:nvPr/>
        </p:nvPicPr>
        <p:blipFill>
          <a:blip r:embed="rId67" cstate="screen">
            <a:extLst>
              <a:ext uri="{28A0092B-C50C-407E-A947-70E740481C1C}">
                <a14:useLocalDpi xmlns:a14="http://schemas.microsoft.com/office/drawing/2010/main"/>
              </a:ext>
            </a:extLst>
          </a:blip>
          <a:srcRect/>
          <a:stretch>
            <a:fillRect/>
          </a:stretch>
        </p:blipFill>
        <p:spPr bwMode="auto">
          <a:xfrm>
            <a:off x="8455555" y="5695950"/>
            <a:ext cx="182563" cy="182563"/>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pic>
        <p:nvPicPr>
          <p:cNvPr id="3231" name="Picture 2" descr="Flag of France - Wikipedia">
            <a:extLst>
              <a:ext uri="{FF2B5EF4-FFF2-40B4-BE49-F238E27FC236}">
                <a16:creationId xmlns:a16="http://schemas.microsoft.com/office/drawing/2014/main" id="{29E7C25D-C732-4FF4-D643-8AF44FFF621A}"/>
              </a:ext>
            </a:extLst>
          </p:cNvPr>
          <p:cNvPicPr>
            <a:picLocks noChangeArrowheads="1"/>
          </p:cNvPicPr>
          <p:nvPr/>
        </p:nvPicPr>
        <p:blipFill rotWithShape="1">
          <a:blip r:embed="rId62" cstate="screen">
            <a:extLst>
              <a:ext uri="{28A0092B-C50C-407E-A947-70E740481C1C}">
                <a14:useLocalDpi xmlns:a14="http://schemas.microsoft.com/office/drawing/2010/main"/>
              </a:ext>
            </a:extLst>
          </a:blip>
          <a:srcRect l="10366" r="8463"/>
          <a:stretch/>
        </p:blipFill>
        <p:spPr bwMode="auto">
          <a:xfrm>
            <a:off x="8951914" y="5148263"/>
            <a:ext cx="182880" cy="18415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242" name="Picture 6" descr="Flag of the United States - Wikipedia">
            <a:extLst>
              <a:ext uri="{FF2B5EF4-FFF2-40B4-BE49-F238E27FC236}">
                <a16:creationId xmlns:a16="http://schemas.microsoft.com/office/drawing/2014/main" id="{3C918171-0E0B-FD63-BFD4-011BAD38928A}"/>
              </a:ext>
            </a:extLst>
          </p:cNvPr>
          <p:cNvPicPr>
            <a:picLocks noChangeArrowheads="1"/>
          </p:cNvPicPr>
          <p:nvPr/>
        </p:nvPicPr>
        <p:blipFill rotWithShape="1">
          <a:blip r:embed="rId64" cstate="screen">
            <a:extLst>
              <a:ext uri="{28A0092B-C50C-407E-A947-70E740481C1C}">
                <a14:useLocalDpi xmlns:a14="http://schemas.microsoft.com/office/drawing/2010/main"/>
              </a:ext>
            </a:extLst>
          </a:blip>
          <a:srcRect r="11190"/>
          <a:stretch/>
        </p:blipFill>
        <p:spPr bwMode="auto">
          <a:xfrm>
            <a:off x="7485117" y="5751513"/>
            <a:ext cx="182880" cy="184150"/>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grpSp>
        <p:nvGrpSpPr>
          <p:cNvPr id="3265" name="Group 3264">
            <a:extLst>
              <a:ext uri="{FF2B5EF4-FFF2-40B4-BE49-F238E27FC236}">
                <a16:creationId xmlns:a16="http://schemas.microsoft.com/office/drawing/2014/main" id="{224F5A09-A7C6-55C2-93D0-9E31B46AC8CA}"/>
              </a:ext>
            </a:extLst>
          </p:cNvPr>
          <p:cNvGrpSpPr/>
          <p:nvPr/>
        </p:nvGrpSpPr>
        <p:grpSpPr>
          <a:xfrm>
            <a:off x="2233993" y="4285614"/>
            <a:ext cx="1117608" cy="337637"/>
            <a:chOff x="2072688" y="4341369"/>
            <a:chExt cx="1117608" cy="337637"/>
          </a:xfrm>
        </p:grpSpPr>
        <p:sp>
          <p:nvSpPr>
            <p:cNvPr id="1047" name="btfpColumnHeaderBoxText223027">
              <a:extLst>
                <a:ext uri="{FF2B5EF4-FFF2-40B4-BE49-F238E27FC236}">
                  <a16:creationId xmlns:a16="http://schemas.microsoft.com/office/drawing/2014/main" id="{7D71CAF6-B5F4-2E60-3896-82948CBEDF0E}"/>
                </a:ext>
              </a:extLst>
            </p:cNvPr>
            <p:cNvSpPr txBox="1"/>
            <p:nvPr/>
          </p:nvSpPr>
          <p:spPr bwMode="gray">
            <a:xfrm>
              <a:off x="2336465" y="4366078"/>
              <a:ext cx="853831" cy="288219"/>
            </a:xfrm>
            <a:prstGeom prst="rect">
              <a:avLst/>
            </a:prstGeom>
            <a:noFill/>
          </p:spPr>
          <p:txBody>
            <a:bodyPr vert="horz" wrap="square" lIns="36036" tIns="36036" rIns="36036" bIns="36036" rtlCol="0" anchor="b">
              <a:spAutoFit/>
            </a:bodyPr>
            <a:lstStyle/>
            <a:p>
              <a:pPr algn="ctr"/>
              <a:r>
                <a:rPr lang="en-US" sz="1400" b="1"/>
                <a:t>Mining</a:t>
              </a:r>
              <a:endParaRPr lang="en-US" sz="1400"/>
            </a:p>
          </p:txBody>
        </p:sp>
        <p:pic>
          <p:nvPicPr>
            <p:cNvPr id="3249" name="Graphic 3248" descr="Dump truck with solid fill">
              <a:extLst>
                <a:ext uri="{FF2B5EF4-FFF2-40B4-BE49-F238E27FC236}">
                  <a16:creationId xmlns:a16="http://schemas.microsoft.com/office/drawing/2014/main" id="{B1052C75-B137-DD99-717C-428F8BD3C867}"/>
                </a:ext>
              </a:extLst>
            </p:cNvPr>
            <p:cNvPicPr>
              <a:picLocks noChangeAspect="1"/>
            </p:cNvPicPr>
            <p:nvPr/>
          </p:nvPicPr>
          <p:blipFill>
            <a:blip>
              <a:extLst>
                <a:ext uri="{96DAC541-7B7A-43D3-8B79-37D633B846F1}">
                  <asvg:svgBlip xmlns:asvg="http://schemas.microsoft.com/office/drawing/2016/SVG/main" r:embed="rId70"/>
                </a:ext>
              </a:extLst>
            </a:blip>
            <a:stretch>
              <a:fillRect/>
            </a:stretch>
          </p:blipFill>
          <p:spPr>
            <a:xfrm>
              <a:off x="2072688" y="4341369"/>
              <a:ext cx="337637" cy="337637"/>
            </a:xfrm>
            <a:prstGeom prst="rect">
              <a:avLst/>
            </a:prstGeom>
          </p:spPr>
        </p:pic>
      </p:grpSp>
      <p:grpSp>
        <p:nvGrpSpPr>
          <p:cNvPr id="3266" name="Group 3265">
            <a:extLst>
              <a:ext uri="{FF2B5EF4-FFF2-40B4-BE49-F238E27FC236}">
                <a16:creationId xmlns:a16="http://schemas.microsoft.com/office/drawing/2014/main" id="{A2437C94-A289-563F-F9A8-6C8CADF229E3}"/>
              </a:ext>
            </a:extLst>
          </p:cNvPr>
          <p:cNvGrpSpPr/>
          <p:nvPr/>
        </p:nvGrpSpPr>
        <p:grpSpPr>
          <a:xfrm>
            <a:off x="4536265" y="4274815"/>
            <a:ext cx="1439170" cy="359236"/>
            <a:chOff x="4541377" y="4330570"/>
            <a:chExt cx="1439170" cy="359236"/>
          </a:xfrm>
        </p:grpSpPr>
        <p:sp>
          <p:nvSpPr>
            <p:cNvPr id="3250" name="btfpColumnHeaderBoxText223027">
              <a:extLst>
                <a:ext uri="{FF2B5EF4-FFF2-40B4-BE49-F238E27FC236}">
                  <a16:creationId xmlns:a16="http://schemas.microsoft.com/office/drawing/2014/main" id="{A66CAA5D-8400-48B0-C75F-47525D09B98F}"/>
                </a:ext>
              </a:extLst>
            </p:cNvPr>
            <p:cNvSpPr txBox="1"/>
            <p:nvPr/>
          </p:nvSpPr>
          <p:spPr bwMode="gray">
            <a:xfrm>
              <a:off x="4844098" y="4360331"/>
              <a:ext cx="1136449" cy="299714"/>
            </a:xfrm>
            <a:prstGeom prst="rect">
              <a:avLst/>
            </a:prstGeom>
            <a:noFill/>
          </p:spPr>
          <p:txBody>
            <a:bodyPr vert="horz" wrap="square" lIns="36036" tIns="36036" rIns="36036" bIns="36036" rtlCol="0" anchor="b">
              <a:noAutofit/>
            </a:bodyPr>
            <a:lstStyle/>
            <a:p>
              <a:pPr algn="ctr"/>
              <a:r>
                <a:rPr lang="en-US" sz="1400" b="1"/>
                <a:t>Enrichment</a:t>
              </a:r>
              <a:endParaRPr lang="en-US" sz="1400"/>
            </a:p>
          </p:txBody>
        </p:sp>
        <p:pic>
          <p:nvPicPr>
            <p:cNvPr id="3252" name="Graphic 3251" descr="Atom with solid fill">
              <a:extLst>
                <a:ext uri="{FF2B5EF4-FFF2-40B4-BE49-F238E27FC236}">
                  <a16:creationId xmlns:a16="http://schemas.microsoft.com/office/drawing/2014/main" id="{76BEC7F8-8311-883C-8937-A254F25209F7}"/>
                </a:ext>
              </a:extLst>
            </p:cNvPr>
            <p:cNvPicPr>
              <a:picLocks noChangeAspect="1"/>
            </p:cNvPicPr>
            <p:nvPr/>
          </p:nvPicPr>
          <p:blipFill>
            <a:blip>
              <a:extLst>
                <a:ext uri="{96DAC541-7B7A-43D3-8B79-37D633B846F1}">
                  <asvg:svgBlip xmlns:asvg="http://schemas.microsoft.com/office/drawing/2016/SVG/main" r:embed="rId71"/>
                </a:ext>
              </a:extLst>
            </a:blip>
            <a:stretch>
              <a:fillRect/>
            </a:stretch>
          </p:blipFill>
          <p:spPr>
            <a:xfrm>
              <a:off x="4541377" y="4330570"/>
              <a:ext cx="359236" cy="359236"/>
            </a:xfrm>
            <a:prstGeom prst="rect">
              <a:avLst/>
            </a:prstGeom>
          </p:spPr>
        </p:pic>
      </p:grpSp>
      <p:grpSp>
        <p:nvGrpSpPr>
          <p:cNvPr id="3267" name="Group 3266">
            <a:extLst>
              <a:ext uri="{FF2B5EF4-FFF2-40B4-BE49-F238E27FC236}">
                <a16:creationId xmlns:a16="http://schemas.microsoft.com/office/drawing/2014/main" id="{8D362165-DAD2-C336-5026-858A0B5156D3}"/>
              </a:ext>
            </a:extLst>
          </p:cNvPr>
          <p:cNvGrpSpPr/>
          <p:nvPr/>
        </p:nvGrpSpPr>
        <p:grpSpPr>
          <a:xfrm>
            <a:off x="6932071" y="4304576"/>
            <a:ext cx="1783869" cy="299714"/>
            <a:chOff x="7002655" y="4360331"/>
            <a:chExt cx="1783869" cy="299714"/>
          </a:xfrm>
        </p:grpSpPr>
        <p:sp>
          <p:nvSpPr>
            <p:cNvPr id="3253" name="btfpColumnHeaderBoxText223027">
              <a:extLst>
                <a:ext uri="{FF2B5EF4-FFF2-40B4-BE49-F238E27FC236}">
                  <a16:creationId xmlns:a16="http://schemas.microsoft.com/office/drawing/2014/main" id="{116B14E7-D65A-F27D-1172-CBF4097635DD}"/>
                </a:ext>
              </a:extLst>
            </p:cNvPr>
            <p:cNvSpPr txBox="1"/>
            <p:nvPr/>
          </p:nvSpPr>
          <p:spPr bwMode="gray">
            <a:xfrm>
              <a:off x="7273911" y="4360331"/>
              <a:ext cx="1512613" cy="299714"/>
            </a:xfrm>
            <a:prstGeom prst="rect">
              <a:avLst/>
            </a:prstGeom>
            <a:noFill/>
          </p:spPr>
          <p:txBody>
            <a:bodyPr vert="horz" wrap="square" lIns="36036" tIns="36036" rIns="36036" bIns="36036" rtlCol="0" anchor="b">
              <a:noAutofit/>
            </a:bodyPr>
            <a:lstStyle/>
            <a:p>
              <a:pPr algn="ctr"/>
              <a:r>
                <a:rPr lang="en-US" sz="1400" b="1"/>
                <a:t>Fuel production*</a:t>
              </a:r>
              <a:endParaRPr lang="en-US" sz="1400"/>
            </a:p>
          </p:txBody>
        </p:sp>
        <p:pic>
          <p:nvPicPr>
            <p:cNvPr id="3255" name="Graphic 3254" descr="Test tubes with solid fill">
              <a:extLst>
                <a:ext uri="{FF2B5EF4-FFF2-40B4-BE49-F238E27FC236}">
                  <a16:creationId xmlns:a16="http://schemas.microsoft.com/office/drawing/2014/main" id="{98EF218E-09FB-5AC0-2D21-13E7A550F16B}"/>
                </a:ext>
              </a:extLst>
            </p:cNvPr>
            <p:cNvPicPr>
              <a:picLocks noChangeAspect="1"/>
            </p:cNvPicPr>
            <p:nvPr/>
          </p:nvPicPr>
          <p:blipFill>
            <a:blip>
              <a:extLst>
                <a:ext uri="{96DAC541-7B7A-43D3-8B79-37D633B846F1}">
                  <asvg:svgBlip xmlns:asvg="http://schemas.microsoft.com/office/drawing/2016/SVG/main" r:embed="rId72"/>
                </a:ext>
              </a:extLst>
            </a:blip>
            <a:stretch>
              <a:fillRect/>
            </a:stretch>
          </p:blipFill>
          <p:spPr>
            <a:xfrm>
              <a:off x="7002655" y="4374155"/>
              <a:ext cx="272064" cy="272064"/>
            </a:xfrm>
            <a:prstGeom prst="rect">
              <a:avLst/>
            </a:prstGeom>
          </p:spPr>
        </p:pic>
      </p:grpSp>
      <p:cxnSp>
        <p:nvCxnSpPr>
          <p:cNvPr id="3256" name="btfpColumnHeaderBoxLine223027">
            <a:extLst>
              <a:ext uri="{FF2B5EF4-FFF2-40B4-BE49-F238E27FC236}">
                <a16:creationId xmlns:a16="http://schemas.microsoft.com/office/drawing/2014/main" id="{379276E3-B4E0-51E8-BEA4-2800C583E2F8}"/>
              </a:ext>
            </a:extLst>
          </p:cNvPr>
          <p:cNvCxnSpPr>
            <a:cxnSpLocks/>
          </p:cNvCxnSpPr>
          <p:nvPr/>
        </p:nvCxnSpPr>
        <p:spPr bwMode="gray">
          <a:xfrm>
            <a:off x="1597794" y="4623759"/>
            <a:ext cx="2390006" cy="0"/>
          </a:xfrm>
          <a:prstGeom prst="line">
            <a:avLst/>
          </a:prstGeom>
          <a:ln w="9525" cap="flat">
            <a:solidFill>
              <a:srgbClr val="00223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258" name="btfpColumnHeaderBoxLine223027">
            <a:extLst>
              <a:ext uri="{FF2B5EF4-FFF2-40B4-BE49-F238E27FC236}">
                <a16:creationId xmlns:a16="http://schemas.microsoft.com/office/drawing/2014/main" id="{70BB837D-46DA-14F7-2C05-5225CB2455B8}"/>
              </a:ext>
            </a:extLst>
          </p:cNvPr>
          <p:cNvCxnSpPr>
            <a:cxnSpLocks/>
          </p:cNvCxnSpPr>
          <p:nvPr/>
        </p:nvCxnSpPr>
        <p:spPr bwMode="gray">
          <a:xfrm>
            <a:off x="4124145" y="4623759"/>
            <a:ext cx="2263410" cy="0"/>
          </a:xfrm>
          <a:prstGeom prst="line">
            <a:avLst/>
          </a:prstGeom>
          <a:ln w="9525" cap="flat">
            <a:solidFill>
              <a:srgbClr val="00223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HeaderBoxLine223027">
            <a:extLst>
              <a:ext uri="{FF2B5EF4-FFF2-40B4-BE49-F238E27FC236}">
                <a16:creationId xmlns:a16="http://schemas.microsoft.com/office/drawing/2014/main" id="{4F253ED6-D70C-8F5B-D7B5-0A91B18B8098}"/>
              </a:ext>
            </a:extLst>
          </p:cNvPr>
          <p:cNvCxnSpPr>
            <a:cxnSpLocks/>
          </p:cNvCxnSpPr>
          <p:nvPr/>
        </p:nvCxnSpPr>
        <p:spPr bwMode="gray">
          <a:xfrm>
            <a:off x="374313" y="1704108"/>
            <a:ext cx="77724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247" name="btfpColumnHeaderBoxLine223027">
            <a:extLst>
              <a:ext uri="{FF2B5EF4-FFF2-40B4-BE49-F238E27FC236}">
                <a16:creationId xmlns:a16="http://schemas.microsoft.com/office/drawing/2014/main" id="{93C85677-37BC-5220-6B7F-EE5F9AB2C08B}"/>
              </a:ext>
            </a:extLst>
          </p:cNvPr>
          <p:cNvCxnSpPr>
            <a:cxnSpLocks/>
          </p:cNvCxnSpPr>
          <p:nvPr/>
        </p:nvCxnSpPr>
        <p:spPr bwMode="gray">
          <a:xfrm>
            <a:off x="330200" y="4268595"/>
            <a:ext cx="1170432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260" name="btfpColumnHeaderBoxLine223027">
            <a:extLst>
              <a:ext uri="{FF2B5EF4-FFF2-40B4-BE49-F238E27FC236}">
                <a16:creationId xmlns:a16="http://schemas.microsoft.com/office/drawing/2014/main" id="{607B6CE4-8B24-5FE2-DF82-300BB60ECA82}"/>
              </a:ext>
            </a:extLst>
          </p:cNvPr>
          <p:cNvCxnSpPr>
            <a:cxnSpLocks/>
          </p:cNvCxnSpPr>
          <p:nvPr/>
        </p:nvCxnSpPr>
        <p:spPr bwMode="gray">
          <a:xfrm>
            <a:off x="6523900" y="4623759"/>
            <a:ext cx="2600212" cy="0"/>
          </a:xfrm>
          <a:prstGeom prst="line">
            <a:avLst/>
          </a:prstGeom>
          <a:ln w="9525" cap="flat">
            <a:solidFill>
              <a:srgbClr val="00223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49" name="Chart 48">
            <a:extLst>
              <a:ext uri="{FF2B5EF4-FFF2-40B4-BE49-F238E27FC236}">
                <a16:creationId xmlns:a16="http://schemas.microsoft.com/office/drawing/2014/main" id="{707AEFC5-F2C7-4B96-70C8-E2CEF7A29E68}"/>
              </a:ext>
            </a:extLst>
          </p:cNvPr>
          <p:cNvGraphicFramePr/>
          <p:nvPr>
            <p:custDataLst>
              <p:tags r:id="rId31"/>
            </p:custDataLst>
            <p:extLst>
              <p:ext uri="{D42A27DB-BD31-4B8C-83A1-F6EECF244321}">
                <p14:modId xmlns:p14="http://schemas.microsoft.com/office/powerpoint/2010/main" val="2884529248"/>
              </p:ext>
            </p:extLst>
          </p:nvPr>
        </p:nvGraphicFramePr>
        <p:xfrm>
          <a:off x="9399588" y="4706938"/>
          <a:ext cx="2165350" cy="1381125"/>
        </p:xfrm>
        <a:graphic>
          <a:graphicData uri="http://schemas.openxmlformats.org/drawingml/2006/chart">
            <c:chart xmlns:c="http://schemas.openxmlformats.org/drawingml/2006/chart" xmlns:r="http://schemas.openxmlformats.org/officeDocument/2006/relationships" r:id="rId73"/>
          </a:graphicData>
        </a:graphic>
      </p:graphicFrame>
      <p:sp>
        <p:nvSpPr>
          <p:cNvPr id="3272" name="Text Placeholder 10">
            <a:extLst>
              <a:ext uri="{FF2B5EF4-FFF2-40B4-BE49-F238E27FC236}">
                <a16:creationId xmlns:a16="http://schemas.microsoft.com/office/drawing/2014/main" id="{35BB06A6-9D14-64FA-0BEB-31DD2E353053}"/>
              </a:ext>
            </a:extLst>
          </p:cNvPr>
          <p:cNvSpPr>
            <a:spLocks noGrp="1"/>
          </p:cNvSpPr>
          <p:nvPr>
            <p:custDataLst>
              <p:tags r:id="rId32"/>
            </p:custDataLst>
          </p:nvPr>
        </p:nvSpPr>
        <p:spPr bwMode="gray">
          <a:xfrm>
            <a:off x="10193338" y="5505450"/>
            <a:ext cx="287338" cy="152400"/>
          </a:xfrm>
          <a:prstGeom prst="rect">
            <a:avLst/>
          </a:prstGeom>
          <a:solidFill>
            <a:schemeClr val="accent6"/>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82897B6-355A-4E18-923B-9056A7BF9008}" type="datetime'''''''''''13''''%'''''''''''''''''''''''''''''''">
              <a:rPr lang="en-US" altLang="en-US" sz="1000" smtClean="0">
                <a:solidFill>
                  <a:schemeClr val="bg1"/>
                </a:solidFill>
                <a:effectLst/>
              </a:rPr>
              <a:pPr marL="0" lvl="0" indent="0" algn="ctr">
                <a:spcBef>
                  <a:spcPct val="0"/>
                </a:spcBef>
                <a:spcAft>
                  <a:spcPct val="0"/>
                </a:spcAft>
                <a:buNone/>
              </a:pPr>
              <a:t>13%</a:t>
            </a:fld>
            <a:endParaRPr lang="en-US" sz="1000">
              <a:solidFill>
                <a:schemeClr val="bg1"/>
              </a:solidFill>
            </a:endParaRPr>
          </a:p>
        </p:txBody>
      </p:sp>
      <p:sp>
        <p:nvSpPr>
          <p:cNvPr id="3273" name="Text Placeholder 10">
            <a:extLst>
              <a:ext uri="{FF2B5EF4-FFF2-40B4-BE49-F238E27FC236}">
                <a16:creationId xmlns:a16="http://schemas.microsoft.com/office/drawing/2014/main" id="{A42F60D7-0D6C-A1EB-3F91-9500FC133A1B}"/>
              </a:ext>
            </a:extLst>
          </p:cNvPr>
          <p:cNvSpPr>
            <a:spLocks noGrp="1"/>
          </p:cNvSpPr>
          <p:nvPr>
            <p:custDataLst>
              <p:tags r:id="rId33"/>
            </p:custDataLst>
          </p:nvPr>
        </p:nvSpPr>
        <p:spPr bwMode="auto">
          <a:xfrm>
            <a:off x="9661525" y="5735638"/>
            <a:ext cx="582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CB9CABB-C13E-4A59-BF25-C8E844A445DB}" type="datetime'''''''''''''''''''M''a''''''ya''''''''''k'''''''''''''''''''''">
              <a:rPr lang="en-US" altLang="en-US" sz="1000" smtClean="0"/>
              <a:pPr marL="0" lvl="0" indent="0" algn="r">
                <a:spcBef>
                  <a:spcPct val="0"/>
                </a:spcBef>
                <a:spcAft>
                  <a:spcPct val="0"/>
                </a:spcAft>
                <a:buNone/>
              </a:pPr>
              <a:t>Mayak</a:t>
            </a:fld>
            <a:r>
              <a:rPr lang="en-US" altLang="en-US" sz="1000"/>
              <a:t>      </a:t>
            </a:r>
            <a:endParaRPr lang="en-US" sz="1000"/>
          </a:p>
        </p:txBody>
      </p:sp>
      <p:sp>
        <p:nvSpPr>
          <p:cNvPr id="3271" name="Text Placeholder 10">
            <a:extLst>
              <a:ext uri="{FF2B5EF4-FFF2-40B4-BE49-F238E27FC236}">
                <a16:creationId xmlns:a16="http://schemas.microsoft.com/office/drawing/2014/main" id="{E24722B0-7519-724A-2CBA-2AA6EDD97809}"/>
              </a:ext>
            </a:extLst>
          </p:cNvPr>
          <p:cNvSpPr>
            <a:spLocks noGrp="1"/>
          </p:cNvSpPr>
          <p:nvPr>
            <p:custDataLst>
              <p:tags r:id="rId34"/>
            </p:custDataLst>
          </p:nvPr>
        </p:nvSpPr>
        <p:spPr bwMode="auto">
          <a:xfrm>
            <a:off x="10906125" y="5391150"/>
            <a:ext cx="350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A2E51CE-DE21-4BDF-828D-BF4D78B9DEB1}" type="datetime'''O''''''''''ra''''''''''''''n''''''''''''''''''o'''''''''''">
              <a:rPr lang="en-US" altLang="en-US" sz="1000" smtClean="0"/>
              <a:pPr marL="0" lvl="0" indent="0">
                <a:spcBef>
                  <a:spcPct val="0"/>
                </a:spcBef>
                <a:spcAft>
                  <a:spcPct val="0"/>
                </a:spcAft>
                <a:buNone/>
              </a:pPr>
              <a:t>Orano</a:t>
            </a:fld>
            <a:endParaRPr lang="en-US" sz="1000"/>
          </a:p>
        </p:txBody>
      </p:sp>
      <p:sp>
        <p:nvSpPr>
          <p:cNvPr id="3302"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10296525" y="5064125"/>
            <a:ext cx="217488" cy="152400"/>
          </a:xfrm>
          <a:prstGeom prst="rect">
            <a:avLst/>
          </a:prstGeom>
          <a:solidFill>
            <a:srgbClr val="FF5E6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D9EE7C-FBAB-4232-8237-2818F6E3B661}" type="datetime'''''''''''''''''''''''''''''''''''''''''8''''''%'''''''">
              <a:rPr lang="en-US" altLang="en-US" sz="1000" smtClean="0">
                <a:solidFill>
                  <a:schemeClr val="bg1"/>
                </a:solidFill>
                <a:effectLst/>
              </a:rPr>
              <a:pPr marL="0" lvl="0" indent="0" algn="ctr">
                <a:spcBef>
                  <a:spcPct val="0"/>
                </a:spcBef>
                <a:spcAft>
                  <a:spcPct val="0"/>
                </a:spcAft>
                <a:buNone/>
              </a:pPr>
              <a:t>8%</a:t>
            </a:fld>
            <a:endParaRPr lang="en-US" sz="1000">
              <a:solidFill>
                <a:schemeClr val="bg1"/>
              </a:solidFill>
            </a:endParaRPr>
          </a:p>
        </p:txBody>
      </p:sp>
      <p:sp>
        <p:nvSpPr>
          <p:cNvPr id="3276" name="Text Placeholder 10">
            <a:extLst>
              <a:ext uri="{FF2B5EF4-FFF2-40B4-BE49-F238E27FC236}">
                <a16:creationId xmlns:a16="http://schemas.microsoft.com/office/drawing/2014/main" id="{7950D33F-282E-10BD-852F-8A9B107A3750}"/>
              </a:ext>
            </a:extLst>
          </p:cNvPr>
          <p:cNvSpPr>
            <a:spLocks noGrp="1"/>
          </p:cNvSpPr>
          <p:nvPr>
            <p:custDataLst>
              <p:tags r:id="rId36"/>
            </p:custDataLst>
          </p:nvPr>
        </p:nvSpPr>
        <p:spPr bwMode="auto">
          <a:xfrm>
            <a:off x="10167938" y="4840288"/>
            <a:ext cx="352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89D3E34-BB40-42F8-BA4B-830C8877CBA7}" type="datetime'''''''''B''A''''''''''''R''''''''''''''''''''''C'''">
              <a:rPr lang="en-US" altLang="en-US" sz="1000" smtClean="0"/>
              <a:pPr marL="0" lvl="0" indent="0">
                <a:spcBef>
                  <a:spcPct val="0"/>
                </a:spcBef>
                <a:spcAft>
                  <a:spcPct val="0"/>
                </a:spcAft>
                <a:buNone/>
              </a:pPr>
              <a:t>BARC</a:t>
            </a:fld>
            <a:endParaRPr lang="en-US" sz="1000"/>
          </a:p>
        </p:txBody>
      </p:sp>
      <p:sp>
        <p:nvSpPr>
          <p:cNvPr id="3275" name="Text Placeholder 10">
            <a:extLst>
              <a:ext uri="{FF2B5EF4-FFF2-40B4-BE49-F238E27FC236}">
                <a16:creationId xmlns:a16="http://schemas.microsoft.com/office/drawing/2014/main" id="{8A6C10D3-9B44-6418-E473-D5F970B265BE}"/>
              </a:ext>
            </a:extLst>
          </p:cNvPr>
          <p:cNvSpPr>
            <a:spLocks noGrp="1"/>
          </p:cNvSpPr>
          <p:nvPr>
            <p:custDataLst>
              <p:tags r:id="rId37"/>
            </p:custDataLst>
          </p:nvPr>
        </p:nvSpPr>
        <p:spPr bwMode="auto">
          <a:xfrm>
            <a:off x="9393238" y="4975225"/>
            <a:ext cx="64611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000" dirty="0"/>
              <a:t>Japan     </a:t>
            </a:r>
            <a:br>
              <a:rPr lang="en-US" altLang="en-US" sz="1000" dirty="0"/>
            </a:br>
            <a:r>
              <a:rPr lang="en-US" altLang="en-US" sz="1000" dirty="0"/>
              <a:t>Nuclear      </a:t>
            </a:r>
            <a:br>
              <a:rPr lang="en-US" altLang="en-US" sz="1000" dirty="0"/>
            </a:br>
            <a:r>
              <a:rPr lang="en-US" altLang="en-US" sz="1000" dirty="0"/>
              <a:t>Fuel      </a:t>
            </a:r>
            <a:endParaRPr lang="en-US" sz="1000" dirty="0"/>
          </a:p>
        </p:txBody>
      </p:sp>
      <p:pic>
        <p:nvPicPr>
          <p:cNvPr id="3286" name="Picture 4" descr="Flag of Russia - Wikipedia">
            <a:extLst>
              <a:ext uri="{FF2B5EF4-FFF2-40B4-BE49-F238E27FC236}">
                <a16:creationId xmlns:a16="http://schemas.microsoft.com/office/drawing/2014/main" id="{52CA4D81-B8CF-B245-83F6-51E262F36972}"/>
              </a:ext>
            </a:extLst>
          </p:cNvPr>
          <p:cNvPicPr>
            <a:picLocks noChangeArrowheads="1"/>
          </p:cNvPicPr>
          <p:nvPr/>
        </p:nvPicPr>
        <p:blipFill>
          <a:blip r:embed="rId67" cstate="screen">
            <a:extLst>
              <a:ext uri="{28A0092B-C50C-407E-A947-70E740481C1C}">
                <a14:useLocalDpi xmlns:a14="http://schemas.microsoft.com/office/drawing/2010/main"/>
              </a:ext>
            </a:extLst>
          </a:blip>
          <a:srcRect/>
          <a:stretch>
            <a:fillRect/>
          </a:stretch>
        </p:blipFill>
        <p:spPr bwMode="auto">
          <a:xfrm>
            <a:off x="10086578" y="5722938"/>
            <a:ext cx="182563" cy="182563"/>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pic>
        <p:nvPicPr>
          <p:cNvPr id="3287" name="Picture 2" descr="Flag of France - Wikipedia">
            <a:extLst>
              <a:ext uri="{FF2B5EF4-FFF2-40B4-BE49-F238E27FC236}">
                <a16:creationId xmlns:a16="http://schemas.microsoft.com/office/drawing/2014/main" id="{7C71A602-AFCA-6EC6-FC24-0356A8790541}"/>
              </a:ext>
            </a:extLst>
          </p:cNvPr>
          <p:cNvPicPr>
            <a:picLocks noChangeArrowheads="1"/>
          </p:cNvPicPr>
          <p:nvPr/>
        </p:nvPicPr>
        <p:blipFill rotWithShape="1">
          <a:blip r:embed="rId62" cstate="screen">
            <a:extLst>
              <a:ext uri="{28A0092B-C50C-407E-A947-70E740481C1C}">
                <a14:useLocalDpi xmlns:a14="http://schemas.microsoft.com/office/drawing/2010/main"/>
              </a:ext>
            </a:extLst>
          </a:blip>
          <a:srcRect l="10366" r="8463"/>
          <a:stretch/>
        </p:blipFill>
        <p:spPr bwMode="auto">
          <a:xfrm>
            <a:off x="11284895" y="5389563"/>
            <a:ext cx="182563" cy="18415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cxnSp>
        <p:nvCxnSpPr>
          <p:cNvPr id="3292" name="btfpColumnHeaderBoxLine223027">
            <a:extLst>
              <a:ext uri="{FF2B5EF4-FFF2-40B4-BE49-F238E27FC236}">
                <a16:creationId xmlns:a16="http://schemas.microsoft.com/office/drawing/2014/main" id="{8ABF7177-47E0-90FF-3CA7-E443C321805D}"/>
              </a:ext>
            </a:extLst>
          </p:cNvPr>
          <p:cNvCxnSpPr>
            <a:cxnSpLocks/>
          </p:cNvCxnSpPr>
          <p:nvPr/>
        </p:nvCxnSpPr>
        <p:spPr bwMode="gray">
          <a:xfrm>
            <a:off x="9260458" y="4624195"/>
            <a:ext cx="2600325" cy="0"/>
          </a:xfrm>
          <a:prstGeom prst="line">
            <a:avLst/>
          </a:prstGeom>
          <a:ln w="9525" cap="flat">
            <a:solidFill>
              <a:srgbClr val="00223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3300" name="Group 3299">
            <a:extLst>
              <a:ext uri="{FF2B5EF4-FFF2-40B4-BE49-F238E27FC236}">
                <a16:creationId xmlns:a16="http://schemas.microsoft.com/office/drawing/2014/main" id="{A542F878-1F7B-9B5D-3483-158314E35208}"/>
              </a:ext>
            </a:extLst>
          </p:cNvPr>
          <p:cNvGrpSpPr/>
          <p:nvPr/>
        </p:nvGrpSpPr>
        <p:grpSpPr>
          <a:xfrm>
            <a:off x="9669513" y="4262803"/>
            <a:ext cx="1783283" cy="360956"/>
            <a:chOff x="9669513" y="4318558"/>
            <a:chExt cx="1783283" cy="360956"/>
          </a:xfrm>
        </p:grpSpPr>
        <p:sp>
          <p:nvSpPr>
            <p:cNvPr id="3290" name="btfpColumnHeaderBoxText223027">
              <a:extLst>
                <a:ext uri="{FF2B5EF4-FFF2-40B4-BE49-F238E27FC236}">
                  <a16:creationId xmlns:a16="http://schemas.microsoft.com/office/drawing/2014/main" id="{DD3D8C4D-03DB-17E9-DEC3-F9F2EBBC6E11}"/>
                </a:ext>
              </a:extLst>
            </p:cNvPr>
            <p:cNvSpPr txBox="1"/>
            <p:nvPr/>
          </p:nvSpPr>
          <p:spPr bwMode="gray">
            <a:xfrm>
              <a:off x="9939775" y="4360863"/>
              <a:ext cx="1513021" cy="298450"/>
            </a:xfrm>
            <a:prstGeom prst="rect">
              <a:avLst/>
            </a:prstGeom>
            <a:noFill/>
          </p:spPr>
          <p:txBody>
            <a:bodyPr vert="horz" wrap="square" lIns="36036" tIns="36036" rIns="36036" bIns="36036" rtlCol="0" anchor="b">
              <a:noAutofit/>
            </a:bodyPr>
            <a:lstStyle/>
            <a:p>
              <a:pPr algn="ctr"/>
              <a:r>
                <a:rPr lang="en-US" sz="1400" b="1"/>
                <a:t>Fuel recycling</a:t>
              </a:r>
              <a:endParaRPr lang="en-US" sz="1400"/>
            </a:p>
          </p:txBody>
        </p:sp>
        <p:grpSp>
          <p:nvGrpSpPr>
            <p:cNvPr id="3299" name="Group 3298">
              <a:extLst>
                <a:ext uri="{FF2B5EF4-FFF2-40B4-BE49-F238E27FC236}">
                  <a16:creationId xmlns:a16="http://schemas.microsoft.com/office/drawing/2014/main" id="{D25EB7CB-D265-35CD-8B7B-B462969CEAF7}"/>
                </a:ext>
              </a:extLst>
            </p:cNvPr>
            <p:cNvGrpSpPr/>
            <p:nvPr/>
          </p:nvGrpSpPr>
          <p:grpSpPr>
            <a:xfrm>
              <a:off x="9669513" y="4318558"/>
              <a:ext cx="360956" cy="360956"/>
              <a:chOff x="8558214" y="3216166"/>
              <a:chExt cx="640080" cy="640080"/>
            </a:xfrm>
          </p:grpSpPr>
          <p:pic>
            <p:nvPicPr>
              <p:cNvPr id="3296" name="Graphic 3295" descr="Recycle with solid fill">
                <a:extLst>
                  <a:ext uri="{FF2B5EF4-FFF2-40B4-BE49-F238E27FC236}">
                    <a16:creationId xmlns:a16="http://schemas.microsoft.com/office/drawing/2014/main" id="{E77CA191-3D2F-5828-B457-E2B52327F854}"/>
                  </a:ext>
                </a:extLst>
              </p:cNvPr>
              <p:cNvPicPr>
                <a:picLocks noChangeAspect="1"/>
              </p:cNvPicPr>
              <p:nvPr/>
            </p:nvPicPr>
            <p:blipFill>
              <a:blip>
                <a:extLst>
                  <a:ext uri="{96DAC541-7B7A-43D3-8B79-37D633B846F1}">
                    <asvg:svgBlip xmlns:asvg="http://schemas.microsoft.com/office/drawing/2016/SVG/main" r:embed="rId74"/>
                  </a:ext>
                </a:extLst>
              </a:blip>
              <a:stretch>
                <a:fillRect/>
              </a:stretch>
            </p:blipFill>
            <p:spPr>
              <a:xfrm>
                <a:off x="8558214" y="3216166"/>
                <a:ext cx="640080" cy="640080"/>
              </a:xfrm>
              <a:prstGeom prst="rect">
                <a:avLst/>
              </a:prstGeom>
            </p:spPr>
          </p:pic>
          <p:pic>
            <p:nvPicPr>
              <p:cNvPr id="3298" name="Graphic 3297" descr="Radioactive with solid fill">
                <a:extLst>
                  <a:ext uri="{FF2B5EF4-FFF2-40B4-BE49-F238E27FC236}">
                    <a16:creationId xmlns:a16="http://schemas.microsoft.com/office/drawing/2014/main" id="{0FB039F3-AA53-5016-62BA-160633B7F02C}"/>
                  </a:ext>
                </a:extLst>
              </p:cNvPr>
              <p:cNvPicPr>
                <a:picLocks noChangeAspect="1"/>
              </p:cNvPicPr>
              <p:nvPr/>
            </p:nvPicPr>
            <p:blipFill>
              <a:blip>
                <a:extLst>
                  <a:ext uri="{96DAC541-7B7A-43D3-8B79-37D633B846F1}">
                    <asvg:svgBlip xmlns:asvg="http://schemas.microsoft.com/office/drawing/2016/SVG/main" r:embed="rId75"/>
                  </a:ext>
                </a:extLst>
              </a:blip>
              <a:stretch>
                <a:fillRect/>
              </a:stretch>
            </p:blipFill>
            <p:spPr>
              <a:xfrm>
                <a:off x="8775024" y="3464631"/>
                <a:ext cx="206462" cy="206462"/>
              </a:xfrm>
              <a:prstGeom prst="rect">
                <a:avLst/>
              </a:prstGeom>
            </p:spPr>
          </p:pic>
        </p:grpSp>
      </p:grpSp>
      <p:pic>
        <p:nvPicPr>
          <p:cNvPr id="3326" name="Picture 10" descr="Flag of Japan - Wikipedia">
            <a:extLst>
              <a:ext uri="{FF2B5EF4-FFF2-40B4-BE49-F238E27FC236}">
                <a16:creationId xmlns:a16="http://schemas.microsoft.com/office/drawing/2014/main" id="{676D8C6A-FF21-4075-B88F-AFD64A0938D4}"/>
              </a:ext>
            </a:extLst>
          </p:cNvPr>
          <p:cNvPicPr>
            <a:picLocks noChangeAspect="1" noChangeArrowheads="1"/>
          </p:cNvPicPr>
          <p:nvPr/>
        </p:nvPicPr>
        <p:blipFill rotWithShape="1">
          <a:blip r:embed="rId76" cstate="screen">
            <a:extLst>
              <a:ext uri="{28A0092B-C50C-407E-A947-70E740481C1C}">
                <a14:useLocalDpi xmlns:a14="http://schemas.microsoft.com/office/drawing/2010/main"/>
              </a:ext>
            </a:extLst>
          </a:blip>
          <a:srcRect l="12260" t="-5509" r="10524" b="-7512"/>
          <a:stretch/>
        </p:blipFill>
        <p:spPr bwMode="auto">
          <a:xfrm>
            <a:off x="9897878" y="5124450"/>
            <a:ext cx="187737" cy="184150"/>
          </a:xfrm>
          <a:prstGeom prst="ellipse">
            <a:avLst/>
          </a:prstGeom>
          <a:ln w="3175" cap="rnd">
            <a:solidFill>
              <a:schemeClr val="tx1"/>
            </a:solid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pic>
        <p:nvPicPr>
          <p:cNvPr id="3327" name="Picture 10" descr="Flag of India - Wikipedia">
            <a:extLst>
              <a:ext uri="{FF2B5EF4-FFF2-40B4-BE49-F238E27FC236}">
                <a16:creationId xmlns:a16="http://schemas.microsoft.com/office/drawing/2014/main" id="{BCFE53B5-64F2-E365-857A-27C6C498147E}"/>
              </a:ext>
            </a:extLst>
          </p:cNvPr>
          <p:cNvPicPr>
            <a:picLocks noChangeArrowheads="1"/>
          </p:cNvPicPr>
          <p:nvPr/>
        </p:nvPicPr>
        <p:blipFill rotWithShape="1">
          <a:blip r:embed="rId77" cstate="screen">
            <a:extLst>
              <a:ext uri="{28A0092B-C50C-407E-A947-70E740481C1C}">
                <a14:useLocalDpi xmlns:a14="http://schemas.microsoft.com/office/drawing/2010/main"/>
              </a:ext>
            </a:extLst>
          </a:blip>
          <a:srcRect l="16938" r="17407"/>
          <a:stretch/>
        </p:blipFill>
        <p:spPr bwMode="auto">
          <a:xfrm>
            <a:off x="10564453" y="4835525"/>
            <a:ext cx="182880" cy="18256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3329" name="Speech Bubble: Rectangle 3328">
            <a:extLst>
              <a:ext uri="{FF2B5EF4-FFF2-40B4-BE49-F238E27FC236}">
                <a16:creationId xmlns:a16="http://schemas.microsoft.com/office/drawing/2014/main" id="{8E252417-0C0A-2A13-83DE-1274786F6BDB}"/>
              </a:ext>
            </a:extLst>
          </p:cNvPr>
          <p:cNvSpPr/>
          <p:nvPr/>
        </p:nvSpPr>
        <p:spPr bwMode="gray">
          <a:xfrm>
            <a:off x="6630717" y="3496530"/>
            <a:ext cx="1472650" cy="673913"/>
          </a:xfrm>
          <a:prstGeom prst="wedgeRectCallout">
            <a:avLst>
              <a:gd name="adj1" fmla="val -18996"/>
              <a:gd name="adj2" fmla="val -57355"/>
            </a:avLst>
          </a:prstGeom>
          <a:solidFill>
            <a:srgbClr val="5F86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rgbClr val="FFFFFF"/>
                </a:solidFill>
              </a:rPr>
              <a:t>MOX is a combination of plutonium dioxide and UO</a:t>
            </a:r>
            <a:r>
              <a:rPr lang="en-US" sz="1000" baseline="-25000">
                <a:solidFill>
                  <a:srgbClr val="FFFFFF"/>
                </a:solidFill>
              </a:rPr>
              <a:t>2 </a:t>
            </a:r>
            <a:r>
              <a:rPr lang="en-US" sz="1000">
                <a:solidFill>
                  <a:srgbClr val="FFFFFF"/>
                </a:solidFill>
              </a:rPr>
              <a:t>and can be used in a few reactors.</a:t>
            </a:r>
          </a:p>
        </p:txBody>
      </p:sp>
      <p:sp>
        <p:nvSpPr>
          <p:cNvPr id="1149" name="Rectangle: Rounded Corners 1148">
            <a:extLst>
              <a:ext uri="{FF2B5EF4-FFF2-40B4-BE49-F238E27FC236}">
                <a16:creationId xmlns:a16="http://schemas.microsoft.com/office/drawing/2014/main" id="{A6526CCB-AC38-553A-514B-07DF0FFF0187}"/>
              </a:ext>
            </a:extLst>
          </p:cNvPr>
          <p:cNvSpPr/>
          <p:nvPr/>
        </p:nvSpPr>
        <p:spPr bwMode="gray">
          <a:xfrm>
            <a:off x="2879255" y="3310617"/>
            <a:ext cx="1097280" cy="914400"/>
          </a:xfrm>
          <a:prstGeom prst="roundRect">
            <a:avLst>
              <a:gd name="adj" fmla="val 16667"/>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77" name="Rectangle: Rounded Corners 1176">
            <a:extLst>
              <a:ext uri="{FF2B5EF4-FFF2-40B4-BE49-F238E27FC236}">
                <a16:creationId xmlns:a16="http://schemas.microsoft.com/office/drawing/2014/main" id="{2D4DDE28-F6D9-D07F-0A75-5FEF029375F8}"/>
              </a:ext>
            </a:extLst>
          </p:cNvPr>
          <p:cNvSpPr/>
          <p:nvPr/>
        </p:nvSpPr>
        <p:spPr bwMode="gray">
          <a:xfrm>
            <a:off x="7022791" y="1824801"/>
            <a:ext cx="1097280" cy="914400"/>
          </a:xfrm>
          <a:prstGeom prst="roundRect">
            <a:avLst>
              <a:gd name="adj" fmla="val 16667"/>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5" name="btfpColumnHeaderBoxText223027">
            <a:extLst>
              <a:ext uri="{FF2B5EF4-FFF2-40B4-BE49-F238E27FC236}">
                <a16:creationId xmlns:a16="http://schemas.microsoft.com/office/drawing/2014/main" id="{E6AC214D-36D5-B480-5A1F-567CF292FC85}"/>
              </a:ext>
            </a:extLst>
          </p:cNvPr>
          <p:cNvSpPr txBox="1"/>
          <p:nvPr/>
        </p:nvSpPr>
        <p:spPr bwMode="gray">
          <a:xfrm>
            <a:off x="1565477" y="4642086"/>
            <a:ext cx="1969640" cy="184666"/>
          </a:xfrm>
          <a:prstGeom prst="rect">
            <a:avLst/>
          </a:prstGeom>
          <a:noFill/>
        </p:spPr>
        <p:txBody>
          <a:bodyPr vert="horz" wrap="square" lIns="0" tIns="0" rIns="0" bIns="0" rtlCol="0" anchor="b">
            <a:spAutoFit/>
          </a:bodyPr>
          <a:lstStyle/>
          <a:p>
            <a:r>
              <a:rPr lang="en-US" sz="1200"/>
              <a:t>Total: 55 </a:t>
            </a:r>
            <a:r>
              <a:rPr lang="en-US" sz="1200" err="1"/>
              <a:t>kt</a:t>
            </a:r>
            <a:r>
              <a:rPr lang="en-US" sz="1200"/>
              <a:t> uranium</a:t>
            </a:r>
          </a:p>
        </p:txBody>
      </p:sp>
      <p:sp>
        <p:nvSpPr>
          <p:cNvPr id="37" name="btfpColumnHeaderBoxText223027">
            <a:extLst>
              <a:ext uri="{FF2B5EF4-FFF2-40B4-BE49-F238E27FC236}">
                <a16:creationId xmlns:a16="http://schemas.microsoft.com/office/drawing/2014/main" id="{C517BB75-6C28-6B44-C58C-2F3AB291D0FE}"/>
              </a:ext>
            </a:extLst>
          </p:cNvPr>
          <p:cNvSpPr txBox="1"/>
          <p:nvPr/>
        </p:nvSpPr>
        <p:spPr bwMode="gray">
          <a:xfrm>
            <a:off x="4130509" y="4642086"/>
            <a:ext cx="1969640" cy="184666"/>
          </a:xfrm>
          <a:prstGeom prst="rect">
            <a:avLst/>
          </a:prstGeom>
          <a:noFill/>
        </p:spPr>
        <p:txBody>
          <a:bodyPr vert="horz" wrap="square" lIns="0" tIns="0" rIns="0" bIns="0" rtlCol="0" anchor="b">
            <a:spAutoFit/>
          </a:bodyPr>
          <a:lstStyle/>
          <a:p>
            <a:r>
              <a:rPr lang="en-US" sz="1200"/>
              <a:t>Total: 62,900 SWU/year</a:t>
            </a:r>
          </a:p>
        </p:txBody>
      </p:sp>
      <p:sp>
        <p:nvSpPr>
          <p:cNvPr id="38" name="btfpColumnHeaderBoxText223027">
            <a:extLst>
              <a:ext uri="{FF2B5EF4-FFF2-40B4-BE49-F238E27FC236}">
                <a16:creationId xmlns:a16="http://schemas.microsoft.com/office/drawing/2014/main" id="{9CACCEC1-8207-C15B-BDA9-CCB8C43502B6}"/>
              </a:ext>
            </a:extLst>
          </p:cNvPr>
          <p:cNvSpPr txBox="1"/>
          <p:nvPr/>
        </p:nvSpPr>
        <p:spPr bwMode="gray">
          <a:xfrm>
            <a:off x="6521818" y="4642086"/>
            <a:ext cx="1969640" cy="184666"/>
          </a:xfrm>
          <a:prstGeom prst="rect">
            <a:avLst/>
          </a:prstGeom>
          <a:noFill/>
        </p:spPr>
        <p:txBody>
          <a:bodyPr vert="horz" wrap="square" lIns="0" tIns="0" rIns="0" bIns="0" rtlCol="0" anchor="b">
            <a:spAutoFit/>
          </a:bodyPr>
          <a:lstStyle/>
          <a:p>
            <a:r>
              <a:rPr lang="en-US" sz="1200"/>
              <a:t>Total: 15 t LWR fuel</a:t>
            </a:r>
          </a:p>
        </p:txBody>
      </p:sp>
      <p:sp>
        <p:nvSpPr>
          <p:cNvPr id="39" name="btfpColumnHeaderBoxText223027">
            <a:extLst>
              <a:ext uri="{FF2B5EF4-FFF2-40B4-BE49-F238E27FC236}">
                <a16:creationId xmlns:a16="http://schemas.microsoft.com/office/drawing/2014/main" id="{48D76D98-EBDC-CC25-00BF-16177A1C6D3F}"/>
              </a:ext>
            </a:extLst>
          </p:cNvPr>
          <p:cNvSpPr txBox="1"/>
          <p:nvPr/>
        </p:nvSpPr>
        <p:spPr bwMode="gray">
          <a:xfrm>
            <a:off x="9256499" y="4642086"/>
            <a:ext cx="1969640" cy="184666"/>
          </a:xfrm>
          <a:prstGeom prst="rect">
            <a:avLst/>
          </a:prstGeom>
          <a:noFill/>
        </p:spPr>
        <p:txBody>
          <a:bodyPr vert="horz" wrap="square" lIns="0" tIns="0" rIns="0" bIns="0" rtlCol="0" anchor="b">
            <a:spAutoFit/>
          </a:bodyPr>
          <a:lstStyle/>
          <a:p>
            <a:r>
              <a:rPr lang="en-US" sz="1200"/>
              <a:t>Total: 3,860 t</a:t>
            </a:r>
          </a:p>
        </p:txBody>
      </p:sp>
      <p:sp>
        <p:nvSpPr>
          <p:cNvPr id="5" name="TextBox 4">
            <a:extLst>
              <a:ext uri="{FF2B5EF4-FFF2-40B4-BE49-F238E27FC236}">
                <a16:creationId xmlns:a16="http://schemas.microsoft.com/office/drawing/2014/main" id="{25201BBA-465B-4EF7-29B6-EAFF677D0EC6}"/>
              </a:ext>
            </a:extLst>
          </p:cNvPr>
          <p:cNvSpPr txBox="1"/>
          <p:nvPr/>
        </p:nvSpPr>
        <p:spPr bwMode="gray">
          <a:xfrm>
            <a:off x="1597" y="0"/>
            <a:ext cx="2926080" cy="382208"/>
          </a:xfrm>
          <a:prstGeom prst="rect">
            <a:avLst/>
          </a:prstGeom>
          <a:solidFill>
            <a:schemeClr val="accent5"/>
          </a:solidFill>
          <a:ln w="6350">
            <a:noFill/>
            <a:prstDash val="solid"/>
          </a:ln>
        </p:spPr>
        <p:txBody>
          <a:bodyPr wrap="square" lIns="91440" tIns="91440" rIns="91440" bIns="91440" rtlCol="0" anchor="ctr">
            <a:noAutofit/>
          </a:bodyPr>
          <a:lstStyle/>
          <a:p>
            <a:pPr marL="0" indent="0" algn="ctr">
              <a:spcAft>
                <a:spcPts val="600"/>
              </a:spcAft>
              <a:buNone/>
            </a:pPr>
            <a:r>
              <a:rPr lang="en-US" sz="1200" b="1">
                <a:solidFill>
                  <a:schemeClr val="bg1"/>
                </a:solidFill>
              </a:rPr>
              <a:t>Deep-dive: Uranium</a:t>
            </a:r>
          </a:p>
        </p:txBody>
      </p:sp>
    </p:spTree>
    <p:extLst>
      <p:ext uri="{BB962C8B-B14F-4D97-AF65-F5344CB8AC3E}">
        <p14:creationId xmlns:p14="http://schemas.microsoft.com/office/powerpoint/2010/main" val="33518828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08B5256B-BD9C-7A33-3A41-22EB35B6F2C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56251B3-3245-F8BB-78FC-DD6F62D4C072}"/>
              </a:ext>
            </a:extLst>
          </p:cNvPr>
          <p:cNvGraphicFramePr>
            <a:graphicFrameLocks noChangeAspect="1"/>
          </p:cNvGraphicFramePr>
          <p:nvPr>
            <p:custDataLst>
              <p:tags r:id="rId2"/>
            </p:custDataLst>
            <p:extLst>
              <p:ext uri="{D42A27DB-BD31-4B8C-83A1-F6EECF244321}">
                <p14:modId xmlns:p14="http://schemas.microsoft.com/office/powerpoint/2010/main" val="693861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6" name="think-cell data - do not delete" hidden="1">
                        <a:extLst>
                          <a:ext uri="{FF2B5EF4-FFF2-40B4-BE49-F238E27FC236}">
                            <a16:creationId xmlns:a16="http://schemas.microsoft.com/office/drawing/2014/main" id="{556251B3-3245-F8BB-78FC-DD6F62D4C0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426D07-C123-9B00-5EAE-A36231CD0EC0}"/>
              </a:ext>
            </a:extLst>
          </p:cNvPr>
          <p:cNvSpPr>
            <a:spLocks noGrp="1"/>
          </p:cNvSpPr>
          <p:nvPr>
            <p:ph type="title"/>
          </p:nvPr>
        </p:nvSpPr>
        <p:spPr>
          <a:xfrm>
            <a:off x="838200" y="3680200"/>
            <a:ext cx="10515600" cy="2436792"/>
          </a:xfrm>
        </p:spPr>
        <p:txBody>
          <a:bodyPr vert="horz"/>
          <a:lstStyle/>
          <a:p>
            <a:r>
              <a:rPr lang="en-US">
                <a:effectLst>
                  <a:outerShdw blurRad="50800" dist="38100" dir="8100000" algn="tr" rotWithShape="0">
                    <a:prstClr val="black">
                      <a:alpha val="40000"/>
                    </a:prstClr>
                  </a:outerShdw>
                </a:effectLst>
              </a:rPr>
              <a:t>Global Policy</a:t>
            </a:r>
          </a:p>
        </p:txBody>
      </p:sp>
    </p:spTree>
    <p:custDataLst>
      <p:tags r:id="rId1"/>
    </p:custDataLst>
    <p:extLst>
      <p:ext uri="{BB962C8B-B14F-4D97-AF65-F5344CB8AC3E}">
        <p14:creationId xmlns:p14="http://schemas.microsoft.com/office/powerpoint/2010/main" val="10715860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extLst>
              <p:ext uri="{D42A27DB-BD31-4B8C-83A1-F6EECF244321}">
                <p14:modId xmlns:p14="http://schemas.microsoft.com/office/powerpoint/2010/main" val="4186051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510363" y="669851"/>
            <a:ext cx="3476846" cy="5316279"/>
          </a:xfrm>
          <a:prstGeom prst="rect">
            <a:avLst/>
          </a:prstGeom>
        </p:spPr>
      </p:pic>
      <p:sp>
        <p:nvSpPr>
          <p:cNvPr id="13" name="Title 2">
            <a:extLst>
              <a:ext uri="{FF2B5EF4-FFF2-40B4-BE49-F238E27FC236}">
                <a16:creationId xmlns:a16="http://schemas.microsoft.com/office/drawing/2014/main" id="{360AB3BC-5A13-1AF0-BA4D-D333B3A78B56}"/>
              </a:ext>
            </a:extLst>
          </p:cNvPr>
          <p:cNvSpPr txBox="1">
            <a:spLocks/>
          </p:cNvSpPr>
          <p:nvPr/>
        </p:nvSpPr>
        <p:spPr>
          <a:xfrm>
            <a:off x="659596" y="5094417"/>
            <a:ext cx="3165987" cy="784830"/>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p>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a:ea typeface="+mj-ea"/>
                <a:cs typeface="+mj-cs"/>
              </a:rPr>
              <a:t>Global Policy</a:t>
            </a:r>
          </a:p>
        </p:txBody>
      </p:sp>
      <p:cxnSp>
        <p:nvCxnSpPr>
          <p:cNvPr id="6" name="Straight Connector 5">
            <a:extLst>
              <a:ext uri="{FF2B5EF4-FFF2-40B4-BE49-F238E27FC236}">
                <a16:creationId xmlns:a16="http://schemas.microsoft.com/office/drawing/2014/main" id="{91AD472B-A3BB-9776-6A0D-1ED95851F468}"/>
              </a:ext>
            </a:extLst>
          </p:cNvPr>
          <p:cNvCxnSpPr>
            <a:cxnSpLocks/>
          </p:cNvCxnSpPr>
          <p:nvPr/>
        </p:nvCxnSpPr>
        <p:spPr bwMode="gray">
          <a:xfrm>
            <a:off x="4188030" y="143435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btfpBulletedList771181">
            <a:extLst>
              <a:ext uri="{FF2B5EF4-FFF2-40B4-BE49-F238E27FC236}">
                <a16:creationId xmlns:a16="http://schemas.microsoft.com/office/drawing/2014/main" id="{10816024-1544-8540-D9B0-156A686CC79E}"/>
              </a:ext>
            </a:extLst>
          </p:cNvPr>
          <p:cNvSpPr txBox="1"/>
          <p:nvPr>
            <p:custDataLst>
              <p:tags r:id="rId3"/>
            </p:custDataLst>
          </p:nvPr>
        </p:nvSpPr>
        <p:spPr bwMode="gray">
          <a:xfrm>
            <a:off x="4230892" y="693807"/>
            <a:ext cx="7507288" cy="703645"/>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Governments have regained interest in nuclear power </a:t>
            </a:r>
            <a:r>
              <a:rPr kumimoji="0" lang="en-US" sz="1200" b="0" i="0" u="none" strike="noStrike" kern="1200" cap="none" spc="0" normalizeH="0" baseline="0" noProof="0">
                <a:ln>
                  <a:noFill/>
                </a:ln>
                <a:solidFill>
                  <a:srgbClr val="000000"/>
                </a:solidFill>
                <a:effectLst/>
                <a:uLnTx/>
                <a:uFillTx/>
                <a:latin typeface="Arial"/>
                <a:ea typeface="+mn-ea"/>
                <a:cs typeface="+mn-cs"/>
              </a:rPr>
              <a:t>as a crucial emission-free, reliable energy source</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to achieve their net-zero targets and a key factor in energy security.</a:t>
            </a:r>
            <a:endParaRPr kumimoji="0" lang="en-US" sz="1200" b="1" i="0" u="none" strike="noStrike" kern="1200" cap="none" spc="0" normalizeH="0" baseline="0" noProof="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t COP29 in 2024, 26 countries agreed to triple their nuclear energy capacity by 2050.</a:t>
            </a:r>
          </a:p>
        </p:txBody>
      </p:sp>
      <p:cxnSp>
        <p:nvCxnSpPr>
          <p:cNvPr id="12" name="Straight Connector 11">
            <a:extLst>
              <a:ext uri="{FF2B5EF4-FFF2-40B4-BE49-F238E27FC236}">
                <a16:creationId xmlns:a16="http://schemas.microsoft.com/office/drawing/2014/main" id="{2B8226F1-1022-3944-05BE-EB1B72F115FD}"/>
              </a:ext>
            </a:extLst>
          </p:cNvPr>
          <p:cNvCxnSpPr>
            <a:cxnSpLocks/>
          </p:cNvCxnSpPr>
          <p:nvPr/>
        </p:nvCxnSpPr>
        <p:spPr bwMode="gray">
          <a:xfrm>
            <a:off x="4188030" y="2996636"/>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BulletedList771181">
            <a:extLst>
              <a:ext uri="{FF2B5EF4-FFF2-40B4-BE49-F238E27FC236}">
                <a16:creationId xmlns:a16="http://schemas.microsoft.com/office/drawing/2014/main" id="{A4465A31-479B-DB98-57D1-7D7FDF580FD0}"/>
              </a:ext>
            </a:extLst>
          </p:cNvPr>
          <p:cNvSpPr txBox="1"/>
          <p:nvPr>
            <p:custDataLst>
              <p:tags r:id="rId4"/>
            </p:custDataLst>
          </p:nvPr>
        </p:nvSpPr>
        <p:spPr bwMode="gray">
          <a:xfrm>
            <a:off x="4230892" y="3033539"/>
            <a:ext cx="7507288" cy="2411805"/>
          </a:xfrm>
          <a:prstGeom prst="rect">
            <a:avLst/>
          </a:prstGeom>
          <a:noFill/>
        </p:spPr>
        <p:txBody>
          <a:bodyPr vert="horz" wrap="square" lIns="36000" tIns="36000" rIns="36000" bIns="36000" rtlCol="0" anchor="t">
            <a:spAutoFit/>
          </a:bodyPr>
          <a:lstStyle/>
          <a:p>
            <a:pPr marL="49213" marR="0" lvl="1" indent="0" algn="l" defTabSz="7112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ountries have varying policy stances on nuclear energy.</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U.S.: The Inflation Reduction Act extends tax credits, making existing reactors economical and incentivizing construction. Government also actively supports development of advanced nuclear reactor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U: C</a:t>
            </a:r>
            <a:r>
              <a:rPr kumimoji="0" lang="en-US" sz="1200" b="0" i="0" u="none" strike="noStrike" kern="1200" cap="none" spc="0" normalizeH="0" baseline="0" noProof="0" dirty="0">
                <a:ln>
                  <a:noFill/>
                </a:ln>
                <a:solidFill>
                  <a:srgbClr val="000000"/>
                </a:solidFill>
                <a:effectLst/>
                <a:uLnTx/>
                <a:uFillTx/>
                <a:latin typeface="Arial"/>
                <a:ea typeface="+mn-ea"/>
                <a:cs typeface="+mn-cs"/>
              </a:rPr>
              <a:t>ountries are divided on nuclear energy policy. France plans to increase nuclear power and boost the development of advanced reactors. Germany has shut down all its reactors, though there is now discussion about potentially reversing that policy.</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PAC: China is leading the global increase in nuclear capacity and development in new nuclear technologies. Japan, Korea, and India aim to increase nuclear capacity to enhance energy security and reduce reliance on fossil fuel.</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merging nuclear </a:t>
            </a:r>
            <a:r>
              <a:rPr lang="en-US" sz="1200" dirty="0">
                <a:solidFill>
                  <a:srgbClr val="000000"/>
                </a:solidFill>
                <a:latin typeface="Arial" panose="020B0604020202020204" pitchFamily="34" charset="0"/>
              </a:rPr>
              <a:t>e</a:t>
            </a:r>
            <a:r>
              <a:rPr kumimoji="0" 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ergy</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lang="en-US" sz="1200" dirty="0">
                <a:solidFill>
                  <a:srgbClr val="000000"/>
                </a:solidFill>
                <a:latin typeface="Arial" panose="020B0604020202020204" pitchFamily="34" charset="0"/>
              </a:rPr>
              <a:t>c</a:t>
            </a:r>
            <a:r>
              <a:rPr kumimoji="0" 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ountries</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Many African countries are considering including nuclear power in their future energy mix; eight plants are planned or under construction.</a:t>
            </a:r>
          </a:p>
        </p:txBody>
      </p:sp>
      <p:sp>
        <p:nvSpPr>
          <p:cNvPr id="3" name="btfpNotesBox111697">
            <a:extLst>
              <a:ext uri="{FF2B5EF4-FFF2-40B4-BE49-F238E27FC236}">
                <a16:creationId xmlns:a16="http://schemas.microsoft.com/office/drawing/2014/main" id="{6692F923-DD99-3919-9718-69A497058A90}"/>
              </a:ext>
            </a:extLst>
          </p:cNvPr>
          <p:cNvSpPr txBox="1"/>
          <p:nvPr>
            <p:custDataLst>
              <p:tags r:id="rId5"/>
            </p:custDataLst>
          </p:nvPr>
        </p:nvSpPr>
        <p:spPr bwMode="gray">
          <a:xfrm>
            <a:off x="330200" y="6309360"/>
            <a:ext cx="11531600" cy="492443"/>
          </a:xfrm>
          <a:prstGeom prst="rect">
            <a:avLst/>
          </a:prstGeom>
          <a:noFill/>
        </p:spPr>
        <p:txBody>
          <a:bodyPr vert="horz" wrap="square" lIns="0" tIns="0" rIns="0" bIns="0" rtlCol="0" anchor="b">
            <a:spAutoFit/>
          </a:bodyPr>
          <a:lstStyle/>
          <a:p>
            <a:pPr defTabSz="711200">
              <a:defRPr/>
            </a:pPr>
            <a:endParaRPr lang="en-US" sz="800" dirty="0">
              <a:solidFill>
                <a:srgbClr val="000000"/>
              </a:solidFill>
              <a:cs typeface="Arial"/>
            </a:endParaRPr>
          </a:p>
          <a:p>
            <a:pPr defTabSz="711200">
              <a:defRPr/>
            </a:pPr>
            <a:endParaRPr lang="en-US" sz="800" dirty="0">
              <a:solidFill>
                <a:srgbClr val="000000"/>
              </a:solidFill>
              <a:cs typeface="Arial"/>
            </a:endParaRPr>
          </a:p>
          <a:p>
            <a:pPr defTabSz="711200">
              <a:defRPr/>
            </a:pPr>
            <a:r>
              <a:rPr lang="en-US" sz="800" dirty="0">
                <a:solidFill>
                  <a:srgbClr val="000000"/>
                </a:solidFill>
                <a:cs typeface="Arial"/>
              </a:rPr>
              <a:t>Source: IEA, </a:t>
            </a:r>
            <a:r>
              <a:rPr lang="en-US" sz="800" dirty="0">
                <a:solidFill>
                  <a:srgbClr val="000000"/>
                </a:solidFill>
                <a:cs typeface="Arial"/>
                <a:hlinkClick r:id="rId13"/>
              </a:rPr>
              <a:t>The Path to a New Era for Nuclear Energy</a:t>
            </a:r>
            <a:r>
              <a:rPr lang="en-US" sz="800" dirty="0">
                <a:solidFill>
                  <a:srgbClr val="000000"/>
                </a:solidFill>
                <a:cs typeface="Arial"/>
              </a:rPr>
              <a:t> (2025).</a:t>
            </a:r>
            <a:endParaRPr lang="en-US" sz="800" dirty="0">
              <a:solidFill>
                <a:srgbClr val="000000"/>
              </a:solidFill>
              <a:latin typeface="Arial (body)"/>
              <a:cs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inako Arai,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8" name="btfpBulletedList771181">
            <a:extLst>
              <a:ext uri="{FF2B5EF4-FFF2-40B4-BE49-F238E27FC236}">
                <a16:creationId xmlns:a16="http://schemas.microsoft.com/office/drawing/2014/main" id="{163DCA32-405E-EB6F-1D09-462BA0E7940E}"/>
              </a:ext>
            </a:extLst>
          </p:cNvPr>
          <p:cNvSpPr txBox="1"/>
          <p:nvPr>
            <p:custDataLst>
              <p:tags r:id="rId6"/>
            </p:custDataLst>
          </p:nvPr>
        </p:nvSpPr>
        <p:spPr bwMode="gray">
          <a:xfrm>
            <a:off x="4230892" y="1471258"/>
            <a:ext cx="7507288" cy="1488475"/>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olicies for countries pursuing nuclear power include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creasing investment in new reactors, extending the operating lifetime of existing ones, and restarting retired plant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63 reactors were under construction at the end of 2024, which is expected to generate more than 70 GW.</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 the past five years, the lifetimes of 66 reactors in 13 countries were extended.</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While there are limited cases of the reopening of nuclear plants, Japan has the most experienc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Overall investment in nuclear was $60 billion in 2023, which is a nearly 50% increase from 2020.</a:t>
            </a:r>
          </a:p>
        </p:txBody>
      </p:sp>
      <p:sp>
        <p:nvSpPr>
          <p:cNvPr id="10" name="btfpBulletedList771181">
            <a:extLst>
              <a:ext uri="{FF2B5EF4-FFF2-40B4-BE49-F238E27FC236}">
                <a16:creationId xmlns:a16="http://schemas.microsoft.com/office/drawing/2014/main" id="{04A7D248-6C47-FC5B-AB22-F4A53134B4FA}"/>
              </a:ext>
            </a:extLst>
          </p:cNvPr>
          <p:cNvSpPr txBox="1"/>
          <p:nvPr>
            <p:custDataLst>
              <p:tags r:id="rId7"/>
            </p:custDataLst>
          </p:nvPr>
        </p:nvSpPr>
        <p:spPr bwMode="gray">
          <a:xfrm>
            <a:off x="4230892" y="5519152"/>
            <a:ext cx="7507288" cy="442035"/>
          </a:xfrm>
          <a:prstGeom prst="rect">
            <a:avLst/>
          </a:prstGeom>
          <a:noFill/>
        </p:spPr>
        <p:txBody>
          <a:bodyPr vert="horz" wrap="square" lIns="36000" tIns="36000" rIns="36000" bIns="36000" rtlCol="0" anchor="t">
            <a:spAutoFit/>
          </a:bodyPr>
          <a:lstStyle/>
          <a:p>
            <a:pPr lvl="0">
              <a:spcBef>
                <a:spcPts val="1800"/>
              </a:spcBef>
              <a:defRPr/>
            </a:pPr>
            <a:r>
              <a:rPr kumimoji="0" lang="en-US" sz="1200" b="1" i="0" u="none" strike="noStrike" kern="1200" cap="none" spc="0" normalizeH="0" baseline="0" noProof="0">
                <a:ln>
                  <a:noFill/>
                </a:ln>
                <a:solidFill>
                  <a:srgbClr val="000000"/>
                </a:solidFill>
                <a:effectLst/>
                <a:uLnTx/>
                <a:uFillTx/>
                <a:latin typeface="Arial"/>
                <a:ea typeface="+mn-ea"/>
                <a:cs typeface="+mn-cs"/>
              </a:rPr>
              <a:t>Advanced economies that have not been building new reactors for the past two decades, </a:t>
            </a:r>
            <a:r>
              <a:rPr kumimoji="0" lang="en-US" sz="1200" i="0" u="none" strike="noStrike" kern="1200" cap="none" spc="0" normalizeH="0" baseline="0" noProof="0">
                <a:ln>
                  <a:noFill/>
                </a:ln>
                <a:solidFill>
                  <a:srgbClr val="000000"/>
                </a:solidFill>
                <a:effectLst/>
                <a:uLnTx/>
                <a:uFillTx/>
                <a:latin typeface="Arial"/>
                <a:ea typeface="+mn-ea"/>
                <a:cs typeface="+mn-cs"/>
              </a:rPr>
              <a:t>including</a:t>
            </a: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00" i="0" u="none" strike="noStrike" kern="1200" cap="none" spc="0" normalizeH="0" baseline="0" noProof="0">
                <a:ln>
                  <a:noFill/>
                </a:ln>
                <a:solidFill>
                  <a:srgbClr val="000000"/>
                </a:solidFill>
                <a:effectLst/>
                <a:uLnTx/>
                <a:uFillTx/>
                <a:latin typeface="Arial"/>
                <a:ea typeface="+mn-ea"/>
                <a:cs typeface="+mn-cs"/>
              </a:rPr>
              <a:t>r</a:t>
            </a:r>
            <a:r>
              <a:rPr kumimoji="0" lang="en-US" sz="1200" b="0" i="0" u="none" strike="noStrike" kern="1200" cap="none" spc="0" normalizeH="0" baseline="0" noProof="0">
                <a:ln>
                  <a:noFill/>
                </a:ln>
                <a:solidFill>
                  <a:srgbClr val="000000"/>
                </a:solidFill>
                <a:effectLst/>
                <a:uLnTx/>
                <a:uFillTx/>
                <a:latin typeface="Arial"/>
                <a:ea typeface="+mn-ea"/>
                <a:cs typeface="+mn-cs"/>
              </a:rPr>
              <a:t>ebuilding the skills and industrial base for construction,</a:t>
            </a:r>
            <a:r>
              <a:rPr lang="en-US" sz="1200">
                <a:solidFill>
                  <a:srgbClr val="000000"/>
                </a:solidFill>
                <a:latin typeface="Arial"/>
              </a:rPr>
              <a:t> </a:t>
            </a:r>
            <a:r>
              <a:rPr lang="en-US" sz="1200" b="1">
                <a:solidFill>
                  <a:srgbClr val="000000"/>
                </a:solidFill>
              </a:rPr>
              <a:t>face deployment challenges.</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16" name="Straight Connector 15">
            <a:extLst>
              <a:ext uri="{FF2B5EF4-FFF2-40B4-BE49-F238E27FC236}">
                <a16:creationId xmlns:a16="http://schemas.microsoft.com/office/drawing/2014/main" id="{B19E2332-39E0-2268-CA4A-F3A473CD9C96}"/>
              </a:ext>
            </a:extLst>
          </p:cNvPr>
          <p:cNvCxnSpPr>
            <a:cxnSpLocks/>
          </p:cNvCxnSpPr>
          <p:nvPr/>
        </p:nvCxnSpPr>
        <p:spPr bwMode="gray">
          <a:xfrm>
            <a:off x="4188029" y="548224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1155358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222FE-1096-9184-77D8-4FC3118AC03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FAF4900-2B82-EAEE-E2EA-C80F474BEE59}"/>
              </a:ext>
            </a:extLst>
          </p:cNvPr>
          <p:cNvGraphicFramePr>
            <a:graphicFrameLocks noChangeAspect="1"/>
          </p:cNvGraphicFramePr>
          <p:nvPr>
            <p:custDataLst>
              <p:tags r:id="rId2"/>
            </p:custDataLst>
            <p:extLst>
              <p:ext uri="{D42A27DB-BD31-4B8C-83A1-F6EECF244321}">
                <p14:modId xmlns:p14="http://schemas.microsoft.com/office/powerpoint/2010/main" val="3390983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592" imgH="591" progId="TCLayout.ActiveDocument.1">
                  <p:embed/>
                </p:oleObj>
              </mc:Choice>
              <mc:Fallback>
                <p:oleObj name="think-cell Slide" r:id="rId60" imgW="592" imgH="591" progId="TCLayout.ActiveDocument.1">
                  <p:embed/>
                  <p:pic>
                    <p:nvPicPr>
                      <p:cNvPr id="7" name="think-cell data - do not delete" hidden="1">
                        <a:extLst>
                          <a:ext uri="{FF2B5EF4-FFF2-40B4-BE49-F238E27FC236}">
                            <a16:creationId xmlns:a16="http://schemas.microsoft.com/office/drawing/2014/main" id="{3FAF4900-2B82-EAEE-E2EA-C80F474BEE59}"/>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5D55BB0-C0F2-24AE-5BC3-2D691736E754}"/>
              </a:ext>
            </a:extLst>
          </p:cNvPr>
          <p:cNvSpPr>
            <a:spLocks noGrp="1"/>
          </p:cNvSpPr>
          <p:nvPr>
            <p:ph type="title"/>
          </p:nvPr>
        </p:nvSpPr>
        <p:spPr/>
        <p:txBody>
          <a:bodyPr vert="horz">
            <a:noAutofit/>
          </a:bodyPr>
          <a:lstStyle/>
          <a:p>
            <a:r>
              <a:rPr lang="en-US"/>
              <a:t>Governments have regained interest in nuclear power as a crucial emission-free energy source and a key factor in energy security</a:t>
            </a:r>
          </a:p>
        </p:txBody>
      </p:sp>
      <p:sp>
        <p:nvSpPr>
          <p:cNvPr id="32" name="btfpNotesBox368131">
            <a:hlinkClick r:id="rId62"/>
            <a:extLst>
              <a:ext uri="{FF2B5EF4-FFF2-40B4-BE49-F238E27FC236}">
                <a16:creationId xmlns:a16="http://schemas.microsoft.com/office/drawing/2014/main" id="{D2CBB8EC-A93C-407F-346B-B4E3604AB386}"/>
              </a:ext>
            </a:extLst>
          </p:cNvPr>
          <p:cNvSpPr txBox="1"/>
          <p:nvPr>
            <p:custDataLst>
              <p:tags r:id="rId3"/>
            </p:custDataLst>
          </p:nvPr>
        </p:nvSpPr>
        <p:spPr bwMode="gray">
          <a:xfrm>
            <a:off x="330199" y="6224350"/>
            <a:ext cx="8955089" cy="61555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W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3"/>
              </a:rPr>
              <a:t>Country Profiles</a:t>
            </a:r>
            <a:r>
              <a:rPr kumimoji="0" lang="en-US" sz="800" b="0" i="0" u="none" strike="noStrike" kern="1200" cap="none" spc="0" normalizeH="0" baseline="0" noProof="0" dirty="0">
                <a:ln>
                  <a:noFill/>
                </a:ln>
                <a:solidFill>
                  <a:srgbClr val="000000"/>
                </a:solidFill>
                <a:effectLst/>
                <a:uLnTx/>
                <a:uFillTx/>
                <a:latin typeface="Arial"/>
                <a:ea typeface="+mn-ea"/>
                <a:cs typeface="+mn-cs"/>
              </a:rPr>
              <a:t> (2025);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4"/>
              </a:rPr>
              <a:t>The Path to a New Era for Nuclear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5); Japan Atomic Energy Commiss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5"/>
              </a:rPr>
              <a:t>White Paper on Nuclear Energy 2020</a:t>
            </a:r>
            <a:r>
              <a:rPr kumimoji="0" lang="en-US" sz="800" b="0" i="0" u="none" strike="noStrike" kern="1200" cap="none" spc="0" normalizeH="0" baseline="0" noProof="0" dirty="0">
                <a:ln>
                  <a:noFill/>
                </a:ln>
                <a:solidFill>
                  <a:srgbClr val="000000"/>
                </a:solidFill>
                <a:effectLst/>
                <a:uLnTx/>
                <a:uFillTx/>
                <a:latin typeface="Arial"/>
                <a:ea typeface="+mn-ea"/>
                <a:cs typeface="+mn-cs"/>
              </a:rPr>
              <a:t> (2021</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only in Japanese); World Nuclear New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6"/>
              </a:rPr>
              <a:t>Belgium Retires Oldest Nuclear Plant Reactor</a:t>
            </a:r>
            <a:r>
              <a:rPr kumimoji="0" lang="en-US" sz="800" b="0" i="0" u="none" strike="noStrike" kern="1200" cap="none" spc="0" normalizeH="0" baseline="0" noProof="0" dirty="0">
                <a:ln>
                  <a:noFill/>
                </a:ln>
                <a:solidFill>
                  <a:srgbClr val="000000"/>
                </a:solidFill>
                <a:effectLst/>
                <a:uLnTx/>
                <a:uFillTx/>
                <a:latin typeface="Arial"/>
                <a:ea typeface="+mn-ea"/>
                <a:cs typeface="+mn-cs"/>
              </a:rPr>
              <a:t> (2025), World Nuclear New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7"/>
              </a:rPr>
              <a:t>Feasibility Study for Belarus New Nuclear</a:t>
            </a:r>
            <a:r>
              <a:rPr kumimoji="0" lang="en-US" sz="800" b="0" i="0" u="none" strike="noStrike" kern="1200" cap="none" spc="0" normalizeH="0" baseline="0" noProof="0" dirty="0">
                <a:ln>
                  <a:noFill/>
                </a:ln>
                <a:solidFill>
                  <a:srgbClr val="000000"/>
                </a:solidFill>
                <a:effectLst/>
                <a:uLnTx/>
                <a:uFillTx/>
                <a:latin typeface="Arial"/>
                <a:ea typeface="+mn-ea"/>
                <a:cs typeface="+mn-cs"/>
              </a:rPr>
              <a:t> (2024).; Clean Energy Wir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8"/>
              </a:rPr>
              <a:t>Economy Minister Confirms end of Germany’s resistance to nuclear power at EU level</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endParaRPr lang="en-US" sz="800" b="0" i="0" u="none" strike="noStrike" kern="1200" cap="none" spc="0" normalizeH="0" baseline="0" noProof="0" dirty="0">
              <a:ln>
                <a:noFill/>
              </a:ln>
              <a:solidFill>
                <a:srgbClr val="000000"/>
              </a:solidFill>
              <a:effectLst/>
              <a:uLnTx/>
              <a:uFillTx/>
              <a:latin typeface="Arial"/>
              <a:cs typeface="Arial"/>
            </a:endParaRPr>
          </a:p>
          <a:p>
            <a:pPr lvl="0"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inako Arai, </a:t>
            </a:r>
            <a:r>
              <a:rPr lang="en-US" sz="800" dirty="0" err="1">
                <a:solidFill>
                  <a:srgbClr val="000000"/>
                </a:solidFill>
                <a:latin typeface="Arial" panose="020B0604020202020204" pitchFamily="34" charset="0"/>
              </a:rPr>
              <a:t>Khande</a:t>
            </a:r>
            <a:r>
              <a:rPr lang="en-US" sz="800" dirty="0">
                <a:solidFill>
                  <a:srgbClr val="000000"/>
                </a:solidFill>
                <a:latin typeface="Arial" panose="020B0604020202020204" pitchFamily="34" charset="0"/>
              </a:rPr>
              <a:t>-Jae Fisher, </a:t>
            </a:r>
            <a:r>
              <a:rPr kumimoji="0" lang="en-US" sz="800" b="0" i="0" u="none" strike="noStrike" kern="1200" cap="none" spc="0" normalizeH="0" baseline="0" noProof="0" dirty="0">
                <a:ln>
                  <a:noFill/>
                </a:ln>
                <a:solidFill>
                  <a:srgbClr val="000000"/>
                </a:solidFill>
                <a:effectLst/>
                <a:uLnTx/>
                <a:uFillTx/>
                <a:latin typeface="Arial"/>
                <a:ea typeface="+mn-ea"/>
                <a:cs typeface="+mn-cs"/>
              </a:rPr>
              <a:t>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0"/>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9" name="btfpColumnHeaderBoxText223027">
            <a:extLst>
              <a:ext uri="{FF2B5EF4-FFF2-40B4-BE49-F238E27FC236}">
                <a16:creationId xmlns:a16="http://schemas.microsoft.com/office/drawing/2014/main" id="{9B5EC0AA-47E7-E8F8-B7EF-F33EDBC84E5F}"/>
              </a:ext>
            </a:extLst>
          </p:cNvPr>
          <p:cNvSpPr txBox="1"/>
          <p:nvPr/>
        </p:nvSpPr>
        <p:spPr bwMode="gray">
          <a:xfrm>
            <a:off x="390841" y="1352502"/>
            <a:ext cx="5484498"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hanges in nuclear </a:t>
            </a:r>
            <a:r>
              <a:rPr lang="en-US" sz="1400" b="1">
                <a:solidFill>
                  <a:srgbClr val="000000"/>
                </a:solidFill>
                <a:latin typeface="Arial"/>
              </a:rPr>
              <a:t>p</a:t>
            </a:r>
            <a:r>
              <a:rPr kumimoji="0" lang="en-US" sz="1400" b="1" i="0" u="none" strike="noStrike" kern="1200" cap="none" spc="0" normalizeH="0" baseline="0" noProof="0" err="1">
                <a:ln>
                  <a:noFill/>
                </a:ln>
                <a:solidFill>
                  <a:srgbClr val="000000"/>
                </a:solidFill>
                <a:effectLst/>
                <a:uLnTx/>
                <a:uFillTx/>
                <a:latin typeface="Arial"/>
                <a:ea typeface="+mn-ea"/>
                <a:cs typeface="+mn-cs"/>
              </a:rPr>
              <a:t>ower</a:t>
            </a:r>
            <a:r>
              <a:rPr kumimoji="0" lang="en-US" sz="1400" b="1" i="0" u="none" strike="noStrike" kern="1200" cap="none" spc="0" normalizeH="0" baseline="0" noProof="0">
                <a:ln>
                  <a:noFill/>
                </a:ln>
                <a:solidFill>
                  <a:srgbClr val="000000"/>
                </a:solidFill>
                <a:effectLst/>
                <a:uLnTx/>
                <a:uFillTx/>
                <a:latin typeface="Arial"/>
                <a:ea typeface="+mn-ea"/>
                <a:cs typeface="+mn-cs"/>
              </a:rPr>
              <a:t> </a:t>
            </a:r>
            <a:r>
              <a:rPr lang="en-US" sz="1400" b="1">
                <a:solidFill>
                  <a:srgbClr val="000000"/>
                </a:solidFill>
                <a:latin typeface="Arial"/>
              </a:rPr>
              <a:t>p</a:t>
            </a:r>
            <a:r>
              <a:rPr kumimoji="0" lang="en-US" sz="1400" b="1" i="0" u="none" strike="noStrike" kern="1200" cap="none" spc="0" normalizeH="0" baseline="0" noProof="0" err="1">
                <a:ln>
                  <a:noFill/>
                </a:ln>
                <a:solidFill>
                  <a:srgbClr val="000000"/>
                </a:solidFill>
                <a:effectLst/>
                <a:uLnTx/>
                <a:uFillTx/>
                <a:latin typeface="Arial"/>
                <a:ea typeface="+mn-ea"/>
                <a:cs typeface="+mn-cs"/>
              </a:rPr>
              <a:t>olicy</a:t>
            </a:r>
            <a:r>
              <a:rPr kumimoji="0" lang="en-US" sz="1400" b="1" i="0" u="none" strike="noStrike" kern="1200" cap="none" spc="0" normalizeH="0" baseline="0" noProof="0">
                <a:ln>
                  <a:noFill/>
                </a:ln>
                <a:solidFill>
                  <a:srgbClr val="000000"/>
                </a:solidFill>
                <a:effectLst/>
                <a:uLnTx/>
                <a:uFillTx/>
                <a:latin typeface="Arial"/>
                <a:ea typeface="+mn-ea"/>
                <a:cs typeface="+mn-cs"/>
              </a:rPr>
              <a:t> by country during 2014-2024</a:t>
            </a:r>
          </a:p>
        </p:txBody>
      </p:sp>
      <p:sp>
        <p:nvSpPr>
          <p:cNvPr id="42" name="Rectangle 41">
            <a:extLst>
              <a:ext uri="{FF2B5EF4-FFF2-40B4-BE49-F238E27FC236}">
                <a16:creationId xmlns:a16="http://schemas.microsoft.com/office/drawing/2014/main" id="{934130B6-AC55-530E-81B4-3EEDB92E357E}"/>
              </a:ext>
            </a:extLst>
          </p:cNvPr>
          <p:cNvSpPr/>
          <p:nvPr/>
        </p:nvSpPr>
        <p:spPr bwMode="gray">
          <a:xfrm>
            <a:off x="258763" y="2088163"/>
            <a:ext cx="5481638" cy="19224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5" name="TextBox 74">
            <a:extLst>
              <a:ext uri="{FF2B5EF4-FFF2-40B4-BE49-F238E27FC236}">
                <a16:creationId xmlns:a16="http://schemas.microsoft.com/office/drawing/2014/main" id="{0C3BC880-CD70-E7F0-36DF-A5AD007062BB}"/>
              </a:ext>
            </a:extLst>
          </p:cNvPr>
          <p:cNvSpPr txBox="1"/>
          <p:nvPr/>
        </p:nvSpPr>
        <p:spPr bwMode="gray">
          <a:xfrm>
            <a:off x="366713" y="2138692"/>
            <a:ext cx="3179127" cy="234286"/>
          </a:xfrm>
          <a:prstGeom prst="rect">
            <a:avLst/>
          </a:prstGeom>
          <a:solidFill>
            <a:schemeClr val="bg1">
              <a:lumMod val="85000"/>
            </a:schemeClr>
          </a:solid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600"/>
              </a:spcAft>
              <a:buClr>
                <a:srgbClr val="000000"/>
              </a:buClr>
              <a:buSzTx/>
              <a:buFontTx/>
              <a:buNone/>
              <a:tabLst/>
              <a:defRPr/>
            </a:pPr>
            <a:r>
              <a:rPr kumimoji="0" lang="en-US" sz="1050" b="1" i="0" u="none" strike="noStrike" kern="1200" cap="none" spc="0" normalizeH="0" baseline="0" noProof="0">
                <a:ln>
                  <a:noFill/>
                </a:ln>
                <a:solidFill>
                  <a:srgbClr val="009BDB"/>
                </a:solidFill>
                <a:effectLst/>
                <a:uLnTx/>
                <a:uFillTx/>
                <a:latin typeface="Arial"/>
                <a:ea typeface="+mn-ea"/>
                <a:cs typeface="+mn-cs"/>
                <a:sym typeface="Futura"/>
              </a:rPr>
              <a:t>Currently </a:t>
            </a:r>
            <a:r>
              <a:rPr kumimoji="0" lang="en-US" sz="1050" b="1" i="1" strike="noStrike" kern="1200" cap="none" spc="0" normalizeH="0" baseline="0" noProof="0">
                <a:ln>
                  <a:noFill/>
                </a:ln>
                <a:solidFill>
                  <a:srgbClr val="009BDB"/>
                </a:solidFill>
                <a:effectLst/>
                <a:uLnTx/>
                <a:uFillTx/>
                <a:latin typeface="Arial"/>
                <a:ea typeface="+mn-ea"/>
                <a:cs typeface="+mn-cs"/>
                <a:sym typeface="Futura"/>
              </a:rPr>
              <a:t>not supporting </a:t>
            </a:r>
            <a:r>
              <a:rPr kumimoji="0" lang="en-US" sz="1050" b="1" i="0" u="none" strike="noStrike" kern="1200" cap="none" spc="0" normalizeH="0" baseline="0" noProof="0">
                <a:ln>
                  <a:noFill/>
                </a:ln>
                <a:solidFill>
                  <a:srgbClr val="009BDB"/>
                </a:solidFill>
                <a:effectLst/>
                <a:uLnTx/>
                <a:uFillTx/>
                <a:latin typeface="Arial"/>
                <a:ea typeface="+mn-ea"/>
                <a:cs typeface="+mn-cs"/>
                <a:sym typeface="Futura"/>
              </a:rPr>
              <a:t>but </a:t>
            </a:r>
            <a:r>
              <a:rPr kumimoji="0" lang="en-US" sz="1050" b="1" i="1" strike="noStrike" kern="1200" cap="none" spc="0" normalizeH="0" baseline="0" noProof="0">
                <a:ln>
                  <a:noFill/>
                </a:ln>
                <a:solidFill>
                  <a:srgbClr val="009BDB"/>
                </a:solidFill>
                <a:effectLst/>
                <a:uLnTx/>
                <a:uFillTx/>
                <a:latin typeface="Arial"/>
                <a:ea typeface="+mn-ea"/>
                <a:cs typeface="+mn-cs"/>
                <a:sym typeface="Futura"/>
              </a:rPr>
              <a:t>increasing support</a:t>
            </a:r>
          </a:p>
        </p:txBody>
      </p:sp>
      <p:graphicFrame>
        <p:nvGraphicFramePr>
          <p:cNvPr id="11" name="Chart 10">
            <a:extLst>
              <a:ext uri="{FF2B5EF4-FFF2-40B4-BE49-F238E27FC236}">
                <a16:creationId xmlns:a16="http://schemas.microsoft.com/office/drawing/2014/main" id="{5D0D75AD-DF30-65E4-CE4B-B4460133A6F1}"/>
              </a:ext>
            </a:extLst>
          </p:cNvPr>
          <p:cNvGraphicFramePr/>
          <p:nvPr>
            <p:custDataLst>
              <p:tags r:id="rId4"/>
            </p:custDataLst>
            <p:extLst>
              <p:ext uri="{D42A27DB-BD31-4B8C-83A1-F6EECF244321}">
                <p14:modId xmlns:p14="http://schemas.microsoft.com/office/powerpoint/2010/main" val="3694851733"/>
              </p:ext>
            </p:extLst>
          </p:nvPr>
        </p:nvGraphicFramePr>
        <p:xfrm>
          <a:off x="5646738" y="2003425"/>
          <a:ext cx="5672137" cy="4035425"/>
        </p:xfrm>
        <a:graphic>
          <a:graphicData uri="http://schemas.openxmlformats.org/drawingml/2006/chart">
            <c:chart xmlns:c="http://schemas.openxmlformats.org/drawingml/2006/chart" xmlns:r="http://schemas.openxmlformats.org/officeDocument/2006/relationships" r:id="rId71"/>
          </a:graphicData>
        </a:graphic>
      </p:graphicFrame>
      <p:cxnSp>
        <p:nvCxnSpPr>
          <p:cNvPr id="1036" name="Straight Connector 1035">
            <a:extLst>
              <a:ext uri="{FF2B5EF4-FFF2-40B4-BE49-F238E27FC236}">
                <a16:creationId xmlns:a16="http://schemas.microsoft.com/office/drawing/2014/main" id="{7A2030EB-8629-AAAC-9865-7EAF5AA5F908}"/>
              </a:ext>
            </a:extLst>
          </p:cNvPr>
          <p:cNvCxnSpPr/>
          <p:nvPr>
            <p:custDataLst>
              <p:tags r:id="rId5"/>
            </p:custDataLst>
          </p:nvPr>
        </p:nvCxnSpPr>
        <p:spPr bwMode="auto">
          <a:xfrm flipH="1" flipV="1">
            <a:off x="8080375" y="2595563"/>
            <a:ext cx="17463" cy="444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49" name="Straight Connector 448">
            <a:extLst>
              <a:ext uri="{FF2B5EF4-FFF2-40B4-BE49-F238E27FC236}">
                <a16:creationId xmlns:a16="http://schemas.microsoft.com/office/drawing/2014/main" id="{BB544135-78BB-D88D-0455-1DEAA1A8472E}"/>
              </a:ext>
            </a:extLst>
          </p:cNvPr>
          <p:cNvCxnSpPr>
            <a:cxnSpLocks/>
          </p:cNvCxnSpPr>
          <p:nvPr>
            <p:custDataLst>
              <p:tags r:id="rId6"/>
            </p:custDataLst>
          </p:nvPr>
        </p:nvCxnSpPr>
        <p:spPr bwMode="auto">
          <a:xfrm flipH="1" flipV="1">
            <a:off x="9324975" y="3454400"/>
            <a:ext cx="165100" cy="2174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58" name="Straight Connector 1057">
            <a:extLst>
              <a:ext uri="{FF2B5EF4-FFF2-40B4-BE49-F238E27FC236}">
                <a16:creationId xmlns:a16="http://schemas.microsoft.com/office/drawing/2014/main" id="{E624B42F-41B9-5613-50C6-1995E4B022DF}"/>
              </a:ext>
            </a:extLst>
          </p:cNvPr>
          <p:cNvCxnSpPr/>
          <p:nvPr>
            <p:custDataLst>
              <p:tags r:id="rId7"/>
            </p:custDataLst>
          </p:nvPr>
        </p:nvCxnSpPr>
        <p:spPr bwMode="auto">
          <a:xfrm>
            <a:off x="9285288" y="2516188"/>
            <a:ext cx="182563" cy="904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3B9F0F95-37E9-839D-285A-6EDFF1EAACC5}"/>
              </a:ext>
            </a:extLst>
          </p:cNvPr>
          <p:cNvCxnSpPr/>
          <p:nvPr>
            <p:custDataLst>
              <p:tags r:id="rId8"/>
            </p:custDataLst>
          </p:nvPr>
        </p:nvCxnSpPr>
        <p:spPr bwMode="auto">
          <a:xfrm flipH="1" flipV="1">
            <a:off x="6856413" y="3729038"/>
            <a:ext cx="90488" cy="222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8E3E24B3-0E57-A6BD-34DB-AB010685B826}"/>
              </a:ext>
            </a:extLst>
          </p:cNvPr>
          <p:cNvCxnSpPr/>
          <p:nvPr>
            <p:custDataLst>
              <p:tags r:id="rId9"/>
            </p:custDataLst>
          </p:nvPr>
        </p:nvCxnSpPr>
        <p:spPr bwMode="auto">
          <a:xfrm flipH="1" flipV="1">
            <a:off x="6442075" y="3941763"/>
            <a:ext cx="236538" cy="2635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02" name="Straight Connector 1001">
            <a:extLst>
              <a:ext uri="{FF2B5EF4-FFF2-40B4-BE49-F238E27FC236}">
                <a16:creationId xmlns:a16="http://schemas.microsoft.com/office/drawing/2014/main" id="{E3087614-327D-AC56-44E4-CD213D5C2932}"/>
              </a:ext>
            </a:extLst>
          </p:cNvPr>
          <p:cNvCxnSpPr/>
          <p:nvPr>
            <p:custDataLst>
              <p:tags r:id="rId10"/>
            </p:custDataLst>
          </p:nvPr>
        </p:nvCxnSpPr>
        <p:spPr bwMode="auto">
          <a:xfrm>
            <a:off x="8967788" y="2843213"/>
            <a:ext cx="39688" cy="79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66" name="Straight Connector 865">
            <a:extLst>
              <a:ext uri="{FF2B5EF4-FFF2-40B4-BE49-F238E27FC236}">
                <a16:creationId xmlns:a16="http://schemas.microsoft.com/office/drawing/2014/main" id="{C4C0E3A0-7DC9-4D15-2086-4569F8CD7163}"/>
              </a:ext>
            </a:extLst>
          </p:cNvPr>
          <p:cNvCxnSpPr/>
          <p:nvPr>
            <p:custDataLst>
              <p:tags r:id="rId11"/>
            </p:custDataLst>
          </p:nvPr>
        </p:nvCxnSpPr>
        <p:spPr bwMode="auto">
          <a:xfrm>
            <a:off x="6167438" y="3746500"/>
            <a:ext cx="92075" cy="587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54" name="Straight Connector 1053">
            <a:extLst>
              <a:ext uri="{FF2B5EF4-FFF2-40B4-BE49-F238E27FC236}">
                <a16:creationId xmlns:a16="http://schemas.microsoft.com/office/drawing/2014/main" id="{F5AF49B2-A089-8153-5AD0-2BE4667C2C47}"/>
              </a:ext>
            </a:extLst>
          </p:cNvPr>
          <p:cNvCxnSpPr/>
          <p:nvPr>
            <p:custDataLst>
              <p:tags r:id="rId12"/>
            </p:custDataLst>
          </p:nvPr>
        </p:nvCxnSpPr>
        <p:spPr bwMode="auto">
          <a:xfrm>
            <a:off x="9307513" y="2757488"/>
            <a:ext cx="107950" cy="381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5" name="Straight Connector 454">
            <a:extLst>
              <a:ext uri="{FF2B5EF4-FFF2-40B4-BE49-F238E27FC236}">
                <a16:creationId xmlns:a16="http://schemas.microsoft.com/office/drawing/2014/main" id="{4E88C56C-2EC8-37D1-AC93-4759617992D5}"/>
              </a:ext>
            </a:extLst>
          </p:cNvPr>
          <p:cNvCxnSpPr/>
          <p:nvPr>
            <p:custDataLst>
              <p:tags r:id="rId13"/>
            </p:custDataLst>
          </p:nvPr>
        </p:nvCxnSpPr>
        <p:spPr bwMode="auto">
          <a:xfrm flipV="1">
            <a:off x="9253538" y="2871788"/>
            <a:ext cx="34925"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28" name="Straight Connector 1027">
            <a:extLst>
              <a:ext uri="{FF2B5EF4-FFF2-40B4-BE49-F238E27FC236}">
                <a16:creationId xmlns:a16="http://schemas.microsoft.com/office/drawing/2014/main" id="{1E94A47B-1BF0-89D4-D197-98DDB5BCDA70}"/>
              </a:ext>
            </a:extLst>
          </p:cNvPr>
          <p:cNvCxnSpPr>
            <a:cxnSpLocks/>
          </p:cNvCxnSpPr>
          <p:nvPr>
            <p:custDataLst>
              <p:tags r:id="rId14"/>
            </p:custDataLst>
          </p:nvPr>
        </p:nvCxnSpPr>
        <p:spPr bwMode="auto">
          <a:xfrm>
            <a:off x="8737600" y="3297238"/>
            <a:ext cx="15875" cy="1063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39" name="Straight Connector 1038">
            <a:extLst>
              <a:ext uri="{FF2B5EF4-FFF2-40B4-BE49-F238E27FC236}">
                <a16:creationId xmlns:a16="http://schemas.microsoft.com/office/drawing/2014/main" id="{35461D92-645F-AE9E-BFFD-F7010FA250E7}"/>
              </a:ext>
            </a:extLst>
          </p:cNvPr>
          <p:cNvCxnSpPr>
            <a:cxnSpLocks/>
          </p:cNvCxnSpPr>
          <p:nvPr>
            <p:custDataLst>
              <p:tags r:id="rId15"/>
            </p:custDataLst>
          </p:nvPr>
        </p:nvCxnSpPr>
        <p:spPr bwMode="auto">
          <a:xfrm flipV="1">
            <a:off x="8205788" y="3363913"/>
            <a:ext cx="1588" cy="1349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2AEE2901-CA7C-E4C8-11EB-6FFDA9A01B5A}"/>
              </a:ext>
            </a:extLst>
          </p:cNvPr>
          <p:cNvCxnSpPr>
            <a:cxnSpLocks/>
          </p:cNvCxnSpPr>
          <p:nvPr>
            <p:custDataLst>
              <p:tags r:id="rId16"/>
            </p:custDataLst>
          </p:nvPr>
        </p:nvCxnSpPr>
        <p:spPr bwMode="auto">
          <a:xfrm>
            <a:off x="8396288" y="3297238"/>
            <a:ext cx="65088" cy="301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51" name="Straight Connector 1050">
            <a:extLst>
              <a:ext uri="{FF2B5EF4-FFF2-40B4-BE49-F238E27FC236}">
                <a16:creationId xmlns:a16="http://schemas.microsoft.com/office/drawing/2014/main" id="{E611DE18-3A1C-AB90-949A-2BFD98F74B29}"/>
              </a:ext>
            </a:extLst>
          </p:cNvPr>
          <p:cNvCxnSpPr/>
          <p:nvPr>
            <p:custDataLst>
              <p:tags r:id="rId17"/>
            </p:custDataLst>
          </p:nvPr>
        </p:nvCxnSpPr>
        <p:spPr bwMode="auto">
          <a:xfrm>
            <a:off x="6161088" y="2627313"/>
            <a:ext cx="207963" cy="6508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93" name="Text Placeholder 10">
            <a:extLst>
              <a:ext uri="{FF2B5EF4-FFF2-40B4-BE49-F238E27FC236}">
                <a16:creationId xmlns:a16="http://schemas.microsoft.com/office/drawing/2014/main" id="{025860FD-201E-A510-410F-C3497FBF551A}"/>
              </a:ext>
            </a:extLst>
          </p:cNvPr>
          <p:cNvSpPr txBox="1">
            <a:spLocks/>
          </p:cNvSpPr>
          <p:nvPr>
            <p:custDataLst>
              <p:tags r:id="rId18"/>
            </p:custDataLst>
          </p:nvPr>
        </p:nvSpPr>
        <p:spPr bwMode="gray">
          <a:xfrm>
            <a:off x="8237538" y="3373438"/>
            <a:ext cx="204788"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6F44430-311B-4C13-A4F4-FDB70DAE796F}" type="datetime'''I''''''''''''''''''''''''''''''r''a''n'''''''''''''''''''''">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ran</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931" name="Text Placeholder 10">
            <a:extLst>
              <a:ext uri="{FF2B5EF4-FFF2-40B4-BE49-F238E27FC236}">
                <a16:creationId xmlns:a16="http://schemas.microsoft.com/office/drawing/2014/main" id="{3AB59A86-6F9E-6A8E-D0D4-0C587044A6B2}"/>
              </a:ext>
            </a:extLst>
          </p:cNvPr>
          <p:cNvSpPr txBox="1">
            <a:spLocks/>
          </p:cNvSpPr>
          <p:nvPr>
            <p:custDataLst>
              <p:tags r:id="rId19"/>
            </p:custDataLst>
          </p:nvPr>
        </p:nvSpPr>
        <p:spPr bwMode="gray">
          <a:xfrm>
            <a:off x="5988050" y="2505075"/>
            <a:ext cx="307975" cy="1222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8724447-42BC-4D0F-A309-67A632B14230}" type="datetime'''''''Ja''''p''''''''''''''''''''''''''''''''a''''''''''n'''''">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Japan</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92" name="Text Placeholder 10">
            <a:extLst>
              <a:ext uri="{FF2B5EF4-FFF2-40B4-BE49-F238E27FC236}">
                <a16:creationId xmlns:a16="http://schemas.microsoft.com/office/drawing/2014/main" id="{D63CA798-BAB8-F19D-1012-5A283A8FC007}"/>
              </a:ext>
            </a:extLst>
          </p:cNvPr>
          <p:cNvSpPr txBox="1">
            <a:spLocks/>
          </p:cNvSpPr>
          <p:nvPr>
            <p:custDataLst>
              <p:tags r:id="rId20"/>
            </p:custDataLst>
          </p:nvPr>
        </p:nvSpPr>
        <p:spPr bwMode="gray">
          <a:xfrm>
            <a:off x="9478963" y="2217738"/>
            <a:ext cx="250825" cy="1222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CD43589-4A3D-42F9-99DB-A65E9FB9CFD8}" type="datetime'''''''''''I''''''''''''''''''''n''d''i''''''''''''''''''''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di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95" name="Text Placeholder 10">
            <a:extLst>
              <a:ext uri="{FF2B5EF4-FFF2-40B4-BE49-F238E27FC236}">
                <a16:creationId xmlns:a16="http://schemas.microsoft.com/office/drawing/2014/main" id="{AB2374B9-4AA4-C88C-1013-3D0D6CA5C769}"/>
              </a:ext>
            </a:extLst>
          </p:cNvPr>
          <p:cNvSpPr txBox="1">
            <a:spLocks/>
          </p:cNvSpPr>
          <p:nvPr>
            <p:custDataLst>
              <p:tags r:id="rId21"/>
            </p:custDataLst>
          </p:nvPr>
        </p:nvSpPr>
        <p:spPr bwMode="gray">
          <a:xfrm>
            <a:off x="8091488" y="3175000"/>
            <a:ext cx="350838"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C1C1BFF-8773-4DC1-81C4-EEA39D8EF040}" type="datetime'''''''''''''M''''e''''''''''''''''xi''''''co'''''''''''''''''">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exico</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91" name="Text Placeholder 10">
            <a:extLst>
              <a:ext uri="{FF2B5EF4-FFF2-40B4-BE49-F238E27FC236}">
                <a16:creationId xmlns:a16="http://schemas.microsoft.com/office/drawing/2014/main" id="{74285D77-BAD2-B2B5-5666-5C8DB6BED0B1}"/>
              </a:ext>
            </a:extLst>
          </p:cNvPr>
          <p:cNvSpPr txBox="1">
            <a:spLocks/>
          </p:cNvSpPr>
          <p:nvPr>
            <p:custDataLst>
              <p:tags r:id="rId22"/>
            </p:custDataLst>
          </p:nvPr>
        </p:nvSpPr>
        <p:spPr bwMode="gray">
          <a:xfrm>
            <a:off x="8440738" y="2892425"/>
            <a:ext cx="414338" cy="1222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D2E4714-E8EE-4238-9FB9-B7E8357152A3}" type="datetime'''H''''''''''''''''''un''''''''''''''''g''a''r''''''''y'''''''">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ungary</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96" name="Text Placeholder 10">
            <a:extLst>
              <a:ext uri="{FF2B5EF4-FFF2-40B4-BE49-F238E27FC236}">
                <a16:creationId xmlns:a16="http://schemas.microsoft.com/office/drawing/2014/main" id="{8B8F7F18-5B47-B185-3C2D-DEEB456AB747}"/>
              </a:ext>
            </a:extLst>
          </p:cNvPr>
          <p:cNvSpPr txBox="1">
            <a:spLocks/>
          </p:cNvSpPr>
          <p:nvPr>
            <p:custDataLst>
              <p:tags r:id="rId23"/>
            </p:custDataLst>
          </p:nvPr>
        </p:nvSpPr>
        <p:spPr bwMode="gray">
          <a:xfrm>
            <a:off x="7915275" y="3498850"/>
            <a:ext cx="579438" cy="1222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9C2E953-ED40-466C-B048-C2EE61E627D5}" type="datetime'''''N''''e''''''''t''''''''''''''he''r''''''''''lan''''d''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etherlands</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90" name="Text Placeholder 10">
            <a:extLst>
              <a:ext uri="{FF2B5EF4-FFF2-40B4-BE49-F238E27FC236}">
                <a16:creationId xmlns:a16="http://schemas.microsoft.com/office/drawing/2014/main" id="{CCBB7037-6030-66BE-5C27-C66D68F25290}"/>
              </a:ext>
            </a:extLst>
          </p:cNvPr>
          <p:cNvSpPr txBox="1">
            <a:spLocks/>
          </p:cNvSpPr>
          <p:nvPr>
            <p:custDataLst>
              <p:tags r:id="rId24"/>
            </p:custDataLst>
          </p:nvPr>
        </p:nvSpPr>
        <p:spPr bwMode="gray">
          <a:xfrm>
            <a:off x="10788650" y="2506663"/>
            <a:ext cx="346075" cy="122238"/>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F08345B-B27D-43CC-9F09-149A018DA29C}" type="datetime'F''''''''''''''''r''''''''''''a''''n''''''''ce'">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France</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497" name="Text Placeholder 10">
            <a:extLst>
              <a:ext uri="{FF2B5EF4-FFF2-40B4-BE49-F238E27FC236}">
                <a16:creationId xmlns:a16="http://schemas.microsoft.com/office/drawing/2014/main" id="{6993C99D-B132-9DA9-7682-09BE7EBBED2C}"/>
              </a:ext>
            </a:extLst>
          </p:cNvPr>
          <p:cNvSpPr txBox="1">
            <a:spLocks/>
          </p:cNvSpPr>
          <p:nvPr>
            <p:custDataLst>
              <p:tags r:id="rId25"/>
            </p:custDataLst>
          </p:nvPr>
        </p:nvSpPr>
        <p:spPr bwMode="gray">
          <a:xfrm>
            <a:off x="8518525" y="3175000"/>
            <a:ext cx="420688" cy="1222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1A21B74-5D39-4E73-B67C-EDB6DF04288B}" type="datetime'P''''''''''a''kis''''''''''''t''''''a''n'''''''''">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akistan</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89" name="Text Placeholder 10">
            <a:extLst>
              <a:ext uri="{FF2B5EF4-FFF2-40B4-BE49-F238E27FC236}">
                <a16:creationId xmlns:a16="http://schemas.microsoft.com/office/drawing/2014/main" id="{36001F29-9485-6511-6851-D791B81A8060}"/>
              </a:ext>
            </a:extLst>
          </p:cNvPr>
          <p:cNvSpPr txBox="1">
            <a:spLocks/>
          </p:cNvSpPr>
          <p:nvPr>
            <p:custDataLst>
              <p:tags r:id="rId26"/>
            </p:custDataLst>
          </p:nvPr>
        </p:nvSpPr>
        <p:spPr bwMode="gray">
          <a:xfrm>
            <a:off x="8939213" y="3255963"/>
            <a:ext cx="363538" cy="1222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F64B201-C5F3-477C-BAEE-2C38F824D3EB}" type="datetime'''''''''''''''''F''''i''''''''n''''la''''''n''''''d'''''''''">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Finland</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81" name="Text Placeholder 10">
            <a:extLst>
              <a:ext uri="{FF2B5EF4-FFF2-40B4-BE49-F238E27FC236}">
                <a16:creationId xmlns:a16="http://schemas.microsoft.com/office/drawing/2014/main" id="{415BA3F9-8B69-4FBA-E124-685334A3685A}"/>
              </a:ext>
            </a:extLst>
          </p:cNvPr>
          <p:cNvSpPr txBox="1">
            <a:spLocks/>
          </p:cNvSpPr>
          <p:nvPr>
            <p:custDataLst>
              <p:tags r:id="rId27"/>
            </p:custDataLst>
          </p:nvPr>
        </p:nvSpPr>
        <p:spPr bwMode="gray">
          <a:xfrm>
            <a:off x="7975600" y="3043238"/>
            <a:ext cx="466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01F3FF8-DAF6-4EC0-98E8-51D6AA64927D}" type="datetime'A''''''''''''''''''''''''''r''g''e''n''''t''i''n''''''''''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rgentin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88" name="Text Placeholder 10">
            <a:extLst>
              <a:ext uri="{FF2B5EF4-FFF2-40B4-BE49-F238E27FC236}">
                <a16:creationId xmlns:a16="http://schemas.microsoft.com/office/drawing/2014/main" id="{DF509BDD-D4BF-D400-187A-4B02E27F22D8}"/>
              </a:ext>
            </a:extLst>
          </p:cNvPr>
          <p:cNvSpPr txBox="1">
            <a:spLocks/>
          </p:cNvSpPr>
          <p:nvPr>
            <p:custDataLst>
              <p:tags r:id="rId28"/>
            </p:custDataLst>
          </p:nvPr>
        </p:nvSpPr>
        <p:spPr bwMode="gray">
          <a:xfrm>
            <a:off x="10180638" y="2554288"/>
            <a:ext cx="396875" cy="122238"/>
          </a:xfrm>
          <a:prstGeom prst="rect">
            <a:avLst/>
          </a:prstGeom>
          <a:solidFill>
            <a:schemeClr val="hlink"/>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AF9E050-7D72-47BD-8357-2104DC094000}" type="datetime'''C''''z''''''''''''''''''''''e''''''''''c''''''''''h''ia'''''">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zechia</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499" name="Text Placeholder 10">
            <a:extLst>
              <a:ext uri="{FF2B5EF4-FFF2-40B4-BE49-F238E27FC236}">
                <a16:creationId xmlns:a16="http://schemas.microsoft.com/office/drawing/2014/main" id="{057A76F8-88B4-AA43-2EAF-1A572E8656D8}"/>
              </a:ext>
            </a:extLst>
          </p:cNvPr>
          <p:cNvSpPr txBox="1">
            <a:spLocks/>
          </p:cNvSpPr>
          <p:nvPr>
            <p:custDataLst>
              <p:tags r:id="rId29"/>
            </p:custDataLst>
          </p:nvPr>
        </p:nvSpPr>
        <p:spPr bwMode="gray">
          <a:xfrm>
            <a:off x="8967788" y="2636838"/>
            <a:ext cx="339725" cy="1222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8596FA5-3383-46E5-B89C-C17CA3791DE4}" type="datetime'''''''''''''Ru''''''''''ss''''''''i''''''''''''''''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ussi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87" name="Text Placeholder 10">
            <a:extLst>
              <a:ext uri="{FF2B5EF4-FFF2-40B4-BE49-F238E27FC236}">
                <a16:creationId xmlns:a16="http://schemas.microsoft.com/office/drawing/2014/main" id="{8B6C6DF8-817D-50DD-33AC-1754F7F8FD47}"/>
              </a:ext>
            </a:extLst>
          </p:cNvPr>
          <p:cNvSpPr txBox="1">
            <a:spLocks/>
          </p:cNvSpPr>
          <p:nvPr>
            <p:custDataLst>
              <p:tags r:id="rId30"/>
            </p:custDataLst>
          </p:nvPr>
        </p:nvSpPr>
        <p:spPr bwMode="gray">
          <a:xfrm>
            <a:off x="10675938" y="2136775"/>
            <a:ext cx="295275" cy="1222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1D85111-C42A-4912-B48F-30B277A21387}" type="datetime'''''''''''''''''''''C''h''''''''i''''n''a'''''''''''''">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ina</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500" name="Text Placeholder 10">
            <a:extLst>
              <a:ext uri="{FF2B5EF4-FFF2-40B4-BE49-F238E27FC236}">
                <a16:creationId xmlns:a16="http://schemas.microsoft.com/office/drawing/2014/main" id="{573E7CB1-9A6A-7106-8192-F8EBF698AAE5}"/>
              </a:ext>
            </a:extLst>
          </p:cNvPr>
          <p:cNvSpPr txBox="1">
            <a:spLocks/>
          </p:cNvSpPr>
          <p:nvPr>
            <p:custDataLst>
              <p:tags r:id="rId31"/>
            </p:custDataLst>
          </p:nvPr>
        </p:nvSpPr>
        <p:spPr bwMode="gray">
          <a:xfrm>
            <a:off x="7588250" y="3668713"/>
            <a:ext cx="414338" cy="1222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1D02B89-7776-48F6-A391-5883DEF5EEAF}" type="datetime'''''S''''''''''''lo''v''''''''''a''''k''''i''''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lovaki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01" name="Text Placeholder 10">
            <a:extLst>
              <a:ext uri="{FF2B5EF4-FFF2-40B4-BE49-F238E27FC236}">
                <a16:creationId xmlns:a16="http://schemas.microsoft.com/office/drawing/2014/main" id="{19A5A697-F982-CB33-6D54-D13BC40AA256}"/>
              </a:ext>
            </a:extLst>
          </p:cNvPr>
          <p:cNvSpPr txBox="1">
            <a:spLocks/>
          </p:cNvSpPr>
          <p:nvPr>
            <p:custDataLst>
              <p:tags r:id="rId32"/>
            </p:custDataLst>
          </p:nvPr>
        </p:nvSpPr>
        <p:spPr bwMode="gray">
          <a:xfrm>
            <a:off x="5862638" y="3624263"/>
            <a:ext cx="420688" cy="1222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6367636-2687-45C4-B32E-FE0FCE03724E}" type="datetime'''S''''''''l''''ov''e''''''''''''''n''i''''''''''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loveni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86" name="Text Placeholder 10">
            <a:extLst>
              <a:ext uri="{FF2B5EF4-FFF2-40B4-BE49-F238E27FC236}">
                <a16:creationId xmlns:a16="http://schemas.microsoft.com/office/drawing/2014/main" id="{EC1299E9-C0DA-EEC9-2FBF-CAFA67667C4E}"/>
              </a:ext>
            </a:extLst>
          </p:cNvPr>
          <p:cNvSpPr txBox="1">
            <a:spLocks/>
          </p:cNvSpPr>
          <p:nvPr>
            <p:custDataLst>
              <p:tags r:id="rId33"/>
            </p:custDataLst>
          </p:nvPr>
        </p:nvSpPr>
        <p:spPr bwMode="gray">
          <a:xfrm>
            <a:off x="9666288" y="3149600"/>
            <a:ext cx="3873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978044E-C36C-4ABD-B02B-32A1632F73D9}" type="datetime'''''''''''''''''''Ca''n''''''''''''''''''''''''a''''d''''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anad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099" name="Text Placeholder 10">
            <a:extLst>
              <a:ext uri="{FF2B5EF4-FFF2-40B4-BE49-F238E27FC236}">
                <a16:creationId xmlns:a16="http://schemas.microsoft.com/office/drawing/2014/main" id="{8220F2DC-C810-91CF-A636-C8BED93D42CD}"/>
              </a:ext>
            </a:extLst>
          </p:cNvPr>
          <p:cNvSpPr txBox="1">
            <a:spLocks/>
          </p:cNvSpPr>
          <p:nvPr>
            <p:custDataLst>
              <p:tags r:id="rId34"/>
            </p:custDataLst>
          </p:nvPr>
        </p:nvSpPr>
        <p:spPr bwMode="gray">
          <a:xfrm>
            <a:off x="6588125" y="4205288"/>
            <a:ext cx="290513" cy="1222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6E0E14D-0FD0-484F-9003-8472D15A8899}" type="datetime'S''''''''''''''p''''a''''''''''''''''''''''i''''''''n'''''''">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pain</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85" name="Text Placeholder 10">
            <a:extLst>
              <a:ext uri="{FF2B5EF4-FFF2-40B4-BE49-F238E27FC236}">
                <a16:creationId xmlns:a16="http://schemas.microsoft.com/office/drawing/2014/main" id="{94943DC7-91AE-75AA-961F-2A923FBFC555}"/>
              </a:ext>
            </a:extLst>
          </p:cNvPr>
          <p:cNvSpPr txBox="1">
            <a:spLocks/>
          </p:cNvSpPr>
          <p:nvPr>
            <p:custDataLst>
              <p:tags r:id="rId35"/>
            </p:custDataLst>
          </p:nvPr>
        </p:nvSpPr>
        <p:spPr bwMode="gray">
          <a:xfrm>
            <a:off x="8564563" y="2741613"/>
            <a:ext cx="403225" cy="1222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0C9C084-F180-4266-AA46-53471EADF93C}" type="datetime'B''''ulg''''''''''''''''a''''''''r''''''i''''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ulgari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02" name="Text Placeholder 10">
            <a:extLst>
              <a:ext uri="{FF2B5EF4-FFF2-40B4-BE49-F238E27FC236}">
                <a16:creationId xmlns:a16="http://schemas.microsoft.com/office/drawing/2014/main" id="{60F9323A-28CD-BE0C-76FF-6A694AC8A779}"/>
              </a:ext>
            </a:extLst>
          </p:cNvPr>
          <p:cNvSpPr txBox="1">
            <a:spLocks/>
          </p:cNvSpPr>
          <p:nvPr>
            <p:custDataLst>
              <p:tags r:id="rId36"/>
            </p:custDataLst>
          </p:nvPr>
        </p:nvSpPr>
        <p:spPr bwMode="gray">
          <a:xfrm>
            <a:off x="6899275" y="3751263"/>
            <a:ext cx="585788"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FD1A7D4-41F4-4778-BAF5-A48528621732}" type="datetime'''S''o''''''uth'''''' A''fr''''i''''''''''''''''c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uth Afric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84" name="Text Placeholder 10">
            <a:extLst>
              <a:ext uri="{FF2B5EF4-FFF2-40B4-BE49-F238E27FC236}">
                <a16:creationId xmlns:a16="http://schemas.microsoft.com/office/drawing/2014/main" id="{D92B64E0-CDFC-7DC3-61C0-51DF4811B32C}"/>
              </a:ext>
            </a:extLst>
          </p:cNvPr>
          <p:cNvSpPr txBox="1">
            <a:spLocks/>
          </p:cNvSpPr>
          <p:nvPr>
            <p:custDataLst>
              <p:tags r:id="rId37"/>
            </p:custDataLst>
          </p:nvPr>
        </p:nvSpPr>
        <p:spPr bwMode="gray">
          <a:xfrm>
            <a:off x="10031413" y="2711450"/>
            <a:ext cx="282575" cy="122238"/>
          </a:xfrm>
          <a:prstGeom prst="rect">
            <a:avLst/>
          </a:prstGeom>
          <a:solidFill>
            <a:schemeClr val="accent3"/>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AF62AF2-6755-41D0-A274-D91F803D898A}" type="datetime'''Br''''''''''''''''''a''''''''z''''''''''''i''l'''''''''''''">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razil</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503" name="Text Placeholder 10">
            <a:extLst>
              <a:ext uri="{FF2B5EF4-FFF2-40B4-BE49-F238E27FC236}">
                <a16:creationId xmlns:a16="http://schemas.microsoft.com/office/drawing/2014/main" id="{3BA299FA-D12E-5B7C-FE78-46EF58C58D04}"/>
              </a:ext>
            </a:extLst>
          </p:cNvPr>
          <p:cNvSpPr txBox="1">
            <a:spLocks/>
          </p:cNvSpPr>
          <p:nvPr>
            <p:custDataLst>
              <p:tags r:id="rId38"/>
            </p:custDataLst>
          </p:nvPr>
        </p:nvSpPr>
        <p:spPr bwMode="gray">
          <a:xfrm>
            <a:off x="8861425" y="2393950"/>
            <a:ext cx="598488" cy="1222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7CB7052-A5EB-48F9-B507-FA5617654DE4}" type="datetime'''''''''S''ou''''t''''h'''''''' K''''''''''''''''o''re''''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uth Kore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83" name="Text Placeholder 10">
            <a:extLst>
              <a:ext uri="{FF2B5EF4-FFF2-40B4-BE49-F238E27FC236}">
                <a16:creationId xmlns:a16="http://schemas.microsoft.com/office/drawing/2014/main" id="{A2A36506-F068-A1A2-D1C4-611BA324B3AB}"/>
              </a:ext>
            </a:extLst>
          </p:cNvPr>
          <p:cNvSpPr txBox="1">
            <a:spLocks/>
          </p:cNvSpPr>
          <p:nvPr>
            <p:custDataLst>
              <p:tags r:id="rId39"/>
            </p:custDataLst>
          </p:nvPr>
        </p:nvSpPr>
        <p:spPr bwMode="gray">
          <a:xfrm>
            <a:off x="7423150" y="3278188"/>
            <a:ext cx="396875"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E6DDDD-D6C2-4228-8690-5A7F1C0BB66B}" type="datetime'''''''''B''''e''''''''''l''''''''''''''''''g''i''''''u''m'''">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elgium</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04" name="Text Placeholder 10">
            <a:extLst>
              <a:ext uri="{FF2B5EF4-FFF2-40B4-BE49-F238E27FC236}">
                <a16:creationId xmlns:a16="http://schemas.microsoft.com/office/drawing/2014/main" id="{49E83903-F280-882B-3698-71526EA4F310}"/>
              </a:ext>
            </a:extLst>
          </p:cNvPr>
          <p:cNvSpPr txBox="1">
            <a:spLocks/>
          </p:cNvSpPr>
          <p:nvPr>
            <p:custDataLst>
              <p:tags r:id="rId40"/>
            </p:custDataLst>
          </p:nvPr>
        </p:nvSpPr>
        <p:spPr bwMode="gray">
          <a:xfrm>
            <a:off x="7923213" y="2640013"/>
            <a:ext cx="398463" cy="1222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9324203-31F1-4E54-921D-F18432516785}" type="datetime'''''S''''w''e''''''''''''''''''''d''''''e''n'''''''''">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weden</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82" name="Text Placeholder 10">
            <a:extLst>
              <a:ext uri="{FF2B5EF4-FFF2-40B4-BE49-F238E27FC236}">
                <a16:creationId xmlns:a16="http://schemas.microsoft.com/office/drawing/2014/main" id="{21B71019-7ACE-D603-BB1A-6AAFB0DDA1C1}"/>
              </a:ext>
            </a:extLst>
          </p:cNvPr>
          <p:cNvSpPr txBox="1">
            <a:spLocks/>
          </p:cNvSpPr>
          <p:nvPr>
            <p:custDataLst>
              <p:tags r:id="rId41"/>
            </p:custDataLst>
          </p:nvPr>
        </p:nvSpPr>
        <p:spPr bwMode="gray">
          <a:xfrm>
            <a:off x="9348788" y="3671888"/>
            <a:ext cx="374650" cy="122238"/>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EA4FC23-F4DA-4361-967C-94C2E0C4EE27}" type="datetime'''''''Be''''l''''a''''''''''''''''r''''''u''''''''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elarus</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05" name="Text Placeholder 10">
            <a:extLst>
              <a:ext uri="{FF2B5EF4-FFF2-40B4-BE49-F238E27FC236}">
                <a16:creationId xmlns:a16="http://schemas.microsoft.com/office/drawing/2014/main" id="{6CCCBF63-F6B8-DBC0-FAC5-198BB0FC8E6C}"/>
              </a:ext>
            </a:extLst>
          </p:cNvPr>
          <p:cNvSpPr txBox="1">
            <a:spLocks/>
          </p:cNvSpPr>
          <p:nvPr>
            <p:custDataLst>
              <p:tags r:id="rId42"/>
            </p:custDataLst>
          </p:nvPr>
        </p:nvSpPr>
        <p:spPr bwMode="gray">
          <a:xfrm>
            <a:off x="8707438" y="3621088"/>
            <a:ext cx="379413" cy="1222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D33AC11-A562-450F-B66D-035470A3A6B5}" type="datetime'''U''''k''''''''''''''''''r''''''''''''''''''a''i''''''''''ne'">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kraine</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06" name="Text Placeholder 10">
            <a:extLst>
              <a:ext uri="{FF2B5EF4-FFF2-40B4-BE49-F238E27FC236}">
                <a16:creationId xmlns:a16="http://schemas.microsoft.com/office/drawing/2014/main" id="{FA7757A9-6405-77B1-293A-2C02DE01F2F9}"/>
              </a:ext>
            </a:extLst>
          </p:cNvPr>
          <p:cNvSpPr txBox="1">
            <a:spLocks/>
          </p:cNvSpPr>
          <p:nvPr>
            <p:custDataLst>
              <p:tags r:id="rId43"/>
            </p:custDataLst>
          </p:nvPr>
        </p:nvSpPr>
        <p:spPr bwMode="gray">
          <a:xfrm>
            <a:off x="9901238" y="3470275"/>
            <a:ext cx="238125" cy="122238"/>
          </a:xfrm>
          <a:prstGeom prst="rect">
            <a:avLst/>
          </a:prstGeom>
          <a:noFill/>
          <a:ln>
            <a:noFill/>
          </a:ln>
          <a:effectLst/>
          <a:extLst>
            <a:ext uri="{909E8E84-426E-40DD-AFC4-6F175D3DCCD1}">
              <a14:hiddenFill xmlns:a14="http://schemas.microsoft.com/office/drawing/2010/main">
                <a:solidFill>
                  <a:schemeClr val="hlink"/>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38F1657-197A-4768-BF93-98C146EBC597}" type="datetime'''UA''''''''''''''''''''''''''''''''''E'''">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AE</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07" name="Text Placeholder 10">
            <a:extLst>
              <a:ext uri="{FF2B5EF4-FFF2-40B4-BE49-F238E27FC236}">
                <a16:creationId xmlns:a16="http://schemas.microsoft.com/office/drawing/2014/main" id="{3D681CCA-BA05-2C06-BF91-37BA7558BF58}"/>
              </a:ext>
            </a:extLst>
          </p:cNvPr>
          <p:cNvSpPr txBox="1">
            <a:spLocks/>
          </p:cNvSpPr>
          <p:nvPr>
            <p:custDataLst>
              <p:tags r:id="rId44"/>
            </p:custDataLst>
          </p:nvPr>
        </p:nvSpPr>
        <p:spPr bwMode="gray">
          <a:xfrm>
            <a:off x="10194925" y="2411413"/>
            <a:ext cx="227013" cy="122238"/>
          </a:xfrm>
          <a:prstGeom prst="rect">
            <a:avLst/>
          </a:prstGeom>
          <a:solidFill>
            <a:schemeClr val="hlink"/>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800" b="0" i="0" u="none" strike="noStrike" kern="1200" cap="none" spc="0" normalizeH="0" baseline="0" noProof="0">
                <a:ln>
                  <a:noFill/>
                </a:ln>
                <a:solidFill>
                  <a:srgbClr val="FFFFFF"/>
                </a:solidFill>
                <a:effectLst/>
                <a:uLnTx/>
                <a:uFillTx/>
                <a:latin typeface="Arial"/>
                <a:ea typeface="+mn-ea"/>
                <a:cs typeface="+mn-cs"/>
              </a:rPr>
              <a:t>U.K.</a:t>
            </a:r>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508" name="Text Placeholder 10">
            <a:extLst>
              <a:ext uri="{FF2B5EF4-FFF2-40B4-BE49-F238E27FC236}">
                <a16:creationId xmlns:a16="http://schemas.microsoft.com/office/drawing/2014/main" id="{E503AF53-5269-6CB7-9E85-4F83CA3DD3EA}"/>
              </a:ext>
            </a:extLst>
          </p:cNvPr>
          <p:cNvSpPr txBox="1">
            <a:spLocks/>
          </p:cNvSpPr>
          <p:nvPr>
            <p:custDataLst>
              <p:tags r:id="rId45"/>
            </p:custDataLst>
          </p:nvPr>
        </p:nvSpPr>
        <p:spPr bwMode="gray">
          <a:xfrm>
            <a:off x="10464800" y="2778125"/>
            <a:ext cx="227013" cy="1222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800" b="0" i="0" u="none" strike="noStrike" kern="1200" cap="none" spc="0" normalizeH="0" baseline="0" noProof="0">
                <a:ln>
                  <a:noFill/>
                </a:ln>
                <a:solidFill>
                  <a:srgbClr val="FFFFFF"/>
                </a:solidFill>
                <a:effectLst/>
                <a:uLnTx/>
                <a:uFillTx/>
                <a:latin typeface="Arial"/>
                <a:ea typeface="+mn-ea"/>
                <a:cs typeface="+mn-cs"/>
              </a:rPr>
              <a:t>U.S.</a:t>
            </a:r>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509" name="Text Placeholder 10">
            <a:extLst>
              <a:ext uri="{FF2B5EF4-FFF2-40B4-BE49-F238E27FC236}">
                <a16:creationId xmlns:a16="http://schemas.microsoft.com/office/drawing/2014/main" id="{4BE55540-A2A0-167B-4E48-4370D3F03D11}"/>
              </a:ext>
            </a:extLst>
          </p:cNvPr>
          <p:cNvSpPr txBox="1">
            <a:spLocks/>
          </p:cNvSpPr>
          <p:nvPr>
            <p:custDataLst>
              <p:tags r:id="rId46"/>
            </p:custDataLst>
          </p:nvPr>
        </p:nvSpPr>
        <p:spPr bwMode="gray">
          <a:xfrm>
            <a:off x="10963275" y="1939925"/>
            <a:ext cx="411163" cy="1222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B429F37-1DC0-4AD6-BCD5-EB3A67A04814}" type="datetime'''''''''''D''U''''''''''M''''''''''''''''''''MY'''''">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UMMY</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642" name="Text Placeholder 10">
            <a:extLst>
              <a:ext uri="{FF2B5EF4-FFF2-40B4-BE49-F238E27FC236}">
                <a16:creationId xmlns:a16="http://schemas.microsoft.com/office/drawing/2014/main" id="{E1727411-0BBC-7760-5655-08029071963D}"/>
              </a:ext>
            </a:extLst>
          </p:cNvPr>
          <p:cNvSpPr txBox="1">
            <a:spLocks/>
          </p:cNvSpPr>
          <p:nvPr>
            <p:custDataLst>
              <p:tags r:id="rId47"/>
            </p:custDataLst>
          </p:nvPr>
        </p:nvSpPr>
        <p:spPr bwMode="gray">
          <a:xfrm>
            <a:off x="6459538" y="5203825"/>
            <a:ext cx="357188" cy="1222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20C4510-0B87-49BB-9F88-C94BFB9C450E}" type="datetime'''T''''a''''''''''iw''a''''''''n'''''''''''''''">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aiwan</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918" name="Text Placeholder 10">
            <a:extLst>
              <a:ext uri="{FF2B5EF4-FFF2-40B4-BE49-F238E27FC236}">
                <a16:creationId xmlns:a16="http://schemas.microsoft.com/office/drawing/2014/main" id="{85E9937D-33EB-E2BF-EFB9-52A84AC2B7E0}"/>
              </a:ext>
            </a:extLst>
          </p:cNvPr>
          <p:cNvSpPr txBox="1">
            <a:spLocks/>
          </p:cNvSpPr>
          <p:nvPr>
            <p:custDataLst>
              <p:tags r:id="rId48"/>
            </p:custDataLst>
          </p:nvPr>
        </p:nvSpPr>
        <p:spPr bwMode="gray">
          <a:xfrm>
            <a:off x="6459538" y="4722813"/>
            <a:ext cx="555625"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7E38602-5AFE-4BC3-B4EA-1535CE05ECDF}" type="datetime'S''''w''it''''''ze''''''''rla''n''''''''''''''''d'''''">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witzerland</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98" name="Text Placeholder 10">
            <a:extLst>
              <a:ext uri="{FF2B5EF4-FFF2-40B4-BE49-F238E27FC236}">
                <a16:creationId xmlns:a16="http://schemas.microsoft.com/office/drawing/2014/main" id="{4B4C7A26-9345-F753-D026-793055E29082}"/>
              </a:ext>
            </a:extLst>
          </p:cNvPr>
          <p:cNvSpPr txBox="1">
            <a:spLocks/>
          </p:cNvSpPr>
          <p:nvPr>
            <p:custDataLst>
              <p:tags r:id="rId49"/>
            </p:custDataLst>
          </p:nvPr>
        </p:nvSpPr>
        <p:spPr bwMode="gray">
          <a:xfrm>
            <a:off x="8953500" y="2897188"/>
            <a:ext cx="436563" cy="1222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5B51EA9-F6AA-432B-816E-BCFB9DB4ECEA}" type="datetime'''''''''''''''''R''o''ma''''ni''''''''''''''''''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omani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76" name="TextBox 75">
            <a:extLst>
              <a:ext uri="{FF2B5EF4-FFF2-40B4-BE49-F238E27FC236}">
                <a16:creationId xmlns:a16="http://schemas.microsoft.com/office/drawing/2014/main" id="{F0650C22-8186-9021-1E2D-93D3CFB5C29A}"/>
              </a:ext>
            </a:extLst>
          </p:cNvPr>
          <p:cNvSpPr txBox="1"/>
          <p:nvPr/>
        </p:nvSpPr>
        <p:spPr bwMode="gray">
          <a:xfrm>
            <a:off x="5868987" y="2138692"/>
            <a:ext cx="3186113" cy="234286"/>
          </a:xfrm>
          <a:prstGeom prst="rect">
            <a:avLst/>
          </a:prstGeom>
          <a:solidFill>
            <a:schemeClr val="bg1">
              <a:lumMod val="85000"/>
            </a:schemeClr>
          </a:solid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9BDB"/>
                </a:solidFill>
                <a:effectLst/>
                <a:uLnTx/>
                <a:uFillTx/>
                <a:latin typeface="Arial"/>
                <a:ea typeface="+mn-ea"/>
                <a:cs typeface="+mn-cs"/>
                <a:sym typeface="Futura"/>
              </a:rPr>
              <a:t>Currently </a:t>
            </a:r>
            <a:r>
              <a:rPr kumimoji="0" lang="en-US" sz="1050" b="1" i="1" strike="noStrike" kern="1200" cap="none" spc="0" normalizeH="0" baseline="0" noProof="0">
                <a:ln>
                  <a:noFill/>
                </a:ln>
                <a:solidFill>
                  <a:srgbClr val="009BDB"/>
                </a:solidFill>
                <a:effectLst/>
                <a:uLnTx/>
                <a:uFillTx/>
                <a:latin typeface="Arial"/>
                <a:ea typeface="+mn-ea"/>
                <a:cs typeface="+mn-cs"/>
                <a:sym typeface="Futura"/>
              </a:rPr>
              <a:t>supporting</a:t>
            </a:r>
            <a:r>
              <a:rPr kumimoji="0" lang="en-US" sz="1050" b="1" i="0" u="none" strike="noStrike" kern="1200" cap="none" spc="0" normalizeH="0" baseline="0" noProof="0">
                <a:ln>
                  <a:noFill/>
                </a:ln>
                <a:solidFill>
                  <a:srgbClr val="009BDB"/>
                </a:solidFill>
                <a:effectLst/>
                <a:uLnTx/>
                <a:uFillTx/>
                <a:latin typeface="Arial"/>
                <a:ea typeface="+mn-ea"/>
                <a:cs typeface="+mn-cs"/>
                <a:sym typeface="Futura"/>
              </a:rPr>
              <a:t> and </a:t>
            </a:r>
            <a:r>
              <a:rPr kumimoji="0" lang="en-US" sz="1050" b="1" i="1" strike="noStrike" kern="1200" cap="none" spc="0" normalizeH="0" baseline="0" noProof="0">
                <a:ln>
                  <a:noFill/>
                </a:ln>
                <a:solidFill>
                  <a:srgbClr val="009BDB"/>
                </a:solidFill>
                <a:effectLst/>
                <a:uLnTx/>
                <a:uFillTx/>
                <a:latin typeface="Arial"/>
                <a:ea typeface="+mn-ea"/>
                <a:cs typeface="+mn-cs"/>
                <a:sym typeface="Futura"/>
              </a:rPr>
              <a:t>increasing support</a:t>
            </a:r>
          </a:p>
        </p:txBody>
      </p:sp>
      <p:sp>
        <p:nvSpPr>
          <p:cNvPr id="77" name="TextBox 76">
            <a:extLst>
              <a:ext uri="{FF2B5EF4-FFF2-40B4-BE49-F238E27FC236}">
                <a16:creationId xmlns:a16="http://schemas.microsoft.com/office/drawing/2014/main" id="{580F99DA-3895-3123-3744-16216943491F}"/>
              </a:ext>
            </a:extLst>
          </p:cNvPr>
          <p:cNvSpPr txBox="1"/>
          <p:nvPr/>
        </p:nvSpPr>
        <p:spPr bwMode="gray">
          <a:xfrm>
            <a:off x="366713" y="5638209"/>
            <a:ext cx="3617913" cy="234286"/>
          </a:xfrm>
          <a:prstGeom prst="rect">
            <a:avLst/>
          </a:prstGeom>
          <a:solidFill>
            <a:schemeClr val="bg1">
              <a:lumMod val="85000"/>
            </a:schemeClr>
          </a:solid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600"/>
              </a:spcAft>
              <a:buClr>
                <a:srgbClr val="000000"/>
              </a:buClr>
              <a:buSzTx/>
              <a:buFontTx/>
              <a:buNone/>
              <a:tabLst/>
              <a:defRPr/>
            </a:pPr>
            <a:r>
              <a:rPr kumimoji="0" lang="en-US" sz="1050" b="1" i="0" u="none" strike="noStrike" kern="1200" cap="none" spc="0" normalizeH="0" baseline="0" noProof="0">
                <a:ln>
                  <a:noFill/>
                </a:ln>
                <a:solidFill>
                  <a:srgbClr val="009BDB"/>
                </a:solidFill>
                <a:effectLst/>
                <a:uLnTx/>
                <a:uFillTx/>
                <a:latin typeface="Arial"/>
                <a:ea typeface="+mn-ea"/>
                <a:cs typeface="+mn-cs"/>
                <a:sym typeface="Futura"/>
              </a:rPr>
              <a:t>Currently </a:t>
            </a:r>
            <a:r>
              <a:rPr kumimoji="0" lang="en-US" sz="1050" b="1" i="1" strike="noStrike" kern="1200" cap="none" spc="0" normalizeH="0" baseline="0" noProof="0">
                <a:ln>
                  <a:noFill/>
                </a:ln>
                <a:solidFill>
                  <a:srgbClr val="009BDB"/>
                </a:solidFill>
                <a:effectLst/>
                <a:uLnTx/>
                <a:uFillTx/>
                <a:latin typeface="Arial"/>
                <a:ea typeface="+mn-ea"/>
                <a:cs typeface="+mn-cs"/>
                <a:sym typeface="Futura"/>
              </a:rPr>
              <a:t>not supporting </a:t>
            </a:r>
            <a:r>
              <a:rPr kumimoji="0" lang="en-US" sz="1050" b="1" i="0" u="none" strike="noStrike" kern="1200" cap="none" spc="0" normalizeH="0" baseline="0" noProof="0">
                <a:ln>
                  <a:noFill/>
                </a:ln>
                <a:solidFill>
                  <a:srgbClr val="009BDB"/>
                </a:solidFill>
                <a:effectLst/>
                <a:uLnTx/>
                <a:uFillTx/>
                <a:latin typeface="Arial"/>
                <a:ea typeface="+mn-ea"/>
                <a:cs typeface="+mn-cs"/>
                <a:sym typeface="Futura"/>
              </a:rPr>
              <a:t>and </a:t>
            </a:r>
            <a:r>
              <a:rPr kumimoji="0" lang="en-US" sz="1050" b="1" i="1" strike="noStrike" kern="1200" cap="none" spc="0" normalizeH="0" baseline="0" noProof="0">
                <a:ln>
                  <a:noFill/>
                </a:ln>
                <a:solidFill>
                  <a:srgbClr val="009BDB"/>
                </a:solidFill>
                <a:effectLst/>
                <a:uLnTx/>
                <a:uFillTx/>
                <a:latin typeface="Arial"/>
                <a:ea typeface="+mn-ea"/>
                <a:cs typeface="+mn-cs"/>
                <a:sym typeface="Futura"/>
              </a:rPr>
              <a:t>will not support </a:t>
            </a:r>
            <a:r>
              <a:rPr kumimoji="0" lang="en-US" sz="1050" b="1" i="0" u="none" strike="noStrike" kern="1200" cap="none" spc="0" normalizeH="0" baseline="0" noProof="0">
                <a:ln>
                  <a:noFill/>
                </a:ln>
                <a:solidFill>
                  <a:srgbClr val="009BDB"/>
                </a:solidFill>
                <a:effectLst/>
                <a:uLnTx/>
                <a:uFillTx/>
                <a:latin typeface="Arial"/>
                <a:ea typeface="+mn-ea"/>
                <a:cs typeface="+mn-cs"/>
                <a:sym typeface="Futura"/>
              </a:rPr>
              <a:t>in future</a:t>
            </a:r>
          </a:p>
        </p:txBody>
      </p:sp>
      <p:sp>
        <p:nvSpPr>
          <p:cNvPr id="78" name="TextBox 77">
            <a:extLst>
              <a:ext uri="{FF2B5EF4-FFF2-40B4-BE49-F238E27FC236}">
                <a16:creationId xmlns:a16="http://schemas.microsoft.com/office/drawing/2014/main" id="{9F58F743-5AD7-A205-C1D5-4C213AC3DC73}"/>
              </a:ext>
            </a:extLst>
          </p:cNvPr>
          <p:cNvSpPr txBox="1"/>
          <p:nvPr/>
        </p:nvSpPr>
        <p:spPr bwMode="gray">
          <a:xfrm>
            <a:off x="5868988" y="5638209"/>
            <a:ext cx="4091876" cy="234286"/>
          </a:xfrm>
          <a:prstGeom prst="rect">
            <a:avLst/>
          </a:prstGeom>
          <a:solidFill>
            <a:schemeClr val="bg1">
              <a:lumMod val="85000"/>
            </a:schemeClr>
          </a:solid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600"/>
              </a:spcAft>
              <a:buClr>
                <a:srgbClr val="000000"/>
              </a:buClr>
              <a:buSzTx/>
              <a:buFontTx/>
              <a:buNone/>
              <a:tabLst/>
              <a:defRPr/>
            </a:pPr>
            <a:r>
              <a:rPr kumimoji="0" lang="en-US" sz="1050" b="1" i="0" u="none" strike="noStrike" kern="1200" cap="none" spc="0" normalizeH="0" baseline="0" noProof="0">
                <a:ln>
                  <a:noFill/>
                </a:ln>
                <a:solidFill>
                  <a:srgbClr val="009BDB"/>
                </a:solidFill>
                <a:effectLst/>
                <a:uLnTx/>
                <a:uFillTx/>
                <a:latin typeface="Arial"/>
                <a:ea typeface="+mn-ea"/>
                <a:cs typeface="+mn-cs"/>
                <a:sym typeface="Futura"/>
              </a:rPr>
              <a:t>Currently </a:t>
            </a:r>
            <a:r>
              <a:rPr kumimoji="0" lang="en-US" sz="1050" b="1" i="1" strike="noStrike" kern="1200" cap="none" spc="0" normalizeH="0" baseline="0" noProof="0">
                <a:ln>
                  <a:noFill/>
                </a:ln>
                <a:solidFill>
                  <a:srgbClr val="009BDB"/>
                </a:solidFill>
                <a:effectLst/>
                <a:uLnTx/>
                <a:uFillTx/>
                <a:latin typeface="Arial"/>
                <a:ea typeface="+mn-ea"/>
                <a:cs typeface="+mn-cs"/>
                <a:sym typeface="Futura"/>
              </a:rPr>
              <a:t>supporting</a:t>
            </a:r>
            <a:r>
              <a:rPr kumimoji="0" lang="en-US" sz="1050" b="1" i="0" u="none" strike="noStrike" kern="1200" cap="none" spc="0" normalizeH="0" baseline="0" noProof="0">
                <a:ln>
                  <a:noFill/>
                </a:ln>
                <a:solidFill>
                  <a:srgbClr val="009BDB"/>
                </a:solidFill>
                <a:effectLst/>
                <a:uLnTx/>
                <a:uFillTx/>
                <a:latin typeface="Arial"/>
                <a:ea typeface="+mn-ea"/>
                <a:cs typeface="+mn-cs"/>
                <a:sym typeface="Futura"/>
              </a:rPr>
              <a:t> but </a:t>
            </a:r>
            <a:r>
              <a:rPr kumimoji="0" lang="en-US" sz="1050" b="1" i="1" strike="noStrike" kern="1200" cap="none" spc="0" normalizeH="0" baseline="0" noProof="0">
                <a:ln>
                  <a:noFill/>
                </a:ln>
                <a:solidFill>
                  <a:srgbClr val="009BDB"/>
                </a:solidFill>
                <a:effectLst/>
                <a:uLnTx/>
                <a:uFillTx/>
                <a:latin typeface="Arial"/>
                <a:ea typeface="+mn-ea"/>
                <a:cs typeface="+mn-cs"/>
                <a:sym typeface="Futura"/>
              </a:rPr>
              <a:t>will decrease support or phase out</a:t>
            </a:r>
          </a:p>
        </p:txBody>
      </p:sp>
      <p:sp>
        <p:nvSpPr>
          <p:cNvPr id="799" name="TextBox 798">
            <a:extLst>
              <a:ext uri="{FF2B5EF4-FFF2-40B4-BE49-F238E27FC236}">
                <a16:creationId xmlns:a16="http://schemas.microsoft.com/office/drawing/2014/main" id="{730A9DAB-F8EB-76D0-A56E-4B07C62BE730}"/>
              </a:ext>
            </a:extLst>
          </p:cNvPr>
          <p:cNvSpPr txBox="1"/>
          <p:nvPr/>
        </p:nvSpPr>
        <p:spPr bwMode="gray">
          <a:xfrm>
            <a:off x="504825" y="4724400"/>
            <a:ext cx="1077913" cy="808170"/>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Australia</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nmark</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New Zealand</a:t>
            </a:r>
          </a:p>
        </p:txBody>
      </p:sp>
      <p:sp>
        <p:nvSpPr>
          <p:cNvPr id="16" name="Up Arrow 15">
            <a:extLst>
              <a:ext uri="{FF2B5EF4-FFF2-40B4-BE49-F238E27FC236}">
                <a16:creationId xmlns:a16="http://schemas.microsoft.com/office/drawing/2014/main" id="{8594A3C0-AF33-F336-467F-11D1E9D4BA90}"/>
              </a:ext>
            </a:extLst>
          </p:cNvPr>
          <p:cNvSpPr/>
          <p:nvPr/>
        </p:nvSpPr>
        <p:spPr bwMode="gray">
          <a:xfrm rot="5400000">
            <a:off x="9151938" y="3681413"/>
            <a:ext cx="166688" cy="179378"/>
          </a:xfrm>
          <a:prstGeom prst="upArrow">
            <a:avLst/>
          </a:prstGeom>
          <a:solidFill>
            <a:srgbClr val="FFC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91" name="TextBox 690">
            <a:extLst>
              <a:ext uri="{FF2B5EF4-FFF2-40B4-BE49-F238E27FC236}">
                <a16:creationId xmlns:a16="http://schemas.microsoft.com/office/drawing/2014/main" id="{FEB78420-B9BB-78D9-8880-E712C5E48BE2}"/>
              </a:ext>
            </a:extLst>
          </p:cNvPr>
          <p:cNvSpPr txBox="1"/>
          <p:nvPr/>
        </p:nvSpPr>
        <p:spPr bwMode="gray">
          <a:xfrm>
            <a:off x="569913" y="2742183"/>
            <a:ext cx="1214438" cy="1177502"/>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Bangladesh</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Egyp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Estonia</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Ghana</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ndonesia</a:t>
            </a:r>
          </a:p>
        </p:txBody>
      </p:sp>
      <p:sp>
        <p:nvSpPr>
          <p:cNvPr id="791" name="Up Arrow 790">
            <a:extLst>
              <a:ext uri="{FF2B5EF4-FFF2-40B4-BE49-F238E27FC236}">
                <a16:creationId xmlns:a16="http://schemas.microsoft.com/office/drawing/2014/main" id="{9BA01EA4-D06B-7B7C-E748-928C94534858}"/>
              </a:ext>
            </a:extLst>
          </p:cNvPr>
          <p:cNvSpPr/>
          <p:nvPr/>
        </p:nvSpPr>
        <p:spPr bwMode="gray">
          <a:xfrm>
            <a:off x="485775" y="2556332"/>
            <a:ext cx="166688" cy="179378"/>
          </a:xfrm>
          <a:prstGeom prst="upArrow">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92" name="Up Arrow 791">
            <a:extLst>
              <a:ext uri="{FF2B5EF4-FFF2-40B4-BE49-F238E27FC236}">
                <a16:creationId xmlns:a16="http://schemas.microsoft.com/office/drawing/2014/main" id="{AE67E36B-667F-C141-19F0-06CDB4A680BF}"/>
              </a:ext>
            </a:extLst>
          </p:cNvPr>
          <p:cNvSpPr/>
          <p:nvPr/>
        </p:nvSpPr>
        <p:spPr bwMode="gray">
          <a:xfrm rot="16200000">
            <a:off x="501650" y="4602163"/>
            <a:ext cx="166688" cy="179378"/>
          </a:xfrm>
          <a:prstGeom prst="upArrow">
            <a:avLst/>
          </a:prstGeom>
          <a:solidFill>
            <a:srgbClr val="FFC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93" name="TextBox 692">
            <a:extLst>
              <a:ext uri="{FF2B5EF4-FFF2-40B4-BE49-F238E27FC236}">
                <a16:creationId xmlns:a16="http://schemas.microsoft.com/office/drawing/2014/main" id="{9093709D-3C33-A375-B5AD-81EC6087931E}"/>
              </a:ext>
            </a:extLst>
          </p:cNvPr>
          <p:cNvSpPr txBox="1"/>
          <p:nvPr/>
        </p:nvSpPr>
        <p:spPr bwMode="gray">
          <a:xfrm>
            <a:off x="1473200" y="2834516"/>
            <a:ext cx="1057275" cy="992836"/>
          </a:xfrm>
          <a:prstGeom prst="rect">
            <a:avLst/>
          </a:prstGeom>
          <a:noFill/>
          <a:ln>
            <a:noFill/>
          </a:ln>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Jamaica</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Jorda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Morocco Kazakhsta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Lithuania</a:t>
            </a:r>
          </a:p>
        </p:txBody>
      </p:sp>
      <p:sp>
        <p:nvSpPr>
          <p:cNvPr id="687" name="Up Arrow 686">
            <a:extLst>
              <a:ext uri="{FF2B5EF4-FFF2-40B4-BE49-F238E27FC236}">
                <a16:creationId xmlns:a16="http://schemas.microsoft.com/office/drawing/2014/main" id="{BC0828D6-AB8A-DCF0-E3C0-DAE7AF4AB63B}"/>
              </a:ext>
            </a:extLst>
          </p:cNvPr>
          <p:cNvSpPr/>
          <p:nvPr/>
        </p:nvSpPr>
        <p:spPr bwMode="gray">
          <a:xfrm>
            <a:off x="5829300" y="2459047"/>
            <a:ext cx="166688" cy="179378"/>
          </a:xfrm>
          <a:prstGeom prst="upArrow">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84" name="TextBox 783">
            <a:extLst>
              <a:ext uri="{FF2B5EF4-FFF2-40B4-BE49-F238E27FC236}">
                <a16:creationId xmlns:a16="http://schemas.microsoft.com/office/drawing/2014/main" id="{A4FCA791-43A9-C207-618D-BAE19D2DF3E5}"/>
              </a:ext>
            </a:extLst>
          </p:cNvPr>
          <p:cNvSpPr txBox="1"/>
          <p:nvPr/>
        </p:nvSpPr>
        <p:spPr bwMode="gray">
          <a:xfrm>
            <a:off x="3071813" y="2834516"/>
            <a:ext cx="1057275" cy="992836"/>
          </a:xfrm>
          <a:prstGeom prst="rect">
            <a:avLst/>
          </a:prstGeom>
          <a:noFill/>
          <a:ln>
            <a:noFill/>
          </a:ln>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ingapor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Turkey</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Vietnam</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Uganda</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Uzbekistan </a:t>
            </a:r>
          </a:p>
        </p:txBody>
      </p:sp>
      <p:sp>
        <p:nvSpPr>
          <p:cNvPr id="1086" name="btfpColumnHeaderBoxText223027">
            <a:extLst>
              <a:ext uri="{FF2B5EF4-FFF2-40B4-BE49-F238E27FC236}">
                <a16:creationId xmlns:a16="http://schemas.microsoft.com/office/drawing/2014/main" id="{B81B5262-B3A8-A81C-F2BE-E093D037E691}"/>
              </a:ext>
            </a:extLst>
          </p:cNvPr>
          <p:cNvSpPr txBox="1"/>
          <p:nvPr/>
        </p:nvSpPr>
        <p:spPr bwMode="gray">
          <a:xfrm>
            <a:off x="6808788" y="5156423"/>
            <a:ext cx="3344863" cy="318997"/>
          </a:xfrm>
          <a:prstGeom prst="rect">
            <a:avLst/>
          </a:prstGeom>
          <a:noFill/>
        </p:spPr>
        <p:txBody>
          <a:bodyPr vert="horz" wrap="square" lIns="36036" tIns="36036" rIns="36036" bIns="36036" rtlCol="0" anchor="b">
            <a:spAutoFit/>
          </a:bodyPr>
          <a:lstStyle/>
          <a:p>
            <a:pPr marL="50800" marR="0" lvl="0" indent="-5080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The Democratic Progressive Party, elected in 2016, has a nuclear phaseout policy to shut down all nuclear plants by 2025. </a:t>
            </a:r>
          </a:p>
        </p:txBody>
      </p:sp>
      <p:sp>
        <p:nvSpPr>
          <p:cNvPr id="1120" name="btfpColumnHeaderBoxText223027">
            <a:extLst>
              <a:ext uri="{FF2B5EF4-FFF2-40B4-BE49-F238E27FC236}">
                <a16:creationId xmlns:a16="http://schemas.microsoft.com/office/drawing/2014/main" id="{72EC0236-55A7-3323-C584-083EE012F334}"/>
              </a:ext>
            </a:extLst>
          </p:cNvPr>
          <p:cNvSpPr txBox="1"/>
          <p:nvPr/>
        </p:nvSpPr>
        <p:spPr bwMode="gray">
          <a:xfrm>
            <a:off x="6969125" y="4666345"/>
            <a:ext cx="3184525" cy="442108"/>
          </a:xfrm>
          <a:prstGeom prst="rect">
            <a:avLst/>
          </a:prstGeom>
          <a:noFill/>
        </p:spPr>
        <p:txBody>
          <a:bodyPr vert="horz" wrap="square" lIns="36036" tIns="36036" rIns="36036" bIns="36036" rtlCol="0" anchor="b">
            <a:spAutoFit/>
          </a:bodyPr>
          <a:lstStyle/>
          <a:p>
            <a:pPr marL="90488" marR="0" lvl="0" indent="-90488"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In May, the Swiss Parliament and government decided on </a:t>
            </a:r>
            <a:r>
              <a:rPr lang="en-US" sz="800">
                <a:solidFill>
                  <a:srgbClr val="000000"/>
                </a:solidFill>
                <a:latin typeface="Arial"/>
              </a:rPr>
              <a:t>a</a:t>
            </a:r>
            <a:r>
              <a:rPr kumimoji="0" lang="en-US" sz="800" b="0" i="0" u="none" strike="noStrike" kern="1200" cap="none" spc="0" normalizeH="0" baseline="0" noProof="0">
                <a:ln>
                  <a:noFill/>
                </a:ln>
                <a:solidFill>
                  <a:srgbClr val="000000"/>
                </a:solidFill>
                <a:effectLst/>
                <a:uLnTx/>
                <a:uFillTx/>
                <a:latin typeface="Arial"/>
                <a:ea typeface="+mn-ea"/>
                <a:cs typeface="+mn-cs"/>
              </a:rPr>
              <a:t> phaseout policy but also the </a:t>
            </a:r>
            <a:r>
              <a:rPr kumimoji="0" lang="en-US" sz="800" b="1" i="0" u="none" strike="noStrike" kern="1200" cap="none" spc="0" normalizeH="0" baseline="0" noProof="0">
                <a:ln>
                  <a:noFill/>
                </a:ln>
                <a:solidFill>
                  <a:srgbClr val="000000"/>
                </a:solidFill>
                <a:effectLst/>
                <a:uLnTx/>
                <a:uFillTx/>
                <a:latin typeface="Arial"/>
                <a:ea typeface="+mn-ea"/>
                <a:cs typeface="+mn-cs"/>
              </a:rPr>
              <a:t>possible removal of a ban on new construction of nuclear power plants. </a:t>
            </a:r>
          </a:p>
        </p:txBody>
      </p:sp>
      <p:sp>
        <p:nvSpPr>
          <p:cNvPr id="58" name="Oval 57">
            <a:extLst>
              <a:ext uri="{FF2B5EF4-FFF2-40B4-BE49-F238E27FC236}">
                <a16:creationId xmlns:a16="http://schemas.microsoft.com/office/drawing/2014/main" id="{A3DED05A-64F7-F4CB-EAE3-43CEA476DFB3}"/>
              </a:ext>
            </a:extLst>
          </p:cNvPr>
          <p:cNvSpPr/>
          <p:nvPr>
            <p:custDataLst>
              <p:tags r:id="rId50"/>
            </p:custDataLst>
          </p:nvPr>
        </p:nvSpPr>
        <p:spPr bwMode="auto">
          <a:xfrm>
            <a:off x="10288588" y="5345113"/>
            <a:ext cx="107950" cy="107950"/>
          </a:xfrm>
          <a:prstGeom prst="ellipse">
            <a:avLst/>
          </a:prstGeom>
          <a:solidFill>
            <a:srgbClr val="C3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19" name="Oval 1018">
            <a:extLst>
              <a:ext uri="{FF2B5EF4-FFF2-40B4-BE49-F238E27FC236}">
                <a16:creationId xmlns:a16="http://schemas.microsoft.com/office/drawing/2014/main" id="{0B3D6F7F-29E2-6DA9-D5F0-FEB9D8072E85}"/>
              </a:ext>
            </a:extLst>
          </p:cNvPr>
          <p:cNvSpPr/>
          <p:nvPr>
            <p:custDataLst>
              <p:tags r:id="rId51"/>
            </p:custDataLst>
          </p:nvPr>
        </p:nvSpPr>
        <p:spPr bwMode="auto">
          <a:xfrm>
            <a:off x="10288588" y="4826000"/>
            <a:ext cx="107950" cy="107950"/>
          </a:xfrm>
          <a:prstGeom prst="ellipse">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7" name="Oval 56">
            <a:extLst>
              <a:ext uri="{FF2B5EF4-FFF2-40B4-BE49-F238E27FC236}">
                <a16:creationId xmlns:a16="http://schemas.microsoft.com/office/drawing/2014/main" id="{7B517FBE-CBAF-4CD0-A5B6-15A7C6815ADE}"/>
              </a:ext>
            </a:extLst>
          </p:cNvPr>
          <p:cNvSpPr/>
          <p:nvPr>
            <p:custDataLst>
              <p:tags r:id="rId52"/>
            </p:custDataLst>
          </p:nvPr>
        </p:nvSpPr>
        <p:spPr bwMode="auto">
          <a:xfrm>
            <a:off x="10288588" y="5172075"/>
            <a:ext cx="107950" cy="107950"/>
          </a:xfrm>
          <a:prstGeom prst="ellipse">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6" name="Oval 55">
            <a:extLst>
              <a:ext uri="{FF2B5EF4-FFF2-40B4-BE49-F238E27FC236}">
                <a16:creationId xmlns:a16="http://schemas.microsoft.com/office/drawing/2014/main" id="{1244B17B-0FF3-0696-C43E-07CBABD873AF}"/>
              </a:ext>
            </a:extLst>
          </p:cNvPr>
          <p:cNvSpPr/>
          <p:nvPr>
            <p:custDataLst>
              <p:tags r:id="rId53"/>
            </p:custDataLst>
          </p:nvPr>
        </p:nvSpPr>
        <p:spPr bwMode="auto">
          <a:xfrm>
            <a:off x="10288588" y="4999038"/>
            <a:ext cx="107950" cy="107950"/>
          </a:xfrm>
          <a:prstGeom prst="ellipse">
            <a:avLst/>
          </a:prstGeom>
          <a:solidFill>
            <a:schemeClr val="hlink"/>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16" name="Text Placeholder 10">
            <a:extLst>
              <a:ext uri="{FF2B5EF4-FFF2-40B4-BE49-F238E27FC236}">
                <a16:creationId xmlns:a16="http://schemas.microsoft.com/office/drawing/2014/main" id="{138A2DE3-80B3-D47A-A17A-6A04C62D1189}"/>
              </a:ext>
            </a:extLst>
          </p:cNvPr>
          <p:cNvSpPr txBox="1">
            <a:spLocks/>
          </p:cNvSpPr>
          <p:nvPr>
            <p:custDataLst>
              <p:tags r:id="rId54"/>
            </p:custDataLst>
          </p:nvPr>
        </p:nvSpPr>
        <p:spPr bwMode="auto">
          <a:xfrm>
            <a:off x="10464800" y="4822825"/>
            <a:ext cx="2555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8D2E34-940C-44C0-A1B6-1783F3C509DA}" type="datetime'O''t''''''''''''''''''h''''''''''''''e''''''''r'''''''''''''">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2" name="Text Placeholder 10">
            <a:extLst>
              <a:ext uri="{FF2B5EF4-FFF2-40B4-BE49-F238E27FC236}">
                <a16:creationId xmlns:a16="http://schemas.microsoft.com/office/drawing/2014/main" id="{FD901EA4-70F0-03B1-B696-B37F0978D22A}"/>
              </a:ext>
            </a:extLst>
          </p:cNvPr>
          <p:cNvSpPr txBox="1">
            <a:spLocks/>
          </p:cNvSpPr>
          <p:nvPr>
            <p:custDataLst>
              <p:tags r:id="rId55"/>
            </p:custDataLst>
          </p:nvPr>
        </p:nvSpPr>
        <p:spPr bwMode="auto">
          <a:xfrm>
            <a:off x="10464800" y="4995863"/>
            <a:ext cx="330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E8DE896-7C67-4DEB-81AC-456807D699EE}" type="datetime'''''E''''''u''''''r''''''''''''''''''''''''o''pe'">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urope</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9" name="Text Placeholder 10">
            <a:extLst>
              <a:ext uri="{FF2B5EF4-FFF2-40B4-BE49-F238E27FC236}">
                <a16:creationId xmlns:a16="http://schemas.microsoft.com/office/drawing/2014/main" id="{07860E7B-369D-A98E-E606-7A79F1045F51}"/>
              </a:ext>
            </a:extLst>
          </p:cNvPr>
          <p:cNvSpPr txBox="1">
            <a:spLocks/>
          </p:cNvSpPr>
          <p:nvPr>
            <p:custDataLst>
              <p:tags r:id="rId56"/>
            </p:custDataLst>
          </p:nvPr>
        </p:nvSpPr>
        <p:spPr bwMode="auto">
          <a:xfrm>
            <a:off x="10464800" y="5341938"/>
            <a:ext cx="1984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8BB8C2B-138F-4EAF-AC0B-288C6549BF27}" type="datetime'''''''''''''''''''''''''''''''''A''s''i''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si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1" name="Text Placeholder 10">
            <a:extLst>
              <a:ext uri="{FF2B5EF4-FFF2-40B4-BE49-F238E27FC236}">
                <a16:creationId xmlns:a16="http://schemas.microsoft.com/office/drawing/2014/main" id="{9B6A801F-5264-FA6E-8786-5B97E36D2559}"/>
              </a:ext>
            </a:extLst>
          </p:cNvPr>
          <p:cNvSpPr txBox="1">
            <a:spLocks/>
          </p:cNvSpPr>
          <p:nvPr>
            <p:custDataLst>
              <p:tags r:id="rId57"/>
            </p:custDataLst>
          </p:nvPr>
        </p:nvSpPr>
        <p:spPr bwMode="auto">
          <a:xfrm>
            <a:off x="10464800" y="5168900"/>
            <a:ext cx="650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F271B4-AED1-459E-A0B4-787DA6578056}" type="datetime'''N''''''''''o''rt''''''''h'''''''''' ''''''Am''er''''ic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orth Americ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grpSp>
        <p:nvGrpSpPr>
          <p:cNvPr id="900" name="Group 899">
            <a:extLst>
              <a:ext uri="{FF2B5EF4-FFF2-40B4-BE49-F238E27FC236}">
                <a16:creationId xmlns:a16="http://schemas.microsoft.com/office/drawing/2014/main" id="{DDE0B4DE-7FF7-BD07-7DBC-626C3B20E350}"/>
              </a:ext>
            </a:extLst>
          </p:cNvPr>
          <p:cNvGrpSpPr/>
          <p:nvPr/>
        </p:nvGrpSpPr>
        <p:grpSpPr>
          <a:xfrm>
            <a:off x="181015" y="1602267"/>
            <a:ext cx="4873585" cy="419654"/>
            <a:chOff x="6081713" y="1382665"/>
            <a:chExt cx="4873585" cy="419654"/>
          </a:xfrm>
        </p:grpSpPr>
        <p:sp>
          <p:nvSpPr>
            <p:cNvPr id="939" name="btfpColumnHeaderBoxText223027">
              <a:extLst>
                <a:ext uri="{FF2B5EF4-FFF2-40B4-BE49-F238E27FC236}">
                  <a16:creationId xmlns:a16="http://schemas.microsoft.com/office/drawing/2014/main" id="{35EA75E8-5ABB-A36F-0D99-7AC8B81BA4D4}"/>
                </a:ext>
              </a:extLst>
            </p:cNvPr>
            <p:cNvSpPr txBox="1"/>
            <p:nvPr/>
          </p:nvSpPr>
          <p:spPr bwMode="gray">
            <a:xfrm>
              <a:off x="6081713" y="1382665"/>
              <a:ext cx="4020634" cy="195886"/>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Arrows indicate changes in policy stance between quadrants</a:t>
              </a:r>
            </a:p>
          </p:txBody>
        </p:sp>
        <p:sp>
          <p:nvSpPr>
            <p:cNvPr id="851" name="Up Arrow 850">
              <a:extLst>
                <a:ext uri="{FF2B5EF4-FFF2-40B4-BE49-F238E27FC236}">
                  <a16:creationId xmlns:a16="http://schemas.microsoft.com/office/drawing/2014/main" id="{20B4E1F6-2357-B4EC-30B3-1D85A2478BB3}"/>
                </a:ext>
              </a:extLst>
            </p:cNvPr>
            <p:cNvSpPr/>
            <p:nvPr/>
          </p:nvSpPr>
          <p:spPr bwMode="gray">
            <a:xfrm>
              <a:off x="6130002" y="1594552"/>
              <a:ext cx="166992" cy="179378"/>
            </a:xfrm>
            <a:prstGeom prst="upArrow">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52" name="Up Arrow 851">
              <a:extLst>
                <a:ext uri="{FF2B5EF4-FFF2-40B4-BE49-F238E27FC236}">
                  <a16:creationId xmlns:a16="http://schemas.microsoft.com/office/drawing/2014/main" id="{00760645-88E7-2BD2-AA5C-2E3531C72937}"/>
                </a:ext>
              </a:extLst>
            </p:cNvPr>
            <p:cNvSpPr/>
            <p:nvPr/>
          </p:nvSpPr>
          <p:spPr bwMode="gray">
            <a:xfrm rot="10800000">
              <a:off x="9262631" y="1614687"/>
              <a:ext cx="166992" cy="179378"/>
            </a:xfrm>
            <a:prstGeom prst="upArrow">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53" name="btfpColumnHeaderBoxText223027">
              <a:extLst>
                <a:ext uri="{FF2B5EF4-FFF2-40B4-BE49-F238E27FC236}">
                  <a16:creationId xmlns:a16="http://schemas.microsoft.com/office/drawing/2014/main" id="{C60687D1-9520-987F-3373-D706913FF8EC}"/>
                </a:ext>
              </a:extLst>
            </p:cNvPr>
            <p:cNvSpPr txBox="1"/>
            <p:nvPr/>
          </p:nvSpPr>
          <p:spPr bwMode="gray">
            <a:xfrm>
              <a:off x="6345283" y="1586298"/>
              <a:ext cx="1128847" cy="195886"/>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hift to increasing </a:t>
              </a:r>
            </a:p>
          </p:txBody>
        </p:sp>
        <p:sp>
          <p:nvSpPr>
            <p:cNvPr id="854" name="btfpColumnHeaderBoxText223027">
              <a:extLst>
                <a:ext uri="{FF2B5EF4-FFF2-40B4-BE49-F238E27FC236}">
                  <a16:creationId xmlns:a16="http://schemas.microsoft.com/office/drawing/2014/main" id="{B56D1ECD-991A-E600-E5A5-CEAF3AE7EC8F}"/>
                </a:ext>
              </a:extLst>
            </p:cNvPr>
            <p:cNvSpPr txBox="1"/>
            <p:nvPr/>
          </p:nvSpPr>
          <p:spPr bwMode="gray">
            <a:xfrm>
              <a:off x="9466968" y="1606433"/>
              <a:ext cx="1488330" cy="195886"/>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hift to phase out</a:t>
              </a:r>
              <a:r>
                <a:rPr lang="en-US" sz="800">
                  <a:solidFill>
                    <a:srgbClr val="000000"/>
                  </a:solidFill>
                  <a:latin typeface="Arial"/>
                </a:rPr>
                <a:t> or </a:t>
              </a:r>
              <a:r>
                <a:rPr kumimoji="0" lang="en-US" sz="800" b="0" i="0" u="none" strike="noStrike" kern="1200" cap="none" spc="0" normalizeH="0" baseline="0" noProof="0">
                  <a:ln>
                    <a:noFill/>
                  </a:ln>
                  <a:solidFill>
                    <a:srgbClr val="000000"/>
                  </a:solidFill>
                  <a:effectLst/>
                  <a:uLnTx/>
                  <a:uFillTx/>
                  <a:latin typeface="Arial"/>
                  <a:ea typeface="+mn-ea"/>
                  <a:cs typeface="+mn-cs"/>
                </a:rPr>
                <a:t>decrease</a:t>
              </a:r>
            </a:p>
          </p:txBody>
        </p:sp>
        <p:sp>
          <p:nvSpPr>
            <p:cNvPr id="897" name="Up Arrow 896">
              <a:extLst>
                <a:ext uri="{FF2B5EF4-FFF2-40B4-BE49-F238E27FC236}">
                  <a16:creationId xmlns:a16="http://schemas.microsoft.com/office/drawing/2014/main" id="{20427FF2-89A6-460B-39F8-65FFCB9E4016}"/>
                </a:ext>
              </a:extLst>
            </p:cNvPr>
            <p:cNvSpPr/>
            <p:nvPr/>
          </p:nvSpPr>
          <p:spPr bwMode="gray">
            <a:xfrm rot="5400000">
              <a:off x="7322188" y="1594552"/>
              <a:ext cx="166992" cy="179378"/>
            </a:xfrm>
            <a:prstGeom prst="upArrow">
              <a:avLst/>
            </a:prstGeom>
            <a:solidFill>
              <a:srgbClr val="FFC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99" name="btfpColumnHeaderBoxText223027">
              <a:extLst>
                <a:ext uri="{FF2B5EF4-FFF2-40B4-BE49-F238E27FC236}">
                  <a16:creationId xmlns:a16="http://schemas.microsoft.com/office/drawing/2014/main" id="{41290EA9-EBF6-01C5-2EAC-C020123FF491}"/>
                </a:ext>
              </a:extLst>
            </p:cNvPr>
            <p:cNvSpPr txBox="1"/>
            <p:nvPr/>
          </p:nvSpPr>
          <p:spPr bwMode="gray">
            <a:xfrm>
              <a:off x="7527540" y="1604757"/>
              <a:ext cx="1731973" cy="195886"/>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Change in the use/unuse of nuclear</a:t>
              </a:r>
            </a:p>
          </p:txBody>
        </p:sp>
      </p:grpSp>
      <p:sp>
        <p:nvSpPr>
          <p:cNvPr id="905" name="Rectangle 904">
            <a:extLst>
              <a:ext uri="{FF2B5EF4-FFF2-40B4-BE49-F238E27FC236}">
                <a16:creationId xmlns:a16="http://schemas.microsoft.com/office/drawing/2014/main" id="{A10BC304-6747-2D17-0AEE-8A262FAE2885}"/>
              </a:ext>
            </a:extLst>
          </p:cNvPr>
          <p:cNvSpPr/>
          <p:nvPr/>
        </p:nvSpPr>
        <p:spPr bwMode="gray">
          <a:xfrm>
            <a:off x="5745163" y="2086482"/>
            <a:ext cx="5483225" cy="19224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906" name="Rectangle 905">
            <a:extLst>
              <a:ext uri="{FF2B5EF4-FFF2-40B4-BE49-F238E27FC236}">
                <a16:creationId xmlns:a16="http://schemas.microsoft.com/office/drawing/2014/main" id="{A7F61FC9-BCFD-E31E-0857-B9B57254F1A7}"/>
              </a:ext>
            </a:extLst>
          </p:cNvPr>
          <p:cNvSpPr/>
          <p:nvPr/>
        </p:nvSpPr>
        <p:spPr bwMode="gray">
          <a:xfrm>
            <a:off x="5745163" y="4016216"/>
            <a:ext cx="5483225" cy="19224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907" name="Rectangle 906">
            <a:extLst>
              <a:ext uri="{FF2B5EF4-FFF2-40B4-BE49-F238E27FC236}">
                <a16:creationId xmlns:a16="http://schemas.microsoft.com/office/drawing/2014/main" id="{2113868D-4F0A-9DFA-1561-4C8048553BC7}"/>
              </a:ext>
            </a:extLst>
          </p:cNvPr>
          <p:cNvSpPr/>
          <p:nvPr/>
        </p:nvSpPr>
        <p:spPr bwMode="gray">
          <a:xfrm>
            <a:off x="258763" y="4016216"/>
            <a:ext cx="5481638" cy="19224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grpSp>
        <p:nvGrpSpPr>
          <p:cNvPr id="80" name="Group 79">
            <a:extLst>
              <a:ext uri="{FF2B5EF4-FFF2-40B4-BE49-F238E27FC236}">
                <a16:creationId xmlns:a16="http://schemas.microsoft.com/office/drawing/2014/main" id="{329C4447-549F-D380-417A-6AB5FBE3B5B6}"/>
              </a:ext>
            </a:extLst>
          </p:cNvPr>
          <p:cNvGrpSpPr/>
          <p:nvPr/>
        </p:nvGrpSpPr>
        <p:grpSpPr>
          <a:xfrm>
            <a:off x="146759" y="1773710"/>
            <a:ext cx="11207750" cy="4440500"/>
            <a:chOff x="832621" y="1691318"/>
            <a:chExt cx="10683481" cy="4824348"/>
          </a:xfrm>
        </p:grpSpPr>
        <p:cxnSp>
          <p:nvCxnSpPr>
            <p:cNvPr id="81" name="Straight Arrow Connector 80">
              <a:extLst>
                <a:ext uri="{FF2B5EF4-FFF2-40B4-BE49-F238E27FC236}">
                  <a16:creationId xmlns:a16="http://schemas.microsoft.com/office/drawing/2014/main" id="{EBF4AA4E-B42A-E017-D84A-86D428C75140}"/>
                </a:ext>
              </a:extLst>
            </p:cNvPr>
            <p:cNvCxnSpPr>
              <a:cxnSpLocks/>
            </p:cNvCxnSpPr>
            <p:nvPr/>
          </p:nvCxnSpPr>
          <p:spPr bwMode="gray">
            <a:xfrm flipV="1">
              <a:off x="6156601" y="1691318"/>
              <a:ext cx="0" cy="4824348"/>
            </a:xfrm>
            <a:prstGeom prst="straightConnector1">
              <a:avLst/>
            </a:prstGeom>
            <a:ln w="38100"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5507AE94-0952-19FE-E699-63B70DA8A463}"/>
                </a:ext>
              </a:extLst>
            </p:cNvPr>
            <p:cNvSpPr txBox="1"/>
            <p:nvPr/>
          </p:nvSpPr>
          <p:spPr bwMode="gray">
            <a:xfrm rot="16200000">
              <a:off x="5195547" y="5114870"/>
              <a:ext cx="1604680" cy="27441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Future policy</a:t>
              </a:r>
            </a:p>
          </p:txBody>
        </p:sp>
        <p:cxnSp>
          <p:nvCxnSpPr>
            <p:cNvPr id="83" name="Straight Arrow Connector 82">
              <a:extLst>
                <a:ext uri="{FF2B5EF4-FFF2-40B4-BE49-F238E27FC236}">
                  <a16:creationId xmlns:a16="http://schemas.microsoft.com/office/drawing/2014/main" id="{14ACE241-11FE-51A0-185F-7D4EC170E436}"/>
                </a:ext>
              </a:extLst>
            </p:cNvPr>
            <p:cNvCxnSpPr>
              <a:cxnSpLocks/>
            </p:cNvCxnSpPr>
            <p:nvPr/>
          </p:nvCxnSpPr>
          <p:spPr bwMode="gray">
            <a:xfrm>
              <a:off x="832621" y="4099367"/>
              <a:ext cx="10683481" cy="26687"/>
            </a:xfrm>
            <a:prstGeom prst="straightConnector1">
              <a:avLst/>
            </a:prstGeom>
            <a:ln w="38100"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2D338C17-4988-7E94-8929-19522B5A1415}"/>
                </a:ext>
              </a:extLst>
            </p:cNvPr>
            <p:cNvSpPr txBox="1"/>
            <p:nvPr/>
          </p:nvSpPr>
          <p:spPr bwMode="gray">
            <a:xfrm>
              <a:off x="4886768" y="3803832"/>
              <a:ext cx="1255509" cy="315083"/>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urrent policy</a:t>
              </a:r>
            </a:p>
          </p:txBody>
        </p:sp>
        <p:sp>
          <p:nvSpPr>
            <p:cNvPr id="85" name="TextBox 84">
              <a:extLst>
                <a:ext uri="{FF2B5EF4-FFF2-40B4-BE49-F238E27FC236}">
                  <a16:creationId xmlns:a16="http://schemas.microsoft.com/office/drawing/2014/main" id="{765D8581-1B75-2C6B-1637-6AFF87536189}"/>
                </a:ext>
              </a:extLst>
            </p:cNvPr>
            <p:cNvSpPr txBox="1"/>
            <p:nvPr/>
          </p:nvSpPr>
          <p:spPr bwMode="gray">
            <a:xfrm>
              <a:off x="5499387" y="1728540"/>
              <a:ext cx="553515" cy="26460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9BDB"/>
                  </a:solidFill>
                  <a:effectLst/>
                  <a:uLnTx/>
                  <a:uFillTx/>
                  <a:latin typeface="Arial"/>
                  <a:ea typeface="+mn-ea"/>
                  <a:cs typeface="+mn-cs"/>
                </a:rPr>
                <a:t>Expand</a:t>
              </a:r>
            </a:p>
          </p:txBody>
        </p:sp>
        <p:sp>
          <p:nvSpPr>
            <p:cNvPr id="86" name="TextBox 85">
              <a:extLst>
                <a:ext uri="{FF2B5EF4-FFF2-40B4-BE49-F238E27FC236}">
                  <a16:creationId xmlns:a16="http://schemas.microsoft.com/office/drawing/2014/main" id="{EDAC2D48-CE7E-CDD8-B2B4-A89318AABF82}"/>
                </a:ext>
              </a:extLst>
            </p:cNvPr>
            <p:cNvSpPr txBox="1"/>
            <p:nvPr/>
          </p:nvSpPr>
          <p:spPr bwMode="gray">
            <a:xfrm>
              <a:off x="4602593" y="6230191"/>
              <a:ext cx="1540181" cy="26460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9BDB"/>
                  </a:solidFill>
                  <a:effectLst/>
                  <a:uLnTx/>
                  <a:uFillTx/>
                  <a:latin typeface="Arial"/>
                  <a:ea typeface="+mn-ea"/>
                  <a:cs typeface="+mn-cs"/>
                </a:rPr>
                <a:t>Phase out</a:t>
              </a:r>
              <a:r>
                <a:rPr lang="en-US" sz="1100" b="1">
                  <a:solidFill>
                    <a:srgbClr val="009BDB"/>
                  </a:solidFill>
                  <a:latin typeface="Arial"/>
                </a:rPr>
                <a:t> or d</a:t>
              </a:r>
              <a:r>
                <a:rPr kumimoji="0" lang="en-US" sz="1100" b="1" i="0" u="none" strike="noStrike" kern="1200" cap="none" spc="0" normalizeH="0" baseline="0" noProof="0" err="1">
                  <a:ln>
                    <a:noFill/>
                  </a:ln>
                  <a:solidFill>
                    <a:srgbClr val="009BDB"/>
                  </a:solidFill>
                  <a:effectLst/>
                  <a:uLnTx/>
                  <a:uFillTx/>
                  <a:latin typeface="Arial"/>
                  <a:ea typeface="+mn-ea"/>
                  <a:cs typeface="+mn-cs"/>
                </a:rPr>
                <a:t>ecrease</a:t>
              </a:r>
              <a:endParaRPr kumimoji="0" lang="en-US" sz="1100" b="1" i="0" u="none" strike="noStrike" kern="1200" cap="none" spc="0" normalizeH="0" baseline="0" noProof="0">
                <a:ln>
                  <a:noFill/>
                </a:ln>
                <a:solidFill>
                  <a:srgbClr val="009BDB"/>
                </a:solidFill>
                <a:effectLst/>
                <a:uLnTx/>
                <a:uFillTx/>
                <a:latin typeface="Arial"/>
                <a:ea typeface="+mn-ea"/>
                <a:cs typeface="+mn-cs"/>
              </a:endParaRPr>
            </a:p>
          </p:txBody>
        </p:sp>
        <p:sp>
          <p:nvSpPr>
            <p:cNvPr id="87" name="TextBox 86">
              <a:extLst>
                <a:ext uri="{FF2B5EF4-FFF2-40B4-BE49-F238E27FC236}">
                  <a16:creationId xmlns:a16="http://schemas.microsoft.com/office/drawing/2014/main" id="{CCC12FD1-FCB6-1E54-E935-B010791BAEDF}"/>
                </a:ext>
              </a:extLst>
            </p:cNvPr>
            <p:cNvSpPr txBox="1"/>
            <p:nvPr/>
          </p:nvSpPr>
          <p:spPr bwMode="gray">
            <a:xfrm>
              <a:off x="1018976" y="4180072"/>
              <a:ext cx="1624757" cy="26460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9BDB"/>
                  </a:solidFill>
                  <a:effectLst/>
                  <a:uLnTx/>
                  <a:uFillTx/>
                  <a:latin typeface="Arial"/>
                  <a:ea typeface="+mn-ea"/>
                  <a:cs typeface="+mn-cs"/>
                </a:rPr>
                <a:t>Without nuclear</a:t>
              </a:r>
            </a:p>
          </p:txBody>
        </p:sp>
        <p:sp>
          <p:nvSpPr>
            <p:cNvPr id="88" name="TextBox 87">
              <a:extLst>
                <a:ext uri="{FF2B5EF4-FFF2-40B4-BE49-F238E27FC236}">
                  <a16:creationId xmlns:a16="http://schemas.microsoft.com/office/drawing/2014/main" id="{0FA91AA0-6235-803C-D36A-95B55AB61C46}"/>
                </a:ext>
              </a:extLst>
            </p:cNvPr>
            <p:cNvSpPr txBox="1"/>
            <p:nvPr/>
          </p:nvSpPr>
          <p:spPr bwMode="gray">
            <a:xfrm>
              <a:off x="10416053" y="4180072"/>
              <a:ext cx="1043784" cy="26460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9BDB"/>
                  </a:solidFill>
                  <a:effectLst/>
                  <a:uLnTx/>
                  <a:uFillTx/>
                  <a:latin typeface="Arial"/>
                  <a:ea typeface="+mn-ea"/>
                  <a:cs typeface="+mn-cs"/>
                </a:rPr>
                <a:t>With nuclear</a:t>
              </a:r>
            </a:p>
          </p:txBody>
        </p:sp>
      </p:grpSp>
      <p:grpSp>
        <p:nvGrpSpPr>
          <p:cNvPr id="73" name="Group 72">
            <a:extLst>
              <a:ext uri="{FF2B5EF4-FFF2-40B4-BE49-F238E27FC236}">
                <a16:creationId xmlns:a16="http://schemas.microsoft.com/office/drawing/2014/main" id="{18558603-19FF-972C-6409-EE09E7441286}"/>
              </a:ext>
            </a:extLst>
          </p:cNvPr>
          <p:cNvGrpSpPr/>
          <p:nvPr/>
        </p:nvGrpSpPr>
        <p:grpSpPr>
          <a:xfrm>
            <a:off x="9455432" y="1602394"/>
            <a:ext cx="2174961" cy="397681"/>
            <a:chOff x="10254977" y="1564593"/>
            <a:chExt cx="2174961" cy="397681"/>
          </a:xfrm>
        </p:grpSpPr>
        <p:sp>
          <p:nvSpPr>
            <p:cNvPr id="5" name="Oval 4">
              <a:extLst>
                <a:ext uri="{FF2B5EF4-FFF2-40B4-BE49-F238E27FC236}">
                  <a16:creationId xmlns:a16="http://schemas.microsoft.com/office/drawing/2014/main" id="{FCB3858D-C5D8-1432-D5A2-0FC0794B9666}"/>
                </a:ext>
              </a:extLst>
            </p:cNvPr>
            <p:cNvSpPr>
              <a:spLocks noChangeAspect="1"/>
            </p:cNvSpPr>
            <p:nvPr/>
          </p:nvSpPr>
          <p:spPr bwMode="gray">
            <a:xfrm>
              <a:off x="10384450" y="1774331"/>
              <a:ext cx="187943" cy="187943"/>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 name="btfpColumnHeaderBoxText223027">
              <a:extLst>
                <a:ext uri="{FF2B5EF4-FFF2-40B4-BE49-F238E27FC236}">
                  <a16:creationId xmlns:a16="http://schemas.microsoft.com/office/drawing/2014/main" id="{09D7FF45-E898-8011-973E-17AB4CA0DE39}"/>
                </a:ext>
              </a:extLst>
            </p:cNvPr>
            <p:cNvSpPr txBox="1"/>
            <p:nvPr/>
          </p:nvSpPr>
          <p:spPr bwMode="gray">
            <a:xfrm>
              <a:off x="10623821" y="1761149"/>
              <a:ext cx="1806117" cy="195886"/>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Number of operating reactors in 2024</a:t>
              </a:r>
            </a:p>
          </p:txBody>
        </p:sp>
        <p:sp>
          <p:nvSpPr>
            <p:cNvPr id="919" name="btfpColumnHeaderBoxText223027">
              <a:extLst>
                <a:ext uri="{FF2B5EF4-FFF2-40B4-BE49-F238E27FC236}">
                  <a16:creationId xmlns:a16="http://schemas.microsoft.com/office/drawing/2014/main" id="{DA56443E-56F5-A2D8-1A93-8B5DE54F4949}"/>
                </a:ext>
              </a:extLst>
            </p:cNvPr>
            <p:cNvSpPr txBox="1"/>
            <p:nvPr/>
          </p:nvSpPr>
          <p:spPr bwMode="gray">
            <a:xfrm>
              <a:off x="10254977" y="1564593"/>
              <a:ext cx="1806117" cy="195886"/>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Bubble size</a:t>
              </a:r>
            </a:p>
          </p:txBody>
        </p:sp>
      </p:grpSp>
      <p:sp>
        <p:nvSpPr>
          <p:cNvPr id="99" name="btfpColumnHeaderBoxText223027">
            <a:extLst>
              <a:ext uri="{FF2B5EF4-FFF2-40B4-BE49-F238E27FC236}">
                <a16:creationId xmlns:a16="http://schemas.microsoft.com/office/drawing/2014/main" id="{1CBF2376-2602-B1D0-DE41-813CE6963168}"/>
              </a:ext>
            </a:extLst>
          </p:cNvPr>
          <p:cNvSpPr txBox="1"/>
          <p:nvPr/>
        </p:nvSpPr>
        <p:spPr bwMode="gray">
          <a:xfrm>
            <a:off x="6846888" y="4144508"/>
            <a:ext cx="3382963" cy="442108"/>
          </a:xfrm>
          <a:prstGeom prst="rect">
            <a:avLst/>
          </a:prstGeom>
          <a:noFill/>
        </p:spPr>
        <p:txBody>
          <a:bodyPr vert="horz" wrap="square" lIns="36036" tIns="36036" rIns="36036" bIns="36036" rtlCol="0" anchor="b">
            <a:spAutoFit/>
          </a:bodyPr>
          <a:lstStyle/>
          <a:p>
            <a:pPr marL="50800" marR="0" lvl="0" indent="-5080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In February 2025, the Spanish Congress approved reversing the nuclear policy it introduced in 2019, which had planned to close all plants by 2035.</a:t>
            </a:r>
          </a:p>
        </p:txBody>
      </p:sp>
      <p:sp>
        <p:nvSpPr>
          <p:cNvPr id="4" name="U-Turn Arrow 3">
            <a:extLst>
              <a:ext uri="{FF2B5EF4-FFF2-40B4-BE49-F238E27FC236}">
                <a16:creationId xmlns:a16="http://schemas.microsoft.com/office/drawing/2014/main" id="{1D885085-673D-EE97-FE2D-0E09CF561E90}"/>
              </a:ext>
            </a:extLst>
          </p:cNvPr>
          <p:cNvSpPr/>
          <p:nvPr/>
        </p:nvSpPr>
        <p:spPr bwMode="gray">
          <a:xfrm rot="10800000">
            <a:off x="6407150" y="4160838"/>
            <a:ext cx="141288" cy="163913"/>
          </a:xfrm>
          <a:prstGeom prst="uturnArrow">
            <a:avLst>
              <a:gd name="adj1" fmla="val 25000"/>
              <a:gd name="adj2" fmla="val 25000"/>
              <a:gd name="adj3" fmla="val 25000"/>
              <a:gd name="adj4" fmla="val 43750"/>
              <a:gd name="adj5" fmla="val 100000"/>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942" name="btfpColumnHeaderBoxText223027">
            <a:extLst>
              <a:ext uri="{FF2B5EF4-FFF2-40B4-BE49-F238E27FC236}">
                <a16:creationId xmlns:a16="http://schemas.microsoft.com/office/drawing/2014/main" id="{2BD7D6F1-7186-ADEF-95DE-0631F7B26403}"/>
              </a:ext>
            </a:extLst>
          </p:cNvPr>
          <p:cNvSpPr txBox="1"/>
          <p:nvPr/>
        </p:nvSpPr>
        <p:spPr bwMode="gray">
          <a:xfrm>
            <a:off x="774700" y="4502632"/>
            <a:ext cx="4371975" cy="318997"/>
          </a:xfrm>
          <a:prstGeom prst="rect">
            <a:avLst/>
          </a:prstGeom>
          <a:noFill/>
        </p:spPr>
        <p:txBody>
          <a:bodyPr vert="horz" wrap="square" lIns="36036" tIns="36036" rIns="36036" bIns="36036" rtlCol="0" anchor="b">
            <a:spAutoFit/>
          </a:bodyPr>
          <a:lstStyle/>
          <a:p>
            <a:pPr marL="44450" marR="0" lvl="0" indent="-444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Germany: </a:t>
            </a:r>
            <a:r>
              <a:rPr kumimoji="0" lang="en-US" sz="800" b="0" i="0" u="none" strike="noStrike" kern="1200" cap="none" spc="0" normalizeH="0" baseline="0" noProof="0">
                <a:ln>
                  <a:noFill/>
                </a:ln>
                <a:solidFill>
                  <a:srgbClr val="000000"/>
                </a:solidFill>
                <a:effectLst/>
                <a:uLnTx/>
                <a:uFillTx/>
                <a:latin typeface="Arial"/>
                <a:ea typeface="+mn-ea"/>
                <a:cs typeface="Arial"/>
              </a:rPr>
              <a:t>All nuclear plants were shut down in 2023, but </a:t>
            </a:r>
            <a:r>
              <a:rPr lang="en-US" sz="800">
                <a:latin typeface="Arial"/>
                <a:cs typeface="Arial"/>
              </a:rPr>
              <a:t>the country has reversed its policy and no longer opposes EU initiatives in support of nuclear energy.</a:t>
            </a:r>
            <a:endParaRPr kumimoji="0" lang="en-US" sz="800" b="0" i="0" u="none" strike="noStrike" kern="1200" cap="none" spc="0" normalizeH="0" baseline="0" noProof="0">
              <a:ln>
                <a:noFill/>
              </a:ln>
              <a:effectLst/>
              <a:uLnTx/>
              <a:uFillTx/>
              <a:latin typeface="Arial"/>
              <a:ea typeface="+mn-ea"/>
              <a:cs typeface="+mn-cs"/>
            </a:endParaRPr>
          </a:p>
        </p:txBody>
      </p:sp>
      <p:sp>
        <p:nvSpPr>
          <p:cNvPr id="457" name="btfpColumnHeaderBoxText223027">
            <a:extLst>
              <a:ext uri="{FF2B5EF4-FFF2-40B4-BE49-F238E27FC236}">
                <a16:creationId xmlns:a16="http://schemas.microsoft.com/office/drawing/2014/main" id="{6C02C43D-CDF1-F6C6-A1D5-597BFFB245BB}"/>
              </a:ext>
            </a:extLst>
          </p:cNvPr>
          <p:cNvSpPr txBox="1"/>
          <p:nvPr/>
        </p:nvSpPr>
        <p:spPr bwMode="gray">
          <a:xfrm>
            <a:off x="10104438" y="3410617"/>
            <a:ext cx="1098550" cy="442108"/>
          </a:xfrm>
          <a:prstGeom prst="rect">
            <a:avLst/>
          </a:prstGeom>
          <a:noFill/>
        </p:spPr>
        <p:txBody>
          <a:bodyPr vert="horz" wrap="square" lIns="36036" tIns="36036" rIns="36036" bIns="36036" rtlCol="0" anchor="b">
            <a:spAutoFit/>
          </a:bodyPr>
          <a:lstStyle/>
          <a:p>
            <a:pPr marL="90488" marR="0" lvl="0" indent="-90488"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Arial"/>
              </a:rPr>
              <a:t>Its first nuclear plant started operation in 2021. </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65" name="btfpColumnHeaderBoxText223027">
            <a:extLst>
              <a:ext uri="{FF2B5EF4-FFF2-40B4-BE49-F238E27FC236}">
                <a16:creationId xmlns:a16="http://schemas.microsoft.com/office/drawing/2014/main" id="{F40D4868-BD44-8F4F-1332-33BCC9D41F9D}"/>
              </a:ext>
            </a:extLst>
          </p:cNvPr>
          <p:cNvSpPr txBox="1"/>
          <p:nvPr/>
        </p:nvSpPr>
        <p:spPr bwMode="gray">
          <a:xfrm>
            <a:off x="6249988" y="2465292"/>
            <a:ext cx="1646238" cy="811440"/>
          </a:xfrm>
          <a:prstGeom prst="rect">
            <a:avLst/>
          </a:prstGeom>
          <a:noFill/>
        </p:spPr>
        <p:txBody>
          <a:bodyPr vert="horz" wrap="square" lIns="36036" tIns="36036" rIns="36036" bIns="36036" rtlCol="0" anchor="b">
            <a:spAutoFit/>
          </a:bodyPr>
          <a:lstStyle/>
          <a:p>
            <a:pPr marL="44450" marR="0" lvl="0" indent="-444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1" i="0" u="none" strike="noStrike" kern="1200" cap="none" spc="0" normalizeH="0" baseline="0" noProof="0">
                <a:ln>
                  <a:noFill/>
                </a:ln>
                <a:solidFill>
                  <a:srgbClr val="000000"/>
                </a:solidFill>
                <a:effectLst/>
                <a:uLnTx/>
                <a:uFillTx/>
                <a:latin typeface="Arial"/>
                <a:ea typeface="+mn-ea"/>
                <a:cs typeface="Arial"/>
              </a:rPr>
              <a:t>All nuclear plants shut down </a:t>
            </a:r>
            <a:r>
              <a:rPr kumimoji="0" lang="en-US" sz="800" b="0" i="0" u="none" strike="noStrike" kern="1200" cap="none" spc="0" normalizeH="0" baseline="0" noProof="0">
                <a:ln>
                  <a:noFill/>
                </a:ln>
                <a:solidFill>
                  <a:srgbClr val="000000"/>
                </a:solidFill>
                <a:effectLst/>
                <a:uLnTx/>
                <a:uFillTx/>
                <a:latin typeface="Arial"/>
                <a:ea typeface="+mn-ea"/>
                <a:cs typeface="Arial"/>
              </a:rPr>
              <a:t>after the Fukushima accident in March 2011, but the government </a:t>
            </a:r>
            <a:r>
              <a:rPr kumimoji="0" lang="en-US" sz="800" b="1" i="0" u="none" strike="noStrike" kern="1200" cap="none" spc="0" normalizeH="0" baseline="0" noProof="0">
                <a:ln>
                  <a:noFill/>
                </a:ln>
                <a:solidFill>
                  <a:srgbClr val="000000"/>
                </a:solidFill>
                <a:effectLst/>
                <a:uLnTx/>
                <a:uFillTx/>
                <a:latin typeface="Arial"/>
                <a:ea typeface="+mn-ea"/>
                <a:cs typeface="Arial"/>
              </a:rPr>
              <a:t>aims to increase nuclear reliance.</a:t>
            </a:r>
            <a:r>
              <a:rPr kumimoji="0" lang="en-US" sz="800" b="0" i="0" u="none" strike="noStrike" kern="1200" cap="none" spc="0" normalizeH="0" baseline="0" noProof="0">
                <a:ln>
                  <a:noFill/>
                </a:ln>
                <a:solidFill>
                  <a:srgbClr val="000000"/>
                </a:solidFill>
                <a:effectLst/>
                <a:uLnTx/>
                <a:uFillTx/>
                <a:latin typeface="Arial"/>
                <a:ea typeface="+mn-ea"/>
                <a:cs typeface="Arial"/>
              </a:rPr>
              <a:t> </a:t>
            </a:r>
          </a:p>
          <a:p>
            <a:pPr marL="90488" marR="0" lvl="0" indent="-90488"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78" name="btfpColumnHeaderBoxText223027">
            <a:extLst>
              <a:ext uri="{FF2B5EF4-FFF2-40B4-BE49-F238E27FC236}">
                <a16:creationId xmlns:a16="http://schemas.microsoft.com/office/drawing/2014/main" id="{973BE11F-4508-ADE5-AC54-0E16EDD26387}"/>
              </a:ext>
            </a:extLst>
          </p:cNvPr>
          <p:cNvSpPr txBox="1"/>
          <p:nvPr/>
        </p:nvSpPr>
        <p:spPr bwMode="gray">
          <a:xfrm>
            <a:off x="674688" y="2572811"/>
            <a:ext cx="4748213" cy="37029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taly: </a:t>
            </a:r>
            <a:r>
              <a:rPr kumimoji="0" lang="en-US" sz="800" b="1" i="0" u="none" strike="noStrike" kern="1200" cap="none" spc="0" normalizeH="0" baseline="0" noProof="0">
                <a:ln>
                  <a:noFill/>
                </a:ln>
                <a:solidFill>
                  <a:srgbClr val="000000"/>
                </a:solidFill>
                <a:effectLst/>
                <a:uLnTx/>
                <a:uFillTx/>
                <a:latin typeface="Arial"/>
                <a:ea typeface="+mn-ea"/>
                <a:cs typeface="Arial"/>
              </a:rPr>
              <a:t>The phaseout stance </a:t>
            </a:r>
            <a:r>
              <a:rPr kumimoji="0" lang="en-US" sz="800" b="0" i="0" u="none" strike="noStrike" kern="1200" cap="none" spc="0" normalizeH="0" baseline="0" noProof="0">
                <a:ln>
                  <a:noFill/>
                </a:ln>
                <a:solidFill>
                  <a:srgbClr val="000000"/>
                </a:solidFill>
                <a:effectLst/>
                <a:uLnTx/>
                <a:uFillTx/>
                <a:latin typeface="Arial"/>
                <a:ea typeface="+mn-ea"/>
                <a:cs typeface="Arial"/>
              </a:rPr>
              <a:t>decided following </a:t>
            </a:r>
            <a:r>
              <a:rPr lang="en-US" sz="800">
                <a:solidFill>
                  <a:srgbClr val="000000"/>
                </a:solidFill>
                <a:latin typeface="Arial"/>
                <a:cs typeface="Arial"/>
              </a:rPr>
              <a:t>a</a:t>
            </a:r>
            <a:r>
              <a:rPr kumimoji="0" lang="en-US" sz="800" b="0" i="0" u="none" strike="noStrike" kern="1200" cap="none" spc="0" normalizeH="0" baseline="0" noProof="0">
                <a:ln>
                  <a:noFill/>
                </a:ln>
                <a:solidFill>
                  <a:srgbClr val="000000"/>
                </a:solidFill>
                <a:effectLst/>
                <a:uLnTx/>
                <a:uFillTx/>
                <a:latin typeface="Arial"/>
                <a:ea typeface="+mn-ea"/>
                <a:cs typeface="Arial"/>
              </a:rPr>
              <a:t> referendum in </a:t>
            </a:r>
            <a:r>
              <a:rPr kumimoji="0" lang="en-US" sz="800" b="1" i="0" u="none" strike="noStrike" kern="1200" cap="none" spc="0" normalizeH="0" baseline="0" noProof="0">
                <a:ln>
                  <a:noFill/>
                </a:ln>
                <a:solidFill>
                  <a:srgbClr val="000000"/>
                </a:solidFill>
                <a:effectLst/>
                <a:uLnTx/>
                <a:uFillTx/>
                <a:latin typeface="Arial"/>
                <a:ea typeface="+mn-ea"/>
                <a:cs typeface="Arial"/>
              </a:rPr>
              <a:t>1987 was reversed in March 2025.</a:t>
            </a:r>
          </a:p>
          <a:p>
            <a:pPr marL="90488" marR="0" lvl="0" indent="-90488"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79" name="TextBox 478">
            <a:extLst>
              <a:ext uri="{FF2B5EF4-FFF2-40B4-BE49-F238E27FC236}">
                <a16:creationId xmlns:a16="http://schemas.microsoft.com/office/drawing/2014/main" id="{4DBA181A-1341-A43C-B010-17D08F5DB175}"/>
              </a:ext>
            </a:extLst>
          </p:cNvPr>
          <p:cNvSpPr txBox="1"/>
          <p:nvPr/>
        </p:nvSpPr>
        <p:spPr bwMode="gray">
          <a:xfrm>
            <a:off x="2217738" y="2834516"/>
            <a:ext cx="1057275" cy="992836"/>
          </a:xfrm>
          <a:prstGeom prst="rect">
            <a:avLst/>
          </a:prstGeom>
          <a:noFill/>
          <a:ln>
            <a:noFill/>
          </a:ln>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Nigeria</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Philippin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Poland</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Rwanda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audi Arabia</a:t>
            </a:r>
          </a:p>
        </p:txBody>
      </p:sp>
      <p:sp>
        <p:nvSpPr>
          <p:cNvPr id="480" name="Up Arrow 479">
            <a:extLst>
              <a:ext uri="{FF2B5EF4-FFF2-40B4-BE49-F238E27FC236}">
                <a16:creationId xmlns:a16="http://schemas.microsoft.com/office/drawing/2014/main" id="{0B3D72F3-3B4E-A70C-9623-E408F251B6F5}"/>
              </a:ext>
            </a:extLst>
          </p:cNvPr>
          <p:cNvSpPr/>
          <p:nvPr/>
        </p:nvSpPr>
        <p:spPr bwMode="gray">
          <a:xfrm>
            <a:off x="6178550" y="4686686"/>
            <a:ext cx="166688" cy="179378"/>
          </a:xfrm>
          <a:prstGeom prst="upArrow">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4" name="Up Arrow 73">
            <a:extLst>
              <a:ext uri="{FF2B5EF4-FFF2-40B4-BE49-F238E27FC236}">
                <a16:creationId xmlns:a16="http://schemas.microsoft.com/office/drawing/2014/main" id="{03FD5928-69D4-AC95-F31A-E5ECD26040D0}"/>
              </a:ext>
            </a:extLst>
          </p:cNvPr>
          <p:cNvSpPr/>
          <p:nvPr/>
        </p:nvSpPr>
        <p:spPr bwMode="gray">
          <a:xfrm>
            <a:off x="5983034" y="1813970"/>
            <a:ext cx="166688" cy="179378"/>
          </a:xfrm>
          <a:prstGeom prst="upArrow">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9" name="btfpColumnHeaderBoxText223027">
            <a:extLst>
              <a:ext uri="{FF2B5EF4-FFF2-40B4-BE49-F238E27FC236}">
                <a16:creationId xmlns:a16="http://schemas.microsoft.com/office/drawing/2014/main" id="{C2C0F283-6901-60C6-8C3B-0AEA7A379FD2}"/>
              </a:ext>
            </a:extLst>
          </p:cNvPr>
          <p:cNvSpPr txBox="1"/>
          <p:nvPr/>
        </p:nvSpPr>
        <p:spPr bwMode="gray">
          <a:xfrm>
            <a:off x="6165025" y="1805716"/>
            <a:ext cx="1128713" cy="195886"/>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Possible increase </a:t>
            </a:r>
          </a:p>
        </p:txBody>
      </p:sp>
      <p:sp>
        <p:nvSpPr>
          <p:cNvPr id="984" name="Up Arrow 983">
            <a:extLst>
              <a:ext uri="{FF2B5EF4-FFF2-40B4-BE49-F238E27FC236}">
                <a16:creationId xmlns:a16="http://schemas.microsoft.com/office/drawing/2014/main" id="{2401A87C-DB46-A7BB-FD86-E0B1FCE250CB}"/>
              </a:ext>
            </a:extLst>
          </p:cNvPr>
          <p:cNvSpPr/>
          <p:nvPr/>
        </p:nvSpPr>
        <p:spPr bwMode="gray">
          <a:xfrm>
            <a:off x="519113" y="4400201"/>
            <a:ext cx="166688" cy="179378"/>
          </a:xfrm>
          <a:prstGeom prst="upArrow">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986" name="Up Arrow 985">
            <a:extLst>
              <a:ext uri="{FF2B5EF4-FFF2-40B4-BE49-F238E27FC236}">
                <a16:creationId xmlns:a16="http://schemas.microsoft.com/office/drawing/2014/main" id="{BB3687E5-1D7D-D14D-26B9-381BEC038C1F}"/>
              </a:ext>
            </a:extLst>
          </p:cNvPr>
          <p:cNvSpPr/>
          <p:nvPr/>
        </p:nvSpPr>
        <p:spPr bwMode="gray">
          <a:xfrm>
            <a:off x="7143750" y="3224217"/>
            <a:ext cx="166688" cy="179378"/>
          </a:xfrm>
          <a:prstGeom prst="upArrow">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00" name="Up Arrow 999">
            <a:extLst>
              <a:ext uri="{FF2B5EF4-FFF2-40B4-BE49-F238E27FC236}">
                <a16:creationId xmlns:a16="http://schemas.microsoft.com/office/drawing/2014/main" id="{902CAE0D-8B82-C9C9-1989-724B9F43CDCD}"/>
              </a:ext>
            </a:extLst>
          </p:cNvPr>
          <p:cNvSpPr/>
          <p:nvPr/>
        </p:nvSpPr>
        <p:spPr bwMode="gray">
          <a:xfrm rot="5400000">
            <a:off x="9618663" y="3476625"/>
            <a:ext cx="166688" cy="179378"/>
          </a:xfrm>
          <a:prstGeom prst="upArrow">
            <a:avLst/>
          </a:prstGeom>
          <a:solidFill>
            <a:srgbClr val="FFC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0" name="U-Turn Arrow 19">
            <a:extLst>
              <a:ext uri="{FF2B5EF4-FFF2-40B4-BE49-F238E27FC236}">
                <a16:creationId xmlns:a16="http://schemas.microsoft.com/office/drawing/2014/main" id="{A7E647C6-F4F6-CA40-9876-39F899EEAF46}"/>
              </a:ext>
            </a:extLst>
          </p:cNvPr>
          <p:cNvSpPr/>
          <p:nvPr/>
        </p:nvSpPr>
        <p:spPr bwMode="gray">
          <a:xfrm rot="10800000">
            <a:off x="7163562" y="1822450"/>
            <a:ext cx="141288" cy="163913"/>
          </a:xfrm>
          <a:prstGeom prst="uturnArrow">
            <a:avLst>
              <a:gd name="adj1" fmla="val 25000"/>
              <a:gd name="adj2" fmla="val 25000"/>
              <a:gd name="adj3" fmla="val 25000"/>
              <a:gd name="adj4" fmla="val 43750"/>
              <a:gd name="adj5" fmla="val 100000"/>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 name="btfpColumnHeaderBoxText223027">
            <a:extLst>
              <a:ext uri="{FF2B5EF4-FFF2-40B4-BE49-F238E27FC236}">
                <a16:creationId xmlns:a16="http://schemas.microsoft.com/office/drawing/2014/main" id="{CB2FC8ED-27BC-0EF0-182A-F09B2AE2D7E4}"/>
              </a:ext>
            </a:extLst>
          </p:cNvPr>
          <p:cNvSpPr txBox="1"/>
          <p:nvPr/>
        </p:nvSpPr>
        <p:spPr bwMode="gray">
          <a:xfrm>
            <a:off x="7360412" y="1805716"/>
            <a:ext cx="2030413" cy="195886"/>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Multiple changes in stance in</a:t>
            </a:r>
            <a:r>
              <a:rPr lang="en-US" sz="800">
                <a:solidFill>
                  <a:srgbClr val="000000"/>
                </a:solidFill>
                <a:latin typeface="Arial"/>
              </a:rPr>
              <a:t> past</a:t>
            </a:r>
            <a:r>
              <a:rPr kumimoji="0" lang="en-US" sz="800" b="0" i="0" u="none" strike="noStrike" kern="1200" cap="none" spc="0" normalizeH="0" baseline="0" noProof="0">
                <a:ln>
                  <a:noFill/>
                </a:ln>
                <a:solidFill>
                  <a:srgbClr val="000000"/>
                </a:solidFill>
                <a:effectLst/>
                <a:uLnTx/>
                <a:uFillTx/>
                <a:latin typeface="Arial"/>
                <a:ea typeface="+mn-ea"/>
                <a:cs typeface="+mn-cs"/>
              </a:rPr>
              <a:t> 10 years </a:t>
            </a:r>
          </a:p>
        </p:txBody>
      </p:sp>
      <p:cxnSp>
        <p:nvCxnSpPr>
          <p:cNvPr id="2" name="Straight Connector 1">
            <a:extLst>
              <a:ext uri="{FF2B5EF4-FFF2-40B4-BE49-F238E27FC236}">
                <a16:creationId xmlns:a16="http://schemas.microsoft.com/office/drawing/2014/main" id="{F7ABBD56-C164-FDE5-8A79-223E6A82A94D}"/>
              </a:ext>
            </a:extLst>
          </p:cNvPr>
          <p:cNvCxnSpPr>
            <a:cxnSpLocks/>
          </p:cNvCxnSpPr>
          <p:nvPr/>
        </p:nvCxnSpPr>
        <p:spPr bwMode="gray">
          <a:xfrm>
            <a:off x="97536" y="1639368"/>
            <a:ext cx="1188720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8" name="Speech Bubble: Rectangle 4">
            <a:extLst>
              <a:ext uri="{FF2B5EF4-FFF2-40B4-BE49-F238E27FC236}">
                <a16:creationId xmlns:a16="http://schemas.microsoft.com/office/drawing/2014/main" id="{2650E311-EC2F-817F-1A3E-75FC5912D844}"/>
              </a:ext>
            </a:extLst>
          </p:cNvPr>
          <p:cNvSpPr/>
          <p:nvPr/>
        </p:nvSpPr>
        <p:spPr bwMode="gray">
          <a:xfrm>
            <a:off x="11275812" y="2463985"/>
            <a:ext cx="889000" cy="1531938"/>
          </a:xfrm>
          <a:prstGeom prst="wedgeRectCallout">
            <a:avLst>
              <a:gd name="adj1" fmla="val -82815"/>
              <a:gd name="adj2" fmla="val -12531"/>
            </a:avLst>
          </a:prstGeom>
          <a:solidFill>
            <a:schemeClr val="tx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850">
                <a:solidFill>
                  <a:schemeClr val="tx1"/>
                </a:solidFill>
              </a:rPr>
              <a:t>The World Bank </a:t>
            </a:r>
            <a:r>
              <a:rPr lang="en-US" sz="850" b="1">
                <a:solidFill>
                  <a:schemeClr val="tx1"/>
                </a:solidFill>
              </a:rPr>
              <a:t>lifted</a:t>
            </a:r>
            <a:r>
              <a:rPr lang="en-US" sz="850">
                <a:solidFill>
                  <a:schemeClr val="tx1"/>
                </a:solidFill>
              </a:rPr>
              <a:t> its ban on financing nuclear in June and has entered an MOU with the IAEA to expand nuclear capacity, particularly in developing countries.</a:t>
            </a:r>
          </a:p>
        </p:txBody>
      </p:sp>
    </p:spTree>
    <p:custDataLst>
      <p:tags r:id="rId1"/>
    </p:custDataLst>
    <p:extLst>
      <p:ext uri="{BB962C8B-B14F-4D97-AF65-F5344CB8AC3E}">
        <p14:creationId xmlns:p14="http://schemas.microsoft.com/office/powerpoint/2010/main" val="39779757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7ECAB6-3ADC-7547-EB91-7EE98625904D}"/>
            </a:ext>
          </a:extLst>
        </p:cNvPr>
        <p:cNvGrpSpPr/>
        <p:nvPr/>
      </p:nvGrpSpPr>
      <p:grpSpPr>
        <a:xfrm>
          <a:off x="0" y="0"/>
          <a:ext cx="0" cy="0"/>
          <a:chOff x="0" y="0"/>
          <a:chExt cx="0" cy="0"/>
        </a:xfrm>
      </p:grpSpPr>
      <p:graphicFrame>
        <p:nvGraphicFramePr>
          <p:cNvPr id="128" name="think-cell data - do not delete" hidden="1">
            <a:extLst>
              <a:ext uri="{FF2B5EF4-FFF2-40B4-BE49-F238E27FC236}">
                <a16:creationId xmlns:a16="http://schemas.microsoft.com/office/drawing/2014/main" id="{FDD4757E-4177-33A5-B03D-07B2E88CA6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128" name="think-cell data - do not delete" hidden="1">
                        <a:extLst>
                          <a:ext uri="{FF2B5EF4-FFF2-40B4-BE49-F238E27FC236}">
                            <a16:creationId xmlns:a16="http://schemas.microsoft.com/office/drawing/2014/main" id="{FDD4757E-4177-33A5-B03D-07B2E88CA6F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7" name="Rectangle 156">
            <a:extLst>
              <a:ext uri="{FF2B5EF4-FFF2-40B4-BE49-F238E27FC236}">
                <a16:creationId xmlns:a16="http://schemas.microsoft.com/office/drawing/2014/main" id="{50DF2B2A-8937-CE6F-393C-4B43F0459DF2}"/>
              </a:ext>
            </a:extLst>
          </p:cNvPr>
          <p:cNvSpPr/>
          <p:nvPr/>
        </p:nvSpPr>
        <p:spPr bwMode="gray">
          <a:xfrm>
            <a:off x="7871884" y="1971687"/>
            <a:ext cx="2907792" cy="4118285"/>
          </a:xfrm>
          <a:prstGeom prst="rect">
            <a:avLst/>
          </a:prstGeom>
          <a:solidFill>
            <a:srgbClr val="FFC5C5"/>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54864" rIns="36000" bIns="36000" numCol="1" spcCol="0" rtlCol="0" fromWordArt="0" anchor="t" anchorCtr="0" forceAA="0" compatLnSpc="1">
            <a:prstTxWarp prst="textNoShape">
              <a:avLst/>
            </a:prstTxWarp>
            <a:noAutofit/>
          </a:bodyPr>
          <a:lstStyle/>
          <a:p>
            <a:pPr marL="0" indent="0">
              <a:buNone/>
            </a:pPr>
            <a:r>
              <a:rPr lang="en-US" sz="1200" b="1">
                <a:solidFill>
                  <a:schemeClr val="tx1"/>
                </a:solidFill>
              </a:rPr>
              <a:t>                        China</a:t>
            </a:r>
          </a:p>
        </p:txBody>
      </p:sp>
      <p:sp>
        <p:nvSpPr>
          <p:cNvPr id="156" name="Rectangle 155">
            <a:extLst>
              <a:ext uri="{FF2B5EF4-FFF2-40B4-BE49-F238E27FC236}">
                <a16:creationId xmlns:a16="http://schemas.microsoft.com/office/drawing/2014/main" id="{2945383E-9DC6-1830-4F35-8EF71672B38B}"/>
              </a:ext>
            </a:extLst>
          </p:cNvPr>
          <p:cNvSpPr/>
          <p:nvPr/>
        </p:nvSpPr>
        <p:spPr bwMode="gray">
          <a:xfrm>
            <a:off x="4962655" y="1971687"/>
            <a:ext cx="2907792" cy="4118293"/>
          </a:xfrm>
          <a:prstGeom prst="rect">
            <a:avLst/>
          </a:prstGeom>
          <a:solidFill>
            <a:srgbClr val="E4E4E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54864" rIns="36000" bIns="36000" numCol="1" spcCol="0" rtlCol="0" fromWordArt="0" anchor="t" anchorCtr="0" forceAA="0" compatLnSpc="1">
            <a:prstTxWarp prst="textNoShape">
              <a:avLst/>
            </a:prstTxWarp>
            <a:noAutofit/>
          </a:bodyPr>
          <a:lstStyle/>
          <a:p>
            <a:r>
              <a:rPr lang="en-US" sz="1200" b="1">
                <a:solidFill>
                  <a:schemeClr val="tx1"/>
                </a:solidFill>
              </a:rPr>
              <a:t>                         EU</a:t>
            </a:r>
            <a:endParaRPr lang="en-US" sz="1200">
              <a:solidFill>
                <a:schemeClr val="tx1"/>
              </a:solidFill>
            </a:endParaRPr>
          </a:p>
        </p:txBody>
      </p:sp>
      <p:sp>
        <p:nvSpPr>
          <p:cNvPr id="126" name="Rectangle 125">
            <a:extLst>
              <a:ext uri="{FF2B5EF4-FFF2-40B4-BE49-F238E27FC236}">
                <a16:creationId xmlns:a16="http://schemas.microsoft.com/office/drawing/2014/main" id="{9670862E-25FE-80EB-2380-1F0973FE51BF}"/>
              </a:ext>
            </a:extLst>
          </p:cNvPr>
          <p:cNvSpPr/>
          <p:nvPr/>
        </p:nvSpPr>
        <p:spPr bwMode="gray">
          <a:xfrm>
            <a:off x="2044800" y="1971687"/>
            <a:ext cx="2907792" cy="4118295"/>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54864" rIns="36576" bIns="36000" numCol="1" spcCol="0" rtlCol="0" fromWordArt="0" anchor="t" anchorCtr="0" forceAA="0" compatLnSpc="1">
            <a:prstTxWarp prst="textNoShape">
              <a:avLst/>
            </a:prstTxWarp>
            <a:noAutofit/>
          </a:bodyPr>
          <a:lstStyle/>
          <a:p>
            <a:pPr marL="0" indent="0">
              <a:buNone/>
            </a:pPr>
            <a:r>
              <a:rPr lang="en-US" sz="1200" b="1">
                <a:solidFill>
                  <a:schemeClr val="tx1"/>
                </a:solidFill>
              </a:rPr>
              <a:t>                       U.S.   </a:t>
            </a:r>
          </a:p>
        </p:txBody>
      </p:sp>
      <p:sp>
        <p:nvSpPr>
          <p:cNvPr id="3" name="Title 2">
            <a:extLst>
              <a:ext uri="{FF2B5EF4-FFF2-40B4-BE49-F238E27FC236}">
                <a16:creationId xmlns:a16="http://schemas.microsoft.com/office/drawing/2014/main" id="{7AE37D57-ECB5-4D03-1C74-63FD9A719B24}"/>
              </a:ext>
            </a:extLst>
          </p:cNvPr>
          <p:cNvSpPr>
            <a:spLocks noGrp="1"/>
          </p:cNvSpPr>
          <p:nvPr>
            <p:ph type="title"/>
          </p:nvPr>
        </p:nvSpPr>
        <p:spPr/>
        <p:txBody>
          <a:bodyPr vert="horz">
            <a:noAutofit/>
          </a:bodyPr>
          <a:lstStyle/>
          <a:p>
            <a:r>
              <a:rPr lang="en-US"/>
              <a:t>Ongoing policy support continues to propel China’s rapid capacity expansion; renewed political backing expected to spur U.S. growth</a:t>
            </a:r>
          </a:p>
        </p:txBody>
      </p:sp>
      <p:pic>
        <p:nvPicPr>
          <p:cNvPr id="109" name="Picture 2">
            <a:extLst>
              <a:ext uri="{FF2B5EF4-FFF2-40B4-BE49-F238E27FC236}">
                <a16:creationId xmlns:a16="http://schemas.microsoft.com/office/drawing/2014/main" id="{F2A430FF-3164-50BD-C268-2F2E732FE28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93443" y="2021563"/>
            <a:ext cx="347680" cy="182880"/>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4" descr="European Union - Wikipedia">
            <a:extLst>
              <a:ext uri="{FF2B5EF4-FFF2-40B4-BE49-F238E27FC236}">
                <a16:creationId xmlns:a16="http://schemas.microsoft.com/office/drawing/2014/main" id="{E60AB27C-F0B7-7521-F76A-2B97D8C0032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18509" y="2021563"/>
            <a:ext cx="274320" cy="182880"/>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6">
            <a:extLst>
              <a:ext uri="{FF2B5EF4-FFF2-40B4-BE49-F238E27FC236}">
                <a16:creationId xmlns:a16="http://schemas.microsoft.com/office/drawing/2014/main" id="{22F04382-AB29-71D7-3883-AFC6CF0137B7}"/>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409179" y="2021563"/>
            <a:ext cx="272956" cy="18288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32" name="Table 131">
            <a:extLst>
              <a:ext uri="{FF2B5EF4-FFF2-40B4-BE49-F238E27FC236}">
                <a16:creationId xmlns:a16="http://schemas.microsoft.com/office/drawing/2014/main" id="{7A432055-FA98-8795-6502-C8CCC1BFA477}"/>
              </a:ext>
            </a:extLst>
          </p:cNvPr>
          <p:cNvGraphicFramePr>
            <a:graphicFrameLocks noGrp="1"/>
          </p:cNvGraphicFramePr>
          <p:nvPr>
            <p:custDataLst>
              <p:tags r:id="rId2"/>
            </p:custDataLst>
            <p:extLst>
              <p:ext uri="{D42A27DB-BD31-4B8C-83A1-F6EECF244321}">
                <p14:modId xmlns:p14="http://schemas.microsoft.com/office/powerpoint/2010/main" val="893528701"/>
              </p:ext>
            </p:extLst>
          </p:nvPr>
        </p:nvGraphicFramePr>
        <p:xfrm>
          <a:off x="330200" y="2255959"/>
          <a:ext cx="10452100" cy="3834033"/>
        </p:xfrm>
        <a:graphic>
          <a:graphicData uri="http://schemas.openxmlformats.org/drawingml/2006/table">
            <a:tbl>
              <a:tblPr firstRow="1" bandRow="1">
                <a:tableStyleId>{2D5ABB26-0587-4C30-8999-92F81FD0307C}</a:tableStyleId>
              </a:tblPr>
              <a:tblGrid>
                <a:gridCol w="1727200">
                  <a:extLst>
                    <a:ext uri="{9D8B030D-6E8A-4147-A177-3AD203B41FA5}">
                      <a16:colId xmlns:a16="http://schemas.microsoft.com/office/drawing/2014/main" val="477194945"/>
                    </a:ext>
                  </a:extLst>
                </a:gridCol>
                <a:gridCol w="2908300">
                  <a:extLst>
                    <a:ext uri="{9D8B030D-6E8A-4147-A177-3AD203B41FA5}">
                      <a16:colId xmlns:a16="http://schemas.microsoft.com/office/drawing/2014/main" val="3712453039"/>
                    </a:ext>
                  </a:extLst>
                </a:gridCol>
                <a:gridCol w="2908300">
                  <a:extLst>
                    <a:ext uri="{9D8B030D-6E8A-4147-A177-3AD203B41FA5}">
                      <a16:colId xmlns:a16="http://schemas.microsoft.com/office/drawing/2014/main" val="936734799"/>
                    </a:ext>
                  </a:extLst>
                </a:gridCol>
                <a:gridCol w="2908300">
                  <a:extLst>
                    <a:ext uri="{9D8B030D-6E8A-4147-A177-3AD203B41FA5}">
                      <a16:colId xmlns:a16="http://schemas.microsoft.com/office/drawing/2014/main" val="1192737609"/>
                    </a:ext>
                  </a:extLst>
                </a:gridCol>
              </a:tblGrid>
              <a:tr h="242703">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Nuclear capacity (GW)</a:t>
                      </a:r>
                      <a:endParaRPr lang="en-US" sz="950"/>
                    </a:p>
                  </a:txBody>
                  <a:tcPr marT="54864" marB="54864">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97 </a:t>
                      </a:r>
                      <a:endParaRPr lang="en-US" sz="950" b="1"/>
                    </a:p>
                  </a:txBody>
                  <a:tcPr marL="182880" marR="182880" marT="54864" marB="54864">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98</a:t>
                      </a:r>
                      <a:endParaRPr lang="en-US" sz="950" b="1"/>
                    </a:p>
                  </a:txBody>
                  <a:tcPr marL="182880" marR="182880" marT="54864" marB="54864">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56</a:t>
                      </a:r>
                      <a:endParaRPr lang="en-US" sz="950" b="1"/>
                    </a:p>
                  </a:txBody>
                  <a:tcPr marL="182880" marR="182880" marT="54864" marB="54864">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99582086"/>
                  </a:ext>
                </a:extLst>
              </a:tr>
              <a:tr h="242703">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LCOE ($/MWh)</a:t>
                      </a:r>
                      <a:endParaRPr lang="en-US" sz="950"/>
                    </a:p>
                  </a:txBody>
                  <a:tcPr marT="54864" marB="54864">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180</a:t>
                      </a:r>
                      <a:endParaRPr lang="en-US" sz="950" b="1"/>
                    </a:p>
                  </a:txBody>
                  <a:tcPr marL="182880" marR="182880" marT="54864" marB="54864">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160</a:t>
                      </a:r>
                      <a:endParaRPr lang="en-US" sz="950" b="1"/>
                    </a:p>
                  </a:txBody>
                  <a:tcPr marL="182880" marR="182880" marT="54864" marB="54864">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70</a:t>
                      </a:r>
                      <a:endParaRPr lang="en-US" sz="950" b="1"/>
                    </a:p>
                  </a:txBody>
                  <a:tcPr marL="182880" marR="182880" marT="54864" marB="54864">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2949995"/>
                  </a:ext>
                </a:extLst>
              </a:tr>
              <a:tr h="518833">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Main policies</a:t>
                      </a:r>
                      <a:endParaRPr lang="en-US" sz="950"/>
                    </a:p>
                  </a:txBody>
                  <a:tcPr marT="54864" marB="54864">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0" i="0" u="none" strike="noStrike" kern="1200" cap="none" spc="0" normalizeH="0" baseline="0" noProof="0">
                          <a:ln>
                            <a:noFill/>
                          </a:ln>
                          <a:solidFill>
                            <a:srgbClr val="000000"/>
                          </a:solidFill>
                          <a:effectLst/>
                          <a:uLnTx/>
                          <a:uFillTx/>
                          <a:latin typeface="+mn-lt"/>
                          <a:ea typeface="+mn-ea"/>
                          <a:cs typeface="+mn-cs"/>
                        </a:rPr>
                        <a:t>Federal: </a:t>
                      </a:r>
                      <a:r>
                        <a:rPr kumimoji="0" lang="en-US" sz="950" b="1" i="0" u="none" strike="noStrike" kern="1200" cap="none" spc="0" normalizeH="0" baseline="0" noProof="0">
                          <a:ln>
                            <a:noFill/>
                          </a:ln>
                          <a:solidFill>
                            <a:srgbClr val="000000"/>
                          </a:solidFill>
                          <a:effectLst/>
                          <a:uLnTx/>
                          <a:uFillTx/>
                          <a:latin typeface="+mn-lt"/>
                          <a:ea typeface="+mn-ea"/>
                          <a:cs typeface="+mn-cs"/>
                        </a:rPr>
                        <a:t>Inflation Reduction Act; Advanced Reactor Demonstration Program; May 25 Nuclear EO Package</a:t>
                      </a:r>
                      <a:endParaRPr lang="en-US" sz="950"/>
                    </a:p>
                  </a:txBody>
                  <a:tcPr marL="182880" marR="182880" marT="54864" marB="54864">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Net-Zero Industry Act</a:t>
                      </a:r>
                      <a:endParaRPr lang="en-US" sz="950"/>
                    </a:p>
                  </a:txBody>
                  <a:tcPr marL="182880" marR="182880" marT="54864" marB="54864">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14th Five-Year Plan (2021-2025)</a:t>
                      </a:r>
                      <a:endParaRPr lang="en-US" sz="950"/>
                    </a:p>
                  </a:txBody>
                  <a:tcPr marL="182880" marR="182880" marT="54864" marB="54864">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4846766"/>
                  </a:ext>
                </a:extLst>
              </a:tr>
              <a:tr h="459897">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Policy focus</a:t>
                      </a:r>
                      <a:endParaRPr lang="en-US" sz="950"/>
                    </a:p>
                  </a:txBody>
                  <a:tcPr marT="54864" marB="54864">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0" i="0" u="none" strike="noStrike" kern="1200" cap="none" spc="0" normalizeH="0" baseline="0" noProof="0">
                          <a:ln>
                            <a:noFill/>
                          </a:ln>
                          <a:solidFill>
                            <a:srgbClr val="000000"/>
                          </a:solidFill>
                          <a:effectLst/>
                          <a:uLnTx/>
                          <a:uFillTx/>
                          <a:latin typeface="+mn-lt"/>
                          <a:ea typeface="+mn-ea"/>
                          <a:cs typeface="+mn-cs"/>
                        </a:rPr>
                        <a:t>Lifetime extension, building new reactors, developing advanced reactors</a:t>
                      </a:r>
                      <a:endParaRPr lang="en-US" sz="950"/>
                    </a:p>
                  </a:txBody>
                  <a:tcPr marL="182880" marR="182880" marT="54864" marB="54864">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0" i="0" u="none" strike="noStrike" kern="1200" cap="none" spc="0" normalizeH="0" baseline="0" noProof="0">
                          <a:ln>
                            <a:noFill/>
                          </a:ln>
                          <a:solidFill>
                            <a:srgbClr val="000000"/>
                          </a:solidFill>
                          <a:effectLst/>
                          <a:uLnTx/>
                          <a:uFillTx/>
                          <a:latin typeface="+mn-lt"/>
                          <a:ea typeface="+mn-ea"/>
                          <a:cs typeface="+mn-cs"/>
                        </a:rPr>
                        <a:t>Decision on whether to use nuclear energy left to member countries, nuclear safety</a:t>
                      </a:r>
                      <a:endParaRPr lang="en-US" sz="950"/>
                    </a:p>
                  </a:txBody>
                  <a:tcPr marL="182880" marR="182880" marT="54864" marB="54864">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0" i="0" u="none" strike="noStrike" kern="1200" cap="none" spc="0" normalizeH="0" baseline="0" noProof="0">
                          <a:ln>
                            <a:noFill/>
                          </a:ln>
                          <a:solidFill>
                            <a:srgbClr val="000000"/>
                          </a:solidFill>
                          <a:effectLst/>
                          <a:uLnTx/>
                          <a:uFillTx/>
                          <a:latin typeface="+mn-lt"/>
                          <a:ea typeface="+mn-ea"/>
                          <a:cs typeface="+mn-cs"/>
                        </a:rPr>
                        <a:t>Rapidly construct large-scale plants and advanced reactors</a:t>
                      </a:r>
                      <a:endParaRPr lang="en-US" sz="950"/>
                    </a:p>
                  </a:txBody>
                  <a:tcPr marL="182880" marR="182880" marT="54864" marB="54864">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65618534"/>
                  </a:ext>
                </a:extLst>
              </a:tr>
              <a:tr h="242703">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2050 target capacity (GW)</a:t>
                      </a:r>
                      <a:endParaRPr lang="en-US" sz="950"/>
                    </a:p>
                  </a:txBody>
                  <a:tcPr marT="54864" marB="54864">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400 </a:t>
                      </a:r>
                      <a:endParaRPr lang="en-US" sz="950" b="1"/>
                    </a:p>
                  </a:txBody>
                  <a:tcPr marL="182880" marR="182880" marT="54864" marB="54864">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150 </a:t>
                      </a:r>
                      <a:endParaRPr lang="en-US" sz="950" b="1"/>
                    </a:p>
                  </a:txBody>
                  <a:tcPr marL="182880" marR="182880" marT="54864" marB="54864">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554</a:t>
                      </a:r>
                      <a:endParaRPr lang="en-US" sz="950" b="1"/>
                    </a:p>
                  </a:txBody>
                  <a:tcPr marL="182880" marR="182880" marT="54864" marB="54864">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9519276"/>
                  </a:ext>
                </a:extLst>
              </a:tr>
              <a:tr h="806554">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Incentives</a:t>
                      </a:r>
                      <a:endParaRPr lang="en-US" sz="950"/>
                    </a:p>
                  </a:txBody>
                  <a:tcPr marT="54864" marB="54864">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buClrTx/>
                        <a:buSzTx/>
                        <a:buFontTx/>
                        <a:buNone/>
                        <a:tabLst/>
                        <a:defRPr/>
                      </a:pPr>
                      <a:r>
                        <a:rPr lang="en-US" sz="950">
                          <a:solidFill>
                            <a:srgbClr val="000000"/>
                          </a:solidFill>
                          <a:latin typeface="+mn-lt"/>
                        </a:rPr>
                        <a:t>- Federal: </a:t>
                      </a:r>
                      <a:r>
                        <a:rPr kumimoji="0" lang="en-US" sz="950" b="1" i="0" u="none" strike="noStrike" kern="1200" cap="none" spc="0" normalizeH="0" baseline="0" noProof="0">
                          <a:ln>
                            <a:noFill/>
                          </a:ln>
                          <a:solidFill>
                            <a:srgbClr val="000000"/>
                          </a:solidFill>
                          <a:effectLst/>
                          <a:uLnTx/>
                          <a:uFillTx/>
                          <a:latin typeface="+mn-lt"/>
                          <a:ea typeface="+mn-ea"/>
                          <a:cs typeface="+mn-cs"/>
                        </a:rPr>
                        <a:t>Tax credits </a:t>
                      </a:r>
                      <a:r>
                        <a:rPr kumimoji="0" lang="en-US" sz="950" b="0" i="0" u="none" strike="noStrike" kern="1200" cap="none" spc="0" normalizeH="0" baseline="0" noProof="0">
                          <a:ln>
                            <a:noFill/>
                          </a:ln>
                          <a:solidFill>
                            <a:srgbClr val="000000"/>
                          </a:solidFill>
                          <a:effectLst/>
                          <a:uLnTx/>
                          <a:uFillTx/>
                          <a:latin typeface="+mn-lt"/>
                          <a:ea typeface="+mn-ea"/>
                          <a:cs typeface="+mn-cs"/>
                        </a:rPr>
                        <a:t>on production and investment </a:t>
                      </a:r>
                      <a:r>
                        <a:rPr lang="en-US" sz="950" b="1">
                          <a:solidFill>
                            <a:srgbClr val="000000"/>
                          </a:solidFill>
                          <a:latin typeface="+mn-lt"/>
                        </a:rPr>
                        <a:t>DOE loans </a:t>
                      </a:r>
                      <a:r>
                        <a:rPr lang="en-US" sz="950">
                          <a:solidFill>
                            <a:srgbClr val="000000"/>
                          </a:solidFill>
                          <a:latin typeface="+mn-lt"/>
                        </a:rPr>
                        <a:t>now nuclear focused</a:t>
                      </a:r>
                    </a:p>
                    <a:p>
                      <a:pPr marL="0" marR="0" lvl="0" indent="0" algn="l" defTabSz="914400" rtl="0" eaLnBrk="1" fontAlgn="auto" latinLnBrk="0" hangingPunct="1">
                        <a:lnSpc>
                          <a:spcPct val="100000"/>
                        </a:lnSpc>
                        <a:spcBef>
                          <a:spcPts val="0"/>
                        </a:spcBef>
                        <a:buClrTx/>
                        <a:buSzTx/>
                        <a:buFontTx/>
                        <a:buNone/>
                        <a:tabLst/>
                        <a:defRPr/>
                      </a:pPr>
                      <a:r>
                        <a:rPr lang="en-US" sz="950">
                          <a:solidFill>
                            <a:srgbClr val="000000"/>
                          </a:solidFill>
                          <a:latin typeface="+mn-lt"/>
                        </a:rPr>
                        <a:t>- State: </a:t>
                      </a:r>
                      <a:r>
                        <a:rPr lang="en-US" sz="950" b="1">
                          <a:solidFill>
                            <a:srgbClr val="000000"/>
                          </a:solidFill>
                          <a:latin typeface="+mn-lt"/>
                        </a:rPr>
                        <a:t>Zero emissions credits, state-backed loans </a:t>
                      </a:r>
                      <a:r>
                        <a:rPr lang="en-US" sz="950">
                          <a:solidFill>
                            <a:srgbClr val="000000"/>
                          </a:solidFill>
                          <a:latin typeface="+mn-lt"/>
                        </a:rPr>
                        <a:t>and</a:t>
                      </a:r>
                      <a:r>
                        <a:rPr lang="en-US" sz="950" b="1">
                          <a:solidFill>
                            <a:srgbClr val="000000"/>
                          </a:solidFill>
                          <a:latin typeface="+mn-lt"/>
                        </a:rPr>
                        <a:t> funds</a:t>
                      </a:r>
                    </a:p>
                    <a:p>
                      <a:pPr marL="0" marR="0" lvl="0" indent="0" algn="l" defTabSz="914400" rtl="0" eaLnBrk="1" fontAlgn="auto" latinLnBrk="0" hangingPunct="1">
                        <a:lnSpc>
                          <a:spcPct val="100000"/>
                        </a:lnSpc>
                        <a:spcBef>
                          <a:spcPts val="0"/>
                        </a:spcBef>
                        <a:buClrTx/>
                        <a:buSzTx/>
                        <a:buFontTx/>
                        <a:buNone/>
                        <a:tabLst/>
                        <a:defRPr/>
                      </a:pPr>
                      <a:r>
                        <a:rPr lang="en-US" sz="950">
                          <a:solidFill>
                            <a:srgbClr val="000000"/>
                          </a:solidFill>
                          <a:latin typeface="+mn-lt"/>
                        </a:rPr>
                        <a:t>- Total public commitment to date is </a:t>
                      </a:r>
                      <a:r>
                        <a:rPr lang="en-US" sz="950" b="1">
                          <a:solidFill>
                            <a:srgbClr val="000000"/>
                          </a:solidFill>
                          <a:latin typeface="+mn-lt"/>
                        </a:rPr>
                        <a:t>&gt;$40B</a:t>
                      </a:r>
                      <a:endParaRPr lang="en-US" sz="950"/>
                    </a:p>
                  </a:txBody>
                  <a:tcPr marL="182880" marR="182880" marT="54864" marB="54864">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rtl="0" eaLnBrk="1" fontAlgn="auto" latinLnBrk="0" hangingPunct="1">
                        <a:lnSpc>
                          <a:spcPct val="100000"/>
                        </a:lnSpc>
                        <a:spcBef>
                          <a:spcPts val="0"/>
                        </a:spcBef>
                        <a:buClrTx/>
                        <a:buSzTx/>
                        <a:buFontTx/>
                        <a:buNone/>
                      </a:pPr>
                      <a:r>
                        <a:rPr kumimoji="0" lang="en-US" sz="950" b="0" i="0" u="none" strike="noStrike" kern="1200" cap="none" spc="0" normalizeH="0" baseline="0" noProof="0">
                          <a:ln>
                            <a:noFill/>
                          </a:ln>
                          <a:solidFill>
                            <a:srgbClr val="000000"/>
                          </a:solidFill>
                          <a:effectLst/>
                          <a:uLnTx/>
                          <a:uFillTx/>
                          <a:latin typeface="+mn-lt"/>
                          <a:ea typeface="+mn-ea"/>
                          <a:cs typeface="+mn-cs"/>
                        </a:rPr>
                        <a:t>-</a:t>
                      </a:r>
                      <a:r>
                        <a:rPr kumimoji="0" lang="en-US" sz="950" b="1" i="0" u="none" strike="noStrike" kern="1200" cap="none" spc="0" normalizeH="0" baseline="0" noProof="0">
                          <a:ln>
                            <a:noFill/>
                          </a:ln>
                          <a:solidFill>
                            <a:srgbClr val="000000"/>
                          </a:solidFill>
                          <a:effectLst/>
                          <a:uLnTx/>
                          <a:uFillTx/>
                          <a:latin typeface="+mn-lt"/>
                          <a:ea typeface="+mn-ea"/>
                          <a:cs typeface="+mn-cs"/>
                        </a:rPr>
                        <a:t> </a:t>
                      </a:r>
                      <a:r>
                        <a:rPr kumimoji="0" lang="en-US" sz="950" b="1" i="0" u="none" strike="noStrike" kern="1200" cap="none" spc="0" normalizeH="0" baseline="0" noProof="0" err="1">
                          <a:ln>
                            <a:noFill/>
                          </a:ln>
                          <a:solidFill>
                            <a:srgbClr val="000000"/>
                          </a:solidFill>
                          <a:effectLst/>
                          <a:uLnTx/>
                          <a:uFillTx/>
                          <a:latin typeface="+mn-lt"/>
                          <a:ea typeface="+mn-ea"/>
                          <a:cs typeface="+mn-cs"/>
                        </a:rPr>
                        <a:t>Eurotom</a:t>
                      </a:r>
                      <a:r>
                        <a:rPr kumimoji="0" lang="en-US" sz="950" b="1" i="0" u="none" strike="noStrike" kern="1200" cap="none" spc="0" normalizeH="0" baseline="0" noProof="0">
                          <a:ln>
                            <a:noFill/>
                          </a:ln>
                          <a:solidFill>
                            <a:srgbClr val="000000"/>
                          </a:solidFill>
                          <a:effectLst/>
                          <a:uLnTx/>
                          <a:uFillTx/>
                          <a:latin typeface="+mn-lt"/>
                          <a:ea typeface="+mn-ea"/>
                          <a:cs typeface="+mn-cs"/>
                        </a:rPr>
                        <a:t> Research and Training </a:t>
                      </a:r>
                      <a:r>
                        <a:rPr kumimoji="0" lang="en-US" sz="950" b="1" i="0" u="none" strike="noStrike" kern="1200" cap="none" spc="0" normalizeH="0" baseline="0" noProof="0" err="1">
                          <a:ln>
                            <a:noFill/>
                          </a:ln>
                          <a:solidFill>
                            <a:srgbClr val="000000"/>
                          </a:solidFill>
                          <a:effectLst/>
                          <a:uLnTx/>
                          <a:uFillTx/>
                          <a:latin typeface="+mn-lt"/>
                          <a:ea typeface="+mn-ea"/>
                          <a:cs typeface="+mn-cs"/>
                        </a:rPr>
                        <a:t>Programme</a:t>
                      </a:r>
                      <a:r>
                        <a:rPr kumimoji="0" lang="en-US" sz="950" b="1" i="0" u="none" strike="noStrike" kern="1200" cap="none" spc="0" normalizeH="0" baseline="0" noProof="0">
                          <a:ln>
                            <a:noFill/>
                          </a:ln>
                          <a:solidFill>
                            <a:srgbClr val="000000"/>
                          </a:solidFill>
                          <a:effectLst/>
                          <a:uLnTx/>
                          <a:uFillTx/>
                          <a:latin typeface="+mn-lt"/>
                          <a:ea typeface="+mn-ea"/>
                          <a:cs typeface="+mn-cs"/>
                        </a:rPr>
                        <a:t> </a:t>
                      </a:r>
                      <a:r>
                        <a:rPr kumimoji="0" lang="en-US" sz="950" b="0" i="0" u="none" strike="noStrike" kern="1200" cap="none" spc="0" normalizeH="0" baseline="0" noProof="0">
                          <a:ln>
                            <a:noFill/>
                          </a:ln>
                          <a:solidFill>
                            <a:srgbClr val="000000"/>
                          </a:solidFill>
                          <a:effectLst/>
                          <a:uLnTx/>
                          <a:uFillTx/>
                          <a:latin typeface="+mn-lt"/>
                          <a:ea typeface="+mn-ea"/>
                          <a:cs typeface="+mn-cs"/>
                        </a:rPr>
                        <a:t>funds nuclear research and innovation,</a:t>
                      </a:r>
                      <a:r>
                        <a:rPr lang="en-US" sz="950" b="0" i="0" u="none" strike="noStrike" kern="1200" cap="none" spc="0" normalizeH="0" baseline="0" noProof="0">
                          <a:ln>
                            <a:noFill/>
                          </a:ln>
                          <a:solidFill>
                            <a:srgbClr val="000000"/>
                          </a:solidFill>
                          <a:effectLst/>
                          <a:uLnTx/>
                          <a:uFillTx/>
                          <a:latin typeface="+mn-lt"/>
                          <a:ea typeface="+mn-ea"/>
                          <a:cs typeface="+mn-cs"/>
                        </a:rPr>
                        <a:t> provides</a:t>
                      </a:r>
                      <a:r>
                        <a:rPr kumimoji="0" lang="en-US" sz="950" b="0" i="0" u="none" strike="noStrike" kern="1200" cap="none" spc="0" normalizeH="0" baseline="0" noProof="0">
                          <a:ln>
                            <a:noFill/>
                          </a:ln>
                          <a:solidFill>
                            <a:srgbClr val="000000"/>
                          </a:solidFill>
                          <a:effectLst/>
                          <a:uLnTx/>
                          <a:uFillTx/>
                          <a:latin typeface="+mn-lt"/>
                          <a:ea typeface="+mn-ea"/>
                          <a:cs typeface="+mn-cs"/>
                        </a:rPr>
                        <a:t> financial support for </a:t>
                      </a:r>
                      <a:r>
                        <a:rPr kumimoji="0" lang="en-US" sz="950" b="1" i="0" u="none" strike="noStrike" kern="1200" cap="none" spc="0" normalizeH="0" baseline="0" noProof="0">
                          <a:ln>
                            <a:noFill/>
                          </a:ln>
                          <a:solidFill>
                            <a:srgbClr val="000000"/>
                          </a:solidFill>
                          <a:effectLst/>
                          <a:uLnTx/>
                          <a:uFillTx/>
                          <a:latin typeface="+mn-lt"/>
                          <a:ea typeface="+mn-ea"/>
                          <a:cs typeface="+mn-cs"/>
                        </a:rPr>
                        <a:t>decommissioning</a:t>
                      </a:r>
                      <a:endParaRPr lang="en-US" sz="950" b="1">
                        <a:solidFill>
                          <a:srgbClr val="000000"/>
                        </a:solidFill>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50" i="0" u="none" strike="noStrike" kern="1200" cap="none" spc="0" normalizeH="0" baseline="0" noProof="0">
                          <a:ln>
                            <a:noFill/>
                          </a:ln>
                          <a:solidFill>
                            <a:srgbClr val="000000"/>
                          </a:solidFill>
                          <a:effectLst/>
                          <a:uLnTx/>
                          <a:uFillTx/>
                          <a:latin typeface="+mn-lt"/>
                          <a:ea typeface="+mn-ea"/>
                          <a:cs typeface="+mn-cs"/>
                        </a:rPr>
                        <a:t>- An estimated </a:t>
                      </a:r>
                      <a:r>
                        <a:rPr kumimoji="0" lang="en-US" sz="950" b="1" i="0" u="none" strike="noStrike" kern="1200" cap="none" spc="0" normalizeH="0" baseline="0" noProof="0">
                          <a:ln>
                            <a:noFill/>
                          </a:ln>
                          <a:solidFill>
                            <a:srgbClr val="000000"/>
                          </a:solidFill>
                          <a:effectLst/>
                          <a:uLnTx/>
                          <a:uFillTx/>
                          <a:latin typeface="+mn-lt"/>
                          <a:ea typeface="+mn-ea"/>
                          <a:cs typeface="+mn-cs"/>
                        </a:rPr>
                        <a:t>~€241B </a:t>
                      </a:r>
                      <a:r>
                        <a:rPr kumimoji="0" lang="en-US" sz="950" i="0" u="none" strike="noStrike" kern="1200" cap="none" spc="0" normalizeH="0" baseline="0" noProof="0">
                          <a:ln>
                            <a:noFill/>
                          </a:ln>
                          <a:solidFill>
                            <a:srgbClr val="000000"/>
                          </a:solidFill>
                          <a:effectLst/>
                          <a:uLnTx/>
                          <a:uFillTx/>
                          <a:latin typeface="+mn-lt"/>
                          <a:ea typeface="+mn-ea"/>
                          <a:cs typeface="+mn-cs"/>
                        </a:rPr>
                        <a:t>in investments needed to reach target capacity </a:t>
                      </a:r>
                      <a:endParaRPr lang="en-US" sz="950"/>
                    </a:p>
                  </a:txBody>
                  <a:tcPr marL="182880" marR="182880" marT="54864" marB="54864">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buClrTx/>
                        <a:buSzTx/>
                        <a:buFontTx/>
                        <a:buNone/>
                        <a:tabLst/>
                        <a:defRPr/>
                      </a:pPr>
                      <a:r>
                        <a:rPr kumimoji="0" lang="en-US" sz="950" b="0" i="0" u="none" strike="noStrike" kern="1200" cap="none" spc="0" normalizeH="0" baseline="0" noProof="0">
                          <a:ln>
                            <a:noFill/>
                          </a:ln>
                          <a:solidFill>
                            <a:srgbClr val="000000"/>
                          </a:solidFill>
                          <a:effectLst/>
                          <a:uLnTx/>
                          <a:uFillTx/>
                          <a:latin typeface="+mn-lt"/>
                          <a:ea typeface="+mn-ea"/>
                          <a:cs typeface="+mn-cs"/>
                        </a:rPr>
                        <a:t>-</a:t>
                      </a:r>
                      <a:r>
                        <a:rPr kumimoji="0" lang="en-US" sz="950" b="1" i="0" u="none" strike="noStrike" kern="1200" cap="none" spc="0" normalizeH="0" baseline="0" noProof="0">
                          <a:ln>
                            <a:noFill/>
                          </a:ln>
                          <a:solidFill>
                            <a:srgbClr val="000000"/>
                          </a:solidFill>
                          <a:effectLst/>
                          <a:uLnTx/>
                          <a:uFillTx/>
                          <a:latin typeface="+mn-lt"/>
                          <a:ea typeface="+mn-ea"/>
                          <a:cs typeface="+mn-cs"/>
                        </a:rPr>
                        <a:t> Feed-in tariff </a:t>
                      </a:r>
                      <a:r>
                        <a:rPr kumimoji="0" lang="en-US" sz="950" b="0" i="0" u="none" strike="noStrike" kern="1200" cap="none" spc="0" normalizeH="0" baseline="0" noProof="0">
                          <a:ln>
                            <a:noFill/>
                          </a:ln>
                          <a:solidFill>
                            <a:srgbClr val="000000"/>
                          </a:solidFill>
                          <a:effectLst/>
                          <a:uLnTx/>
                          <a:uFillTx/>
                          <a:latin typeface="+mn-lt"/>
                          <a:ea typeface="+mn-ea"/>
                          <a:cs typeface="+mn-cs"/>
                        </a:rPr>
                        <a:t>to decrease the price of nuclear power; </a:t>
                      </a:r>
                      <a:r>
                        <a:rPr kumimoji="0" lang="en-US" sz="950" b="1" i="0" u="none" strike="noStrike" kern="1200" cap="none" spc="0" normalizeH="0" baseline="0" noProof="0">
                          <a:ln>
                            <a:noFill/>
                          </a:ln>
                          <a:solidFill>
                            <a:srgbClr val="000000"/>
                          </a:solidFill>
                          <a:effectLst/>
                          <a:uLnTx/>
                          <a:uFillTx/>
                          <a:latin typeface="+mn-lt"/>
                          <a:ea typeface="+mn-ea"/>
                          <a:cs typeface="+mn-cs"/>
                        </a:rPr>
                        <a:t>VAT refunds </a:t>
                      </a:r>
                      <a:r>
                        <a:rPr kumimoji="0" lang="en-US" sz="950" b="0" i="0" u="none" strike="noStrike" kern="1200" cap="none" spc="0" normalizeH="0" baseline="0" noProof="0">
                          <a:ln>
                            <a:noFill/>
                          </a:ln>
                          <a:solidFill>
                            <a:srgbClr val="000000"/>
                          </a:solidFill>
                          <a:effectLst/>
                          <a:uLnTx/>
                          <a:uFillTx/>
                          <a:latin typeface="+mn-lt"/>
                          <a:ea typeface="+mn-ea"/>
                          <a:cs typeface="+mn-cs"/>
                        </a:rPr>
                        <a:t>to nuclear operator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000000"/>
                          </a:solidFill>
                          <a:effectLst/>
                          <a:uLnTx/>
                          <a:uFillTx/>
                          <a:latin typeface="+mn-lt"/>
                          <a:ea typeface="+mn-ea"/>
                          <a:cs typeface="+mn-cs"/>
                        </a:rPr>
                        <a:t>- Latest government study* revealed </a:t>
                      </a:r>
                      <a:r>
                        <a:rPr kumimoji="0" lang="en-US" sz="950" b="1" i="0" u="none" strike="noStrike" kern="1200" cap="none" spc="0" normalizeH="0" baseline="0" noProof="0">
                          <a:ln>
                            <a:noFill/>
                          </a:ln>
                          <a:solidFill>
                            <a:srgbClr val="000000"/>
                          </a:solidFill>
                          <a:effectLst/>
                          <a:uLnTx/>
                          <a:uFillTx/>
                          <a:latin typeface="+mn-lt"/>
                          <a:ea typeface="+mn-ea"/>
                          <a:cs typeface="+mn-cs"/>
                        </a:rPr>
                        <a:t>~CNY 8.7T (~US$1.3T) </a:t>
                      </a:r>
                      <a:r>
                        <a:rPr kumimoji="0" lang="en-US" sz="950" b="0" i="0" u="none" strike="noStrike" kern="1200" cap="none" spc="0" normalizeH="0" baseline="0" noProof="0">
                          <a:ln>
                            <a:noFill/>
                          </a:ln>
                          <a:solidFill>
                            <a:srgbClr val="000000"/>
                          </a:solidFill>
                          <a:effectLst/>
                          <a:uLnTx/>
                          <a:uFillTx/>
                          <a:latin typeface="+mn-lt"/>
                          <a:ea typeface="+mn-ea"/>
                          <a:cs typeface="+mn-cs"/>
                        </a:rPr>
                        <a:t>needed to lift nuclear capacity to 554 GW by 2050</a:t>
                      </a:r>
                      <a:endParaRPr lang="en-US" sz="950"/>
                    </a:p>
                  </a:txBody>
                  <a:tcPr marL="182880" marR="182880" marT="54864" marB="54864">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42319485"/>
                  </a:ext>
                </a:extLst>
              </a:tr>
              <a:tr h="518833">
                <a:tc>
                  <a:txBody>
                    <a:bodyPr/>
                    <a:lstStyle/>
                    <a:p>
                      <a:pPr marL="0" indent="0">
                        <a:spcBef>
                          <a:spcPts val="0"/>
                        </a:spcBef>
                        <a:buNone/>
                      </a:pPr>
                      <a:r>
                        <a:rPr kumimoji="0" lang="en-US" sz="950" b="1" i="0" u="none" strike="noStrike" kern="1200" cap="none" spc="0" normalizeH="0" baseline="0" noProof="0">
                          <a:ln>
                            <a:noFill/>
                          </a:ln>
                          <a:solidFill>
                            <a:srgbClr val="000000"/>
                          </a:solidFill>
                          <a:effectLst/>
                          <a:uLnTx/>
                          <a:uFillTx/>
                          <a:latin typeface="+mn-lt"/>
                          <a:ea typeface="+mn-ea"/>
                          <a:cs typeface="+mn-cs"/>
                        </a:rPr>
                        <a:t>Lifetime extension</a:t>
                      </a:r>
                      <a:endParaRPr lang="en-US" sz="950"/>
                    </a:p>
                  </a:txBody>
                  <a:tcPr marT="54864" marB="54864">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0" i="0" u="none" strike="noStrike" kern="1200" cap="none" spc="0" normalizeH="0" baseline="0" noProof="0">
                          <a:ln>
                            <a:noFill/>
                          </a:ln>
                          <a:solidFill>
                            <a:srgbClr val="000000"/>
                          </a:solidFill>
                          <a:effectLst/>
                          <a:uLnTx/>
                          <a:uFillTx/>
                          <a:latin typeface="+mn-lt"/>
                          <a:ea typeface="+mn-ea"/>
                          <a:cs typeface="+mn-cs"/>
                        </a:rPr>
                        <a:t>Initial 40-year operating license </a:t>
                      </a:r>
                      <a:r>
                        <a:rPr kumimoji="0" lang="en-US" sz="950" b="1" i="0" u="none" strike="noStrike" kern="1200" cap="none" spc="0" normalizeH="0" baseline="0" noProof="0">
                          <a:ln>
                            <a:noFill/>
                          </a:ln>
                          <a:solidFill>
                            <a:srgbClr val="000000"/>
                          </a:solidFill>
                          <a:effectLst/>
                          <a:uLnTx/>
                          <a:uFillTx/>
                          <a:latin typeface="+mn-lt"/>
                          <a:ea typeface="+mn-ea"/>
                          <a:cs typeface="+mn-cs"/>
                        </a:rPr>
                        <a:t>extended by 20 years</a:t>
                      </a:r>
                      <a:r>
                        <a:rPr kumimoji="0" lang="en-US" sz="950" b="0" i="0" u="none" strike="noStrike" kern="1200" cap="none" spc="0" normalizeH="0" baseline="0" noProof="0">
                          <a:ln>
                            <a:noFill/>
                          </a:ln>
                          <a:solidFill>
                            <a:srgbClr val="000000"/>
                          </a:solidFill>
                          <a:effectLst/>
                          <a:uLnTx/>
                          <a:uFillTx/>
                          <a:latin typeface="+mn-lt"/>
                          <a:ea typeface="+mn-ea"/>
                          <a:cs typeface="+mn-cs"/>
                        </a:rPr>
                        <a:t>, with possible extension of </a:t>
                      </a:r>
                      <a:r>
                        <a:rPr kumimoji="0" lang="en-US" sz="950" b="1" i="0" u="none" strike="noStrike" kern="1200" cap="none" spc="0" normalizeH="0" baseline="0" noProof="0">
                          <a:ln>
                            <a:noFill/>
                          </a:ln>
                          <a:solidFill>
                            <a:srgbClr val="000000"/>
                          </a:solidFill>
                          <a:effectLst/>
                          <a:uLnTx/>
                          <a:uFillTx/>
                          <a:latin typeface="+mn-lt"/>
                          <a:ea typeface="+mn-ea"/>
                          <a:cs typeface="+mn-cs"/>
                        </a:rPr>
                        <a:t>another 20 years </a:t>
                      </a:r>
                      <a:endParaRPr lang="en-US" sz="950"/>
                    </a:p>
                  </a:txBody>
                  <a:tcPr marL="182880" marR="182880" marT="54864" marB="54864">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0" i="0" u="none" strike="noStrike" kern="1200" cap="none" spc="0" normalizeH="0" baseline="0" noProof="0">
                          <a:ln>
                            <a:noFill/>
                          </a:ln>
                          <a:solidFill>
                            <a:srgbClr val="000000"/>
                          </a:solidFill>
                          <a:effectLst/>
                          <a:uLnTx/>
                          <a:uFillTx/>
                          <a:latin typeface="+mn-lt"/>
                          <a:ea typeface="+mn-ea"/>
                          <a:cs typeface="+mn-cs"/>
                        </a:rPr>
                        <a:t>No overarching rule; European Commission investigates and approves extension plans of member countries</a:t>
                      </a:r>
                      <a:endParaRPr lang="en-US" sz="950"/>
                    </a:p>
                  </a:txBody>
                  <a:tcPr marL="182880" marR="182880" marT="54864" marB="54864">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0" i="0" u="none" strike="noStrike" kern="1200" cap="none" spc="0" normalizeH="0" baseline="0" noProof="0">
                          <a:ln>
                            <a:noFill/>
                          </a:ln>
                          <a:solidFill>
                            <a:srgbClr val="000000"/>
                          </a:solidFill>
                          <a:effectLst/>
                          <a:uLnTx/>
                          <a:uFillTx/>
                          <a:latin typeface="+mn-lt"/>
                          <a:ea typeface="+mn-ea"/>
                          <a:cs typeface="+mn-cs"/>
                        </a:rPr>
                        <a:t>Not a priority for China due to relatively new fleet; first lifetime extension in 2021 extended 30-year-old plants by </a:t>
                      </a:r>
                      <a:r>
                        <a:rPr kumimoji="0" lang="en-US" sz="950" b="1" i="0" u="none" strike="noStrike" kern="1200" cap="none" spc="0" normalizeH="0" baseline="0" noProof="0">
                          <a:ln>
                            <a:noFill/>
                          </a:ln>
                          <a:solidFill>
                            <a:srgbClr val="000000"/>
                          </a:solidFill>
                          <a:effectLst/>
                          <a:uLnTx/>
                          <a:uFillTx/>
                          <a:latin typeface="+mn-lt"/>
                          <a:ea typeface="+mn-ea"/>
                          <a:cs typeface="+mn-cs"/>
                        </a:rPr>
                        <a:t>20 years </a:t>
                      </a:r>
                      <a:endParaRPr lang="en-US" sz="950"/>
                    </a:p>
                  </a:txBody>
                  <a:tcPr marL="182880" marR="182880" marT="54864" marB="54864">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1068815"/>
                  </a:ext>
                </a:extLst>
              </a:tr>
              <a:tr h="518833">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a:ln>
                            <a:noFill/>
                          </a:ln>
                          <a:solidFill>
                            <a:srgbClr val="000000"/>
                          </a:solidFill>
                          <a:effectLst/>
                          <a:uLnTx/>
                          <a:uFillTx/>
                          <a:latin typeface="+mn-lt"/>
                          <a:ea typeface="+mn-ea"/>
                          <a:cs typeface="+mn-cs"/>
                        </a:rPr>
                        <a:t>Development of advanced reactors</a:t>
                      </a:r>
                      <a:endParaRPr lang="en-US" sz="950"/>
                    </a:p>
                  </a:txBody>
                  <a:tcPr marT="54864" marB="54864">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0" i="0" u="none" strike="noStrike" kern="1200" cap="none" spc="0" normalizeH="0" baseline="0" noProof="0">
                          <a:ln>
                            <a:noFill/>
                          </a:ln>
                          <a:solidFill>
                            <a:srgbClr val="000000"/>
                          </a:solidFill>
                          <a:effectLst/>
                          <a:uLnTx/>
                          <a:uFillTx/>
                          <a:latin typeface="+mn-lt"/>
                          <a:ea typeface="+mn-ea"/>
                          <a:cs typeface="+mn-cs"/>
                        </a:rPr>
                        <a:t>$3.2B in SMRs and other advanced reactor designs; $</a:t>
                      </a:r>
                      <a:r>
                        <a:rPr lang="en-US" sz="950">
                          <a:solidFill>
                            <a:srgbClr val="000000"/>
                          </a:solidFill>
                          <a:latin typeface="+mn-lt"/>
                        </a:rPr>
                        <a:t>3.4B in federal funding for the HALEU availability program</a:t>
                      </a:r>
                      <a:endParaRPr lang="en-US" sz="950"/>
                    </a:p>
                  </a:txBody>
                  <a:tcPr marL="182880" marR="182880" marT="54864" marB="54864">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0" i="0" u="none" strike="noStrike" kern="1200" cap="none" spc="0" normalizeH="0" baseline="0" noProof="0">
                          <a:ln>
                            <a:noFill/>
                          </a:ln>
                          <a:solidFill>
                            <a:srgbClr val="000000"/>
                          </a:solidFill>
                          <a:effectLst/>
                          <a:uLnTx/>
                          <a:uFillTx/>
                          <a:latin typeface="+mn-lt"/>
                          <a:ea typeface="+mn-ea"/>
                          <a:cs typeface="+mn-cs"/>
                        </a:rPr>
                        <a:t>Advanced nuclear reactors included in scope of net-zero technologies eligible for financial support</a:t>
                      </a:r>
                      <a:endParaRPr lang="en-US" sz="950"/>
                    </a:p>
                  </a:txBody>
                  <a:tcPr marL="182880" marR="182880" marT="54864" marB="54864">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indent="0">
                        <a:spcBef>
                          <a:spcPts val="0"/>
                        </a:spcBef>
                        <a:buNone/>
                      </a:pPr>
                      <a:r>
                        <a:rPr kumimoji="0" lang="en-US" sz="950" b="0" i="0" u="none" strike="noStrike" kern="1200" cap="none" spc="0" normalizeH="0" baseline="0" noProof="0">
                          <a:ln>
                            <a:noFill/>
                          </a:ln>
                          <a:solidFill>
                            <a:srgbClr val="000000"/>
                          </a:solidFill>
                          <a:effectLst/>
                          <a:uLnTx/>
                          <a:uFillTx/>
                          <a:latin typeface="+mn-lt"/>
                          <a:ea typeface="+mn-ea"/>
                          <a:cs typeface="+mn-cs"/>
                        </a:rPr>
                        <a:t>Start operation of ACP100 SMR by 2026, develop floating offshore nuclear power plants</a:t>
                      </a:r>
                      <a:endParaRPr lang="en-US" sz="950"/>
                    </a:p>
                  </a:txBody>
                  <a:tcPr marL="182880" marR="182880" marT="54864" marB="54864">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07561041"/>
                  </a:ext>
                </a:extLst>
              </a:tr>
            </a:tbl>
          </a:graphicData>
        </a:graphic>
      </p:graphicFrame>
      <p:sp>
        <p:nvSpPr>
          <p:cNvPr id="146" name="Text Placeholder 10">
            <a:extLst>
              <a:ext uri="{FF2B5EF4-FFF2-40B4-BE49-F238E27FC236}">
                <a16:creationId xmlns:a16="http://schemas.microsoft.com/office/drawing/2014/main" id="{BB38E2C1-3C99-955B-BC51-8F970AB7EC70}"/>
              </a:ext>
            </a:extLst>
          </p:cNvPr>
          <p:cNvSpPr>
            <a:spLocks noGrp="1"/>
          </p:cNvSpPr>
          <p:nvPr>
            <p:custDataLst>
              <p:tags r:id="rId3"/>
            </p:custDataLst>
          </p:nvPr>
        </p:nvSpPr>
        <p:spPr bwMode="auto">
          <a:xfrm>
            <a:off x="330199" y="1390917"/>
            <a:ext cx="4921251" cy="246221"/>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lt"/>
                <a:cs typeface="Arial"/>
              </a:rPr>
              <a:t>Key policy drivers across main nuclear players</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cxnSp>
        <p:nvCxnSpPr>
          <p:cNvPr id="147" name="Straight Connector 146">
            <a:extLst>
              <a:ext uri="{FF2B5EF4-FFF2-40B4-BE49-F238E27FC236}">
                <a16:creationId xmlns:a16="http://schemas.microsoft.com/office/drawing/2014/main" id="{2A2BD4F8-0B8E-0BED-C1B1-27535CBCC9DC}"/>
              </a:ext>
            </a:extLst>
          </p:cNvPr>
          <p:cNvCxnSpPr>
            <a:cxnSpLocks/>
          </p:cNvCxnSpPr>
          <p:nvPr/>
        </p:nvCxnSpPr>
        <p:spPr bwMode="gray">
          <a:xfrm>
            <a:off x="309652" y="1666166"/>
            <a:ext cx="1152683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5" name="Rectangular Callout 2">
            <a:extLst>
              <a:ext uri="{FF2B5EF4-FFF2-40B4-BE49-F238E27FC236}">
                <a16:creationId xmlns:a16="http://schemas.microsoft.com/office/drawing/2014/main" id="{3FF9C198-D2E3-C9BA-D89F-1CEA1F10B0BC}"/>
              </a:ext>
            </a:extLst>
          </p:cNvPr>
          <p:cNvSpPr/>
          <p:nvPr/>
        </p:nvSpPr>
        <p:spPr>
          <a:xfrm flipH="1">
            <a:off x="10926762" y="2718958"/>
            <a:ext cx="1124340" cy="492984"/>
          </a:xfrm>
          <a:prstGeom prst="wedgeRectCallout">
            <a:avLst>
              <a:gd name="adj1" fmla="val 60171"/>
              <a:gd name="adj2" fmla="val -4004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p>
            <a:pPr lvl="0">
              <a:defRPr/>
            </a:pPr>
            <a:r>
              <a:rPr kumimoji="0" lang="en-US" sz="900" b="0" i="0" u="none" strike="noStrike" kern="1200" cap="none" spc="0" normalizeH="0" baseline="0" noProof="0">
                <a:solidFill>
                  <a:schemeClr val="bg1"/>
                </a:solidFill>
                <a:effectLst/>
                <a:uLnTx/>
                <a:uFillTx/>
                <a:latin typeface="Arial"/>
                <a:ea typeface="+mn-ea"/>
                <a:cs typeface="+mn-cs"/>
              </a:rPr>
              <a:t>China’s LCOE is less than half that of U.S. and EU.</a:t>
            </a:r>
            <a:endParaRPr kumimoji="0" lang="en-US" sz="900" i="0" u="none" strike="noStrike" kern="1200" cap="none" spc="0" normalizeH="0" baseline="0" noProof="0">
              <a:solidFill>
                <a:schemeClr val="bg1"/>
              </a:solidFill>
              <a:effectLst/>
              <a:uLnTx/>
              <a:uFillTx/>
              <a:latin typeface="Arial"/>
              <a:ea typeface="+mn-ea"/>
              <a:cs typeface="+mn-cs"/>
            </a:endParaRPr>
          </a:p>
        </p:txBody>
      </p:sp>
      <p:sp>
        <p:nvSpPr>
          <p:cNvPr id="161" name="Rectangle 160">
            <a:extLst>
              <a:ext uri="{FF2B5EF4-FFF2-40B4-BE49-F238E27FC236}">
                <a16:creationId xmlns:a16="http://schemas.microsoft.com/office/drawing/2014/main" id="{75C912E2-2728-AE3F-0258-B083D0F0A573}"/>
              </a:ext>
            </a:extLst>
          </p:cNvPr>
          <p:cNvSpPr/>
          <p:nvPr/>
        </p:nvSpPr>
        <p:spPr bwMode="gray">
          <a:xfrm>
            <a:off x="9817668" y="1705543"/>
            <a:ext cx="182880" cy="182880"/>
          </a:xfrm>
          <a:prstGeom prst="rect">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mj-lt"/>
                <a:ea typeface="+mn-ea"/>
                <a:cs typeface="+mn-cs"/>
              </a:rPr>
              <a:t>H</a:t>
            </a:r>
          </a:p>
        </p:txBody>
      </p:sp>
      <p:sp>
        <p:nvSpPr>
          <p:cNvPr id="162" name="TextBox 161">
            <a:extLst>
              <a:ext uri="{FF2B5EF4-FFF2-40B4-BE49-F238E27FC236}">
                <a16:creationId xmlns:a16="http://schemas.microsoft.com/office/drawing/2014/main" id="{652EEED4-9568-A8A1-3872-DC980CC13395}"/>
              </a:ext>
            </a:extLst>
          </p:cNvPr>
          <p:cNvSpPr txBox="1"/>
          <p:nvPr/>
        </p:nvSpPr>
        <p:spPr bwMode="gray">
          <a:xfrm>
            <a:off x="8572168" y="1727734"/>
            <a:ext cx="3321074" cy="143877"/>
          </a:xfrm>
          <a:prstGeom prst="rect">
            <a:avLst/>
          </a:prstGeom>
          <a:noFill/>
        </p:spPr>
        <p:txBody>
          <a:bodyPr wrap="square" lIns="0" tIns="0" rIns="0" bIns="0" rtlCol="0">
            <a:spAutoFit/>
          </a:bodyPr>
          <a:lstStyle/>
          <a:p>
            <a:pPr lvl="0">
              <a:spcBef>
                <a:spcPts val="600"/>
              </a:spcBef>
              <a:spcAft>
                <a:spcPts val="600"/>
              </a:spcAft>
              <a:defRPr/>
            </a:pPr>
            <a:r>
              <a:rPr kumimoji="0" lang="en-US" sz="900" b="0" i="0" u="none" strike="noStrike" kern="1200" cap="none" spc="0" normalizeH="0" baseline="0" noProof="0">
                <a:ln>
                  <a:noFill/>
                </a:ln>
                <a:solidFill>
                  <a:srgbClr val="000000"/>
                </a:solidFill>
                <a:effectLst/>
                <a:uLnTx/>
                <a:uFillTx/>
                <a:latin typeface="+mj-lt"/>
                <a:ea typeface="+mn-ea"/>
                <a:cs typeface="+mn-cs"/>
              </a:rPr>
              <a:t>Level of policy support:         = High           = Medium          = Low</a:t>
            </a:r>
          </a:p>
        </p:txBody>
      </p:sp>
      <p:sp>
        <p:nvSpPr>
          <p:cNvPr id="163" name="Rectangle 162">
            <a:extLst>
              <a:ext uri="{FF2B5EF4-FFF2-40B4-BE49-F238E27FC236}">
                <a16:creationId xmlns:a16="http://schemas.microsoft.com/office/drawing/2014/main" id="{07B85C84-8CE9-E07D-2EE4-6BEF481FCE7C}"/>
              </a:ext>
            </a:extLst>
          </p:cNvPr>
          <p:cNvSpPr/>
          <p:nvPr/>
        </p:nvSpPr>
        <p:spPr bwMode="gray">
          <a:xfrm>
            <a:off x="10505123" y="1705543"/>
            <a:ext cx="182880" cy="182880"/>
          </a:xfrm>
          <a:prstGeom prst="rect">
            <a:avLst/>
          </a:prstGeom>
          <a:solidFill>
            <a:srgbClr val="FFC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mj-lt"/>
                <a:ea typeface="+mn-ea"/>
                <a:cs typeface="+mn-cs"/>
              </a:rPr>
              <a:t>M </a:t>
            </a:r>
          </a:p>
        </p:txBody>
      </p:sp>
      <p:sp>
        <p:nvSpPr>
          <p:cNvPr id="164" name="btfpNotesBox368131">
            <a:hlinkClick r:id="rId12"/>
            <a:extLst>
              <a:ext uri="{FF2B5EF4-FFF2-40B4-BE49-F238E27FC236}">
                <a16:creationId xmlns:a16="http://schemas.microsoft.com/office/drawing/2014/main" id="{CAFF327E-11F9-216C-9DE6-2A2C79D8C7B5}"/>
              </a:ext>
            </a:extLst>
          </p:cNvPr>
          <p:cNvSpPr txBox="1"/>
          <p:nvPr>
            <p:custDataLst>
              <p:tags r:id="rId4"/>
            </p:custDataLst>
          </p:nvPr>
        </p:nvSpPr>
        <p:spPr bwMode="gray">
          <a:xfrm>
            <a:off x="330199" y="6156516"/>
            <a:ext cx="9167484" cy="615553"/>
          </a:xfrm>
          <a:prstGeom prst="rect">
            <a:avLst/>
          </a:prstGeom>
          <a:noFill/>
        </p:spPr>
        <p:txBody>
          <a:bodyPr vert="horz" wrap="square" lIns="0" tIns="0" rIns="0" bIns="0" rtlCol="0" anchor="b">
            <a:spAutoFit/>
          </a:bodyPr>
          <a:lstStyle/>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lang="en-US" sz="800" dirty="0">
                <a:solidFill>
                  <a:srgbClr val="000000"/>
                </a:solidFill>
                <a:latin typeface="Arial"/>
              </a:rPr>
              <a:t>The l</a:t>
            </a:r>
            <a:r>
              <a:rPr kumimoji="0" lang="en-US" sz="800" b="0" i="0" u="none" strike="noStrike" kern="1200" cap="none" spc="0" normalizeH="0" baseline="0" noProof="0" dirty="0" err="1">
                <a:ln>
                  <a:noFill/>
                </a:ln>
                <a:solidFill>
                  <a:srgbClr val="000000"/>
                </a:solidFill>
                <a:effectLst/>
                <a:uLnTx/>
                <a:uFillTx/>
                <a:latin typeface="Arial"/>
                <a:ea typeface="+mn-ea"/>
                <a:cs typeface="+mn-cs"/>
              </a:rPr>
              <a:t>atest</a:t>
            </a:r>
            <a:r>
              <a:rPr kumimoji="0" lang="en-US" sz="800" b="0" i="0" u="none" strike="noStrike" kern="1200" cap="none" spc="0" normalizeH="0" baseline="0" noProof="0" dirty="0">
                <a:ln>
                  <a:noFill/>
                </a:ln>
                <a:solidFill>
                  <a:srgbClr val="000000"/>
                </a:solidFill>
                <a:effectLst/>
                <a:uLnTx/>
                <a:uFillTx/>
                <a:latin typeface="Arial"/>
                <a:ea typeface="+mn-ea"/>
                <a:cs typeface="+mn-cs"/>
              </a:rPr>
              <a:t> Chinese government study mentioned by World Nuclear Association was released in October 2018.</a:t>
            </a:r>
          </a:p>
          <a:p>
            <a:pPr lvl="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World Nuclear Associat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Nuclear Power in the USA</a:t>
            </a:r>
            <a:r>
              <a:rPr kumimoji="0" lang="en-US" sz="800" b="0" i="0" u="none" strike="noStrike" kern="1200" cap="none" spc="0" normalizeH="0" baseline="0" noProof="0" dirty="0">
                <a:ln>
                  <a:noFill/>
                </a:ln>
                <a:solidFill>
                  <a:srgbClr val="000000"/>
                </a:solidFill>
                <a:effectLst/>
                <a:uLnTx/>
                <a:uFillTx/>
                <a:latin typeface="Arial"/>
                <a:ea typeface="+mn-ea"/>
                <a:cs typeface="+mn-cs"/>
              </a:rPr>
              <a:t> (2025); Lazar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LCOE</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Nuclear Europ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Pathways to 2050</a:t>
            </a:r>
            <a:r>
              <a:rPr kumimoji="0" lang="en-US" sz="800" b="0" i="0" u="none" strike="noStrike" kern="1200" cap="none" spc="0" normalizeH="0" baseline="0" noProof="0" dirty="0">
                <a:ln>
                  <a:noFill/>
                </a:ln>
                <a:solidFill>
                  <a:srgbClr val="000000"/>
                </a:solidFill>
                <a:effectLst/>
                <a:uLnTx/>
                <a:uFillTx/>
                <a:latin typeface="Arial"/>
                <a:ea typeface="+mn-ea"/>
                <a:cs typeface="+mn-cs"/>
              </a:rPr>
              <a:t> (2025); World Nuclear Associat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Nuclear Power in China</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r>
              <a:rPr kumimoji="0" lang="en-US" sz="800" b="0" i="0" u="none" strike="noStrike" kern="1200" cap="none" spc="0" normalizeH="0" baseline="0" noProof="0" dirty="0" err="1">
                <a:ln>
                  <a:noFill/>
                </a:ln>
                <a:solidFill>
                  <a:srgbClr val="000000"/>
                </a:solidFill>
                <a:effectLst/>
                <a:uLnTx/>
                <a:uFillTx/>
                <a:latin typeface="Arial"/>
                <a:ea typeface="+mn-ea"/>
                <a:cs typeface="+mn-cs"/>
              </a:rPr>
              <a:t>Foro</a:t>
            </a:r>
            <a:r>
              <a:rPr lang="en-US" sz="800" dirty="0">
                <a:solidFill>
                  <a:srgbClr val="000000"/>
                </a:solidFill>
                <a:latin typeface="Arial"/>
              </a:rPr>
              <a:t>Nuclear, </a:t>
            </a:r>
            <a:r>
              <a:rPr lang="en-US" sz="800" dirty="0">
                <a:solidFill>
                  <a:srgbClr val="000000"/>
                </a:solidFill>
                <a:latin typeface="Arial"/>
                <a:hlinkClick r:id="rId17"/>
              </a:rPr>
              <a:t>EU recognizes value of nuclear </a:t>
            </a:r>
            <a:r>
              <a:rPr lang="en-US" sz="800" dirty="0">
                <a:solidFill>
                  <a:srgbClr val="000000"/>
                </a:solidFill>
                <a:latin typeface="Arial"/>
              </a:rPr>
              <a:t>(2025); </a:t>
            </a:r>
            <a:r>
              <a:rPr kumimoji="0" lang="en-US" sz="800" b="0" i="0" u="none" strike="noStrike" kern="1200" cap="none" spc="0" normalizeH="0" baseline="0" noProof="0" dirty="0">
                <a:ln>
                  <a:noFill/>
                </a:ln>
                <a:solidFill>
                  <a:srgbClr val="000000"/>
                </a:solidFill>
                <a:effectLst/>
                <a:uLnTx/>
                <a:uFillTx/>
                <a:latin typeface="Arial"/>
                <a:ea typeface="+mn-ea"/>
                <a:cs typeface="+mn-cs"/>
              </a:rPr>
              <a:t>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The Path to a New Era for Nuclear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5); ITI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How Innovative Is China in Nuclear Power?</a:t>
            </a:r>
            <a:r>
              <a:rPr kumimoji="0" lang="en-US" sz="800" b="0" i="0" u="none" strike="noStrike" kern="1200" cap="none" spc="0" normalizeH="0" baseline="0" noProof="0" dirty="0">
                <a:ln>
                  <a:noFill/>
                </a:ln>
                <a:solidFill>
                  <a:srgbClr val="000000"/>
                </a:solidFill>
                <a:effectLst/>
                <a:uLnTx/>
                <a:uFillTx/>
                <a:latin typeface="Arial"/>
                <a:ea typeface="+mn-ea"/>
                <a:cs typeface="+mn-cs"/>
              </a:rPr>
              <a:t> (2024); World Nuclear Association, </a:t>
            </a:r>
            <a:r>
              <a:rPr lang="en-US" sz="800" dirty="0">
                <a:solidFill>
                  <a:srgbClr val="000000"/>
                </a:solidFill>
                <a:hlinkClick r:id="rId20"/>
              </a:rPr>
              <a:t>Economics of Nuclear Power</a:t>
            </a:r>
            <a:r>
              <a:rPr lang="en-US" sz="800" dirty="0">
                <a:solidFill>
                  <a:srgbClr val="000000"/>
                </a:solidFill>
              </a:rPr>
              <a:t> (2023); </a:t>
            </a:r>
            <a:r>
              <a:rPr kumimoji="0" lang="en-US" sz="800" b="0" i="0" u="none" strike="noStrike" kern="1200" cap="none" spc="0" normalizeH="0" baseline="0" noProof="0" dirty="0">
                <a:ln>
                  <a:noFill/>
                </a:ln>
                <a:solidFill>
                  <a:srgbClr val="000000"/>
                </a:solidFill>
                <a:effectLst/>
                <a:uLnTx/>
                <a:uFillTx/>
                <a:latin typeface="Arial"/>
                <a:ea typeface="+mn-ea"/>
                <a:cs typeface="+mn-cs"/>
              </a:rPr>
              <a:t>N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1"/>
              </a:rPr>
              <a:t>Projected Costs of Generating Electricity 2020 Edi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0)</a:t>
            </a:r>
            <a:r>
              <a:rPr lang="en-US" sz="800" dirty="0">
                <a:solidFill>
                  <a:srgbClr val="000000"/>
                </a:solidFill>
                <a:latin typeface="Arial"/>
              </a:rPr>
              <a:t>; Nuclear Business Platform, </a:t>
            </a:r>
            <a:r>
              <a:rPr lang="en-US" sz="800" dirty="0">
                <a:solidFill>
                  <a:srgbClr val="000000"/>
                </a:solidFill>
                <a:latin typeface="Arial"/>
                <a:hlinkClick r:id="rId22"/>
              </a:rPr>
              <a:t>China’s Nuclear Power Program</a:t>
            </a:r>
            <a:r>
              <a:rPr lang="en-US" sz="800" dirty="0">
                <a:solidFill>
                  <a:srgbClr val="000000"/>
                </a:solidFill>
                <a:latin typeface="Arial"/>
              </a:rPr>
              <a:t> (2024).</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inako Arai, Adele </a:t>
            </a:r>
            <a:r>
              <a:rPr kumimoji="0" lang="en-US" sz="800" b="0" i="0" u="none" strike="noStrike" kern="1200" cap="none" spc="0" normalizeH="0" baseline="0" noProof="0" dirty="0" err="1">
                <a:ln>
                  <a:noFill/>
                </a:ln>
                <a:solidFill>
                  <a:srgbClr val="000000"/>
                </a:solidFill>
                <a:effectLst/>
                <a:uLnTx/>
                <a:uFillTx/>
                <a:latin typeface="Arial"/>
                <a:ea typeface="+mn-ea"/>
                <a:cs typeface="+mn-cs"/>
              </a:rPr>
              <a:t>Teh</a:t>
            </a:r>
            <a:r>
              <a:rPr kumimoji="0" lang="en-US" sz="800" b="0" i="0" u="none" strike="noStrike" kern="1200" cap="none" spc="0" normalizeH="0" baseline="0" noProof="0" dirty="0">
                <a:ln>
                  <a:noFill/>
                </a:ln>
                <a:solidFill>
                  <a:srgbClr val="000000"/>
                </a:solidFill>
                <a:effectLst/>
                <a:uLnTx/>
                <a:uFillTx/>
                <a:latin typeface="Arial"/>
                <a:ea typeface="+mn-ea"/>
                <a:cs typeface="+mn-cs"/>
              </a:rPr>
              <a: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lang="en-US" sz="800" dirty="0">
                <a:solidFill>
                  <a:srgbClr val="000000"/>
                </a:solidFill>
                <a:latin typeface="Arial"/>
              </a:rPr>
              <a:t>, Isabel </a:t>
            </a:r>
            <a:r>
              <a:rPr lang="en-US" sz="800" dirty="0" err="1">
                <a:solidFill>
                  <a:srgbClr val="000000"/>
                </a:solidFill>
                <a:latin typeface="Arial"/>
              </a:rPr>
              <a:t>Hoyos</a:t>
            </a:r>
            <a:r>
              <a:rPr lang="en-US" sz="800" dirty="0">
                <a:solidFill>
                  <a:srgbClr val="000000"/>
                </a:solidFill>
                <a:latin typeface="Arial"/>
              </a:rPr>
              <a:t>, </a:t>
            </a:r>
            <a:r>
              <a:rPr lang="en-US" sz="800" dirty="0" err="1">
                <a:solidFill>
                  <a:srgbClr val="000000"/>
                </a:solidFill>
                <a:latin typeface="Arial"/>
              </a:rPr>
              <a:t>Hyae</a:t>
            </a:r>
            <a:r>
              <a:rPr lang="en-US" sz="800" dirty="0">
                <a:solidFill>
                  <a:srgbClr val="000000"/>
                </a:solidFill>
                <a:latin typeface="Arial"/>
              </a:rPr>
              <a:t> </a:t>
            </a:r>
            <a:r>
              <a:rPr lang="en-US" sz="800" dirty="0" err="1">
                <a:solidFill>
                  <a:srgbClr val="000000"/>
                </a:solidFill>
                <a:latin typeface="Arial"/>
              </a:rPr>
              <a:t>Ryung</a:t>
            </a:r>
            <a:r>
              <a:rPr lang="en-US" sz="800" dirty="0">
                <a:solidFill>
                  <a:srgbClr val="000000"/>
                </a:solidFill>
                <a:latin typeface="Arial"/>
              </a:rPr>
              <a:t>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3"/>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4"/>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5"/>
              </a:rPr>
              <a:t>Nuclear Transition</a:t>
            </a:r>
            <a:r>
              <a:rPr kumimoji="0" lang="en-US" sz="800" b="0" i="0" u="none" strike="noStrike" kern="1200" cap="none" spc="0" normalizeH="0" baseline="0" noProof="0" dirty="0">
                <a:ln>
                  <a:noFill/>
                </a:ln>
                <a:solidFill>
                  <a:srgbClr val="000000"/>
                </a:solidFill>
                <a:effectLst/>
                <a:uLnTx/>
                <a:uFillTx/>
                <a:latin typeface="Arial"/>
                <a:ea typeface="+mn-ea"/>
                <a:cs typeface="+mn-cs"/>
              </a:rPr>
              <a:t>” (23 September 2025).</a:t>
            </a:r>
          </a:p>
        </p:txBody>
      </p:sp>
      <p:sp>
        <p:nvSpPr>
          <p:cNvPr id="165" name="Rectangle 164">
            <a:extLst>
              <a:ext uri="{FF2B5EF4-FFF2-40B4-BE49-F238E27FC236}">
                <a16:creationId xmlns:a16="http://schemas.microsoft.com/office/drawing/2014/main" id="{94DD3E34-F4D7-0E6D-2525-AE8A7EC27486}"/>
              </a:ext>
            </a:extLst>
          </p:cNvPr>
          <p:cNvSpPr/>
          <p:nvPr/>
        </p:nvSpPr>
        <p:spPr bwMode="gray">
          <a:xfrm>
            <a:off x="7716176" y="2806065"/>
            <a:ext cx="109728" cy="109728"/>
          </a:xfrm>
          <a:prstGeom prst="rect">
            <a:avLst/>
          </a:prstGeom>
          <a:solidFill>
            <a:srgbClr val="FFC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mn-cs"/>
              </a:rPr>
              <a:t>M </a:t>
            </a:r>
          </a:p>
        </p:txBody>
      </p:sp>
      <p:sp>
        <p:nvSpPr>
          <p:cNvPr id="166" name="Rectangle 165">
            <a:extLst>
              <a:ext uri="{FF2B5EF4-FFF2-40B4-BE49-F238E27FC236}">
                <a16:creationId xmlns:a16="http://schemas.microsoft.com/office/drawing/2014/main" id="{3E3A8EEF-A5A0-7480-F7D9-891CFA2078D8}"/>
              </a:ext>
            </a:extLst>
          </p:cNvPr>
          <p:cNvSpPr/>
          <p:nvPr/>
        </p:nvSpPr>
        <p:spPr bwMode="gray">
          <a:xfrm>
            <a:off x="7716176" y="4067868"/>
            <a:ext cx="109728" cy="109728"/>
          </a:xfrm>
          <a:prstGeom prst="rect">
            <a:avLst/>
          </a:prstGeom>
          <a:solidFill>
            <a:srgbClr val="FFC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mn-cs"/>
              </a:rPr>
              <a:t>M </a:t>
            </a:r>
          </a:p>
        </p:txBody>
      </p:sp>
      <p:sp>
        <p:nvSpPr>
          <p:cNvPr id="167" name="Rectangle 166">
            <a:extLst>
              <a:ext uri="{FF2B5EF4-FFF2-40B4-BE49-F238E27FC236}">
                <a16:creationId xmlns:a16="http://schemas.microsoft.com/office/drawing/2014/main" id="{AF778368-5C6B-EF99-9223-59A39AEA4890}"/>
              </a:ext>
            </a:extLst>
          </p:cNvPr>
          <p:cNvSpPr/>
          <p:nvPr/>
        </p:nvSpPr>
        <p:spPr bwMode="gray">
          <a:xfrm>
            <a:off x="7716176" y="5042843"/>
            <a:ext cx="109728" cy="109728"/>
          </a:xfrm>
          <a:prstGeom prst="rect">
            <a:avLst/>
          </a:prstGeom>
          <a:solidFill>
            <a:srgbClr val="FFC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mn-cs"/>
              </a:rPr>
              <a:t>M </a:t>
            </a:r>
          </a:p>
        </p:txBody>
      </p:sp>
      <p:sp>
        <p:nvSpPr>
          <p:cNvPr id="168" name="Rectangle 167">
            <a:extLst>
              <a:ext uri="{FF2B5EF4-FFF2-40B4-BE49-F238E27FC236}">
                <a16:creationId xmlns:a16="http://schemas.microsoft.com/office/drawing/2014/main" id="{DC52F443-0194-9628-301C-C16178B4B71A}"/>
              </a:ext>
            </a:extLst>
          </p:cNvPr>
          <p:cNvSpPr/>
          <p:nvPr/>
        </p:nvSpPr>
        <p:spPr bwMode="gray">
          <a:xfrm>
            <a:off x="11332278" y="1705543"/>
            <a:ext cx="182880" cy="182880"/>
          </a:xfrm>
          <a:prstGeom prst="rect">
            <a:avLst/>
          </a:prstGeom>
          <a:solidFill>
            <a:srgbClr val="C00000"/>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prstClr val="white"/>
                </a:solidFill>
                <a:latin typeface="+mj-lt"/>
              </a:rPr>
              <a:t>L</a:t>
            </a:r>
            <a:endParaRPr kumimoji="0" lang="en-US" sz="900" b="1" i="0" u="none" strike="noStrike" kern="1200" cap="none" spc="0" normalizeH="0" baseline="0" noProof="0">
              <a:ln>
                <a:noFill/>
              </a:ln>
              <a:solidFill>
                <a:prstClr val="white"/>
              </a:solidFill>
              <a:effectLst/>
              <a:uLnTx/>
              <a:uFillTx/>
              <a:latin typeface="+mj-lt"/>
              <a:ea typeface="+mn-ea"/>
              <a:cs typeface="+mn-cs"/>
            </a:endParaRPr>
          </a:p>
        </p:txBody>
      </p:sp>
      <p:sp>
        <p:nvSpPr>
          <p:cNvPr id="169" name="Rectangle 168">
            <a:extLst>
              <a:ext uri="{FF2B5EF4-FFF2-40B4-BE49-F238E27FC236}">
                <a16:creationId xmlns:a16="http://schemas.microsoft.com/office/drawing/2014/main" id="{5753043D-47F7-8B9B-B9F1-1500975FA417}"/>
              </a:ext>
            </a:extLst>
          </p:cNvPr>
          <p:cNvSpPr/>
          <p:nvPr/>
        </p:nvSpPr>
        <p:spPr bwMode="gray">
          <a:xfrm>
            <a:off x="7716176" y="5594134"/>
            <a:ext cx="109728" cy="109728"/>
          </a:xfrm>
          <a:prstGeom prst="rect">
            <a:avLst/>
          </a:prstGeom>
          <a:solidFill>
            <a:srgbClr val="FFC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mn-cs"/>
              </a:rPr>
              <a:t>M </a:t>
            </a:r>
          </a:p>
        </p:txBody>
      </p:sp>
      <p:sp>
        <p:nvSpPr>
          <p:cNvPr id="171" name="Rectangle 170">
            <a:extLst>
              <a:ext uri="{FF2B5EF4-FFF2-40B4-BE49-F238E27FC236}">
                <a16:creationId xmlns:a16="http://schemas.microsoft.com/office/drawing/2014/main" id="{922CE9C8-6549-52B3-800F-B2EF66032447}"/>
              </a:ext>
            </a:extLst>
          </p:cNvPr>
          <p:cNvSpPr/>
          <p:nvPr/>
        </p:nvSpPr>
        <p:spPr bwMode="gray">
          <a:xfrm>
            <a:off x="4803510" y="2806065"/>
            <a:ext cx="109728" cy="109728"/>
          </a:xfrm>
          <a:prstGeom prst="rect">
            <a:avLst/>
          </a:prstGeom>
          <a:solidFill>
            <a:srgbClr val="00933C"/>
          </a:solidFill>
          <a:ln w="9525">
            <a:solidFill>
              <a:srgbClr val="0093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mn-cs"/>
              </a:rPr>
              <a:t>H</a:t>
            </a:r>
          </a:p>
        </p:txBody>
      </p:sp>
      <p:sp>
        <p:nvSpPr>
          <p:cNvPr id="172" name="Rectangle 171">
            <a:extLst>
              <a:ext uri="{FF2B5EF4-FFF2-40B4-BE49-F238E27FC236}">
                <a16:creationId xmlns:a16="http://schemas.microsoft.com/office/drawing/2014/main" id="{DAF4CFB1-7F90-EF73-0940-8A07B351D27D}"/>
              </a:ext>
            </a:extLst>
          </p:cNvPr>
          <p:cNvSpPr/>
          <p:nvPr/>
        </p:nvSpPr>
        <p:spPr bwMode="gray">
          <a:xfrm>
            <a:off x="4803510" y="3807372"/>
            <a:ext cx="109728" cy="109728"/>
          </a:xfrm>
          <a:prstGeom prst="rect">
            <a:avLst/>
          </a:prstGeom>
          <a:solidFill>
            <a:srgbClr val="00933C"/>
          </a:solidFill>
          <a:ln w="9525">
            <a:solidFill>
              <a:srgbClr val="0093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mn-cs"/>
              </a:rPr>
              <a:t>H</a:t>
            </a:r>
          </a:p>
        </p:txBody>
      </p:sp>
      <p:sp>
        <p:nvSpPr>
          <p:cNvPr id="173" name="Rectangle 172">
            <a:extLst>
              <a:ext uri="{FF2B5EF4-FFF2-40B4-BE49-F238E27FC236}">
                <a16:creationId xmlns:a16="http://schemas.microsoft.com/office/drawing/2014/main" id="{1B56E040-828B-0CB7-19B7-640CA9F8D9BA}"/>
              </a:ext>
            </a:extLst>
          </p:cNvPr>
          <p:cNvSpPr/>
          <p:nvPr/>
        </p:nvSpPr>
        <p:spPr bwMode="gray">
          <a:xfrm>
            <a:off x="7716176" y="3807372"/>
            <a:ext cx="109728" cy="109728"/>
          </a:xfrm>
          <a:prstGeom prst="rect">
            <a:avLst/>
          </a:prstGeom>
          <a:solidFill>
            <a:srgbClr val="FFC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mn-cs"/>
              </a:rPr>
              <a:t>M </a:t>
            </a:r>
          </a:p>
        </p:txBody>
      </p:sp>
      <p:sp>
        <p:nvSpPr>
          <p:cNvPr id="174" name="Rectangle 173">
            <a:extLst>
              <a:ext uri="{FF2B5EF4-FFF2-40B4-BE49-F238E27FC236}">
                <a16:creationId xmlns:a16="http://schemas.microsoft.com/office/drawing/2014/main" id="{1E18C891-5BFA-4247-02E8-5EC101BCC2DB}"/>
              </a:ext>
            </a:extLst>
          </p:cNvPr>
          <p:cNvSpPr/>
          <p:nvPr/>
        </p:nvSpPr>
        <p:spPr bwMode="gray">
          <a:xfrm>
            <a:off x="4803510" y="4067868"/>
            <a:ext cx="109728" cy="109728"/>
          </a:xfrm>
          <a:prstGeom prst="rect">
            <a:avLst/>
          </a:prstGeom>
          <a:solidFill>
            <a:srgbClr val="00933C"/>
          </a:solidFill>
          <a:ln w="9525">
            <a:solidFill>
              <a:srgbClr val="0093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mn-cs"/>
              </a:rPr>
              <a:t>H</a:t>
            </a:r>
          </a:p>
        </p:txBody>
      </p:sp>
      <p:sp>
        <p:nvSpPr>
          <p:cNvPr id="175" name="Rectangle 174">
            <a:extLst>
              <a:ext uri="{FF2B5EF4-FFF2-40B4-BE49-F238E27FC236}">
                <a16:creationId xmlns:a16="http://schemas.microsoft.com/office/drawing/2014/main" id="{10288377-3580-1BB4-DF4F-A2C18393DCE7}"/>
              </a:ext>
            </a:extLst>
          </p:cNvPr>
          <p:cNvSpPr/>
          <p:nvPr/>
        </p:nvSpPr>
        <p:spPr bwMode="gray">
          <a:xfrm>
            <a:off x="4803510" y="5042843"/>
            <a:ext cx="109728" cy="109728"/>
          </a:xfrm>
          <a:prstGeom prst="rect">
            <a:avLst/>
          </a:prstGeom>
          <a:solidFill>
            <a:srgbClr val="00933C"/>
          </a:solidFill>
          <a:ln w="9525">
            <a:solidFill>
              <a:srgbClr val="0093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mn-cs"/>
              </a:rPr>
              <a:t>H</a:t>
            </a:r>
          </a:p>
        </p:txBody>
      </p:sp>
      <p:sp>
        <p:nvSpPr>
          <p:cNvPr id="176" name="Rectangle 175">
            <a:extLst>
              <a:ext uri="{FF2B5EF4-FFF2-40B4-BE49-F238E27FC236}">
                <a16:creationId xmlns:a16="http://schemas.microsoft.com/office/drawing/2014/main" id="{B57117FA-303D-EDD1-0204-DD0C46CF77E3}"/>
              </a:ext>
            </a:extLst>
          </p:cNvPr>
          <p:cNvSpPr/>
          <p:nvPr/>
        </p:nvSpPr>
        <p:spPr bwMode="gray">
          <a:xfrm>
            <a:off x="4803510" y="5594134"/>
            <a:ext cx="109728" cy="109728"/>
          </a:xfrm>
          <a:prstGeom prst="rect">
            <a:avLst/>
          </a:prstGeom>
          <a:solidFill>
            <a:srgbClr val="00933C"/>
          </a:solidFill>
          <a:ln w="9525">
            <a:solidFill>
              <a:srgbClr val="0093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mn-cs"/>
              </a:rPr>
              <a:t>H</a:t>
            </a:r>
          </a:p>
        </p:txBody>
      </p:sp>
      <p:sp>
        <p:nvSpPr>
          <p:cNvPr id="177" name="Rectangle 176">
            <a:extLst>
              <a:ext uri="{FF2B5EF4-FFF2-40B4-BE49-F238E27FC236}">
                <a16:creationId xmlns:a16="http://schemas.microsoft.com/office/drawing/2014/main" id="{FB795517-CF65-4AC7-7539-FF033D3861D7}"/>
              </a:ext>
            </a:extLst>
          </p:cNvPr>
          <p:cNvSpPr/>
          <p:nvPr/>
        </p:nvSpPr>
        <p:spPr bwMode="gray">
          <a:xfrm>
            <a:off x="10634015" y="5594134"/>
            <a:ext cx="109728" cy="109728"/>
          </a:xfrm>
          <a:prstGeom prst="rect">
            <a:avLst/>
          </a:prstGeom>
          <a:solidFill>
            <a:srgbClr val="00933C"/>
          </a:solidFill>
          <a:ln w="9525">
            <a:solidFill>
              <a:srgbClr val="0093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mn-cs"/>
              </a:rPr>
              <a:t>H</a:t>
            </a:r>
          </a:p>
        </p:txBody>
      </p:sp>
      <p:sp>
        <p:nvSpPr>
          <p:cNvPr id="178" name="Rectangle 177">
            <a:extLst>
              <a:ext uri="{FF2B5EF4-FFF2-40B4-BE49-F238E27FC236}">
                <a16:creationId xmlns:a16="http://schemas.microsoft.com/office/drawing/2014/main" id="{0E11AA79-0F5C-D9AC-AE6C-7184CA1E5DEB}"/>
              </a:ext>
            </a:extLst>
          </p:cNvPr>
          <p:cNvSpPr/>
          <p:nvPr/>
        </p:nvSpPr>
        <p:spPr bwMode="gray">
          <a:xfrm>
            <a:off x="10634015" y="4067868"/>
            <a:ext cx="109728" cy="109728"/>
          </a:xfrm>
          <a:prstGeom prst="rect">
            <a:avLst/>
          </a:prstGeom>
          <a:solidFill>
            <a:srgbClr val="00933C"/>
          </a:solidFill>
          <a:ln w="9525">
            <a:solidFill>
              <a:srgbClr val="0093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mn-cs"/>
              </a:rPr>
              <a:t>H</a:t>
            </a:r>
          </a:p>
        </p:txBody>
      </p:sp>
      <p:sp>
        <p:nvSpPr>
          <p:cNvPr id="179" name="Rectangle 178">
            <a:extLst>
              <a:ext uri="{FF2B5EF4-FFF2-40B4-BE49-F238E27FC236}">
                <a16:creationId xmlns:a16="http://schemas.microsoft.com/office/drawing/2014/main" id="{08A1B735-7C48-CC9C-FB76-C5A111A6F2CC}"/>
              </a:ext>
            </a:extLst>
          </p:cNvPr>
          <p:cNvSpPr/>
          <p:nvPr/>
        </p:nvSpPr>
        <p:spPr bwMode="gray">
          <a:xfrm>
            <a:off x="10634015" y="3807372"/>
            <a:ext cx="109728" cy="109728"/>
          </a:xfrm>
          <a:prstGeom prst="rect">
            <a:avLst/>
          </a:prstGeom>
          <a:solidFill>
            <a:srgbClr val="00933C"/>
          </a:solidFill>
          <a:ln w="9525">
            <a:solidFill>
              <a:srgbClr val="0093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mn-cs"/>
              </a:rPr>
              <a:t>H</a:t>
            </a:r>
          </a:p>
        </p:txBody>
      </p:sp>
      <p:sp>
        <p:nvSpPr>
          <p:cNvPr id="180" name="Rectangle 179">
            <a:extLst>
              <a:ext uri="{FF2B5EF4-FFF2-40B4-BE49-F238E27FC236}">
                <a16:creationId xmlns:a16="http://schemas.microsoft.com/office/drawing/2014/main" id="{53C080A7-0231-0352-DB43-7BDE43A55FA7}"/>
              </a:ext>
            </a:extLst>
          </p:cNvPr>
          <p:cNvSpPr/>
          <p:nvPr/>
        </p:nvSpPr>
        <p:spPr bwMode="gray">
          <a:xfrm>
            <a:off x="10634015" y="2806065"/>
            <a:ext cx="109728" cy="109728"/>
          </a:xfrm>
          <a:prstGeom prst="rect">
            <a:avLst/>
          </a:prstGeom>
          <a:solidFill>
            <a:srgbClr val="00933C"/>
          </a:solidFill>
          <a:ln w="9525">
            <a:solidFill>
              <a:srgbClr val="0093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mn-cs"/>
              </a:rPr>
              <a:t>H</a:t>
            </a:r>
          </a:p>
        </p:txBody>
      </p:sp>
      <p:sp>
        <p:nvSpPr>
          <p:cNvPr id="181" name="Rectangle 180">
            <a:extLst>
              <a:ext uri="{FF2B5EF4-FFF2-40B4-BE49-F238E27FC236}">
                <a16:creationId xmlns:a16="http://schemas.microsoft.com/office/drawing/2014/main" id="{FBB496F6-AC6D-7E22-E206-B17A55092E40}"/>
              </a:ext>
            </a:extLst>
          </p:cNvPr>
          <p:cNvSpPr/>
          <p:nvPr/>
        </p:nvSpPr>
        <p:spPr bwMode="gray">
          <a:xfrm>
            <a:off x="10634015" y="5042843"/>
            <a:ext cx="109728" cy="109728"/>
          </a:xfrm>
          <a:prstGeom prst="rect">
            <a:avLst/>
          </a:prstGeom>
          <a:solidFill>
            <a:srgbClr val="C00000"/>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mn-cs"/>
              </a:rPr>
              <a:t>L</a:t>
            </a:r>
          </a:p>
        </p:txBody>
      </p:sp>
      <p:sp>
        <p:nvSpPr>
          <p:cNvPr id="182" name="Rectangular Callout 2">
            <a:extLst>
              <a:ext uri="{FF2B5EF4-FFF2-40B4-BE49-F238E27FC236}">
                <a16:creationId xmlns:a16="http://schemas.microsoft.com/office/drawing/2014/main" id="{9E81E41A-7E28-44F8-38E4-076DC5BBBF79}"/>
              </a:ext>
            </a:extLst>
          </p:cNvPr>
          <p:cNvSpPr/>
          <p:nvPr/>
        </p:nvSpPr>
        <p:spPr>
          <a:xfrm flipH="1">
            <a:off x="10926762" y="3646058"/>
            <a:ext cx="1124340" cy="878441"/>
          </a:xfrm>
          <a:prstGeom prst="wedgeRectCallout">
            <a:avLst>
              <a:gd name="adj1" fmla="val 58238"/>
              <a:gd name="adj2" fmla="val -22736"/>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p>
            <a:pPr lvl="0">
              <a:defRPr/>
            </a:pPr>
            <a:r>
              <a:rPr kumimoji="0" lang="en-US" sz="900" b="0" i="0" u="none" strike="noStrike" kern="1200" cap="none" spc="0" normalizeH="0" baseline="0" noProof="0" dirty="0">
                <a:solidFill>
                  <a:schemeClr val="bg1"/>
                </a:solidFill>
                <a:effectLst/>
                <a:uLnTx/>
                <a:uFillTx/>
                <a:latin typeface="Arial"/>
                <a:ea typeface="+mn-ea"/>
                <a:cs typeface="+mn-cs"/>
              </a:rPr>
              <a:t>U.S.</a:t>
            </a:r>
            <a:r>
              <a:rPr lang="en-US" sz="900" dirty="0">
                <a:solidFill>
                  <a:schemeClr val="bg1"/>
                </a:solidFill>
                <a:latin typeface="Arial"/>
              </a:rPr>
              <a:t> and </a:t>
            </a:r>
            <a:r>
              <a:rPr kumimoji="0" lang="en-US" sz="900" b="0" i="0" u="none" strike="noStrike" kern="1200" cap="none" spc="0" normalizeH="0" baseline="0" noProof="0" dirty="0">
                <a:solidFill>
                  <a:schemeClr val="bg1"/>
                </a:solidFill>
                <a:effectLst/>
                <a:uLnTx/>
                <a:uFillTx/>
                <a:latin typeface="Arial"/>
                <a:ea typeface="+mn-ea"/>
                <a:cs typeface="+mn-cs"/>
              </a:rPr>
              <a:t>China have ambitious targets </a:t>
            </a:r>
            <a:r>
              <a:rPr lang="en-US" sz="900" dirty="0">
                <a:solidFill>
                  <a:schemeClr val="bg1"/>
                </a:solidFill>
                <a:latin typeface="Arial"/>
              </a:rPr>
              <a:t>of </a:t>
            </a:r>
            <a:r>
              <a:rPr kumimoji="0" lang="en-US" sz="900" b="0" i="0" u="none" strike="noStrike" kern="1200" cap="none" spc="0" normalizeH="0" baseline="0" noProof="0" dirty="0">
                <a:solidFill>
                  <a:schemeClr val="bg1"/>
                </a:solidFill>
                <a:effectLst/>
                <a:uLnTx/>
                <a:uFillTx/>
                <a:latin typeface="Arial"/>
                <a:ea typeface="+mn-ea"/>
                <a:cs typeface="+mn-cs"/>
              </a:rPr>
              <a:t>4x and 10x current capacity, respectively; EU 1.5x.</a:t>
            </a:r>
            <a:endParaRPr kumimoji="0" lang="en-US" sz="900" i="0" u="none" strike="noStrike" kern="1200" cap="none" spc="0" normalizeH="0" baseline="0" noProof="0" dirty="0">
              <a:solidFill>
                <a:schemeClr val="bg1"/>
              </a:solidFill>
              <a:effectLst/>
              <a:uLnTx/>
              <a:uFillTx/>
              <a:latin typeface="Arial"/>
              <a:ea typeface="+mn-ea"/>
              <a:cs typeface="+mn-cs"/>
            </a:endParaRPr>
          </a:p>
        </p:txBody>
      </p:sp>
      <p:sp>
        <p:nvSpPr>
          <p:cNvPr id="183" name="Rectangular Callout 2">
            <a:extLst>
              <a:ext uri="{FF2B5EF4-FFF2-40B4-BE49-F238E27FC236}">
                <a16:creationId xmlns:a16="http://schemas.microsoft.com/office/drawing/2014/main" id="{2E7899CC-0840-49AD-1175-3E3B1F379EA0}"/>
              </a:ext>
            </a:extLst>
          </p:cNvPr>
          <p:cNvSpPr/>
          <p:nvPr/>
        </p:nvSpPr>
        <p:spPr>
          <a:xfrm flipH="1">
            <a:off x="10926762" y="4721981"/>
            <a:ext cx="1124340" cy="751451"/>
          </a:xfrm>
          <a:prstGeom prst="wedgeRectCallout">
            <a:avLst>
              <a:gd name="adj1" fmla="val 61106"/>
              <a:gd name="adj2" fmla="val -37165"/>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p>
            <a:pPr lvl="0">
              <a:defRPr/>
            </a:pPr>
            <a:r>
              <a:rPr lang="en-US" sz="900">
                <a:solidFill>
                  <a:schemeClr val="bg1"/>
                </a:solidFill>
                <a:latin typeface="Arial"/>
              </a:rPr>
              <a:t>Significant additional capital commitments required to reach capacity goals.</a:t>
            </a:r>
            <a:endParaRPr kumimoji="0" lang="en-US" sz="900" i="0" u="none" strike="noStrike" kern="1200" cap="none" spc="0" normalizeH="0" baseline="0" noProof="0">
              <a:solidFill>
                <a:schemeClr val="bg1"/>
              </a:solidFill>
              <a:effectLst/>
              <a:uLnTx/>
              <a:uFillTx/>
              <a:latin typeface="Arial"/>
              <a:ea typeface="+mn-ea"/>
              <a:cs typeface="+mn-cs"/>
            </a:endParaRPr>
          </a:p>
        </p:txBody>
      </p:sp>
      <p:sp>
        <p:nvSpPr>
          <p:cNvPr id="184" name="Rectangular Callout 2">
            <a:extLst>
              <a:ext uri="{FF2B5EF4-FFF2-40B4-BE49-F238E27FC236}">
                <a16:creationId xmlns:a16="http://schemas.microsoft.com/office/drawing/2014/main" id="{EE7C7C0E-BF64-0D5A-9701-4D7D4EAEC5A1}"/>
              </a:ext>
            </a:extLst>
          </p:cNvPr>
          <p:cNvSpPr/>
          <p:nvPr/>
        </p:nvSpPr>
        <p:spPr>
          <a:xfrm flipH="1">
            <a:off x="10926762" y="2115517"/>
            <a:ext cx="1124340" cy="376347"/>
          </a:xfrm>
          <a:prstGeom prst="wedgeRectCallout">
            <a:avLst>
              <a:gd name="adj1" fmla="val 57687"/>
              <a:gd name="adj2" fmla="val 2037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p>
            <a:pPr lvl="0">
              <a:defRPr/>
            </a:pPr>
            <a:r>
              <a:rPr lang="en-US" sz="900">
                <a:solidFill>
                  <a:schemeClr val="bg1"/>
                </a:solidFill>
                <a:latin typeface="Arial"/>
              </a:rPr>
              <a:t>China has fastest growing fleet.</a:t>
            </a:r>
            <a:endParaRPr kumimoji="0" lang="en-US" sz="900" i="0" u="none" strike="noStrike" kern="1200" cap="none" spc="0" normalizeH="0" baseline="0" noProof="0">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13382480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F74A99-7714-43D6-B76A-1F5919B89D9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8A08F83-F5A1-EA56-AAE2-2094816EE373}"/>
              </a:ext>
            </a:extLst>
          </p:cNvPr>
          <p:cNvGraphicFramePr>
            <a:graphicFrameLocks noChangeAspect="1"/>
          </p:cNvGraphicFramePr>
          <p:nvPr>
            <p:custDataLst>
              <p:tags r:id="rId2"/>
            </p:custDataLst>
            <p:extLst>
              <p:ext uri="{D42A27DB-BD31-4B8C-83A1-F6EECF244321}">
                <p14:modId xmlns:p14="http://schemas.microsoft.com/office/powerpoint/2010/main" val="437396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1" progId="TCLayout.ActiveDocument.1">
                  <p:embed/>
                </p:oleObj>
              </mc:Choice>
              <mc:Fallback>
                <p:oleObj name="think-cell Slide" r:id="rId13" imgW="592" imgH="591" progId="TCLayout.ActiveDocument.1">
                  <p:embed/>
                  <p:pic>
                    <p:nvPicPr>
                      <p:cNvPr id="7" name="think-cell data - do not delete" hidden="1">
                        <a:extLst>
                          <a:ext uri="{FF2B5EF4-FFF2-40B4-BE49-F238E27FC236}">
                            <a16:creationId xmlns:a16="http://schemas.microsoft.com/office/drawing/2014/main" id="{C8A08F83-F5A1-EA56-AAE2-2094816EE373}"/>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5" name="TextBox 24">
            <a:extLst>
              <a:ext uri="{FF2B5EF4-FFF2-40B4-BE49-F238E27FC236}">
                <a16:creationId xmlns:a16="http://schemas.microsoft.com/office/drawing/2014/main" id="{5869224C-8941-D4CD-746A-20F1BF2A7F88}"/>
              </a:ext>
            </a:extLst>
          </p:cNvPr>
          <p:cNvSpPr txBox="1"/>
          <p:nvPr/>
        </p:nvSpPr>
        <p:spPr bwMode="gray">
          <a:xfrm>
            <a:off x="4148139" y="4162425"/>
            <a:ext cx="6100763" cy="276225"/>
          </a:xfrm>
          <a:prstGeom prst="rect">
            <a:avLst/>
          </a:prstGeom>
          <a:noFill/>
        </p:spPr>
        <p:txBody>
          <a:bodyPr wrap="square">
            <a:spAutoFit/>
          </a:bodyPr>
          <a:lstStyle/>
          <a:p>
            <a:r>
              <a:rPr lang="en-US" sz="1200" b="1">
                <a:solidFill>
                  <a:schemeClr val="tx1"/>
                </a:solidFill>
              </a:rPr>
              <a:t>Measures to be implemented June 2025-2050</a:t>
            </a:r>
            <a:endParaRPr lang="en-US" sz="1200"/>
          </a:p>
        </p:txBody>
      </p:sp>
      <p:sp>
        <p:nvSpPr>
          <p:cNvPr id="2220" name="TextBox 2219">
            <a:extLst>
              <a:ext uri="{FF2B5EF4-FFF2-40B4-BE49-F238E27FC236}">
                <a16:creationId xmlns:a16="http://schemas.microsoft.com/office/drawing/2014/main" id="{F16F7322-D5FC-0BB2-5F49-BA3081FDEF49}"/>
              </a:ext>
            </a:extLst>
          </p:cNvPr>
          <p:cNvSpPr txBox="1"/>
          <p:nvPr/>
        </p:nvSpPr>
        <p:spPr bwMode="gray">
          <a:xfrm>
            <a:off x="9094200" y="1426525"/>
            <a:ext cx="1846394" cy="253916"/>
          </a:xfrm>
          <a:prstGeom prst="rect">
            <a:avLst/>
          </a:prstGeom>
          <a:solidFill>
            <a:schemeClr val="bg1"/>
          </a:solidFill>
          <a:ln>
            <a:solidFill>
              <a:schemeClr val="bg1"/>
            </a:solidFill>
          </a:ln>
        </p:spPr>
        <p:txBody>
          <a:bodyPr wrap="square">
            <a:spAutoFit/>
          </a:bodyPr>
          <a:lstStyle/>
          <a:p>
            <a:pPr lvl="0">
              <a:spcBef>
                <a:spcPts val="150"/>
              </a:spcBef>
              <a:spcAft>
                <a:spcPts val="100"/>
              </a:spcAft>
            </a:pPr>
            <a:r>
              <a:rPr lang="en-US" altLang="zh-CN" sz="1050" dirty="0">
                <a:latin typeface="Arial"/>
                <a:ea typeface="宋体"/>
                <a:cs typeface="Arial"/>
              </a:rPr>
              <a:t>P</a:t>
            </a:r>
            <a:r>
              <a:rPr lang="en-US" altLang="zh-CN" sz="1050" i="0" dirty="0">
                <a:solidFill>
                  <a:schemeClr val="tx1"/>
                </a:solidFill>
                <a:effectLst/>
                <a:latin typeface="Arial"/>
                <a:ea typeface="宋体"/>
                <a:cs typeface="Arial"/>
              </a:rPr>
              <a:t>reserve</a:t>
            </a:r>
            <a:r>
              <a:rPr lang="en-US" altLang="zh-CN" sz="1050" dirty="0">
                <a:latin typeface="Arial"/>
                <a:ea typeface="宋体"/>
                <a:cs typeface="Arial"/>
              </a:rPr>
              <a:t>d</a:t>
            </a:r>
            <a:endParaRPr lang="en-US" altLang="zh-CN" sz="1050" i="0" dirty="0">
              <a:solidFill>
                <a:schemeClr val="tx1"/>
              </a:solidFill>
              <a:effectLst/>
              <a:latin typeface="Arial"/>
              <a:ea typeface="宋体"/>
              <a:cs typeface="Arial"/>
            </a:endParaRPr>
          </a:p>
        </p:txBody>
      </p:sp>
      <p:sp>
        <p:nvSpPr>
          <p:cNvPr id="50" name="Title 3">
            <a:extLst>
              <a:ext uri="{FF2B5EF4-FFF2-40B4-BE49-F238E27FC236}">
                <a16:creationId xmlns:a16="http://schemas.microsoft.com/office/drawing/2014/main" id="{95A6E7D7-4F20-D1FD-3E4F-679CE89E39CC}"/>
              </a:ext>
            </a:extLst>
          </p:cNvPr>
          <p:cNvSpPr txBox="1">
            <a:spLocks/>
          </p:cNvSpPr>
          <p:nvPr/>
        </p:nvSpPr>
        <p:spPr>
          <a:xfrm>
            <a:off x="330200" y="523318"/>
            <a:ext cx="11531600" cy="882788"/>
          </a:xfrm>
          <a:prstGeom prst="rect">
            <a:avLst/>
          </a:prstGeom>
        </p:spPr>
        <p:txBody>
          <a:bodyPr vert="horz" tIns="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r>
              <a:rPr lang="en-US"/>
              <a:t>OBBBA preserves IRA 45U incentives until 2033; foreign entity of concern (FEOC) fuel sourcing rules apply after 2028</a:t>
            </a:r>
          </a:p>
        </p:txBody>
      </p:sp>
      <p:sp>
        <p:nvSpPr>
          <p:cNvPr id="2225" name="TextBox 2224">
            <a:extLst>
              <a:ext uri="{FF2B5EF4-FFF2-40B4-BE49-F238E27FC236}">
                <a16:creationId xmlns:a16="http://schemas.microsoft.com/office/drawing/2014/main" id="{970CF64A-8F97-50FB-6FE5-B16D4CE5D742}"/>
              </a:ext>
            </a:extLst>
          </p:cNvPr>
          <p:cNvSpPr txBox="1"/>
          <p:nvPr>
            <p:custDataLst>
              <p:tags r:id="rId3"/>
            </p:custDataLst>
          </p:nvPr>
        </p:nvSpPr>
        <p:spPr bwMode="gray">
          <a:xfrm>
            <a:off x="598488" y="1714500"/>
            <a:ext cx="3867150" cy="274320"/>
          </a:xfrm>
          <a:prstGeom prst="rect">
            <a:avLst/>
          </a:prstGeom>
          <a:solidFill>
            <a:schemeClr val="tx2"/>
          </a:solidFill>
          <a:ln>
            <a:solidFill>
              <a:schemeClr val="bg2"/>
            </a:solidFill>
          </a:ln>
        </p:spPr>
        <p:txBody>
          <a:bodyPr wrap="square">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00" b="1">
                <a:latin typeface="+mn-lt"/>
              </a:rPr>
              <a:t>Inflation Reduction Act (</a:t>
            </a:r>
            <a:r>
              <a:rPr lang="en-US" sz="1200" b="1"/>
              <a:t>IRA)</a:t>
            </a:r>
            <a:r>
              <a:rPr lang="en-US" sz="1200" b="1">
                <a:latin typeface="+mn-lt"/>
              </a:rPr>
              <a:t> </a:t>
            </a:r>
          </a:p>
        </p:txBody>
      </p:sp>
      <p:sp>
        <p:nvSpPr>
          <p:cNvPr id="2226" name="TextBox 2225">
            <a:extLst>
              <a:ext uri="{FF2B5EF4-FFF2-40B4-BE49-F238E27FC236}">
                <a16:creationId xmlns:a16="http://schemas.microsoft.com/office/drawing/2014/main" id="{CF2A3C3E-FF1C-ABC9-67C4-4082EA6CA35B}"/>
              </a:ext>
            </a:extLst>
          </p:cNvPr>
          <p:cNvSpPr txBox="1"/>
          <p:nvPr>
            <p:custDataLst>
              <p:tags r:id="rId4"/>
            </p:custDataLst>
          </p:nvPr>
        </p:nvSpPr>
        <p:spPr bwMode="gray">
          <a:xfrm>
            <a:off x="4491039" y="1714500"/>
            <a:ext cx="6951663" cy="276999"/>
          </a:xfrm>
          <a:prstGeom prst="rect">
            <a:avLst/>
          </a:prstGeom>
          <a:solidFill>
            <a:schemeClr val="tx2"/>
          </a:solidFill>
          <a:ln>
            <a:solidFill>
              <a:schemeClr val="bg2"/>
            </a:solidFill>
          </a:ln>
        </p:spPr>
        <p:txBody>
          <a:bodyPr wrap="square">
            <a:spAutoFit/>
          </a:bodyPr>
          <a:lstStyle/>
          <a:p>
            <a:pPr lvl="0" algn="ctr" defTabSz="711200">
              <a:spcBef>
                <a:spcPts val="1200"/>
              </a:spcBef>
              <a:defRPr/>
            </a:pPr>
            <a:r>
              <a:rPr lang="en-US" sz="1200" b="1"/>
              <a:t>One Big Beautiful Bill Act (OBBBA) </a:t>
            </a:r>
            <a:endParaRPr lang="en-US" sz="1200" b="1">
              <a:latin typeface="+mn-lt"/>
            </a:endParaRPr>
          </a:p>
        </p:txBody>
      </p:sp>
      <p:graphicFrame>
        <p:nvGraphicFramePr>
          <p:cNvPr id="58" name="Chart 57"/>
          <p:cNvGraphicFramePr/>
          <p:nvPr>
            <p:custDataLst>
              <p:tags r:id="rId5"/>
            </p:custDataLst>
            <p:extLst>
              <p:ext uri="{D42A27DB-BD31-4B8C-83A1-F6EECF244321}">
                <p14:modId xmlns:p14="http://schemas.microsoft.com/office/powerpoint/2010/main" val="3865660998"/>
              </p:ext>
            </p:extLst>
          </p:nvPr>
        </p:nvGraphicFramePr>
        <p:xfrm>
          <a:off x="320675" y="3454400"/>
          <a:ext cx="11490325" cy="668338"/>
        </p:xfrm>
        <a:graphic>
          <a:graphicData uri="http://schemas.openxmlformats.org/drawingml/2006/chart">
            <c:chart xmlns:c="http://schemas.openxmlformats.org/drawingml/2006/chart" xmlns:r="http://schemas.openxmlformats.org/officeDocument/2006/relationships" r:id="rId15"/>
          </a:graphicData>
        </a:graphic>
      </p:graphicFrame>
      <p:sp>
        <p:nvSpPr>
          <p:cNvPr id="2221" name="TextBox 2220">
            <a:extLst>
              <a:ext uri="{FF2B5EF4-FFF2-40B4-BE49-F238E27FC236}">
                <a16:creationId xmlns:a16="http://schemas.microsoft.com/office/drawing/2014/main" id="{4311E38A-3DB8-D381-E476-88736DE46F67}"/>
              </a:ext>
            </a:extLst>
          </p:cNvPr>
          <p:cNvSpPr txBox="1"/>
          <p:nvPr>
            <p:custDataLst>
              <p:tags r:id="rId6"/>
            </p:custDataLst>
          </p:nvPr>
        </p:nvSpPr>
        <p:spPr bwMode="gray">
          <a:xfrm>
            <a:off x="10376625" y="1426525"/>
            <a:ext cx="1272831" cy="253916"/>
          </a:xfrm>
          <a:prstGeom prst="rect">
            <a:avLst/>
          </a:prstGeom>
          <a:solidFill>
            <a:schemeClr val="bg1"/>
          </a:solidFill>
          <a:ln>
            <a:solidFill>
              <a:schemeClr val="bg1"/>
            </a:solidFill>
          </a:ln>
        </p:spPr>
        <p:txBody>
          <a:bodyPr wrap="square">
            <a:spAutoFit/>
          </a:bodyPr>
          <a:lstStyle/>
          <a:p>
            <a:pPr lvl="0">
              <a:spcBef>
                <a:spcPts val="150"/>
              </a:spcBef>
              <a:spcAft>
                <a:spcPts val="100"/>
              </a:spcAft>
            </a:pPr>
            <a:r>
              <a:rPr lang="en-US" altLang="zh-CN" sz="1050" i="0" dirty="0">
                <a:solidFill>
                  <a:schemeClr val="tx1"/>
                </a:solidFill>
                <a:effectLst/>
                <a:latin typeface="Arial"/>
                <a:ea typeface="宋体"/>
                <a:cs typeface="Arial"/>
              </a:rPr>
              <a:t>Early expiration</a:t>
            </a:r>
          </a:p>
        </p:txBody>
      </p:sp>
      <p:sp>
        <p:nvSpPr>
          <p:cNvPr id="2282" name="Speech Bubble: Rectangle 2281">
            <a:extLst>
              <a:ext uri="{FF2B5EF4-FFF2-40B4-BE49-F238E27FC236}">
                <a16:creationId xmlns:a16="http://schemas.microsoft.com/office/drawing/2014/main" id="{A2027A17-3544-06C2-8381-A44DD482B2EC}"/>
              </a:ext>
            </a:extLst>
          </p:cNvPr>
          <p:cNvSpPr/>
          <p:nvPr/>
        </p:nvSpPr>
        <p:spPr bwMode="gray">
          <a:xfrm flipH="1">
            <a:off x="6975224" y="2244205"/>
            <a:ext cx="3514725" cy="352425"/>
          </a:xfrm>
          <a:prstGeom prst="wedgeRectCallout">
            <a:avLst>
              <a:gd name="adj1" fmla="val 24001"/>
              <a:gd name="adj2" fmla="val -100838"/>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000" b="1" dirty="0">
                <a:solidFill>
                  <a:schemeClr val="bg1"/>
                </a:solidFill>
              </a:rPr>
              <a:t>All projects onward will be affected by stricter </a:t>
            </a:r>
            <a:br>
              <a:rPr lang="en-US" sz="1000" b="1" dirty="0">
                <a:solidFill>
                  <a:schemeClr val="bg1"/>
                </a:solidFill>
              </a:rPr>
            </a:br>
            <a:r>
              <a:rPr lang="en-US" sz="1000" b="1" dirty="0">
                <a:solidFill>
                  <a:schemeClr val="bg1"/>
                </a:solidFill>
              </a:rPr>
              <a:t>FEOC restrictions. </a:t>
            </a:r>
          </a:p>
          <a:p>
            <a:pPr marL="0" indent="0" algn="ctr">
              <a:buNone/>
            </a:pPr>
            <a:endParaRPr lang="en-US" sz="1000" b="1" dirty="0">
              <a:solidFill>
                <a:schemeClr val="bg1"/>
              </a:solidFill>
            </a:endParaRPr>
          </a:p>
        </p:txBody>
      </p:sp>
      <p:sp>
        <p:nvSpPr>
          <p:cNvPr id="49" name="TextBox 48">
            <a:extLst>
              <a:ext uri="{FF2B5EF4-FFF2-40B4-BE49-F238E27FC236}">
                <a16:creationId xmlns:a16="http://schemas.microsoft.com/office/drawing/2014/main" id="{ED6F547D-1B3A-48A1-9433-03BE9963A505}"/>
              </a:ext>
            </a:extLst>
          </p:cNvPr>
          <p:cNvSpPr txBox="1"/>
          <p:nvPr/>
        </p:nvSpPr>
        <p:spPr bwMode="gray">
          <a:xfrm>
            <a:off x="0" y="-8068"/>
            <a:ext cx="3116687"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United States</a:t>
            </a:r>
          </a:p>
        </p:txBody>
      </p:sp>
      <p:sp>
        <p:nvSpPr>
          <p:cNvPr id="2" name="Rectangle 1">
            <a:extLst>
              <a:ext uri="{FF2B5EF4-FFF2-40B4-BE49-F238E27FC236}">
                <a16:creationId xmlns:a16="http://schemas.microsoft.com/office/drawing/2014/main" id="{789F862F-E440-6110-E718-E79C6571BA7E}"/>
              </a:ext>
            </a:extLst>
          </p:cNvPr>
          <p:cNvSpPr/>
          <p:nvPr/>
        </p:nvSpPr>
        <p:spPr bwMode="gray">
          <a:xfrm flipV="1">
            <a:off x="598488" y="3554413"/>
            <a:ext cx="10853928" cy="91820"/>
          </a:xfrm>
          <a:prstGeom prst="rect">
            <a:avLst/>
          </a:prstGeom>
          <a:gradFill flip="none" rotWithShape="1">
            <a:gsLst>
              <a:gs pos="91630">
                <a:srgbClr val="D1227D"/>
              </a:gs>
              <a:gs pos="100000">
                <a:srgbClr val="D1227D"/>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 name="Rectangle 8">
            <a:extLst>
              <a:ext uri="{FF2B5EF4-FFF2-40B4-BE49-F238E27FC236}">
                <a16:creationId xmlns:a16="http://schemas.microsoft.com/office/drawing/2014/main" id="{C81877BF-1D6F-B374-1D26-EB833A4BF883}"/>
              </a:ext>
            </a:extLst>
          </p:cNvPr>
          <p:cNvSpPr/>
          <p:nvPr/>
        </p:nvSpPr>
        <p:spPr bwMode="gray">
          <a:xfrm>
            <a:off x="8822572" y="1498619"/>
            <a:ext cx="301752" cy="109728"/>
          </a:xfrm>
          <a:prstGeom prst="rect">
            <a:avLst/>
          </a:prstGeom>
          <a:gradFill flip="none" rotWithShape="1">
            <a:gsLst>
              <a:gs pos="91630">
                <a:srgbClr val="D1227D"/>
              </a:gs>
              <a:gs pos="100000">
                <a:srgbClr val="D1227D"/>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 name="TextBox 9">
            <a:extLst>
              <a:ext uri="{FF2B5EF4-FFF2-40B4-BE49-F238E27FC236}">
                <a16:creationId xmlns:a16="http://schemas.microsoft.com/office/drawing/2014/main" id="{B43CB886-280C-683F-9116-FD37D832F3E8}"/>
              </a:ext>
            </a:extLst>
          </p:cNvPr>
          <p:cNvSpPr txBox="1"/>
          <p:nvPr>
            <p:custDataLst>
              <p:tags r:id="rId7"/>
            </p:custDataLst>
          </p:nvPr>
        </p:nvSpPr>
        <p:spPr bwMode="gray">
          <a:xfrm>
            <a:off x="598488" y="2017714"/>
            <a:ext cx="5949950" cy="822325"/>
          </a:xfrm>
          <a:prstGeom prst="rect">
            <a:avLst/>
          </a:prstGeom>
          <a:solidFill>
            <a:schemeClr val="bg1"/>
          </a:solidFill>
          <a:ln>
            <a:solidFill>
              <a:schemeClr val="tx2">
                <a:lumMod val="75000"/>
              </a:schemeClr>
            </a:solidFill>
          </a:ln>
        </p:spPr>
        <p:txBody>
          <a:bodyPr wrap="square" lIns="91440" tIns="45720" rIns="91440" bIns="45720" anchor="t">
            <a:spAutoFit/>
          </a:bodyPr>
          <a:lstStyle/>
          <a:p>
            <a:pPr marL="171450" lvl="0" indent="-171450">
              <a:spcBef>
                <a:spcPts val="150"/>
              </a:spcBef>
              <a:spcAft>
                <a:spcPts val="100"/>
              </a:spcAft>
              <a:buFont typeface="Arial" panose="020B0604020202020204" pitchFamily="34" charset="0"/>
              <a:buChar char="•"/>
            </a:pPr>
            <a:r>
              <a:rPr lang="en-US" altLang="zh-CN" sz="900" b="1">
                <a:cs typeface="Arial"/>
              </a:rPr>
              <a:t>45V: </a:t>
            </a:r>
            <a:r>
              <a:rPr lang="en-US" altLang="zh-CN" sz="900">
                <a:cs typeface="Arial"/>
              </a:rPr>
              <a:t>Credit available through 2032 for facilities that start construction. Producer can claim up to </a:t>
            </a:r>
            <a:r>
              <a:rPr lang="en-US" altLang="zh-CN" sz="900" b="1">
                <a:cs typeface="Arial"/>
              </a:rPr>
              <a:t>$3.0/kg </a:t>
            </a:r>
            <a:r>
              <a:rPr lang="en-US" altLang="zh-CN" sz="900">
                <a:cs typeface="Arial"/>
              </a:rPr>
              <a:t>until 10 years after the facility is placed into service. Under OBBBA, </a:t>
            </a:r>
            <a:r>
              <a:rPr lang="en-US" altLang="zh-CN" sz="900" b="1">
                <a:cs typeface="Arial"/>
              </a:rPr>
              <a:t>the credit is available only if construction starts by December 31, 2027.</a:t>
            </a:r>
          </a:p>
          <a:p>
            <a:pPr marL="171450" lvl="0" indent="-171450">
              <a:spcBef>
                <a:spcPts val="150"/>
              </a:spcBef>
              <a:spcAft>
                <a:spcPts val="100"/>
              </a:spcAft>
              <a:buFont typeface="Arial" panose="020B0604020202020204" pitchFamily="34" charset="0"/>
              <a:buChar char="•"/>
            </a:pPr>
            <a:r>
              <a:rPr lang="en-US" altLang="zh-CN" sz="900" b="1">
                <a:cs typeface="Arial"/>
              </a:rPr>
              <a:t>Wind and solar: 48E </a:t>
            </a:r>
            <a:r>
              <a:rPr lang="en-US" altLang="zh-CN" sz="900">
                <a:cs typeface="Arial"/>
              </a:rPr>
              <a:t>ITC </a:t>
            </a:r>
            <a:r>
              <a:rPr lang="en-US" altLang="zh-CN" sz="900" b="1">
                <a:cs typeface="Arial"/>
              </a:rPr>
              <a:t>of 6%,</a:t>
            </a:r>
            <a:r>
              <a:rPr lang="en-US" altLang="zh-CN" sz="900">
                <a:cs typeface="Arial"/>
              </a:rPr>
              <a:t> </a:t>
            </a:r>
            <a:r>
              <a:rPr lang="en-US" altLang="zh-CN" sz="900" b="1">
                <a:cs typeface="Arial"/>
              </a:rPr>
              <a:t>incrementable up to 30% and 45Y </a:t>
            </a:r>
            <a:r>
              <a:rPr lang="en-US" altLang="zh-CN" sz="900">
                <a:cs typeface="Arial"/>
              </a:rPr>
              <a:t>PTC </a:t>
            </a:r>
            <a:r>
              <a:rPr lang="en-US" altLang="zh-CN" sz="900" b="1">
                <a:cs typeface="Arial"/>
              </a:rPr>
              <a:t>of ¢0.3/kWh incremental up to ¢1.5/kWh. </a:t>
            </a:r>
            <a:r>
              <a:rPr lang="en-US" altLang="zh-CN" sz="900">
                <a:cs typeface="Arial"/>
              </a:rPr>
              <a:t>Facilities must be constructed </a:t>
            </a:r>
            <a:r>
              <a:rPr lang="en-US" altLang="zh-CN" sz="900" b="1">
                <a:cs typeface="Arial"/>
              </a:rPr>
              <a:t>by July 2026 or placed in service by December 31, 2027. </a:t>
            </a:r>
          </a:p>
        </p:txBody>
      </p:sp>
      <p:sp>
        <p:nvSpPr>
          <p:cNvPr id="12" name="Rectangle 11">
            <a:extLst>
              <a:ext uri="{FF2B5EF4-FFF2-40B4-BE49-F238E27FC236}">
                <a16:creationId xmlns:a16="http://schemas.microsoft.com/office/drawing/2014/main" id="{66B85D47-DBC1-E52D-CEB5-7041657D4670}"/>
              </a:ext>
            </a:extLst>
          </p:cNvPr>
          <p:cNvSpPr/>
          <p:nvPr/>
        </p:nvSpPr>
        <p:spPr bwMode="gray">
          <a:xfrm flipV="1">
            <a:off x="598488" y="2849563"/>
            <a:ext cx="10834688" cy="82296"/>
          </a:xfrm>
          <a:prstGeom prst="rect">
            <a:avLst/>
          </a:prstGeom>
          <a:gradFill>
            <a:gsLst>
              <a:gs pos="55000">
                <a:schemeClr val="accent6"/>
              </a:gs>
              <a:gs pos="74000">
                <a:srgbClr val="FFFFFF"/>
              </a:gs>
              <a:gs pos="71000">
                <a:srgbClr val="FFFFFF"/>
              </a:gs>
              <a:gs pos="79000">
                <a:schemeClr val="bg1"/>
              </a:gs>
              <a:gs pos="64000">
                <a:srgbClr val="FFFFFF"/>
              </a:gs>
              <a:gs pos="55000">
                <a:schemeClr val="bg1"/>
              </a:gs>
            </a:gsLst>
            <a:lin ang="0" scaled="1"/>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 name="Rectangle 13">
            <a:extLst>
              <a:ext uri="{FF2B5EF4-FFF2-40B4-BE49-F238E27FC236}">
                <a16:creationId xmlns:a16="http://schemas.microsoft.com/office/drawing/2014/main" id="{12868F90-3C7C-8D1F-6173-70DAF7657B6F}"/>
              </a:ext>
            </a:extLst>
          </p:cNvPr>
          <p:cNvSpPr/>
          <p:nvPr/>
        </p:nvSpPr>
        <p:spPr bwMode="gray">
          <a:xfrm>
            <a:off x="10026541" y="1498619"/>
            <a:ext cx="301752" cy="109728"/>
          </a:xfrm>
          <a:prstGeom prst="rect">
            <a:avLst/>
          </a:prstGeom>
          <a:gradFill>
            <a:gsLst>
              <a:gs pos="60000">
                <a:schemeClr val="accent6"/>
              </a:gs>
              <a:gs pos="62000">
                <a:srgbClr val="FFFFFF"/>
              </a:gs>
              <a:gs pos="62000">
                <a:srgbClr val="FFFFFF"/>
              </a:gs>
              <a:gs pos="63000">
                <a:schemeClr val="bg1"/>
              </a:gs>
              <a:gs pos="61000">
                <a:srgbClr val="FFFFFF"/>
              </a:gs>
              <a:gs pos="60000">
                <a:schemeClr val="bg1"/>
              </a:gs>
            </a:gsLst>
            <a:lin ang="0" scaled="1"/>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 name="TextBox 30">
            <a:extLst>
              <a:ext uri="{FF2B5EF4-FFF2-40B4-BE49-F238E27FC236}">
                <a16:creationId xmlns:a16="http://schemas.microsoft.com/office/drawing/2014/main" id="{D704AC5E-2410-0B6A-F363-1BCF49B092D2}"/>
              </a:ext>
            </a:extLst>
          </p:cNvPr>
          <p:cNvSpPr txBox="1"/>
          <p:nvPr/>
        </p:nvSpPr>
        <p:spPr bwMode="gray">
          <a:xfrm>
            <a:off x="3958431" y="4017168"/>
            <a:ext cx="615950" cy="230188"/>
          </a:xfrm>
          <a:prstGeom prst="rect">
            <a:avLst/>
          </a:prstGeom>
          <a:solidFill>
            <a:schemeClr val="bg1"/>
          </a:solidFill>
          <a:ln>
            <a:solidFill>
              <a:schemeClr val="bg1"/>
            </a:solidFill>
          </a:ln>
        </p:spPr>
        <p:txBody>
          <a:bodyPr wrap="square">
            <a:spAutoFit/>
          </a:bodyPr>
          <a:lstStyle/>
          <a:p>
            <a:pPr lvl="0">
              <a:spcBef>
                <a:spcPts val="150"/>
              </a:spcBef>
              <a:spcAft>
                <a:spcPts val="100"/>
              </a:spcAft>
            </a:pPr>
            <a:r>
              <a:rPr lang="en-US" altLang="zh-CN" sz="900" b="1" i="0">
                <a:solidFill>
                  <a:schemeClr val="tx1"/>
                </a:solidFill>
                <a:effectLst/>
                <a:latin typeface="Arial"/>
                <a:ea typeface="宋体"/>
                <a:cs typeface="Arial"/>
              </a:rPr>
              <a:t>May 23</a:t>
            </a:r>
          </a:p>
        </p:txBody>
      </p:sp>
      <p:sp>
        <p:nvSpPr>
          <p:cNvPr id="30" name="TextBox 29">
            <a:extLst>
              <a:ext uri="{FF2B5EF4-FFF2-40B4-BE49-F238E27FC236}">
                <a16:creationId xmlns:a16="http://schemas.microsoft.com/office/drawing/2014/main" id="{E8370F83-EAE6-850E-D4FD-A32300A656CF}"/>
              </a:ext>
            </a:extLst>
          </p:cNvPr>
          <p:cNvSpPr txBox="1"/>
          <p:nvPr>
            <p:custDataLst>
              <p:tags r:id="rId8"/>
            </p:custDataLst>
          </p:nvPr>
        </p:nvSpPr>
        <p:spPr bwMode="gray">
          <a:xfrm>
            <a:off x="4074987" y="4419600"/>
            <a:ext cx="7358189" cy="1746632"/>
          </a:xfrm>
          <a:prstGeom prst="rect">
            <a:avLst/>
          </a:prstGeom>
          <a:solidFill>
            <a:schemeClr val="accent1">
              <a:lumMod val="20000"/>
              <a:lumOff val="80000"/>
            </a:schemeClr>
          </a:solidFill>
          <a:ln>
            <a:noFill/>
            <a:prstDash val="dash"/>
          </a:ln>
        </p:spPr>
        <p:txBody>
          <a:bodyPr wrap="square">
            <a:spAutoFit/>
          </a:bodyPr>
          <a:lstStyle/>
          <a:p>
            <a:pPr marL="171450" lvl="0" indent="-171450">
              <a:spcBef>
                <a:spcPts val="150"/>
              </a:spcBef>
              <a:spcAft>
                <a:spcPts val="100"/>
              </a:spcAft>
              <a:buFont typeface="Arial" panose="020B0604020202020204" pitchFamily="34" charset="0"/>
              <a:buChar char="•"/>
            </a:pPr>
            <a:r>
              <a:rPr lang="en-US" altLang="zh-CN" sz="1000" b="1" dirty="0">
                <a:cs typeface="Arial"/>
              </a:rPr>
              <a:t>Executive Order 14299, Deploying Advanced Nuclear Reactor Technologies for National Security: </a:t>
            </a:r>
            <a:r>
              <a:rPr lang="en-US" altLang="zh-CN" sz="1000" dirty="0">
                <a:cs typeface="Arial"/>
              </a:rPr>
              <a:t>Applies specifically to Gen III+ reactors, SMRs, </a:t>
            </a:r>
            <a:r>
              <a:rPr lang="en-US" altLang="zh-CN" sz="1000" dirty="0" err="1">
                <a:cs typeface="Arial"/>
              </a:rPr>
              <a:t>microreactors</a:t>
            </a:r>
            <a:r>
              <a:rPr lang="en-US" altLang="zh-CN" sz="1000" dirty="0">
                <a:cs typeface="Arial"/>
              </a:rPr>
              <a:t>, and mobile reactors. Some provisions include deploying techs at military stations, defining critical sites for data centers and providing them with nuclear energy, building up a fuel bank, easing environmental review processes, and promoting nuclear exports.</a:t>
            </a:r>
          </a:p>
          <a:p>
            <a:pPr marL="171450" lvl="0" indent="-171450">
              <a:spcBef>
                <a:spcPts val="150"/>
              </a:spcBef>
              <a:spcAft>
                <a:spcPts val="100"/>
              </a:spcAft>
              <a:buFont typeface="Arial" panose="020B0604020202020204" pitchFamily="34" charset="0"/>
              <a:buChar char="•"/>
            </a:pPr>
            <a:r>
              <a:rPr lang="en-US" altLang="zh-CN" sz="1000" b="1" dirty="0">
                <a:cs typeface="Arial"/>
              </a:rPr>
              <a:t>EO 14300, Ordering the Reform of the Nuclear Regulatory Commission:</a:t>
            </a:r>
            <a:r>
              <a:rPr lang="en-US" altLang="zh-CN" sz="1000" dirty="0">
                <a:cs typeface="Arial"/>
              </a:rPr>
              <a:t> Includes structure, personnel, regulations, and basic operations.</a:t>
            </a:r>
          </a:p>
          <a:p>
            <a:pPr marL="171450" lvl="0" indent="-171450">
              <a:spcBef>
                <a:spcPts val="150"/>
              </a:spcBef>
              <a:spcAft>
                <a:spcPts val="100"/>
              </a:spcAft>
              <a:buFont typeface="Arial" panose="020B0604020202020204" pitchFamily="34" charset="0"/>
              <a:buChar char="•"/>
            </a:pPr>
            <a:r>
              <a:rPr lang="en-US" altLang="zh-CN" sz="1000" b="1" dirty="0">
                <a:cs typeface="Arial"/>
              </a:rPr>
              <a:t>EO 14301, Reforming Nuclear Reactor Testing at the Department of Energy: </a:t>
            </a:r>
            <a:r>
              <a:rPr lang="en-US" altLang="zh-CN" sz="1000" dirty="0">
                <a:cs typeface="Arial"/>
              </a:rPr>
              <a:t>Includes</a:t>
            </a:r>
            <a:r>
              <a:rPr lang="en-US" altLang="zh-CN" sz="1000" b="1" dirty="0">
                <a:cs typeface="Arial"/>
              </a:rPr>
              <a:t> </a:t>
            </a:r>
            <a:r>
              <a:rPr lang="en-US" altLang="zh-CN" sz="1000" dirty="0">
                <a:cs typeface="Arial"/>
              </a:rPr>
              <a:t>updating NEPA rules and establishing a DOE pilot program to allow companies to build test reactors outside of partnerships with national laboratories. </a:t>
            </a:r>
          </a:p>
          <a:p>
            <a:pPr marL="171450" lvl="0" indent="-171450">
              <a:spcBef>
                <a:spcPts val="150"/>
              </a:spcBef>
              <a:spcAft>
                <a:spcPts val="100"/>
              </a:spcAft>
              <a:buFont typeface="Arial" panose="020B0604020202020204" pitchFamily="34" charset="0"/>
              <a:buChar char="•"/>
            </a:pPr>
            <a:r>
              <a:rPr lang="en-US" altLang="zh-CN" sz="1000" b="1" dirty="0">
                <a:cs typeface="Arial"/>
              </a:rPr>
              <a:t>EO 14302, Reinvigorating the Nuclear Industrial Base:</a:t>
            </a:r>
            <a:r>
              <a:rPr lang="en-US" altLang="zh-CN" sz="1000" dirty="0">
                <a:cs typeface="Arial"/>
              </a:rPr>
              <a:t> Outlines how to strengthen the recycling of nuclear waste and prioritize new nuclear projects. </a:t>
            </a:r>
          </a:p>
        </p:txBody>
      </p:sp>
      <p:sp>
        <p:nvSpPr>
          <p:cNvPr id="34" name="btfpNotesBox368131">
            <a:hlinkClick r:id="rId16"/>
            <a:extLst>
              <a:ext uri="{FF2B5EF4-FFF2-40B4-BE49-F238E27FC236}">
                <a16:creationId xmlns:a16="http://schemas.microsoft.com/office/drawing/2014/main" id="{11B717B5-78F0-9DB7-69A1-63BBD07CDABB}"/>
              </a:ext>
            </a:extLst>
          </p:cNvPr>
          <p:cNvSpPr txBox="1"/>
          <p:nvPr>
            <p:custDataLst>
              <p:tags r:id="rId9"/>
            </p:custDataLst>
          </p:nvPr>
        </p:nvSpPr>
        <p:spPr bwMode="gray">
          <a:xfrm>
            <a:off x="347663" y="6047921"/>
            <a:ext cx="9238344" cy="738664"/>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The Path to a New Era for Nuclear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5); Cres Forum,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The Issue Brief: Key Federal Policies Fueling Nuclear Innovation and Reinvest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5); IR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Zero-Emission Nuclear Power Production Credit</a:t>
            </a:r>
            <a:r>
              <a:rPr kumimoji="0" lang="en-US" sz="800" b="0" i="0" u="none" strike="noStrike" kern="1200" cap="none" spc="0" normalizeH="0" baseline="0" noProof="0" dirty="0">
                <a:ln>
                  <a:noFill/>
                </a:ln>
                <a:solidFill>
                  <a:srgbClr val="000000"/>
                </a:solidFill>
                <a:effectLst/>
                <a:uLnTx/>
                <a:uFillTx/>
                <a:latin typeface="Arial"/>
                <a:ea typeface="+mn-ea"/>
                <a:cs typeface="+mn-cs"/>
              </a:rPr>
              <a:t> (2025);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The Hydrogen Production Tax Credit Explained for Nuclear Power Plants</a:t>
            </a:r>
            <a:r>
              <a:rPr kumimoji="0" lang="en-US" sz="800" b="0" i="0" u="none" strike="noStrike" kern="1200" cap="none" spc="0" normalizeH="0" baseline="0" noProof="0" dirty="0">
                <a:ln>
                  <a:noFill/>
                </a:ln>
                <a:solidFill>
                  <a:srgbClr val="000000"/>
                </a:solidFill>
                <a:effectLst/>
                <a:uLnTx/>
                <a:uFillTx/>
                <a:latin typeface="Arial"/>
                <a:ea typeface="+mn-ea"/>
                <a:cs typeface="+mn-cs"/>
              </a:rPr>
              <a:t> (2025); Farr </a:t>
            </a:r>
            <a:r>
              <a:rPr lang="en-US" sz="800" dirty="0">
                <a:solidFill>
                  <a:srgbClr val="000000"/>
                </a:solidFill>
                <a:latin typeface="Arial"/>
              </a:rPr>
              <a:t>&amp; Gallaghe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1"/>
              </a:rPr>
              <a:t>Tax Credit Opportunities for Nuclear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4); Congres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2"/>
              </a:rPr>
              <a:t>One Big Beautiful Bill Act </a:t>
            </a:r>
            <a:r>
              <a:rPr kumimoji="0" lang="en-US" sz="800" b="0" i="0" u="none" strike="noStrike" kern="1200" cap="none" spc="0" normalizeH="0" baseline="0" noProof="0" dirty="0">
                <a:ln>
                  <a:noFill/>
                </a:ln>
                <a:solidFill>
                  <a:srgbClr val="000000"/>
                </a:solidFill>
                <a:effectLst/>
                <a:uLnTx/>
                <a:uFillTx/>
                <a:latin typeface="Arial"/>
                <a:ea typeface="+mn-ea"/>
                <a:cs typeface="+mn-cs"/>
              </a:rPr>
              <a:t>(2025); CGEP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3"/>
              </a:rPr>
              <a:t>Assessing the Energy Impacts of the One Big Beautiful Bill Act </a:t>
            </a:r>
            <a:r>
              <a:rPr kumimoji="0" lang="en-US" sz="800" b="0" i="0" u="none" strike="noStrike" kern="1200" cap="none" spc="0" normalizeH="0" baseline="0" noProof="0" dirty="0">
                <a:ln>
                  <a:noFill/>
                </a:ln>
                <a:solidFill>
                  <a:srgbClr val="000000"/>
                </a:solidFill>
                <a:effectLst/>
                <a:uLnTx/>
                <a:uFillTx/>
                <a:latin typeface="Arial"/>
                <a:ea typeface="+mn-ea"/>
                <a:cs typeface="+mn-cs"/>
              </a:rPr>
              <a:t>(2025); American Action Forum,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4"/>
              </a:rPr>
              <a:t>Trump’s nuclear executive orders: Overview and analysis </a:t>
            </a:r>
            <a:r>
              <a:rPr kumimoji="0" lang="en-US" sz="800" b="0" i="0" u="none" strike="noStrike" kern="1200" cap="none" spc="0" normalizeH="0" baseline="0" noProof="0" dirty="0">
                <a:ln>
                  <a:noFill/>
                </a:ln>
                <a:solidFill>
                  <a:srgbClr val="000000"/>
                </a:solidFill>
                <a:effectLst/>
                <a:uLnTx/>
                <a:uFillTx/>
                <a:latin typeface="Arial"/>
                <a:ea typeface="+mn-ea"/>
                <a:cs typeface="+mn-cs"/>
              </a:rPr>
              <a:t>(2025); </a:t>
            </a:r>
            <a:r>
              <a:rPr kumimoji="0" lang="en-US" sz="800" b="0" i="0" u="none" strike="noStrike" kern="1200" cap="none" spc="0" normalizeH="0" baseline="0" noProof="0" dirty="0" err="1">
                <a:ln>
                  <a:noFill/>
                </a:ln>
                <a:solidFill>
                  <a:srgbClr val="000000"/>
                </a:solidFill>
                <a:effectLst/>
                <a:uLnTx/>
                <a:uFillTx/>
                <a:latin typeface="Arial"/>
                <a:ea typeface="+mn-ea"/>
                <a:cs typeface="+mn-cs"/>
              </a:rPr>
              <a:t>Hunt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5"/>
              </a:rPr>
              <a:t>Recent nuclear executive orders to accelerate US nuclear renaissance </a:t>
            </a:r>
            <a:r>
              <a:rPr kumimoji="0" lang="en-US" sz="800" b="0" i="0" u="none" strike="noStrike" kern="1200" cap="none" spc="0" normalizeH="0" baseline="0" noProof="0" dirty="0">
                <a:ln>
                  <a:noFill/>
                </a:ln>
                <a:solidFill>
                  <a:srgbClr val="000000"/>
                </a:solidFill>
                <a:effectLst/>
                <a:uLnTx/>
                <a:uFillTx/>
                <a:latin typeface="Arial"/>
                <a:ea typeface="+mn-ea"/>
                <a:cs typeface="+mn-cs"/>
              </a:rPr>
              <a:t>(2025).</a:t>
            </a:r>
          </a:p>
          <a:p>
            <a:pPr lvl="0"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inako Arai, Brenda Rain, </a:t>
            </a:r>
            <a:r>
              <a:rPr lang="en-US" sz="800" dirty="0">
                <a:solidFill>
                  <a:srgbClr val="000000"/>
                </a:solidFill>
              </a:rPr>
              <a:t>Clara </a:t>
            </a:r>
            <a:r>
              <a:rPr lang="en-US" sz="800" dirty="0" err="1">
                <a:solidFill>
                  <a:srgbClr val="000000"/>
                </a:solidFill>
              </a:rPr>
              <a:t>Zibell</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6"/>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15" name="TextBox 14">
            <a:extLst>
              <a:ext uri="{FF2B5EF4-FFF2-40B4-BE49-F238E27FC236}">
                <a16:creationId xmlns:a16="http://schemas.microsoft.com/office/drawing/2014/main" id="{15E4858D-D34F-0DED-4EC4-FEC4E50215C5}"/>
              </a:ext>
            </a:extLst>
          </p:cNvPr>
          <p:cNvSpPr txBox="1"/>
          <p:nvPr>
            <p:custDataLst>
              <p:tags r:id="rId10"/>
            </p:custDataLst>
          </p:nvPr>
        </p:nvSpPr>
        <p:spPr bwMode="gray">
          <a:xfrm>
            <a:off x="598488" y="3008313"/>
            <a:ext cx="10844214" cy="546100"/>
          </a:xfrm>
          <a:prstGeom prst="rect">
            <a:avLst/>
          </a:prstGeom>
          <a:solidFill>
            <a:schemeClr val="bg1"/>
          </a:solidFill>
          <a:ln>
            <a:solidFill>
              <a:schemeClr val="tx2">
                <a:lumMod val="75000"/>
              </a:schemeClr>
            </a:solidFill>
          </a:ln>
        </p:spPr>
        <p:txBody>
          <a:bodyPr wrap="square" lIns="91440" tIns="45720" rIns="91440" bIns="45720" anchor="t">
            <a:spAutoFit/>
          </a:bodyPr>
          <a:lstStyle/>
          <a:p>
            <a:pPr marL="171450" lvl="0" indent="-171450">
              <a:spcBef>
                <a:spcPts val="150"/>
              </a:spcBef>
              <a:spcAft>
                <a:spcPts val="100"/>
              </a:spcAft>
              <a:buFont typeface="Arial" panose="020B0604020202020204" pitchFamily="34" charset="0"/>
              <a:buChar char="•"/>
            </a:pPr>
            <a:r>
              <a:rPr lang="en-US" altLang="zh-CN" sz="900" b="1" dirty="0">
                <a:cs typeface="Arial"/>
              </a:rPr>
              <a:t>45U: </a:t>
            </a:r>
            <a:r>
              <a:rPr lang="en-US" altLang="zh-CN" sz="900" dirty="0">
                <a:cs typeface="Arial"/>
              </a:rPr>
              <a:t>Tax credit </a:t>
            </a:r>
            <a:r>
              <a:rPr lang="en-US" altLang="zh-CN" sz="900" b="1" dirty="0">
                <a:cs typeface="Arial"/>
              </a:rPr>
              <a:t>of ¢0.3/kWh incremental up to ¢1.5/kWh </a:t>
            </a:r>
            <a:r>
              <a:rPr lang="en-US" altLang="zh-CN" sz="900" dirty="0">
                <a:cs typeface="Arial"/>
              </a:rPr>
              <a:t>if prevailing wages requirements are satisfied. Only facilities placed in service before August 16, 2022, qualify. </a:t>
            </a:r>
            <a:r>
              <a:rPr lang="en-US" altLang="zh-CN" sz="900" b="1" dirty="0">
                <a:cs typeface="Arial"/>
              </a:rPr>
              <a:t>The benefit starts on December 31, 2023, </a:t>
            </a:r>
            <a:r>
              <a:rPr lang="en-US" altLang="zh-CN" sz="900" dirty="0">
                <a:cs typeface="Arial"/>
              </a:rPr>
              <a:t>and fuel sourcing rules apply after 2028. </a:t>
            </a:r>
          </a:p>
          <a:p>
            <a:pPr marL="171450" lvl="0" indent="-171450">
              <a:spcBef>
                <a:spcPts val="150"/>
              </a:spcBef>
              <a:spcAft>
                <a:spcPts val="100"/>
              </a:spcAft>
              <a:buFont typeface="Arial" panose="020B0604020202020204" pitchFamily="34" charset="0"/>
              <a:buChar char="•"/>
            </a:pPr>
            <a:r>
              <a:rPr lang="en-US" altLang="zh-CN" sz="900" b="1" dirty="0">
                <a:cs typeface="Arial"/>
              </a:rPr>
              <a:t>48E/45Y ‒ nuclear: </a:t>
            </a:r>
            <a:r>
              <a:rPr lang="en-US" altLang="zh-CN" sz="900" dirty="0">
                <a:cs typeface="Arial"/>
              </a:rPr>
              <a:t>Preserved in full; fuel sourcing rules apply after 2028.</a:t>
            </a:r>
            <a:endParaRPr lang="en-US" altLang="zh-CN" sz="900" b="1" dirty="0">
              <a:cs typeface="Arial"/>
            </a:endParaRPr>
          </a:p>
        </p:txBody>
      </p:sp>
      <p:sp>
        <p:nvSpPr>
          <p:cNvPr id="11" name="Speech Bubble: Rectangle 10">
            <a:extLst>
              <a:ext uri="{FF2B5EF4-FFF2-40B4-BE49-F238E27FC236}">
                <a16:creationId xmlns:a16="http://schemas.microsoft.com/office/drawing/2014/main" id="{7E447EEF-651B-6588-D91A-A4AEAE541DF1}"/>
              </a:ext>
            </a:extLst>
          </p:cNvPr>
          <p:cNvSpPr/>
          <p:nvPr/>
        </p:nvSpPr>
        <p:spPr bwMode="gray">
          <a:xfrm flipH="1">
            <a:off x="688847" y="4629150"/>
            <a:ext cx="3160839" cy="388164"/>
          </a:xfrm>
          <a:prstGeom prst="wedgeRectCallout">
            <a:avLst>
              <a:gd name="adj1" fmla="val -57590"/>
              <a:gd name="adj2" fmla="val 19561"/>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100" b="1" dirty="0">
                <a:solidFill>
                  <a:schemeClr val="bg1"/>
                </a:solidFill>
              </a:rPr>
              <a:t>The U.S. government plans to deploy 400 GW of U.S. nuclear energy capacity by 2050.</a:t>
            </a:r>
          </a:p>
        </p:txBody>
      </p:sp>
      <p:cxnSp>
        <p:nvCxnSpPr>
          <p:cNvPr id="17" name="Connector: Elbow 16">
            <a:extLst>
              <a:ext uri="{FF2B5EF4-FFF2-40B4-BE49-F238E27FC236}">
                <a16:creationId xmlns:a16="http://schemas.microsoft.com/office/drawing/2014/main" id="{EBB0F53F-5029-5FD5-ECC9-84621416F424}"/>
              </a:ext>
            </a:extLst>
          </p:cNvPr>
          <p:cNvCxnSpPr>
            <a:cxnSpLocks/>
          </p:cNvCxnSpPr>
          <p:nvPr/>
        </p:nvCxnSpPr>
        <p:spPr bwMode="gray">
          <a:xfrm rot="16200000" flipH="1">
            <a:off x="3775075" y="3938588"/>
            <a:ext cx="555625" cy="188913"/>
          </a:xfrm>
          <a:prstGeom prst="bentConnector2">
            <a:avLst/>
          </a:prstGeom>
          <a:ln w="28575" cap="flat">
            <a:solidFill>
              <a:srgbClr val="00B0F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6894027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7FE6D2-70BF-9D82-15D6-9EEA2D3073A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CFA59F5-8A8A-3038-0087-7DCE1976C6B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think-cell data - do not delete" hidden="1">
                        <a:extLst>
                          <a:ext uri="{FF2B5EF4-FFF2-40B4-BE49-F238E27FC236}">
                            <a16:creationId xmlns:a16="http://schemas.microsoft.com/office/drawing/2014/main" id="{4CFA59F5-8A8A-3038-0087-7DCE1976C6B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2A650F8-619F-439C-302A-8F15A48B4842}"/>
              </a:ext>
            </a:extLst>
          </p:cNvPr>
          <p:cNvSpPr>
            <a:spLocks noGrp="1"/>
          </p:cNvSpPr>
          <p:nvPr>
            <p:ph type="title"/>
          </p:nvPr>
        </p:nvSpPr>
        <p:spPr/>
        <p:txBody>
          <a:bodyPr vert="horz">
            <a:noAutofit/>
          </a:bodyPr>
          <a:lstStyle/>
          <a:p>
            <a:r>
              <a:rPr lang="en-US"/>
              <a:t>EU countries are divided on nuclear energy policy, with some having phased out or planning to phase out nuclear power</a:t>
            </a:r>
          </a:p>
        </p:txBody>
      </p:sp>
      <p:sp>
        <p:nvSpPr>
          <p:cNvPr id="32" name="btfpNotesBox368131">
            <a:hlinkClick r:id="rId10"/>
            <a:extLst>
              <a:ext uri="{FF2B5EF4-FFF2-40B4-BE49-F238E27FC236}">
                <a16:creationId xmlns:a16="http://schemas.microsoft.com/office/drawing/2014/main" id="{C576A742-5117-4E0E-D230-DA039836607E}"/>
              </a:ext>
            </a:extLst>
          </p:cNvPr>
          <p:cNvSpPr txBox="1"/>
          <p:nvPr>
            <p:custDataLst>
              <p:tags r:id="rId3"/>
            </p:custDataLst>
          </p:nvPr>
        </p:nvSpPr>
        <p:spPr bwMode="gray">
          <a:xfrm>
            <a:off x="330199" y="6239910"/>
            <a:ext cx="8902701"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lvl="0"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The Path to a New Era for Nuclear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5); W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Nuclear Power in the European Union</a:t>
            </a:r>
            <a:r>
              <a:rPr kumimoji="0" lang="en-US" sz="800" b="0" i="0" u="none" strike="noStrike" kern="1200" cap="none" spc="0" normalizeH="0" baseline="0" noProof="0" dirty="0">
                <a:ln>
                  <a:noFill/>
                </a:ln>
                <a:solidFill>
                  <a:srgbClr val="000000"/>
                </a:solidFill>
                <a:effectLst/>
                <a:uLnTx/>
                <a:uFillTx/>
                <a:latin typeface="Arial"/>
                <a:ea typeface="+mn-ea"/>
                <a:cs typeface="+mn-cs"/>
              </a:rPr>
              <a:t> (2025); European Commiss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In focus: EU nuclear energy policy – why it matters to us all</a:t>
            </a:r>
            <a:r>
              <a:rPr kumimoji="0" lang="en-US" sz="800" b="0" i="0" u="none" strike="noStrike" kern="1200" cap="none" spc="0" normalizeH="0" baseline="0" noProof="0" dirty="0">
                <a:ln>
                  <a:noFill/>
                </a:ln>
                <a:solidFill>
                  <a:srgbClr val="000000"/>
                </a:solidFill>
                <a:effectLst/>
                <a:uLnTx/>
                <a:uFillTx/>
                <a:latin typeface="Arial"/>
                <a:ea typeface="+mn-ea"/>
                <a:cs typeface="+mn-cs"/>
              </a:rPr>
              <a:t> (2024); European Commiss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Nuclear Safety</a:t>
            </a:r>
            <a:r>
              <a:rPr kumimoji="0" lang="en-US" sz="800" b="0" i="0" u="none" strike="noStrike" kern="1200" cap="none" spc="0" normalizeH="0" baseline="0" noProof="0" dirty="0">
                <a:ln>
                  <a:noFill/>
                </a:ln>
                <a:solidFill>
                  <a:srgbClr val="000000"/>
                </a:solidFill>
                <a:effectLst/>
                <a:uLnTx/>
                <a:uFillTx/>
                <a:latin typeface="Arial"/>
                <a:ea typeface="+mn-ea"/>
                <a:cs typeface="+mn-cs"/>
              </a:rPr>
              <a:t> (2025); European Commission,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5"/>
              </a:rPr>
              <a:t>Euratom</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 Safeguards</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5); European Commiss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Small Modular Reactors</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inako Arai,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u="none" strike="noStrike" kern="1200" cap="none" spc="0" normalizeH="0" baseline="0" noProof="0" dirty="0">
                <a:ln>
                  <a:noFill/>
                </a:ln>
                <a:solidFill>
                  <a:srgbClr val="000000"/>
                </a:solidFill>
                <a:effectLst/>
                <a:uLnTx/>
                <a:uFillTx/>
                <a:latin typeface="Arial"/>
                <a:ea typeface="+mn-ea"/>
                <a:cs typeface="+mn-cs"/>
              </a:rPr>
              <a:t> 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3" name="TextBox 2">
            <a:extLst>
              <a:ext uri="{FF2B5EF4-FFF2-40B4-BE49-F238E27FC236}">
                <a16:creationId xmlns:a16="http://schemas.microsoft.com/office/drawing/2014/main" id="{766FC64B-58D0-E1E1-08B4-377DA9B144C0}"/>
              </a:ext>
            </a:extLst>
          </p:cNvPr>
          <p:cNvSpPr txBox="1"/>
          <p:nvPr/>
        </p:nvSpPr>
        <p:spPr bwMode="gray">
          <a:xfrm>
            <a:off x="6454956" y="1542574"/>
            <a:ext cx="5406844" cy="4293483"/>
          </a:xfrm>
          <a:prstGeom prst="rect">
            <a:avLst/>
          </a:prstGeom>
          <a:solidFill>
            <a:srgbClr val="E3E8EE"/>
          </a:solidFill>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Observations</a:t>
            </a:r>
          </a:p>
          <a:p>
            <a:pPr marL="171450" marR="0" lvl="0" indent="-171450" algn="l" defTabSz="9144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Nuclear energy accounted for about </a:t>
            </a:r>
            <a:r>
              <a:rPr lang="en-US" sz="1050" b="1">
                <a:solidFill>
                  <a:srgbClr val="000000"/>
                </a:solidFill>
                <a:latin typeface="Arial"/>
                <a:cs typeface="Arial"/>
              </a:rPr>
              <a:t>one-</a:t>
            </a:r>
            <a:r>
              <a:rPr kumimoji="0" lang="en-US" sz="1050" b="1" i="0" u="none" strike="noStrike" kern="1200" cap="none" spc="0" normalizeH="0" baseline="0" noProof="0">
                <a:ln>
                  <a:noFill/>
                </a:ln>
                <a:solidFill>
                  <a:srgbClr val="000000"/>
                </a:solidFill>
                <a:effectLst/>
                <a:uLnTx/>
                <a:uFillTx/>
                <a:latin typeface="Arial"/>
                <a:ea typeface="+mn-ea"/>
                <a:cs typeface="Arial"/>
              </a:rPr>
              <a:t>fifth of the EU’s electricity </a:t>
            </a:r>
            <a:r>
              <a:rPr kumimoji="0" lang="en-US" sz="1050" b="0" i="0" u="none" strike="noStrike" kern="1200" cap="none" spc="0" normalizeH="0" baseline="0" noProof="0">
                <a:ln>
                  <a:noFill/>
                </a:ln>
                <a:solidFill>
                  <a:srgbClr val="000000"/>
                </a:solidFill>
                <a:effectLst/>
                <a:uLnTx/>
                <a:uFillTx/>
                <a:latin typeface="Arial"/>
                <a:ea typeface="+mn-ea"/>
                <a:cs typeface="Arial"/>
              </a:rPr>
              <a:t>in 2024, with </a:t>
            </a:r>
            <a:r>
              <a:rPr kumimoji="0" lang="en-US" sz="1050" b="1" i="0" u="none" strike="noStrike" kern="1200" cap="none" spc="0" normalizeH="0" baseline="0" noProof="0">
                <a:ln>
                  <a:noFill/>
                </a:ln>
                <a:solidFill>
                  <a:srgbClr val="000000"/>
                </a:solidFill>
                <a:effectLst/>
                <a:uLnTx/>
                <a:uFillTx/>
                <a:latin typeface="Arial"/>
                <a:ea typeface="+mn-ea"/>
                <a:cs typeface="Arial"/>
              </a:rPr>
              <a:t>12 EU countries </a:t>
            </a:r>
            <a:r>
              <a:rPr kumimoji="0" lang="en-US" sz="1050" b="0" i="0" u="none" strike="noStrike" kern="1200" cap="none" spc="0" normalizeH="0" baseline="0" noProof="0">
                <a:ln>
                  <a:noFill/>
                </a:ln>
                <a:solidFill>
                  <a:srgbClr val="000000"/>
                </a:solidFill>
                <a:effectLst/>
                <a:uLnTx/>
                <a:uFillTx/>
                <a:latin typeface="Arial"/>
                <a:ea typeface="+mn-ea"/>
                <a:cs typeface="Arial"/>
              </a:rPr>
              <a:t>including nuclear in their energy mix.</a:t>
            </a:r>
          </a:p>
          <a:p>
            <a:pPr marL="171450" marR="0" lvl="0" indent="-171450" algn="l" defTabSz="9144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The decision to incorporate nuclear power into </a:t>
            </a:r>
            <a:r>
              <a:rPr lang="en-US" sz="1050">
                <a:solidFill>
                  <a:srgbClr val="000000"/>
                </a:solidFill>
                <a:latin typeface="Arial"/>
                <a:cs typeface="Arial"/>
              </a:rPr>
              <a:t>a</a:t>
            </a:r>
            <a:r>
              <a:rPr kumimoji="0" lang="en-US" sz="1050" b="0" i="0" u="none" strike="noStrike" kern="1200" cap="none" spc="0" normalizeH="0" baseline="0" noProof="0">
                <a:ln>
                  <a:noFill/>
                </a:ln>
                <a:solidFill>
                  <a:srgbClr val="000000"/>
                </a:solidFill>
                <a:effectLst/>
                <a:uLnTx/>
                <a:uFillTx/>
                <a:latin typeface="Arial"/>
                <a:ea typeface="+mn-ea"/>
                <a:cs typeface="Arial"/>
              </a:rPr>
              <a:t> country’s energy mix is made by each government.</a:t>
            </a:r>
          </a:p>
          <a:p>
            <a:pPr marL="171450" marR="0" lvl="0" indent="-171450" algn="l" defTabSz="9144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The European Commission supports countries that use nuclear energy by providing </a:t>
            </a:r>
            <a:r>
              <a:rPr kumimoji="0" lang="en-US" sz="1050" b="1" i="0" u="none" strike="noStrike" kern="1200" cap="none" spc="0" normalizeH="0" baseline="0" noProof="0">
                <a:ln>
                  <a:noFill/>
                </a:ln>
                <a:solidFill>
                  <a:srgbClr val="000000"/>
                </a:solidFill>
                <a:effectLst/>
                <a:uLnTx/>
                <a:uFillTx/>
                <a:latin typeface="Arial"/>
                <a:ea typeface="+mn-ea"/>
                <a:cs typeface="Arial"/>
              </a:rPr>
              <a:t>guidance on nuclear safety </a:t>
            </a:r>
            <a:r>
              <a:rPr kumimoji="0" lang="en-US" sz="1050" b="0" i="0" u="none" strike="noStrike" kern="1200" cap="none" spc="0" normalizeH="0" baseline="0" noProof="0">
                <a:ln>
                  <a:noFill/>
                </a:ln>
                <a:solidFill>
                  <a:srgbClr val="000000"/>
                </a:solidFill>
                <a:effectLst/>
                <a:uLnTx/>
                <a:uFillTx/>
                <a:latin typeface="Arial"/>
                <a:ea typeface="+mn-ea"/>
                <a:cs typeface="Arial"/>
              </a:rPr>
              <a:t>and advancing </a:t>
            </a:r>
            <a:r>
              <a:rPr kumimoji="0" lang="en-US" sz="1050" b="1" i="0" u="none" strike="noStrike" kern="1200" cap="none" spc="0" normalizeH="0" baseline="0" noProof="0">
                <a:ln>
                  <a:noFill/>
                </a:ln>
                <a:solidFill>
                  <a:srgbClr val="000000"/>
                </a:solidFill>
                <a:effectLst/>
                <a:uLnTx/>
                <a:uFillTx/>
                <a:latin typeface="Arial"/>
                <a:ea typeface="+mn-ea"/>
                <a:cs typeface="Arial"/>
              </a:rPr>
              <a:t>the development of next-generation nuclear reactors.</a:t>
            </a:r>
          </a:p>
          <a:p>
            <a:pPr marL="628650" lvl="1" indent="-171450">
              <a:spcBef>
                <a:spcPts val="600"/>
              </a:spcBef>
              <a:spcAft>
                <a:spcPts val="400"/>
              </a:spcAft>
              <a:buFont typeface="Arial" panose="020B0604020202020204" pitchFamily="34" charset="0"/>
              <a:buChar char="•"/>
              <a:defRPr/>
            </a:pPr>
            <a:r>
              <a:rPr kumimoji="0" lang="en-US" sz="1050" b="1" i="0" u="none" strike="noStrike" kern="1200" cap="none" spc="0" normalizeH="0" baseline="0" noProof="0">
                <a:ln>
                  <a:noFill/>
                </a:ln>
                <a:solidFill>
                  <a:srgbClr val="000000"/>
                </a:solidFill>
                <a:effectLst/>
                <a:uLnTx/>
                <a:uFillTx/>
                <a:latin typeface="Arial"/>
                <a:ea typeface="+mn-ea"/>
                <a:cs typeface="Arial"/>
              </a:rPr>
              <a:t>Euratom Safeguards: </a:t>
            </a:r>
            <a:r>
              <a:rPr kumimoji="0" lang="en-US" sz="1050" b="0" i="0" u="none" strike="noStrike" kern="1200" cap="none" spc="0" normalizeH="0" baseline="0" noProof="0">
                <a:ln>
                  <a:noFill/>
                </a:ln>
                <a:solidFill>
                  <a:srgbClr val="000000"/>
                </a:solidFill>
                <a:effectLst/>
                <a:uLnTx/>
                <a:uFillTx/>
                <a:latin typeface="Arial"/>
                <a:ea typeface="+mn-ea"/>
                <a:cs typeface="Arial"/>
              </a:rPr>
              <a:t>Under the Euratom Treaty, the EC established </a:t>
            </a:r>
            <a:r>
              <a:rPr kumimoji="0" lang="en-US" sz="1050" b="1" i="0" u="none" strike="noStrike" kern="1200" cap="none" spc="0" normalizeH="0" baseline="0" noProof="0">
                <a:ln>
                  <a:noFill/>
                </a:ln>
                <a:solidFill>
                  <a:srgbClr val="000000"/>
                </a:solidFill>
                <a:effectLst/>
                <a:uLnTx/>
                <a:uFillTx/>
                <a:latin typeface="Arial"/>
                <a:ea typeface="+mn-ea"/>
                <a:cs typeface="Arial"/>
              </a:rPr>
              <a:t>a nuclear material supervision system</a:t>
            </a:r>
            <a:r>
              <a:rPr kumimoji="0" lang="en-US" sz="1050" b="0" i="0" u="none" strike="noStrike" kern="1200" cap="none" spc="0" normalizeH="0" baseline="0" noProof="0">
                <a:ln>
                  <a:noFill/>
                </a:ln>
                <a:solidFill>
                  <a:srgbClr val="000000"/>
                </a:solidFill>
                <a:effectLst/>
                <a:uLnTx/>
                <a:uFillTx/>
                <a:latin typeface="Arial"/>
                <a:ea typeface="+mn-ea"/>
                <a:cs typeface="Arial"/>
              </a:rPr>
              <a:t>.</a:t>
            </a:r>
          </a:p>
          <a:p>
            <a:pPr marL="628650" marR="0" lvl="1" indent="-171450" algn="l" defTabSz="9144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a:rPr>
              <a:t>Euratom Research and Training </a:t>
            </a:r>
            <a:r>
              <a:rPr kumimoji="0" lang="en-US" sz="1050" b="1" i="0" u="none" strike="noStrike" kern="1200" cap="none" spc="0" normalizeH="0" baseline="0" noProof="0" err="1">
                <a:ln>
                  <a:noFill/>
                </a:ln>
                <a:solidFill>
                  <a:srgbClr val="000000"/>
                </a:solidFill>
                <a:effectLst/>
                <a:uLnTx/>
                <a:uFillTx/>
                <a:latin typeface="Arial"/>
                <a:ea typeface="+mn-ea"/>
                <a:cs typeface="Arial"/>
              </a:rPr>
              <a:t>Programme</a:t>
            </a:r>
            <a:r>
              <a:rPr kumimoji="0" lang="en-US" sz="1050" b="1" i="0" u="none" strike="noStrike" kern="1200" cap="none" spc="0" normalizeH="0" baseline="0" noProof="0">
                <a:ln>
                  <a:noFill/>
                </a:ln>
                <a:solidFill>
                  <a:srgbClr val="000000"/>
                </a:solidFill>
                <a:effectLst/>
                <a:uLnTx/>
                <a:uFillTx/>
                <a:latin typeface="Arial"/>
                <a:ea typeface="+mn-ea"/>
                <a:cs typeface="Arial"/>
              </a:rPr>
              <a:t> (2021-2025): </a:t>
            </a:r>
            <a:r>
              <a:rPr kumimoji="0" lang="en-US" sz="1050" b="0" i="0" u="none" strike="noStrike" kern="1200" cap="none" spc="0" normalizeH="0" baseline="0" noProof="0">
                <a:ln>
                  <a:noFill/>
                </a:ln>
                <a:solidFill>
                  <a:srgbClr val="000000"/>
                </a:solidFill>
                <a:effectLst/>
                <a:uLnTx/>
                <a:uFillTx/>
                <a:latin typeface="Arial"/>
                <a:ea typeface="+mn-ea"/>
                <a:cs typeface="Arial"/>
              </a:rPr>
              <a:t>€1.38 billion allocated to nuclear research and innovation, including fusion research and development.</a:t>
            </a:r>
          </a:p>
          <a:p>
            <a:pPr marL="628650" marR="0" lvl="1" indent="-171450" algn="l" defTabSz="9144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a:rPr>
              <a:t>European Industrial Alliance on SMRs (February 2024):</a:t>
            </a:r>
            <a:r>
              <a:rPr kumimoji="0" lang="en-US" sz="1050" b="0" i="0" u="none" strike="noStrike" kern="1200" cap="none" spc="0" normalizeH="0" baseline="0" noProof="0">
                <a:ln>
                  <a:noFill/>
                </a:ln>
                <a:solidFill>
                  <a:srgbClr val="000000"/>
                </a:solidFill>
                <a:effectLst/>
                <a:uLnTx/>
                <a:uFillTx/>
                <a:latin typeface="Arial"/>
                <a:ea typeface="+mn-ea"/>
                <a:cs typeface="Arial"/>
              </a:rPr>
              <a:t> Aims to</a:t>
            </a:r>
            <a:r>
              <a:rPr kumimoji="0" lang="en-US" sz="1050" b="0" i="0" u="none" strike="noStrike" kern="1200" cap="none" spc="0" normalizeH="0" baseline="0" noProof="0">
                <a:ln>
                  <a:noFill/>
                </a:ln>
                <a:solidFill>
                  <a:srgbClr val="000000"/>
                </a:solidFill>
                <a:effectLst/>
                <a:uLnTx/>
                <a:uFillTx/>
                <a:latin typeface="Arial"/>
                <a:ea typeface="+mn-ea"/>
              </a:rPr>
              <a:t> accelerate the deployment of SMRs and strengthen the EU supply chain, including a skilled workforce. </a:t>
            </a:r>
          </a:p>
          <a:p>
            <a:pPr marL="628650" marR="0" lvl="1" indent="-171450" algn="l" defTabSz="9144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a:rPr>
              <a:t>Net-Zero Industry Act:</a:t>
            </a:r>
            <a:r>
              <a:rPr kumimoji="0" lang="en-US" sz="1050" b="0" i="0" u="none" strike="noStrike" kern="1200" cap="none" spc="0" normalizeH="0" baseline="0" noProof="0">
                <a:ln>
                  <a:noFill/>
                </a:ln>
                <a:solidFill>
                  <a:srgbClr val="000000"/>
                </a:solidFill>
                <a:effectLst/>
                <a:uLnTx/>
                <a:uFillTx/>
                <a:latin typeface="Arial"/>
                <a:ea typeface="+mn-ea"/>
                <a:cs typeface="Arial"/>
              </a:rPr>
              <a:t> S</a:t>
            </a:r>
            <a:r>
              <a:rPr kumimoji="0" lang="en-US" sz="1050" b="0" i="0" u="none" strike="noStrike" kern="1200" cap="none" spc="0" normalizeH="0" baseline="0" noProof="0">
                <a:ln>
                  <a:noFill/>
                </a:ln>
                <a:solidFill>
                  <a:srgbClr val="000000"/>
                </a:solidFill>
                <a:effectLst/>
                <a:uLnTx/>
                <a:uFillTx/>
                <a:latin typeface="Arial"/>
                <a:ea typeface="+mn-ea"/>
              </a:rPr>
              <a:t>eeks to boost European manufacturing of net-zero technologies, including nuclear fission, by addressing production barriers and enhancing competitiveness.</a:t>
            </a:r>
            <a:endParaRPr kumimoji="0" lang="en-US" sz="1050" b="0" i="0" u="none" strike="noStrike" kern="1200" cap="none" spc="0" normalizeH="0" baseline="0" noProof="0">
              <a:ln>
                <a:noFill/>
              </a:ln>
              <a:solidFill>
                <a:srgbClr val="000000"/>
              </a:solidFill>
              <a:effectLst/>
              <a:uLnTx/>
              <a:uFillTx/>
              <a:latin typeface="Arial"/>
              <a:ea typeface="+mn-ea"/>
              <a:cs typeface="Arial"/>
            </a:endParaRPr>
          </a:p>
        </p:txBody>
      </p:sp>
      <mc:AlternateContent xmlns:mc="http://schemas.openxmlformats.org/markup-compatibility/2006" xmlns:cx4="http://schemas.microsoft.com/office/drawing/2016/5/10/chartex">
        <mc:Choice Requires="cx4">
          <p:graphicFrame>
            <p:nvGraphicFramePr>
              <p:cNvPr id="9" name="Chart 8">
                <a:extLst>
                  <a:ext uri="{FF2B5EF4-FFF2-40B4-BE49-F238E27FC236}">
                    <a16:creationId xmlns:a16="http://schemas.microsoft.com/office/drawing/2014/main" id="{53FD52F4-DA70-7D09-26DF-6CF0F76B712D}"/>
                  </a:ext>
                </a:extLst>
              </p:cNvPr>
              <p:cNvGraphicFramePr/>
              <p:nvPr/>
            </p:nvGraphicFramePr>
            <p:xfrm>
              <a:off x="-416382" y="1882210"/>
              <a:ext cx="6363613" cy="4360214"/>
            </p:xfrm>
            <a:graphic>
              <a:graphicData uri="http://schemas.microsoft.com/office/drawing/2014/chartex">
                <cx:chart xmlns:cx="http://schemas.microsoft.com/office/drawing/2014/chartex" xmlns:r="http://schemas.openxmlformats.org/officeDocument/2006/relationships" r:id="rId19"/>
              </a:graphicData>
            </a:graphic>
          </p:graphicFrame>
        </mc:Choice>
        <mc:Fallback xmlns="">
          <p:pic>
            <p:nvPicPr>
              <p:cNvPr id="9" name="Chart 8">
                <a:extLst>
                  <a:ext uri="{FF2B5EF4-FFF2-40B4-BE49-F238E27FC236}">
                    <a16:creationId xmlns:a16="http://schemas.microsoft.com/office/drawing/2014/main" id="{53FD52F4-DA70-7D09-26DF-6CF0F76B712D}"/>
                  </a:ext>
                </a:extLst>
              </p:cNvPr>
              <p:cNvPicPr>
                <a:picLocks noGrp="1" noRot="1" noChangeAspect="1" noMove="1" noResize="1" noEditPoints="1" noAdjustHandles="1" noChangeArrowheads="1" noChangeShapeType="1"/>
              </p:cNvPicPr>
              <p:nvPr/>
            </p:nvPicPr>
            <p:blipFill>
              <a:blip r:embed="rId21"/>
              <a:stretch>
                <a:fillRect/>
              </a:stretch>
            </p:blipFill>
            <p:spPr>
              <a:xfrm>
                <a:off x="-416382" y="1882210"/>
                <a:ext cx="6363613" cy="4360214"/>
              </a:xfrm>
              <a:prstGeom prst="rect">
                <a:avLst/>
              </a:prstGeom>
            </p:spPr>
          </p:pic>
        </mc:Fallback>
      </mc:AlternateContent>
      <p:sp>
        <p:nvSpPr>
          <p:cNvPr id="10" name="Text Placeholder 10">
            <a:extLst>
              <a:ext uri="{FF2B5EF4-FFF2-40B4-BE49-F238E27FC236}">
                <a16:creationId xmlns:a16="http://schemas.microsoft.com/office/drawing/2014/main" id="{0EFCA30E-6FF2-AD73-90E5-041A72F7EF17}"/>
              </a:ext>
            </a:extLst>
          </p:cNvPr>
          <p:cNvSpPr txBox="1">
            <a:spLocks/>
          </p:cNvSpPr>
          <p:nvPr>
            <p:custDataLst>
              <p:tags r:id="rId4"/>
            </p:custDataLst>
          </p:nvPr>
        </p:nvSpPr>
        <p:spPr bwMode="auto">
          <a:xfrm>
            <a:off x="973138" y="5665788"/>
            <a:ext cx="5014913" cy="552450"/>
          </a:xfrm>
          <a:prstGeom prst="rect">
            <a:avLst/>
          </a:prstGeom>
          <a:solidFill>
            <a:schemeClr val="bg1"/>
          </a:solidFill>
          <a:ln>
            <a:noFill/>
          </a:ln>
          <a:effectLst/>
        </p:spPr>
        <p:txBody>
          <a:bodyPr vert="horz" wrap="none" lIns="41275"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14000"/>
              </a:lnSpc>
              <a:spcBef>
                <a:spcPct val="0"/>
              </a:spcBef>
              <a:spcAft>
                <a:spcPct val="0"/>
              </a:spcAft>
              <a:buClrTx/>
              <a:buSzTx/>
              <a:buFont typeface="Arial" panose="020B0604020202020204" pitchFamily="34" charset="0"/>
              <a:buNone/>
              <a:tabLst/>
              <a:defRPr/>
            </a:pPr>
            <a:r>
              <a:rPr kumimoji="0" lang="en-US" altLang="en-US" sz="800" b="0" i="0" u="none" strike="noStrike" kern="1200" cap="none" spc="0" normalizeH="0" baseline="0" noProof="0">
                <a:ln>
                  <a:noFill/>
                </a:ln>
                <a:solidFill>
                  <a:srgbClr val="000000"/>
                </a:solidFill>
                <a:effectLst/>
                <a:uLnTx/>
                <a:uFillTx/>
                <a:latin typeface="Arial"/>
                <a:ea typeface="+mn-ea"/>
                <a:cs typeface="+mn-cs"/>
              </a:rPr>
              <a:t>EU member states with operating and/or under-construction nuclear power plant (as of July 2022)</a:t>
            </a:r>
          </a:p>
          <a:p>
            <a:pPr marL="0" marR="0" lvl="0" indent="0" algn="l" defTabSz="914354" rtl="0" eaLnBrk="1" fontAlgn="auto" latinLnBrk="0" hangingPunct="1">
              <a:lnSpc>
                <a:spcPct val="114000"/>
              </a:lnSpc>
              <a:spcBef>
                <a:spcPct val="0"/>
              </a:spcBef>
              <a:spcAft>
                <a:spcPct val="0"/>
              </a:spcAft>
              <a:buClrTx/>
              <a:buSzTx/>
              <a:buFont typeface="Arial" panose="020B0604020202020204" pitchFamily="34" charset="0"/>
              <a:buNone/>
              <a:tabLst/>
              <a:defRPr/>
            </a:pPr>
            <a:r>
              <a:rPr kumimoji="0" lang="en-US" altLang="en-US" sz="800" b="0" i="0" u="none" strike="noStrike" kern="1200" cap="none" spc="0" normalizeH="0" baseline="0" noProof="0">
                <a:ln>
                  <a:noFill/>
                </a:ln>
                <a:solidFill>
                  <a:srgbClr val="000000"/>
                </a:solidFill>
                <a:effectLst/>
                <a:uLnTx/>
                <a:uFillTx/>
                <a:latin typeface="Arial"/>
                <a:ea typeface="+mn-ea"/>
                <a:cs typeface="+mn-cs"/>
              </a:rPr>
              <a:t>EU member states without nuclear power plants</a:t>
            </a:r>
          </a:p>
          <a:p>
            <a:pPr marL="0" marR="0" lvl="0" indent="0" algn="l" defTabSz="914354" rtl="0" eaLnBrk="1" fontAlgn="auto" latinLnBrk="0" hangingPunct="1">
              <a:lnSpc>
                <a:spcPct val="114000"/>
              </a:lnSpc>
              <a:spcBef>
                <a:spcPct val="0"/>
              </a:spcBef>
              <a:spcAft>
                <a:spcPct val="0"/>
              </a:spcAft>
              <a:buClrTx/>
              <a:buSzTx/>
              <a:buFont typeface="Arial" panose="020B0604020202020204" pitchFamily="34" charset="0"/>
              <a:buNone/>
              <a:tabLst/>
              <a:defRPr/>
            </a:pPr>
            <a:r>
              <a:rPr kumimoji="0" lang="en-US" altLang="en-US" sz="800" b="0" i="0" u="none" strike="noStrike" kern="1200" cap="none" spc="0" normalizeH="0" baseline="0" noProof="0">
                <a:ln>
                  <a:noFill/>
                </a:ln>
                <a:solidFill>
                  <a:srgbClr val="000000"/>
                </a:solidFill>
                <a:effectLst/>
                <a:uLnTx/>
                <a:uFillTx/>
                <a:latin typeface="Arial"/>
                <a:ea typeface="+mn-ea"/>
                <a:cs typeface="+mn-cs"/>
              </a:rPr>
              <a:t>Non-EU countries with operating and/or under-construction nuclear power plants</a:t>
            </a:r>
          </a:p>
          <a:p>
            <a:pPr marL="0" marR="0" lvl="0" indent="0" algn="l" defTabSz="914354" rtl="0" eaLnBrk="1" fontAlgn="auto" latinLnBrk="0" hangingPunct="1">
              <a:lnSpc>
                <a:spcPct val="114000"/>
              </a:lnSpc>
              <a:spcBef>
                <a:spcPct val="0"/>
              </a:spcBef>
              <a:spcAft>
                <a:spcPct val="0"/>
              </a:spcAft>
              <a:buClrTx/>
              <a:buSzTx/>
              <a:buFont typeface="Arial" panose="020B0604020202020204" pitchFamily="34" charset="0"/>
              <a:buNone/>
              <a:tabLst/>
              <a:defRPr/>
            </a:pPr>
            <a:r>
              <a:rPr kumimoji="0" lang="en-US" altLang="en-US" sz="800" b="0" i="0" u="none" strike="noStrike" kern="1200" cap="none" spc="0" normalizeH="0" baseline="0" noProof="0">
                <a:ln>
                  <a:noFill/>
                </a:ln>
                <a:solidFill>
                  <a:srgbClr val="000000"/>
                </a:solidFill>
                <a:effectLst/>
                <a:uLnTx/>
                <a:uFillTx/>
                <a:latin typeface="Arial"/>
                <a:ea typeface="+mn-ea"/>
                <a:cs typeface="+mn-cs"/>
              </a:rPr>
              <a:t>Non-EU countries without nuclear power plants</a:t>
            </a:r>
          </a:p>
          <a:p>
            <a:pPr marL="0" marR="0" lvl="0" indent="0" algn="l" defTabSz="914354" rtl="0" eaLnBrk="1" fontAlgn="auto" latinLnBrk="0" hangingPunct="1">
              <a:lnSpc>
                <a:spcPct val="114000"/>
              </a:lnSpc>
              <a:spcBef>
                <a:spcPct val="0"/>
              </a:spcBef>
              <a:spcAft>
                <a:spcPct val="0"/>
              </a:spcAft>
              <a:buClrTx/>
              <a:buSzTx/>
              <a:buFont typeface="Arial" panose="020B0604020202020204" pitchFamily="34" charset="0"/>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61748F64-543E-06D1-E071-806BB89AA6C3}"/>
              </a:ext>
            </a:extLst>
          </p:cNvPr>
          <p:cNvSpPr/>
          <p:nvPr/>
        </p:nvSpPr>
        <p:spPr bwMode="gray">
          <a:xfrm>
            <a:off x="799824" y="5677917"/>
            <a:ext cx="168677" cy="104697"/>
          </a:xfrm>
          <a:prstGeom prst="rect">
            <a:avLst/>
          </a:prstGeom>
          <a:solidFill>
            <a:srgbClr val="4C6C9C"/>
          </a:solidFill>
          <a:ln w="9525">
            <a:solidFill>
              <a:srgbClr val="4C6C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D0227C"/>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585255C8-D0B2-B48E-86D1-34D65DA9B5D1}"/>
              </a:ext>
            </a:extLst>
          </p:cNvPr>
          <p:cNvSpPr/>
          <p:nvPr/>
        </p:nvSpPr>
        <p:spPr bwMode="gray">
          <a:xfrm>
            <a:off x="799824" y="5819432"/>
            <a:ext cx="168677" cy="104697"/>
          </a:xfrm>
          <a:prstGeom prst="rect">
            <a:avLst/>
          </a:prstGeom>
          <a:solidFill>
            <a:srgbClr val="ABB8CF"/>
          </a:solidFill>
          <a:ln w="9525">
            <a:solidFill>
              <a:srgbClr val="ABB8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D0227C">
                  <a:lumMod val="60000"/>
                  <a:lumOff val="40000"/>
                </a:srgbClr>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AED6EF93-C139-EB54-3A54-D562A3F0E902}"/>
              </a:ext>
            </a:extLst>
          </p:cNvPr>
          <p:cNvSpPr/>
          <p:nvPr/>
        </p:nvSpPr>
        <p:spPr bwMode="gray">
          <a:xfrm>
            <a:off x="799824" y="5960947"/>
            <a:ext cx="168677" cy="104697"/>
          </a:xfrm>
          <a:prstGeom prst="rect">
            <a:avLst/>
          </a:prstGeom>
          <a:solidFill>
            <a:schemeClr val="accent1">
              <a:lumMod val="20000"/>
              <a:lumOff val="8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D0227C">
                  <a:lumMod val="20000"/>
                  <a:lumOff val="80000"/>
                </a:srgbClr>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DFEFC9BC-8321-9026-5E99-8B046E69DA69}"/>
              </a:ext>
            </a:extLst>
          </p:cNvPr>
          <p:cNvSpPr/>
          <p:nvPr/>
        </p:nvSpPr>
        <p:spPr bwMode="gray">
          <a:xfrm>
            <a:off x="799824" y="6102462"/>
            <a:ext cx="168677" cy="104697"/>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D0227C"/>
              </a:solidFill>
              <a:effectLst/>
              <a:uLnTx/>
              <a:uFillTx/>
              <a:latin typeface="Arial"/>
              <a:ea typeface="+mn-ea"/>
              <a:cs typeface="+mn-cs"/>
            </a:endParaRPr>
          </a:p>
        </p:txBody>
      </p:sp>
      <p:sp>
        <p:nvSpPr>
          <p:cNvPr id="2" name="Text Placeholder 10">
            <a:extLst>
              <a:ext uri="{FF2B5EF4-FFF2-40B4-BE49-F238E27FC236}">
                <a16:creationId xmlns:a16="http://schemas.microsoft.com/office/drawing/2014/main" id="{A4155015-B0B3-5AE9-8413-C593BC505B15}"/>
              </a:ext>
            </a:extLst>
          </p:cNvPr>
          <p:cNvSpPr>
            <a:spLocks noGrp="1"/>
          </p:cNvSpPr>
          <p:nvPr>
            <p:custDataLst>
              <p:tags r:id="rId5"/>
            </p:custDataLst>
          </p:nvPr>
        </p:nvSpPr>
        <p:spPr bwMode="auto">
          <a:xfrm>
            <a:off x="317499" y="1551009"/>
            <a:ext cx="4921251" cy="246221"/>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lt"/>
                <a:cs typeface="Arial"/>
              </a:rPr>
              <a:t>EU governments’ policy </a:t>
            </a:r>
            <a:r>
              <a:rPr lang="en-US" sz="1400" b="1">
                <a:solidFill>
                  <a:srgbClr val="000000"/>
                </a:solidFill>
                <a:latin typeface="Arial"/>
                <a:ea typeface="+mn-lt"/>
                <a:cs typeface="Arial"/>
              </a:rPr>
              <a:t>s</a:t>
            </a:r>
            <a:r>
              <a:rPr kumimoji="0" lang="en-US" sz="1400" b="1" i="0" u="none" strike="noStrike" kern="1200" cap="none" spc="0" normalizeH="0" baseline="0" noProof="0" err="1">
                <a:ln>
                  <a:noFill/>
                </a:ln>
                <a:solidFill>
                  <a:srgbClr val="000000"/>
                </a:solidFill>
                <a:effectLst/>
                <a:uLnTx/>
                <a:uFillTx/>
                <a:latin typeface="Arial"/>
                <a:ea typeface="+mn-lt"/>
                <a:cs typeface="Arial"/>
              </a:rPr>
              <a:t>tance</a:t>
            </a:r>
            <a:r>
              <a:rPr kumimoji="0" lang="en-US" sz="1400" b="1" i="0" u="none" strike="noStrike" kern="1200" cap="none" spc="0" normalizeH="0" baseline="0" noProof="0">
                <a:ln>
                  <a:noFill/>
                </a:ln>
                <a:solidFill>
                  <a:srgbClr val="000000"/>
                </a:solidFill>
                <a:effectLst/>
                <a:uLnTx/>
                <a:uFillTx/>
                <a:latin typeface="Arial"/>
                <a:ea typeface="+mn-lt"/>
                <a:cs typeface="Arial"/>
              </a:rPr>
              <a:t> on nuclear </a:t>
            </a:r>
            <a:r>
              <a:rPr lang="en-US" sz="1400" b="1">
                <a:solidFill>
                  <a:srgbClr val="000000"/>
                </a:solidFill>
                <a:latin typeface="Arial"/>
                <a:ea typeface="+mn-lt"/>
                <a:cs typeface="Arial"/>
              </a:rPr>
              <a:t>e</a:t>
            </a:r>
            <a:r>
              <a:rPr kumimoji="0" lang="en-US" sz="1400" b="1" i="0" u="none" strike="noStrike" kern="1200" cap="none" spc="0" normalizeH="0" baseline="0" noProof="0" err="1">
                <a:ln>
                  <a:noFill/>
                </a:ln>
                <a:solidFill>
                  <a:srgbClr val="000000"/>
                </a:solidFill>
                <a:effectLst/>
                <a:uLnTx/>
                <a:uFillTx/>
                <a:latin typeface="Arial"/>
                <a:ea typeface="+mn-lt"/>
                <a:cs typeface="Arial"/>
              </a:rPr>
              <a:t>nergy</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D559F58E-75B0-7250-34EE-D1A7DA3086A5}"/>
              </a:ext>
            </a:extLst>
          </p:cNvPr>
          <p:cNvCxnSpPr>
            <a:cxnSpLocks/>
          </p:cNvCxnSpPr>
          <p:nvPr/>
        </p:nvCxnSpPr>
        <p:spPr bwMode="gray">
          <a:xfrm>
            <a:off x="209883" y="1832341"/>
            <a:ext cx="5441617" cy="8984"/>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15679E8E-F6D9-197A-C79C-C22259CCF78B}"/>
              </a:ext>
            </a:extLst>
          </p:cNvPr>
          <p:cNvSpPr/>
          <p:nvPr/>
        </p:nvSpPr>
        <p:spPr bwMode="gray">
          <a:xfrm>
            <a:off x="0" y="0"/>
            <a:ext cx="2926080" cy="382208"/>
          </a:xfrm>
          <a:prstGeom prst="rect">
            <a:avLst/>
          </a:prstGeom>
          <a:solidFill>
            <a:srgbClr val="4C6C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bg1"/>
                </a:solidFill>
              </a:rPr>
              <a:t>Europe</a:t>
            </a:r>
          </a:p>
        </p:txBody>
      </p:sp>
    </p:spTree>
    <p:custDataLst>
      <p:tags r:id="rId1"/>
    </p:custDataLst>
    <p:extLst>
      <p:ext uri="{BB962C8B-B14F-4D97-AF65-F5344CB8AC3E}">
        <p14:creationId xmlns:p14="http://schemas.microsoft.com/office/powerpoint/2010/main" val="373108838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7CC9E4-D828-393D-7491-3C75F133FE0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383B2B6-DA11-9C6A-A40E-DBE8756511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592" imgH="591" progId="TCLayout.ActiveDocument.1">
                  <p:embed/>
                </p:oleObj>
              </mc:Choice>
              <mc:Fallback>
                <p:oleObj name="think-cell Slide" r:id="rId46" imgW="592" imgH="591" progId="TCLayout.ActiveDocument.1">
                  <p:embed/>
                  <p:pic>
                    <p:nvPicPr>
                      <p:cNvPr id="7" name="think-cell data - do not delete" hidden="1">
                        <a:extLst>
                          <a:ext uri="{FF2B5EF4-FFF2-40B4-BE49-F238E27FC236}">
                            <a16:creationId xmlns:a16="http://schemas.microsoft.com/office/drawing/2014/main" id="{E383B2B6-DA11-9C6A-A40E-DBE875651140}"/>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E261F0A2-A8EB-BDA5-85C0-EA3BB2F56034}"/>
              </a:ext>
            </a:extLst>
          </p:cNvPr>
          <p:cNvSpPr>
            <a:spLocks/>
          </p:cNvSpPr>
          <p:nvPr/>
        </p:nvSpPr>
        <p:spPr bwMode="gray">
          <a:xfrm>
            <a:off x="6891336" y="1584621"/>
            <a:ext cx="4602161" cy="4533168"/>
          </a:xfrm>
          <a:prstGeom prst="rect">
            <a:avLst/>
          </a:prstGeom>
          <a:solidFill>
            <a:schemeClr val="accent2">
              <a:lumMod val="10000"/>
              <a:lumOff val="90000"/>
            </a:schemeClr>
          </a:solidFill>
          <a:ln w="9525">
            <a:solidFill>
              <a:schemeClr val="accent2">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 name="Rectangle 3">
            <a:extLst>
              <a:ext uri="{FF2B5EF4-FFF2-40B4-BE49-F238E27FC236}">
                <a16:creationId xmlns:a16="http://schemas.microsoft.com/office/drawing/2014/main" id="{D699DF93-0F95-FB17-0657-0D6599D7C10A}"/>
              </a:ext>
            </a:extLst>
          </p:cNvPr>
          <p:cNvSpPr>
            <a:spLocks/>
          </p:cNvSpPr>
          <p:nvPr/>
        </p:nvSpPr>
        <p:spPr bwMode="gray">
          <a:xfrm>
            <a:off x="2289176" y="1584621"/>
            <a:ext cx="4602161" cy="4533168"/>
          </a:xfrm>
          <a:prstGeom prst="rect">
            <a:avLst/>
          </a:prstGeom>
          <a:solidFill>
            <a:srgbClr val="ABB8CF"/>
          </a:solidFill>
          <a:ln w="9525">
            <a:solidFill>
              <a:srgbClr val="ABB8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32639D05-CF45-CF96-752E-DA37CD427628}"/>
              </a:ext>
            </a:extLst>
          </p:cNvPr>
          <p:cNvSpPr>
            <a:spLocks noGrp="1"/>
          </p:cNvSpPr>
          <p:nvPr>
            <p:ph type="title"/>
          </p:nvPr>
        </p:nvSpPr>
        <p:spPr/>
        <p:txBody>
          <a:bodyPr vert="horz">
            <a:noAutofit/>
          </a:bodyPr>
          <a:lstStyle/>
          <a:p>
            <a:r>
              <a:rPr lang="en-US"/>
              <a:t>France is expanding nuclear power and developing advanced reactors; Germany is considering reversing its phaseout</a:t>
            </a:r>
          </a:p>
        </p:txBody>
      </p:sp>
      <p:sp>
        <p:nvSpPr>
          <p:cNvPr id="32" name="btfpNotesBox368131">
            <a:hlinkClick r:id="rId48"/>
            <a:extLst>
              <a:ext uri="{FF2B5EF4-FFF2-40B4-BE49-F238E27FC236}">
                <a16:creationId xmlns:a16="http://schemas.microsoft.com/office/drawing/2014/main" id="{DAD97E86-5B6F-0A7A-0ACD-14251107D1AE}"/>
              </a:ext>
            </a:extLst>
          </p:cNvPr>
          <p:cNvSpPr txBox="1"/>
          <p:nvPr>
            <p:custDataLst>
              <p:tags r:id="rId3"/>
            </p:custDataLst>
          </p:nvPr>
        </p:nvSpPr>
        <p:spPr bwMode="gray">
          <a:xfrm>
            <a:off x="330199" y="6309360"/>
            <a:ext cx="8963091"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9"/>
              </a:rPr>
              <a:t>The Path to a New Era for Nuclear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5); W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0"/>
              </a:rPr>
              <a:t>Nuclear Power in the European Union</a:t>
            </a:r>
            <a:r>
              <a:rPr kumimoji="0" lang="en-US" sz="800" b="0" i="0" u="none" strike="noStrike" kern="1200" cap="none" spc="0" normalizeH="0" baseline="0" noProof="0" dirty="0">
                <a:ln>
                  <a:noFill/>
                </a:ln>
                <a:solidFill>
                  <a:srgbClr val="000000"/>
                </a:solidFill>
                <a:effectLst/>
                <a:uLnTx/>
                <a:uFillTx/>
                <a:latin typeface="Arial"/>
                <a:ea typeface="+mn-ea"/>
                <a:cs typeface="+mn-cs"/>
              </a:rPr>
              <a:t> (2025); W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1"/>
              </a:rPr>
              <a:t>Nuclear Power in Germany</a:t>
            </a:r>
            <a:r>
              <a:rPr kumimoji="0" lang="en-US" sz="800" b="0" i="0" u="none" strike="noStrike" kern="1200" cap="none" spc="0" normalizeH="0" baseline="0" noProof="0" dirty="0">
                <a:ln>
                  <a:noFill/>
                </a:ln>
                <a:solidFill>
                  <a:srgbClr val="000000"/>
                </a:solidFill>
                <a:effectLst/>
                <a:uLnTx/>
                <a:uFillTx/>
                <a:latin typeface="Arial"/>
                <a:ea typeface="+mn-ea"/>
                <a:cs typeface="+mn-cs"/>
              </a:rPr>
              <a:t> (2024); W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2"/>
              </a:rPr>
              <a:t>Nuclear Power in France</a:t>
            </a:r>
            <a:r>
              <a:rPr kumimoji="0" lang="en-US" sz="800" b="0" i="0" u="none" strike="noStrike" kern="1200" cap="none" spc="0" normalizeH="0" baseline="0" noProof="0" dirty="0">
                <a:ln>
                  <a:noFill/>
                </a:ln>
                <a:solidFill>
                  <a:srgbClr val="000000"/>
                </a:solidFill>
                <a:effectLst/>
                <a:uLnTx/>
                <a:uFillTx/>
                <a:latin typeface="Arial"/>
                <a:ea typeface="+mn-ea"/>
                <a:cs typeface="+mn-cs"/>
              </a:rPr>
              <a:t> (2025); 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3"/>
              </a:rPr>
              <a:t>Germany extends the life of its last three operating nuclear power plants until April</a:t>
            </a:r>
            <a:r>
              <a:rPr kumimoji="0" lang="en-US" sz="800" b="0" i="0" u="none" strike="noStrike" kern="1200" cap="none" spc="0" normalizeH="0" baseline="0" noProof="0" dirty="0">
                <a:ln>
                  <a:noFill/>
                </a:ln>
                <a:solidFill>
                  <a:srgbClr val="000000"/>
                </a:solidFill>
                <a:effectLst/>
                <a:uLnTx/>
                <a:uFillTx/>
                <a:latin typeface="Arial"/>
                <a:ea typeface="+mn-ea"/>
                <a:cs typeface="+mn-cs"/>
              </a:rPr>
              <a:t> (2023); Bundestag,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4"/>
              </a:rPr>
              <a:t>The Nuclear Phase-out in Germany</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inako Arai,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5"/>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6"/>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graphicFrame>
        <p:nvGraphicFramePr>
          <p:cNvPr id="388" name="Chart 387">
            <a:extLst>
              <a:ext uri="{FF2B5EF4-FFF2-40B4-BE49-F238E27FC236}">
                <a16:creationId xmlns:a16="http://schemas.microsoft.com/office/drawing/2014/main" id="{F0977D35-65EB-E77C-C029-3516F76DE4B5}"/>
              </a:ext>
            </a:extLst>
          </p:cNvPr>
          <p:cNvGraphicFramePr/>
          <p:nvPr>
            <p:custDataLst>
              <p:tags r:id="rId4"/>
            </p:custDataLst>
          </p:nvPr>
        </p:nvGraphicFramePr>
        <p:xfrm>
          <a:off x="2635250" y="4559300"/>
          <a:ext cx="4094163" cy="1404938"/>
        </p:xfrm>
        <a:graphic>
          <a:graphicData uri="http://schemas.openxmlformats.org/drawingml/2006/chart">
            <c:chart xmlns:c="http://schemas.openxmlformats.org/drawingml/2006/chart" xmlns:r="http://schemas.openxmlformats.org/officeDocument/2006/relationships" r:id="rId57"/>
          </a:graphicData>
        </a:graphic>
      </p:graphicFrame>
      <p:sp>
        <p:nvSpPr>
          <p:cNvPr id="313" name="Text Placeholder 10">
            <a:extLst>
              <a:ext uri="{FF2B5EF4-FFF2-40B4-BE49-F238E27FC236}">
                <a16:creationId xmlns:a16="http://schemas.microsoft.com/office/drawing/2014/main" id="{B1ECB894-E8D4-CA59-4703-A350F77146D0}"/>
              </a:ext>
            </a:extLst>
          </p:cNvPr>
          <p:cNvSpPr txBox="1">
            <a:spLocks/>
          </p:cNvSpPr>
          <p:nvPr>
            <p:custDataLst>
              <p:tags r:id="rId5"/>
            </p:custDataLst>
          </p:nvPr>
        </p:nvSpPr>
        <p:spPr bwMode="gray">
          <a:xfrm>
            <a:off x="2492375" y="5495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DAE8116-63AA-462C-AEB2-49A817AD326E}"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15" name="Text Placeholder 10">
            <a:extLst>
              <a:ext uri="{FF2B5EF4-FFF2-40B4-BE49-F238E27FC236}">
                <a16:creationId xmlns:a16="http://schemas.microsoft.com/office/drawing/2014/main" id="{C823B846-D0FB-DA1C-5A8C-0EEBE1ADE2E2}"/>
              </a:ext>
            </a:extLst>
          </p:cNvPr>
          <p:cNvSpPr txBox="1">
            <a:spLocks/>
          </p:cNvSpPr>
          <p:nvPr>
            <p:custDataLst>
              <p:tags r:id="rId6"/>
            </p:custDataLst>
          </p:nvPr>
        </p:nvSpPr>
        <p:spPr bwMode="gray">
          <a:xfrm>
            <a:off x="2492375" y="5186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61D0070-7783-420E-AB08-86D30DF03256}"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17" name="Text Placeholder 10">
            <a:extLst>
              <a:ext uri="{FF2B5EF4-FFF2-40B4-BE49-F238E27FC236}">
                <a16:creationId xmlns:a16="http://schemas.microsoft.com/office/drawing/2014/main" id="{D99A980A-A373-2600-A6C4-729CCB4E6260}"/>
              </a:ext>
            </a:extLst>
          </p:cNvPr>
          <p:cNvSpPr txBox="1">
            <a:spLocks/>
          </p:cNvSpPr>
          <p:nvPr>
            <p:custDataLst>
              <p:tags r:id="rId7"/>
            </p:custDataLst>
          </p:nvPr>
        </p:nvSpPr>
        <p:spPr bwMode="gray">
          <a:xfrm>
            <a:off x="2492375" y="48752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3AAA9E6-0777-4A49-A0D3-E50A7FE6A99A}"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37" name="Text Placeholder 10">
            <a:extLst>
              <a:ext uri="{FF2B5EF4-FFF2-40B4-BE49-F238E27FC236}">
                <a16:creationId xmlns:a16="http://schemas.microsoft.com/office/drawing/2014/main" id="{F47E7BF0-CB09-4F39-F83F-89D0D9E5E8B5}"/>
              </a:ext>
            </a:extLst>
          </p:cNvPr>
          <p:cNvSpPr txBox="1">
            <a:spLocks/>
          </p:cNvSpPr>
          <p:nvPr>
            <p:custDataLst>
              <p:tags r:id="rId8"/>
            </p:custDataLst>
          </p:nvPr>
        </p:nvSpPr>
        <p:spPr bwMode="gray">
          <a:xfrm>
            <a:off x="2492375" y="45656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A9EFE4E-5683-467B-AB83-322C4D6CA933}"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11" name="Text Placeholder 10">
            <a:extLst>
              <a:ext uri="{FF2B5EF4-FFF2-40B4-BE49-F238E27FC236}">
                <a16:creationId xmlns:a16="http://schemas.microsoft.com/office/drawing/2014/main" id="{03068057-0E2C-AB51-18C9-B4C35678F414}"/>
              </a:ext>
            </a:extLst>
          </p:cNvPr>
          <p:cNvSpPr txBox="1">
            <a:spLocks/>
          </p:cNvSpPr>
          <p:nvPr>
            <p:custDataLst>
              <p:tags r:id="rId9"/>
            </p:custDataLst>
          </p:nvPr>
        </p:nvSpPr>
        <p:spPr bwMode="gray">
          <a:xfrm>
            <a:off x="2562225" y="58054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AD4BCB6-36C0-4874-974C-57434CEB5622}"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1" name="Text Placeholder 10">
            <a:extLst>
              <a:ext uri="{FF2B5EF4-FFF2-40B4-BE49-F238E27FC236}">
                <a16:creationId xmlns:a16="http://schemas.microsoft.com/office/drawing/2014/main" id="{54752EF3-2A32-CA61-8307-CD58706EF6E1}"/>
              </a:ext>
            </a:extLst>
          </p:cNvPr>
          <p:cNvSpPr>
            <a:spLocks noGrp="1"/>
          </p:cNvSpPr>
          <p:nvPr>
            <p:custDataLst>
              <p:tags r:id="rId10"/>
            </p:custDataLst>
          </p:nvPr>
        </p:nvSpPr>
        <p:spPr bwMode="auto">
          <a:xfrm>
            <a:off x="2606675" y="5924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3F9884D-F4F7-4BC7-99D6-CF4A7ED3DDD6}" type="datetime'''1''''9''''''''''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7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D942D60A-B2E9-6936-587C-12A96B72FF33}"/>
              </a:ext>
            </a:extLst>
          </p:cNvPr>
          <p:cNvSpPr>
            <a:spLocks noGrp="1"/>
          </p:cNvSpPr>
          <p:nvPr>
            <p:custDataLst>
              <p:tags r:id="rId11"/>
            </p:custDataLst>
          </p:nvPr>
        </p:nvSpPr>
        <p:spPr bwMode="auto">
          <a:xfrm>
            <a:off x="4035425" y="5924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A671611-24FA-4BA5-B0F1-EEEDD3B0B97C}" type="datetime'1''''9''''''''''''''''''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9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 Placeholder 10">
            <a:extLst>
              <a:ext uri="{FF2B5EF4-FFF2-40B4-BE49-F238E27FC236}">
                <a16:creationId xmlns:a16="http://schemas.microsoft.com/office/drawing/2014/main" id="{FCC38CC3-B4B0-8B27-4165-D7DF28C9284E}"/>
              </a:ext>
            </a:extLst>
          </p:cNvPr>
          <p:cNvSpPr>
            <a:spLocks noGrp="1"/>
          </p:cNvSpPr>
          <p:nvPr>
            <p:custDataLst>
              <p:tags r:id="rId12"/>
            </p:custDataLst>
          </p:nvPr>
        </p:nvSpPr>
        <p:spPr bwMode="auto">
          <a:xfrm>
            <a:off x="4749800" y="5924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F7246D9-203D-42F4-B5B0-F2CFD1607DF2}"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 name="Text Placeholder 10">
            <a:extLst>
              <a:ext uri="{FF2B5EF4-FFF2-40B4-BE49-F238E27FC236}">
                <a16:creationId xmlns:a16="http://schemas.microsoft.com/office/drawing/2014/main" id="{00D84815-C880-BC25-DD5F-A7A8BB3C0160}"/>
              </a:ext>
            </a:extLst>
          </p:cNvPr>
          <p:cNvSpPr>
            <a:spLocks noGrp="1"/>
          </p:cNvSpPr>
          <p:nvPr>
            <p:custDataLst>
              <p:tags r:id="rId13"/>
            </p:custDataLst>
          </p:nvPr>
        </p:nvSpPr>
        <p:spPr bwMode="auto">
          <a:xfrm>
            <a:off x="5464175" y="5924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E4F843E-114E-4F1D-9652-AD5EA3CAC15C}"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 name="Text Placeholder 10">
            <a:extLst>
              <a:ext uri="{FF2B5EF4-FFF2-40B4-BE49-F238E27FC236}">
                <a16:creationId xmlns:a16="http://schemas.microsoft.com/office/drawing/2014/main" id="{E68CDFF6-F153-26DB-A614-497F164B2137}"/>
              </a:ext>
            </a:extLst>
          </p:cNvPr>
          <p:cNvSpPr>
            <a:spLocks noGrp="1"/>
          </p:cNvSpPr>
          <p:nvPr>
            <p:custDataLst>
              <p:tags r:id="rId14"/>
            </p:custDataLst>
          </p:nvPr>
        </p:nvSpPr>
        <p:spPr bwMode="auto">
          <a:xfrm>
            <a:off x="6178550" y="5924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D839482-23D3-4BCC-8ECA-8467B65C9020}"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EA66E55E-87F7-ED03-C236-CCC5118F861A}"/>
              </a:ext>
            </a:extLst>
          </p:cNvPr>
          <p:cNvSpPr>
            <a:spLocks noGrp="1"/>
          </p:cNvSpPr>
          <p:nvPr>
            <p:custDataLst>
              <p:tags r:id="rId15"/>
            </p:custDataLst>
          </p:nvPr>
        </p:nvSpPr>
        <p:spPr bwMode="auto">
          <a:xfrm>
            <a:off x="3321050" y="5924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CE64F7F-4AB0-492A-A312-906F77FE30AE}" type="datetime'''1''''''''''''''''''''''''''''9''''''''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72" name="Rectangle 271">
            <a:extLst>
              <a:ext uri="{FF2B5EF4-FFF2-40B4-BE49-F238E27FC236}">
                <a16:creationId xmlns:a16="http://schemas.microsoft.com/office/drawing/2014/main" id="{259EED9A-72FB-2756-EAE3-2674752F71AC}"/>
              </a:ext>
            </a:extLst>
          </p:cNvPr>
          <p:cNvSpPr/>
          <p:nvPr>
            <p:custDataLst>
              <p:tags r:id="rId16"/>
            </p:custDataLst>
          </p:nvPr>
        </p:nvSpPr>
        <p:spPr bwMode="auto">
          <a:xfrm>
            <a:off x="442913" y="5683250"/>
            <a:ext cx="179388" cy="13335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5" name="Rectangle 274">
            <a:extLst>
              <a:ext uri="{FF2B5EF4-FFF2-40B4-BE49-F238E27FC236}">
                <a16:creationId xmlns:a16="http://schemas.microsoft.com/office/drawing/2014/main" id="{4FD1BC64-E8AA-B7E3-4AB5-1609EF5AC5BC}"/>
              </a:ext>
            </a:extLst>
          </p:cNvPr>
          <p:cNvSpPr/>
          <p:nvPr>
            <p:custDataLst>
              <p:tags r:id="rId17"/>
            </p:custDataLst>
          </p:nvPr>
        </p:nvSpPr>
        <p:spPr bwMode="auto">
          <a:xfrm>
            <a:off x="442913" y="5073650"/>
            <a:ext cx="179388" cy="1333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0" name="Rectangle 269">
            <a:extLst>
              <a:ext uri="{FF2B5EF4-FFF2-40B4-BE49-F238E27FC236}">
                <a16:creationId xmlns:a16="http://schemas.microsoft.com/office/drawing/2014/main" id="{C60E72C0-7CA5-7108-7444-1EDCE7B6935A}"/>
              </a:ext>
            </a:extLst>
          </p:cNvPr>
          <p:cNvSpPr/>
          <p:nvPr>
            <p:custDataLst>
              <p:tags r:id="rId18"/>
            </p:custDataLst>
          </p:nvPr>
        </p:nvSpPr>
        <p:spPr bwMode="auto">
          <a:xfrm>
            <a:off x="1096963" y="5276850"/>
            <a:ext cx="179388" cy="133350"/>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4" name="Rectangle 273">
            <a:extLst>
              <a:ext uri="{FF2B5EF4-FFF2-40B4-BE49-F238E27FC236}">
                <a16:creationId xmlns:a16="http://schemas.microsoft.com/office/drawing/2014/main" id="{6E82895B-0FB3-B8A0-6958-C92AD306BFED}"/>
              </a:ext>
            </a:extLst>
          </p:cNvPr>
          <p:cNvSpPr/>
          <p:nvPr>
            <p:custDataLst>
              <p:tags r:id="rId19"/>
            </p:custDataLst>
          </p:nvPr>
        </p:nvSpPr>
        <p:spPr bwMode="auto">
          <a:xfrm>
            <a:off x="442913" y="5276850"/>
            <a:ext cx="179388" cy="133350"/>
          </a:xfrm>
          <a:prstGeom prst="rect">
            <a:avLst/>
          </a:prstGeom>
          <a:solidFill>
            <a:srgbClr val="364D6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1" name="Rectangle 270">
            <a:extLst>
              <a:ext uri="{FF2B5EF4-FFF2-40B4-BE49-F238E27FC236}">
                <a16:creationId xmlns:a16="http://schemas.microsoft.com/office/drawing/2014/main" id="{2D0C9604-A0A6-CAA3-F577-1CAFE70C5FD6}"/>
              </a:ext>
            </a:extLst>
          </p:cNvPr>
          <p:cNvSpPr/>
          <p:nvPr>
            <p:custDataLst>
              <p:tags r:id="rId20"/>
            </p:custDataLst>
          </p:nvPr>
        </p:nvSpPr>
        <p:spPr bwMode="auto">
          <a:xfrm>
            <a:off x="1096963" y="5073650"/>
            <a:ext cx="179388" cy="133350"/>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3" name="Rectangle 272">
            <a:extLst>
              <a:ext uri="{FF2B5EF4-FFF2-40B4-BE49-F238E27FC236}">
                <a16:creationId xmlns:a16="http://schemas.microsoft.com/office/drawing/2014/main" id="{0481D530-B6BF-D15D-A7CF-25468687AA5C}"/>
              </a:ext>
            </a:extLst>
          </p:cNvPr>
          <p:cNvSpPr/>
          <p:nvPr>
            <p:custDataLst>
              <p:tags r:id="rId21"/>
            </p:custDataLst>
          </p:nvPr>
        </p:nvSpPr>
        <p:spPr bwMode="auto">
          <a:xfrm>
            <a:off x="442913" y="5480050"/>
            <a:ext cx="179388" cy="133350"/>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69" name="Rectangle 268">
            <a:extLst>
              <a:ext uri="{FF2B5EF4-FFF2-40B4-BE49-F238E27FC236}">
                <a16:creationId xmlns:a16="http://schemas.microsoft.com/office/drawing/2014/main" id="{AA25AA3E-8476-DF97-3763-6DCE5A67E4A8}"/>
              </a:ext>
            </a:extLst>
          </p:cNvPr>
          <p:cNvSpPr/>
          <p:nvPr>
            <p:custDataLst>
              <p:tags r:id="rId22"/>
            </p:custDataLst>
          </p:nvPr>
        </p:nvSpPr>
        <p:spPr bwMode="auto">
          <a:xfrm>
            <a:off x="1096963" y="5480050"/>
            <a:ext cx="179388" cy="133350"/>
          </a:xfrm>
          <a:prstGeom prst="rect">
            <a:avLst/>
          </a:prstGeom>
          <a:solidFill>
            <a:srgbClr val="DFE5E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65" name="Text Placeholder 10">
            <a:extLst>
              <a:ext uri="{FF2B5EF4-FFF2-40B4-BE49-F238E27FC236}">
                <a16:creationId xmlns:a16="http://schemas.microsoft.com/office/drawing/2014/main" id="{D6DEF9F2-7E5A-2B06-880C-36D91A5C3E12}"/>
              </a:ext>
            </a:extLst>
          </p:cNvPr>
          <p:cNvSpPr txBox="1">
            <a:spLocks/>
          </p:cNvSpPr>
          <p:nvPr>
            <p:custDataLst>
              <p:tags r:id="rId23"/>
            </p:custDataLst>
          </p:nvPr>
        </p:nvSpPr>
        <p:spPr bwMode="auto">
          <a:xfrm>
            <a:off x="673100" y="5678488"/>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80B09C8-91C4-458D-99C5-F35CF3F4CF40}" type="datetime'''24-''''''''''''''''''''''3''''''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4-31</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3" name="Text Placeholder 10">
            <a:extLst>
              <a:ext uri="{FF2B5EF4-FFF2-40B4-BE49-F238E27FC236}">
                <a16:creationId xmlns:a16="http://schemas.microsoft.com/office/drawing/2014/main" id="{3F3FB76D-66AD-E62E-BBFE-CA6E1BF25DB4}"/>
              </a:ext>
            </a:extLst>
          </p:cNvPr>
          <p:cNvSpPr txBox="1">
            <a:spLocks/>
          </p:cNvSpPr>
          <p:nvPr>
            <p:custDataLst>
              <p:tags r:id="rId24"/>
            </p:custDataLst>
          </p:nvPr>
        </p:nvSpPr>
        <p:spPr bwMode="auto">
          <a:xfrm>
            <a:off x="1327150" y="5068888"/>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B26FF95-9639-44A8-8513-100DA8549800}" type="datetime'''''''''16-''2''''''''''''''''''''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23</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6" name="Text Placeholder 10">
            <a:extLst>
              <a:ext uri="{FF2B5EF4-FFF2-40B4-BE49-F238E27FC236}">
                <a16:creationId xmlns:a16="http://schemas.microsoft.com/office/drawing/2014/main" id="{911078BE-3031-C671-4D2E-294E22C6A814}"/>
              </a:ext>
            </a:extLst>
          </p:cNvPr>
          <p:cNvSpPr txBox="1">
            <a:spLocks/>
          </p:cNvSpPr>
          <p:nvPr>
            <p:custDataLst>
              <p:tags r:id="rId25"/>
            </p:custDataLst>
          </p:nvPr>
        </p:nvSpPr>
        <p:spPr bwMode="auto">
          <a:xfrm>
            <a:off x="673100" y="5475288"/>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3A4F3D7-624E-495F-B548-1A0462DE6D86}" type="datetime'''''3''''''''''''2''''''-''''''''''''''''''''3''''''9'''''''''">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2-39</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2" name="Text Placeholder 10">
            <a:extLst>
              <a:ext uri="{FF2B5EF4-FFF2-40B4-BE49-F238E27FC236}">
                <a16:creationId xmlns:a16="http://schemas.microsoft.com/office/drawing/2014/main" id="{7407CDF6-BCA0-150F-4637-9D71B1F4A0AF}"/>
              </a:ext>
            </a:extLst>
          </p:cNvPr>
          <p:cNvSpPr txBox="1">
            <a:spLocks/>
          </p:cNvSpPr>
          <p:nvPr>
            <p:custDataLst>
              <p:tags r:id="rId26"/>
            </p:custDataLst>
          </p:nvPr>
        </p:nvSpPr>
        <p:spPr bwMode="auto">
          <a:xfrm>
            <a:off x="1327150" y="5272088"/>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7C6F10F-2C84-401B-AD37-8634294ACBEC}" type="datetime'''''''''8''''''''''''''''''''''''''''''-''''''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4" name="Text Placeholder 10">
            <a:extLst>
              <a:ext uri="{FF2B5EF4-FFF2-40B4-BE49-F238E27FC236}">
                <a16:creationId xmlns:a16="http://schemas.microsoft.com/office/drawing/2014/main" id="{5A8D7CEF-4BE4-2EFE-3E90-38B93FD54EC3}"/>
              </a:ext>
            </a:extLst>
          </p:cNvPr>
          <p:cNvSpPr txBox="1">
            <a:spLocks/>
          </p:cNvSpPr>
          <p:nvPr>
            <p:custDataLst>
              <p:tags r:id="rId27"/>
            </p:custDataLst>
          </p:nvPr>
        </p:nvSpPr>
        <p:spPr bwMode="auto">
          <a:xfrm>
            <a:off x="673100" y="5272088"/>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A900029-D59A-48E7-997F-04B298869AC3}" type="datetime'''4''''''''''''0''''''''''''''-4''''''''''''''''''''''7'''''">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47</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0" name="Text Placeholder 10">
            <a:extLst>
              <a:ext uri="{FF2B5EF4-FFF2-40B4-BE49-F238E27FC236}">
                <a16:creationId xmlns:a16="http://schemas.microsoft.com/office/drawing/2014/main" id="{A609416A-2CAE-F200-5024-D0DF86376DED}"/>
              </a:ext>
            </a:extLst>
          </p:cNvPr>
          <p:cNvSpPr txBox="1">
            <a:spLocks/>
          </p:cNvSpPr>
          <p:nvPr>
            <p:custDataLst>
              <p:tags r:id="rId28"/>
            </p:custDataLst>
          </p:nvPr>
        </p:nvSpPr>
        <p:spPr bwMode="auto">
          <a:xfrm>
            <a:off x="1327150" y="5475288"/>
            <a:ext cx="144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0BC2B1F-B6D7-41E4-A1AE-A1027D5EE19F}" type="datetime'''''''''''''''''''''''''''&lt;''''''''''''''''''''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t;8</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7" name="Text Placeholder 10">
            <a:extLst>
              <a:ext uri="{FF2B5EF4-FFF2-40B4-BE49-F238E27FC236}">
                <a16:creationId xmlns:a16="http://schemas.microsoft.com/office/drawing/2014/main" id="{A3885216-E61D-0241-4CB8-440D17634955}"/>
              </a:ext>
            </a:extLst>
          </p:cNvPr>
          <p:cNvSpPr txBox="1">
            <a:spLocks/>
          </p:cNvSpPr>
          <p:nvPr>
            <p:custDataLst>
              <p:tags r:id="rId29"/>
            </p:custDataLst>
          </p:nvPr>
        </p:nvSpPr>
        <p:spPr bwMode="auto">
          <a:xfrm>
            <a:off x="673100" y="5068888"/>
            <a:ext cx="2143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D2ABC04-1E5D-4223-B879-3529D3B68738}" type="datetime'''''''4''''''''''''''''''''''''''''''''''''''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8+</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437" name="Chart 436">
            <a:extLst>
              <a:ext uri="{FF2B5EF4-FFF2-40B4-BE49-F238E27FC236}">
                <a16:creationId xmlns:a16="http://schemas.microsoft.com/office/drawing/2014/main" id="{215D1F0C-6D44-E944-9BD7-5B9938A9BF3A}"/>
              </a:ext>
            </a:extLst>
          </p:cNvPr>
          <p:cNvGraphicFramePr/>
          <p:nvPr>
            <p:custDataLst>
              <p:tags r:id="rId30"/>
            </p:custDataLst>
          </p:nvPr>
        </p:nvGraphicFramePr>
        <p:xfrm>
          <a:off x="7342188" y="4581525"/>
          <a:ext cx="4094162" cy="1404938"/>
        </p:xfrm>
        <a:graphic>
          <a:graphicData uri="http://schemas.openxmlformats.org/drawingml/2006/chart">
            <c:chart xmlns:c="http://schemas.openxmlformats.org/drawingml/2006/chart" xmlns:r="http://schemas.openxmlformats.org/officeDocument/2006/relationships" r:id="rId58"/>
          </a:graphicData>
        </a:graphic>
      </p:graphicFrame>
      <p:sp>
        <p:nvSpPr>
          <p:cNvPr id="420" name="Text Placeholder 10">
            <a:extLst>
              <a:ext uri="{FF2B5EF4-FFF2-40B4-BE49-F238E27FC236}">
                <a16:creationId xmlns:a16="http://schemas.microsoft.com/office/drawing/2014/main" id="{C5628E44-6992-B8F0-5951-FD78558CA179}"/>
              </a:ext>
            </a:extLst>
          </p:cNvPr>
          <p:cNvSpPr txBox="1">
            <a:spLocks/>
          </p:cNvSpPr>
          <p:nvPr>
            <p:custDataLst>
              <p:tags r:id="rId31"/>
            </p:custDataLst>
          </p:nvPr>
        </p:nvSpPr>
        <p:spPr bwMode="gray">
          <a:xfrm>
            <a:off x="7269163" y="56213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A3D4CCF-EF3A-4A7E-B47E-7D7905950510}" type="datetime'''''''''''''''''''''''''''''''''''''''''''''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1" name="Text Placeholder 10">
            <a:extLst>
              <a:ext uri="{FF2B5EF4-FFF2-40B4-BE49-F238E27FC236}">
                <a16:creationId xmlns:a16="http://schemas.microsoft.com/office/drawing/2014/main" id="{9A2790D6-A1A7-E949-8BB8-EBC5647F0287}"/>
              </a:ext>
            </a:extLst>
          </p:cNvPr>
          <p:cNvSpPr txBox="1">
            <a:spLocks/>
          </p:cNvSpPr>
          <p:nvPr>
            <p:custDataLst>
              <p:tags r:id="rId32"/>
            </p:custDataLst>
          </p:nvPr>
        </p:nvSpPr>
        <p:spPr bwMode="gray">
          <a:xfrm>
            <a:off x="7199313" y="5414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6B516FB-0CA4-43CB-8570-D6B754D9C670}"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2" name="Text Placeholder 10">
            <a:extLst>
              <a:ext uri="{FF2B5EF4-FFF2-40B4-BE49-F238E27FC236}">
                <a16:creationId xmlns:a16="http://schemas.microsoft.com/office/drawing/2014/main" id="{0882C1C5-E114-2335-FD12-C301BFEFD073}"/>
              </a:ext>
            </a:extLst>
          </p:cNvPr>
          <p:cNvSpPr txBox="1">
            <a:spLocks/>
          </p:cNvSpPr>
          <p:nvPr>
            <p:custDataLst>
              <p:tags r:id="rId33"/>
            </p:custDataLst>
          </p:nvPr>
        </p:nvSpPr>
        <p:spPr bwMode="gray">
          <a:xfrm>
            <a:off x="7199313" y="52085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6257EA3-FC22-4156-AC4D-4ACF46D58944}" type="datetime'''''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90" name="Text Placeholder 10">
            <a:extLst>
              <a:ext uri="{FF2B5EF4-FFF2-40B4-BE49-F238E27FC236}">
                <a16:creationId xmlns:a16="http://schemas.microsoft.com/office/drawing/2014/main" id="{C82A40DC-027A-DCB2-58C1-7D35207D7A9F}"/>
              </a:ext>
            </a:extLst>
          </p:cNvPr>
          <p:cNvSpPr txBox="1">
            <a:spLocks/>
          </p:cNvSpPr>
          <p:nvPr>
            <p:custDataLst>
              <p:tags r:id="rId34"/>
            </p:custDataLst>
          </p:nvPr>
        </p:nvSpPr>
        <p:spPr bwMode="gray">
          <a:xfrm>
            <a:off x="7199313" y="50006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20D8517-DC52-42C5-8C2E-56F03915BE67}"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3" name="Text Placeholder 10">
            <a:extLst>
              <a:ext uri="{FF2B5EF4-FFF2-40B4-BE49-F238E27FC236}">
                <a16:creationId xmlns:a16="http://schemas.microsoft.com/office/drawing/2014/main" id="{36F8F159-CC52-1EED-140D-1E2B62A45E29}"/>
              </a:ext>
            </a:extLst>
          </p:cNvPr>
          <p:cNvSpPr txBox="1">
            <a:spLocks/>
          </p:cNvSpPr>
          <p:nvPr>
            <p:custDataLst>
              <p:tags r:id="rId35"/>
            </p:custDataLst>
          </p:nvPr>
        </p:nvSpPr>
        <p:spPr bwMode="gray">
          <a:xfrm>
            <a:off x="7199313" y="4794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9C441D0-A2A4-4062-B917-6E3AABDA4FD1}" type="datetime'''''''''''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4" name="Text Placeholder 10">
            <a:extLst>
              <a:ext uri="{FF2B5EF4-FFF2-40B4-BE49-F238E27FC236}">
                <a16:creationId xmlns:a16="http://schemas.microsoft.com/office/drawing/2014/main" id="{3492142B-2077-F5DB-6B0E-C40AD5C711B3}"/>
              </a:ext>
            </a:extLst>
          </p:cNvPr>
          <p:cNvSpPr txBox="1">
            <a:spLocks/>
          </p:cNvSpPr>
          <p:nvPr>
            <p:custDataLst>
              <p:tags r:id="rId36"/>
            </p:custDataLst>
          </p:nvPr>
        </p:nvSpPr>
        <p:spPr bwMode="gray">
          <a:xfrm>
            <a:off x="7199313" y="45878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EFBED6D-A187-4E62-9F54-5C6D8875243E}"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94" name="Text Placeholder 10">
            <a:extLst>
              <a:ext uri="{FF2B5EF4-FFF2-40B4-BE49-F238E27FC236}">
                <a16:creationId xmlns:a16="http://schemas.microsoft.com/office/drawing/2014/main" id="{A57738E1-33E7-A1F6-1715-0DCF5C323829}"/>
              </a:ext>
            </a:extLst>
          </p:cNvPr>
          <p:cNvSpPr txBox="1">
            <a:spLocks/>
          </p:cNvSpPr>
          <p:nvPr>
            <p:custDataLst>
              <p:tags r:id="rId37"/>
            </p:custDataLst>
          </p:nvPr>
        </p:nvSpPr>
        <p:spPr bwMode="gray">
          <a:xfrm>
            <a:off x="7269163" y="58277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6628A0A-7473-4C8C-81F7-DB4A058CE3EF}"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00" name="Text Placeholder 10">
            <a:extLst>
              <a:ext uri="{FF2B5EF4-FFF2-40B4-BE49-F238E27FC236}">
                <a16:creationId xmlns:a16="http://schemas.microsoft.com/office/drawing/2014/main" id="{88AC3C5B-4CCD-CAED-BFED-0400BD25947D}"/>
              </a:ext>
            </a:extLst>
          </p:cNvPr>
          <p:cNvSpPr>
            <a:spLocks noGrp="1"/>
          </p:cNvSpPr>
          <p:nvPr>
            <p:custDataLst>
              <p:tags r:id="rId38"/>
            </p:custDataLst>
          </p:nvPr>
        </p:nvSpPr>
        <p:spPr bwMode="auto">
          <a:xfrm>
            <a:off x="8027988" y="59467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389F52D-5323-4E9A-8AE6-081F12A7199A}" type="datetime'''''''''''1''''9''''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96" name="Text Placeholder 10">
            <a:extLst>
              <a:ext uri="{FF2B5EF4-FFF2-40B4-BE49-F238E27FC236}">
                <a16:creationId xmlns:a16="http://schemas.microsoft.com/office/drawing/2014/main" id="{08C5481B-D35F-DDCC-FC1B-64D61E43B8AE}"/>
              </a:ext>
            </a:extLst>
          </p:cNvPr>
          <p:cNvSpPr>
            <a:spLocks noGrp="1"/>
          </p:cNvSpPr>
          <p:nvPr>
            <p:custDataLst>
              <p:tags r:id="rId39"/>
            </p:custDataLst>
          </p:nvPr>
        </p:nvSpPr>
        <p:spPr bwMode="auto">
          <a:xfrm>
            <a:off x="8742363" y="59467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19ADEE-7778-4867-8D10-48EDFFDB9040}" type="datetime'''1''''''''''''''''9''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9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97" name="Text Placeholder 10">
            <a:extLst>
              <a:ext uri="{FF2B5EF4-FFF2-40B4-BE49-F238E27FC236}">
                <a16:creationId xmlns:a16="http://schemas.microsoft.com/office/drawing/2014/main" id="{314ADD8E-455F-3B38-C569-E504D3045698}"/>
              </a:ext>
            </a:extLst>
          </p:cNvPr>
          <p:cNvSpPr>
            <a:spLocks noGrp="1"/>
          </p:cNvSpPr>
          <p:nvPr>
            <p:custDataLst>
              <p:tags r:id="rId40"/>
            </p:custDataLst>
          </p:nvPr>
        </p:nvSpPr>
        <p:spPr bwMode="auto">
          <a:xfrm>
            <a:off x="9456738" y="59467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B41A878-A5C6-4E3C-886F-8A8BE3432156}"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98" name="Text Placeholder 10">
            <a:extLst>
              <a:ext uri="{FF2B5EF4-FFF2-40B4-BE49-F238E27FC236}">
                <a16:creationId xmlns:a16="http://schemas.microsoft.com/office/drawing/2014/main" id="{C8A21CB8-89A5-45FA-418B-DC945523B965}"/>
              </a:ext>
            </a:extLst>
          </p:cNvPr>
          <p:cNvSpPr>
            <a:spLocks noGrp="1"/>
          </p:cNvSpPr>
          <p:nvPr>
            <p:custDataLst>
              <p:tags r:id="rId41"/>
            </p:custDataLst>
          </p:nvPr>
        </p:nvSpPr>
        <p:spPr bwMode="auto">
          <a:xfrm>
            <a:off x="10171113" y="59467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36CAD27-D7D9-4557-A92E-E88F8F76A17E}"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99" name="Text Placeholder 10">
            <a:extLst>
              <a:ext uri="{FF2B5EF4-FFF2-40B4-BE49-F238E27FC236}">
                <a16:creationId xmlns:a16="http://schemas.microsoft.com/office/drawing/2014/main" id="{99BDAD3A-FE99-FBEF-6CF9-8798985E0547}"/>
              </a:ext>
            </a:extLst>
          </p:cNvPr>
          <p:cNvSpPr>
            <a:spLocks noGrp="1"/>
          </p:cNvSpPr>
          <p:nvPr>
            <p:custDataLst>
              <p:tags r:id="rId42"/>
            </p:custDataLst>
          </p:nvPr>
        </p:nvSpPr>
        <p:spPr bwMode="auto">
          <a:xfrm>
            <a:off x="10885488" y="59467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2DA654D-574B-4D5C-8DB0-723732D241B9}"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95" name="Text Placeholder 10">
            <a:extLst>
              <a:ext uri="{FF2B5EF4-FFF2-40B4-BE49-F238E27FC236}">
                <a16:creationId xmlns:a16="http://schemas.microsoft.com/office/drawing/2014/main" id="{84DFCA1C-3669-0034-E061-82C4DE21D7D6}"/>
              </a:ext>
            </a:extLst>
          </p:cNvPr>
          <p:cNvSpPr>
            <a:spLocks noGrp="1"/>
          </p:cNvSpPr>
          <p:nvPr>
            <p:custDataLst>
              <p:tags r:id="rId43"/>
            </p:custDataLst>
          </p:nvPr>
        </p:nvSpPr>
        <p:spPr bwMode="auto">
          <a:xfrm>
            <a:off x="7313613" y="59467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96600B3-5E6A-4425-9F73-A713D3155B8E}" type="datetime'1''''''''''''''''''''9''''''''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7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 name="TextBox 4">
            <a:extLst>
              <a:ext uri="{FF2B5EF4-FFF2-40B4-BE49-F238E27FC236}">
                <a16:creationId xmlns:a16="http://schemas.microsoft.com/office/drawing/2014/main" id="{9C9D181B-F51D-9CFD-A7AA-6CF402A145C3}"/>
              </a:ext>
            </a:extLst>
          </p:cNvPr>
          <p:cNvSpPr txBox="1"/>
          <p:nvPr/>
        </p:nvSpPr>
        <p:spPr bwMode="gray">
          <a:xfrm>
            <a:off x="3688801" y="1670825"/>
            <a:ext cx="180291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France</a:t>
            </a:r>
          </a:p>
        </p:txBody>
      </p:sp>
      <p:cxnSp>
        <p:nvCxnSpPr>
          <p:cNvPr id="24" name="Straight Connector 23">
            <a:extLst>
              <a:ext uri="{FF2B5EF4-FFF2-40B4-BE49-F238E27FC236}">
                <a16:creationId xmlns:a16="http://schemas.microsoft.com/office/drawing/2014/main" id="{45747F2C-5DEE-2F7C-62C0-665FD5B74F18}"/>
              </a:ext>
            </a:extLst>
          </p:cNvPr>
          <p:cNvCxnSpPr>
            <a:cxnSpLocks/>
          </p:cNvCxnSpPr>
          <p:nvPr/>
        </p:nvCxnSpPr>
        <p:spPr bwMode="gray">
          <a:xfrm>
            <a:off x="290001" y="1943007"/>
            <a:ext cx="1120349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18EAB7B-EA44-6765-9A0A-3658A72D8DBD}"/>
              </a:ext>
            </a:extLst>
          </p:cNvPr>
          <p:cNvSpPr txBox="1"/>
          <p:nvPr/>
        </p:nvSpPr>
        <p:spPr bwMode="gray">
          <a:xfrm>
            <a:off x="367772" y="2014631"/>
            <a:ext cx="1281198"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Policy stance</a:t>
            </a:r>
          </a:p>
        </p:txBody>
      </p:sp>
      <p:sp>
        <p:nvSpPr>
          <p:cNvPr id="28" name="TextBox 27">
            <a:extLst>
              <a:ext uri="{FF2B5EF4-FFF2-40B4-BE49-F238E27FC236}">
                <a16:creationId xmlns:a16="http://schemas.microsoft.com/office/drawing/2014/main" id="{88E11719-3A8E-88DB-12E7-25DEAD2B6C90}"/>
              </a:ext>
            </a:extLst>
          </p:cNvPr>
          <p:cNvSpPr txBox="1"/>
          <p:nvPr/>
        </p:nvSpPr>
        <p:spPr bwMode="gray">
          <a:xfrm>
            <a:off x="8484620" y="1670825"/>
            <a:ext cx="180291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Germany</a:t>
            </a:r>
          </a:p>
        </p:txBody>
      </p:sp>
      <p:sp>
        <p:nvSpPr>
          <p:cNvPr id="29" name="TextBox 28">
            <a:extLst>
              <a:ext uri="{FF2B5EF4-FFF2-40B4-BE49-F238E27FC236}">
                <a16:creationId xmlns:a16="http://schemas.microsoft.com/office/drawing/2014/main" id="{85D0C45F-96AC-9734-4A39-5171D5AD646D}"/>
              </a:ext>
            </a:extLst>
          </p:cNvPr>
          <p:cNvSpPr txBox="1"/>
          <p:nvPr/>
        </p:nvSpPr>
        <p:spPr bwMode="gray">
          <a:xfrm>
            <a:off x="367772" y="2761615"/>
            <a:ext cx="1281198"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Specific policies</a:t>
            </a:r>
          </a:p>
        </p:txBody>
      </p:sp>
      <p:sp>
        <p:nvSpPr>
          <p:cNvPr id="30" name="TextBox 29">
            <a:extLst>
              <a:ext uri="{FF2B5EF4-FFF2-40B4-BE49-F238E27FC236}">
                <a16:creationId xmlns:a16="http://schemas.microsoft.com/office/drawing/2014/main" id="{661FF022-24EF-0E7F-8457-FB6905854F8A}"/>
              </a:ext>
            </a:extLst>
          </p:cNvPr>
          <p:cNvSpPr txBox="1"/>
          <p:nvPr/>
        </p:nvSpPr>
        <p:spPr bwMode="gray">
          <a:xfrm>
            <a:off x="334963" y="4515229"/>
            <a:ext cx="1792290"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Nuclear capacity (MW)</a:t>
            </a:r>
          </a:p>
        </p:txBody>
      </p:sp>
      <p:sp>
        <p:nvSpPr>
          <p:cNvPr id="31" name="TextBox 30">
            <a:extLst>
              <a:ext uri="{FF2B5EF4-FFF2-40B4-BE49-F238E27FC236}">
                <a16:creationId xmlns:a16="http://schemas.microsoft.com/office/drawing/2014/main" id="{DEA9D986-33FE-BF7B-17C8-5DB6DD9DFD08}"/>
              </a:ext>
            </a:extLst>
          </p:cNvPr>
          <p:cNvSpPr txBox="1"/>
          <p:nvPr/>
        </p:nvSpPr>
        <p:spPr bwMode="gray">
          <a:xfrm>
            <a:off x="2441347" y="2006318"/>
            <a:ext cx="4348920" cy="361637"/>
          </a:xfrm>
          <a:prstGeom prst="rect">
            <a:avLst/>
          </a:prstGeom>
          <a:noFill/>
        </p:spPr>
        <p:txBody>
          <a:bodyPr wrap="square" lIns="0" tIns="0" rIns="0" bIns="0" rtlCol="0">
            <a:spAutoFit/>
          </a:bodyPr>
          <a:lstStyle/>
          <a:p>
            <a:pPr marL="171450" marR="0" lvl="1" indent="-1714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70% of its electricity</a:t>
            </a:r>
            <a:r>
              <a:rPr lang="en-US" sz="1050">
                <a:solidFill>
                  <a:srgbClr val="000000"/>
                </a:solidFill>
                <a:latin typeface="Arial"/>
              </a:rPr>
              <a:t> from nuclear power</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1450" marR="0" lvl="1" indent="-1714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Actively developing new-generation nuclear reactors</a:t>
            </a:r>
          </a:p>
        </p:txBody>
      </p:sp>
      <p:sp>
        <p:nvSpPr>
          <p:cNvPr id="33" name="TextBox 32">
            <a:extLst>
              <a:ext uri="{FF2B5EF4-FFF2-40B4-BE49-F238E27FC236}">
                <a16:creationId xmlns:a16="http://schemas.microsoft.com/office/drawing/2014/main" id="{13F5CD3A-88FE-08EE-A0FC-AD951CA8ED38}"/>
              </a:ext>
            </a:extLst>
          </p:cNvPr>
          <p:cNvSpPr txBox="1"/>
          <p:nvPr/>
        </p:nvSpPr>
        <p:spPr bwMode="gray">
          <a:xfrm>
            <a:off x="7043508" y="2006318"/>
            <a:ext cx="4348920" cy="523220"/>
          </a:xfrm>
          <a:prstGeom prst="rect">
            <a:avLst/>
          </a:prstGeom>
          <a:noFill/>
        </p:spPr>
        <p:txBody>
          <a:bodyPr wrap="square" lIns="0" tIns="0" rIns="0" bIns="0" rtlCol="0">
            <a:spAutoFit/>
          </a:bodyPr>
          <a:lstStyle/>
          <a:p>
            <a:pPr marL="171450" marR="0" lvl="1"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No nuclear power; phaseout concluded in 2023</a:t>
            </a:r>
          </a:p>
          <a:p>
            <a:pPr marL="171450" marR="0" lvl="1"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Chancellor Friedrich Merz is in favor of restarting nuclear power plants, sparking a possible reversal of the phaseout policy.</a:t>
            </a:r>
            <a:endParaRPr kumimoji="0" lang="en-US" sz="1050" b="0" i="0" u="none" strike="noStrike" kern="1200" cap="none" spc="0" normalizeH="0" baseline="0" noProof="0">
              <a:ln>
                <a:noFill/>
              </a:ln>
              <a:solidFill>
                <a:srgbClr val="000000"/>
              </a:solidFill>
              <a:effectLst/>
              <a:uLnTx/>
              <a:uFillTx/>
              <a:latin typeface="Arial"/>
              <a:ea typeface="+mn-ea"/>
              <a:cs typeface="Arial"/>
            </a:endParaRPr>
          </a:p>
        </p:txBody>
      </p:sp>
      <p:cxnSp>
        <p:nvCxnSpPr>
          <p:cNvPr id="34" name="Straight Connector 33">
            <a:extLst>
              <a:ext uri="{FF2B5EF4-FFF2-40B4-BE49-F238E27FC236}">
                <a16:creationId xmlns:a16="http://schemas.microsoft.com/office/drawing/2014/main" id="{A1AC67CD-9C60-A0A4-0F37-7352593A8FD3}"/>
              </a:ext>
            </a:extLst>
          </p:cNvPr>
          <p:cNvCxnSpPr>
            <a:cxnSpLocks/>
          </p:cNvCxnSpPr>
          <p:nvPr/>
        </p:nvCxnSpPr>
        <p:spPr bwMode="gray">
          <a:xfrm>
            <a:off x="290001" y="2603407"/>
            <a:ext cx="1120349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64296B1-A059-B082-54A6-6CB9FEBC5C40}"/>
              </a:ext>
            </a:extLst>
          </p:cNvPr>
          <p:cNvSpPr txBox="1"/>
          <p:nvPr/>
        </p:nvSpPr>
        <p:spPr bwMode="gray">
          <a:xfrm>
            <a:off x="2441347" y="2652280"/>
            <a:ext cx="4348920" cy="1208023"/>
          </a:xfrm>
          <a:prstGeom prst="rect">
            <a:avLst/>
          </a:prstGeom>
          <a:noFill/>
        </p:spPr>
        <p:txBody>
          <a:bodyPr wrap="square" lIns="0" tIns="0" rIns="0" bIns="0" rtlCol="0">
            <a:spAutoFit/>
          </a:bodyPr>
          <a:lstStyle/>
          <a:p>
            <a:pPr marL="171450" marR="0" lvl="1" indent="-1714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1" i="1" u="none" strike="noStrike" kern="1200" cap="none" spc="0" normalizeH="0" baseline="0" noProof="0">
                <a:ln>
                  <a:noFill/>
                </a:ln>
                <a:solidFill>
                  <a:srgbClr val="000000"/>
                </a:solidFill>
                <a:effectLst/>
                <a:uLnTx/>
                <a:uFillTx/>
                <a:latin typeface="Arial"/>
                <a:ea typeface="+mn-ea"/>
                <a:cs typeface="+mn-cs"/>
              </a:rPr>
              <a:t>Grande Carenage </a:t>
            </a:r>
            <a:r>
              <a:rPr kumimoji="0" lang="en-US" sz="1050" b="1" i="0" u="none" strike="noStrike" kern="1200" cap="none" spc="0" normalizeH="0" baseline="0" noProof="0">
                <a:ln>
                  <a:noFill/>
                </a:ln>
                <a:solidFill>
                  <a:srgbClr val="000000"/>
                </a:solidFill>
                <a:effectLst/>
                <a:uLnTx/>
                <a:uFillTx/>
                <a:latin typeface="Arial"/>
                <a:ea typeface="+mn-ea"/>
                <a:cs typeface="+mn-cs"/>
              </a:rPr>
              <a:t>program: </a:t>
            </a:r>
            <a:r>
              <a:rPr lang="en-US" sz="1050">
                <a:solidFill>
                  <a:srgbClr val="000000"/>
                </a:solidFill>
                <a:latin typeface="Arial"/>
              </a:rPr>
              <a:t>E</a:t>
            </a:r>
            <a:r>
              <a:rPr kumimoji="0" lang="en-US" sz="1050" b="0" i="0" u="none" strike="noStrike" kern="1200" cap="none" spc="0" normalizeH="0" baseline="0" noProof="0" err="1">
                <a:ln>
                  <a:noFill/>
                </a:ln>
                <a:solidFill>
                  <a:srgbClr val="000000"/>
                </a:solidFill>
                <a:effectLst/>
                <a:uLnTx/>
                <a:uFillTx/>
                <a:latin typeface="Arial"/>
                <a:ea typeface="+mn-ea"/>
                <a:cs typeface="+mn-cs"/>
              </a:rPr>
              <a:t>xtend</a:t>
            </a:r>
            <a:r>
              <a:rPr kumimoji="0" lang="en-US" sz="1050" b="0" i="0" u="none" strike="noStrike" kern="1200" cap="none" spc="0" normalizeH="0" baseline="0" noProof="0">
                <a:ln>
                  <a:noFill/>
                </a:ln>
                <a:solidFill>
                  <a:srgbClr val="000000"/>
                </a:solidFill>
                <a:effectLst/>
                <a:uLnTx/>
                <a:uFillTx/>
                <a:latin typeface="Arial"/>
                <a:ea typeface="+mn-ea"/>
                <a:cs typeface="+mn-cs"/>
              </a:rPr>
              <a:t> the lifetime of all nuclear reactors beyond 40 years, totaling 1.3 GW</a:t>
            </a:r>
          </a:p>
          <a:p>
            <a:pPr marL="171450" marR="0" lvl="1" indent="-1714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France 2030 investment plan:</a:t>
            </a:r>
            <a:r>
              <a:rPr kumimoji="0" lang="en-US" sz="1050" b="0" i="0" u="none" strike="noStrike" kern="1200" cap="none" spc="0" normalizeH="0" baseline="0" noProof="0">
                <a:ln>
                  <a:noFill/>
                </a:ln>
                <a:solidFill>
                  <a:srgbClr val="000000"/>
                </a:solidFill>
                <a:effectLst/>
                <a:uLnTx/>
                <a:uFillTx/>
                <a:latin typeface="Arial"/>
                <a:ea typeface="+mn-ea"/>
                <a:cs typeface="+mn-cs"/>
              </a:rPr>
              <a:t> 1 billion euros has been allocated to support the development of innovative reactors, including SMRs, with the goal of commissioning the first SMR by 2035</a:t>
            </a:r>
          </a:p>
          <a:p>
            <a:pPr marL="171450" marR="0" lvl="1" indent="-1714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Plans to construct six EPR2 reactors and assess the potential need for an additional eight</a:t>
            </a:r>
          </a:p>
        </p:txBody>
      </p:sp>
      <p:sp>
        <p:nvSpPr>
          <p:cNvPr id="38" name="TextBox 37">
            <a:extLst>
              <a:ext uri="{FF2B5EF4-FFF2-40B4-BE49-F238E27FC236}">
                <a16:creationId xmlns:a16="http://schemas.microsoft.com/office/drawing/2014/main" id="{DBBA9678-8C79-1527-FCA9-335D37DA4529}"/>
              </a:ext>
            </a:extLst>
          </p:cNvPr>
          <p:cNvSpPr txBox="1"/>
          <p:nvPr/>
        </p:nvSpPr>
        <p:spPr bwMode="gray">
          <a:xfrm>
            <a:off x="7043508" y="2668388"/>
            <a:ext cx="4348920" cy="1854354"/>
          </a:xfrm>
          <a:prstGeom prst="rect">
            <a:avLst/>
          </a:prstGeom>
          <a:noFill/>
        </p:spPr>
        <p:txBody>
          <a:bodyPr wrap="square" lIns="0" tIns="0" rIns="0" bIns="0" rtlCol="0">
            <a:spAutoFit/>
          </a:bodyPr>
          <a:lstStyle/>
          <a:p>
            <a:pPr marL="171450" marR="0" lvl="1" indent="-1714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Decision to phase out: </a:t>
            </a:r>
            <a:r>
              <a:rPr kumimoji="0" lang="en-US" sz="1050" b="0" i="0" u="none" strike="noStrike" kern="1200" cap="none" spc="0" normalizeH="0" baseline="0" noProof="0">
                <a:ln>
                  <a:noFill/>
                </a:ln>
                <a:solidFill>
                  <a:srgbClr val="000000"/>
                </a:solidFill>
                <a:effectLst/>
                <a:uLnTx/>
                <a:uFillTx/>
                <a:latin typeface="Arial"/>
                <a:ea typeface="+mn-ea"/>
                <a:cs typeface="+mn-cs"/>
              </a:rPr>
              <a:t>In 2002, the Atomic Energy Act was amended to phase our nuclear plants. This phaseout was reversed by a new government in 2009 but reinstated in 2011, leading to the immediate shutdown of eight reactors and a plan to close all remaining reactors by the end of 2022.</a:t>
            </a:r>
            <a:endParaRPr kumimoji="0" lang="en-US" sz="1050" b="0" i="0" u="none" strike="noStrike" kern="1200" cap="none" spc="0" normalizeH="0" baseline="0" noProof="0">
              <a:ln>
                <a:noFill/>
              </a:ln>
              <a:solidFill>
                <a:srgbClr val="000000"/>
              </a:solidFill>
              <a:effectLst/>
              <a:uLnTx/>
              <a:uFillTx/>
              <a:latin typeface="Arial"/>
              <a:ea typeface="+mn-ea"/>
              <a:cs typeface="Arial"/>
            </a:endParaRPr>
          </a:p>
          <a:p>
            <a:pPr marL="171450" marR="0" lvl="1"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Completion of phaseout: </a:t>
            </a:r>
            <a:r>
              <a:rPr lang="en-US" sz="1050">
                <a:solidFill>
                  <a:srgbClr val="000000"/>
                </a:solidFill>
                <a:latin typeface="Arial"/>
              </a:rPr>
              <a:t>The l</a:t>
            </a:r>
            <a:r>
              <a:rPr kumimoji="0" lang="en-US" sz="1050" b="0" i="0" u="none" strike="noStrike" kern="1200" cap="none" spc="0" normalizeH="0" baseline="0" noProof="0" err="1">
                <a:ln>
                  <a:noFill/>
                </a:ln>
                <a:solidFill>
                  <a:srgbClr val="000000"/>
                </a:solidFill>
                <a:effectLst/>
                <a:uLnTx/>
                <a:uFillTx/>
                <a:latin typeface="Arial"/>
                <a:ea typeface="+mn-ea"/>
                <a:cs typeface="+mn-cs"/>
              </a:rPr>
              <a:t>ast</a:t>
            </a:r>
            <a:r>
              <a:rPr kumimoji="0" lang="en-US" sz="1050" b="0" i="0" u="none" strike="noStrike" kern="1200" cap="none" spc="0" normalizeH="0" baseline="0" noProof="0">
                <a:ln>
                  <a:noFill/>
                </a:ln>
                <a:solidFill>
                  <a:srgbClr val="000000"/>
                </a:solidFill>
                <a:effectLst/>
                <a:uLnTx/>
                <a:uFillTx/>
                <a:latin typeface="Arial"/>
                <a:ea typeface="+mn-ea"/>
                <a:cs typeface="+mn-cs"/>
              </a:rPr>
              <a:t> three nuclear power plants were shut down April 15, 2023. Originally scheduled </a:t>
            </a:r>
            <a:r>
              <a:rPr lang="en-US" sz="1050">
                <a:solidFill>
                  <a:srgbClr val="000000"/>
                </a:solidFill>
                <a:latin typeface="Arial"/>
              </a:rPr>
              <a:t>to close</a:t>
            </a:r>
            <a:r>
              <a:rPr kumimoji="0" lang="en-US" sz="1050" b="0" i="0" u="none" strike="noStrike" kern="1200" cap="none" spc="0" normalizeH="0" baseline="0" noProof="0">
                <a:ln>
                  <a:noFill/>
                </a:ln>
                <a:solidFill>
                  <a:srgbClr val="000000"/>
                </a:solidFill>
                <a:effectLst/>
                <a:uLnTx/>
                <a:uFillTx/>
                <a:latin typeface="Arial"/>
                <a:ea typeface="+mn-ea"/>
                <a:cs typeface="+mn-cs"/>
              </a:rPr>
              <a:t> December 31, 2022, their operation was extended due to the energy crisis, but no new fuel elements were allowed. They ceased operation by mid-April 2023. </a:t>
            </a:r>
            <a:endParaRPr kumimoji="0" lang="en-US" sz="1050" b="0" i="0" u="none" strike="noStrike" kern="1200" cap="none" spc="0" normalizeH="0" baseline="0" noProof="0">
              <a:ln>
                <a:noFill/>
              </a:ln>
              <a:solidFill>
                <a:srgbClr val="000000"/>
              </a:solidFill>
              <a:effectLst/>
              <a:uLnTx/>
              <a:uFillTx/>
              <a:latin typeface="Arial"/>
              <a:ea typeface="+mn-ea"/>
              <a:cs typeface="Arial"/>
            </a:endParaRPr>
          </a:p>
          <a:p>
            <a:pPr marL="171450" marR="0" lvl="1" indent="-1714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cxnSp>
        <p:nvCxnSpPr>
          <p:cNvPr id="39" name="Straight Connector 38">
            <a:extLst>
              <a:ext uri="{FF2B5EF4-FFF2-40B4-BE49-F238E27FC236}">
                <a16:creationId xmlns:a16="http://schemas.microsoft.com/office/drawing/2014/main" id="{B4932E84-8256-F085-7D6E-BB991F0B2051}"/>
              </a:ext>
            </a:extLst>
          </p:cNvPr>
          <p:cNvCxnSpPr>
            <a:cxnSpLocks/>
          </p:cNvCxnSpPr>
          <p:nvPr/>
        </p:nvCxnSpPr>
        <p:spPr bwMode="gray">
          <a:xfrm>
            <a:off x="290001" y="4420283"/>
            <a:ext cx="1120349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4C77A6E-9BC1-F02C-F078-A662F0FB80EE}"/>
              </a:ext>
            </a:extLst>
          </p:cNvPr>
          <p:cNvSpPr txBox="1"/>
          <p:nvPr/>
        </p:nvSpPr>
        <p:spPr bwMode="gray">
          <a:xfrm>
            <a:off x="430349" y="4857153"/>
            <a:ext cx="480901" cy="246221"/>
          </a:xfrm>
          <a:prstGeom prst="rect">
            <a:avLst/>
          </a:prstGeom>
          <a:noFill/>
        </p:spPr>
        <p:txBody>
          <a:bodyPr wrap="none" lIns="0" tIns="0" rIns="0" bIns="9144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Lifespan</a:t>
            </a:r>
          </a:p>
        </p:txBody>
      </p:sp>
      <p:pic>
        <p:nvPicPr>
          <p:cNvPr id="1026" name="Picture 2" descr="Flag of France">
            <a:extLst>
              <a:ext uri="{FF2B5EF4-FFF2-40B4-BE49-F238E27FC236}">
                <a16:creationId xmlns:a16="http://schemas.microsoft.com/office/drawing/2014/main" id="{D38C6CC4-E672-F372-806E-58F3BE615471}"/>
              </a:ext>
            </a:extLst>
          </p:cNvPr>
          <p:cNvPicPr>
            <a:picLocks noChangeAspect="1" noChangeArrowheads="1"/>
          </p:cNvPicPr>
          <p:nvPr/>
        </p:nvPicPr>
        <p:blipFill>
          <a:blip r:embed="rId59" cstate="screen">
            <a:extLst>
              <a:ext uri="{28A0092B-C50C-407E-A947-70E740481C1C}">
                <a14:useLocalDpi xmlns:a14="http://schemas.microsoft.com/office/drawing/2010/main"/>
              </a:ext>
            </a:extLst>
          </a:blip>
          <a:srcRect/>
          <a:stretch>
            <a:fillRect/>
          </a:stretch>
        </p:blipFill>
        <p:spPr bwMode="auto">
          <a:xfrm>
            <a:off x="4953800" y="1651962"/>
            <a:ext cx="329248" cy="2196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Flag of Germany">
            <a:extLst>
              <a:ext uri="{FF2B5EF4-FFF2-40B4-BE49-F238E27FC236}">
                <a16:creationId xmlns:a16="http://schemas.microsoft.com/office/drawing/2014/main" id="{44816D42-7D19-AD34-281A-E3A2946AAE5E}"/>
              </a:ext>
            </a:extLst>
          </p:cNvPr>
          <p:cNvPicPr>
            <a:picLocks noChangeAspect="1" noChangeArrowheads="1"/>
          </p:cNvPicPr>
          <p:nvPr/>
        </p:nvPicPr>
        <p:blipFill>
          <a:blip r:embed="rId60" cstate="screen">
            <a:extLst>
              <a:ext uri="{28A0092B-C50C-407E-A947-70E740481C1C}">
                <a14:useLocalDpi xmlns:a14="http://schemas.microsoft.com/office/drawing/2010/main"/>
              </a:ext>
            </a:extLst>
          </a:blip>
          <a:srcRect/>
          <a:stretch>
            <a:fillRect/>
          </a:stretch>
        </p:blipFill>
        <p:spPr bwMode="auto">
          <a:xfrm>
            <a:off x="9821447" y="1673118"/>
            <a:ext cx="323129" cy="2196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E4FF1FDA-D1D6-F6D3-3C83-5BD6FFD39A5F}"/>
              </a:ext>
            </a:extLst>
          </p:cNvPr>
          <p:cNvSpPr/>
          <p:nvPr/>
        </p:nvSpPr>
        <p:spPr bwMode="gray">
          <a:xfrm>
            <a:off x="0" y="0"/>
            <a:ext cx="2926080" cy="382208"/>
          </a:xfrm>
          <a:prstGeom prst="rect">
            <a:avLst/>
          </a:prstGeom>
          <a:solidFill>
            <a:srgbClr val="4C6C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bg1"/>
                </a:solidFill>
              </a:rPr>
              <a:t>Europe</a:t>
            </a:r>
          </a:p>
        </p:txBody>
      </p:sp>
    </p:spTree>
    <p:custDataLst>
      <p:tags r:id="rId1"/>
    </p:custDataLst>
    <p:extLst>
      <p:ext uri="{BB962C8B-B14F-4D97-AF65-F5344CB8AC3E}">
        <p14:creationId xmlns:p14="http://schemas.microsoft.com/office/powerpoint/2010/main" val="9408710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0A50F-3A08-BF51-B897-96C4127AE11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F719DC3-3C51-7CB9-34F2-A0B5B2CBC8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92" imgH="591" progId="TCLayout.ActiveDocument.1">
                  <p:embed/>
                </p:oleObj>
              </mc:Choice>
              <mc:Fallback>
                <p:oleObj name="think-cell Slide" r:id="rId37" imgW="592" imgH="591" progId="TCLayout.ActiveDocument.1">
                  <p:embed/>
                  <p:pic>
                    <p:nvPicPr>
                      <p:cNvPr id="7" name="think-cell data - do not delete" hidden="1">
                        <a:extLst>
                          <a:ext uri="{FF2B5EF4-FFF2-40B4-BE49-F238E27FC236}">
                            <a16:creationId xmlns:a16="http://schemas.microsoft.com/office/drawing/2014/main" id="{3F719DC3-3C51-7CB9-34F2-A0B5B2CBC8C0}"/>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3EFB6A6-F4A4-3D1D-1B77-E5054F36B7E0}"/>
              </a:ext>
            </a:extLst>
          </p:cNvPr>
          <p:cNvSpPr>
            <a:spLocks noGrp="1"/>
          </p:cNvSpPr>
          <p:nvPr>
            <p:ph type="title"/>
          </p:nvPr>
        </p:nvSpPr>
        <p:spPr>
          <a:xfrm>
            <a:off x="330200" y="523318"/>
            <a:ext cx="11531600" cy="882788"/>
          </a:xfrm>
        </p:spPr>
        <p:txBody>
          <a:bodyPr vert="horz">
            <a:noAutofit/>
          </a:bodyPr>
          <a:lstStyle/>
          <a:p>
            <a:r>
              <a:rPr lang="en-US">
                <a:latin typeface="Arial" panose="020B0604020202020204" pitchFamily="34" charset="0"/>
                <a:cs typeface="Arial" panose="020B0604020202020204" pitchFamily="34" charset="0"/>
              </a:rPr>
              <a:t>Properly managed, nuclear energy is </a:t>
            </a:r>
            <a:r>
              <a:rPr lang="en-US" b="1">
                <a:latin typeface="Arial" panose="020B0604020202020204" pitchFamily="34" charset="0"/>
                <a:cs typeface="Arial" panose="020B0604020202020204" pitchFamily="34" charset="0"/>
              </a:rPr>
              <a:t>as safe and low </a:t>
            </a:r>
            <a:r>
              <a:rPr lang="en-US">
                <a:latin typeface="Arial" panose="020B0604020202020204" pitchFamily="34" charset="0"/>
                <a:cs typeface="Arial" panose="020B0604020202020204" pitchFamily="34" charset="0"/>
              </a:rPr>
              <a:t>waste </a:t>
            </a:r>
            <a:r>
              <a:rPr lang="en-US" b="1">
                <a:latin typeface="Arial" panose="020B0604020202020204" pitchFamily="34" charset="0"/>
                <a:cs typeface="Arial" panose="020B0604020202020204" pitchFamily="34" charset="0"/>
              </a:rPr>
              <a:t>as renewables and more land efficient</a:t>
            </a:r>
          </a:p>
        </p:txBody>
      </p:sp>
      <p:sp>
        <p:nvSpPr>
          <p:cNvPr id="417" name="btfpNotesBox111697">
            <a:extLst>
              <a:ext uri="{FF2B5EF4-FFF2-40B4-BE49-F238E27FC236}">
                <a16:creationId xmlns:a16="http://schemas.microsoft.com/office/drawing/2014/main" id="{094930C9-90EB-1A39-2782-DE587EA9F13E}"/>
              </a:ext>
            </a:extLst>
          </p:cNvPr>
          <p:cNvSpPr txBox="1"/>
          <p:nvPr/>
        </p:nvSpPr>
        <p:spPr bwMode="gray">
          <a:xfrm>
            <a:off x="330200" y="6186250"/>
            <a:ext cx="9227751" cy="615553"/>
          </a:xfrm>
          <a:prstGeom prst="rect">
            <a:avLst/>
          </a:prstGeom>
          <a:noFill/>
        </p:spPr>
        <p:txBody>
          <a:bodyPr vert="horz" wrap="square" lIns="0" tIns="0" rIns="0" bIns="0"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l" defTabSz="711200" rtl="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Arial"/>
                <a:cs typeface="Arial"/>
              </a:rPr>
              <a:t>1</a:t>
            </a:r>
            <a:r>
              <a:rPr kumimoji="0" lang="en-US" sz="800" b="0" i="0" u="none" strike="noStrike" kern="1200" cap="none" spc="0" normalizeH="0" noProof="0" dirty="0">
                <a:ln>
                  <a:noFill/>
                </a:ln>
                <a:solidFill>
                  <a:srgbClr val="000000"/>
                </a:solidFill>
                <a:effectLst/>
                <a:uLnTx/>
                <a:uFillTx/>
                <a:latin typeface="Arial"/>
                <a:cs typeface="Arial"/>
              </a:rPr>
              <a:t> Refers to physical material waste, not GHG pollution. </a:t>
            </a:r>
            <a:r>
              <a:rPr kumimoji="0" lang="en-US" sz="800" b="0" i="0" u="none" strike="noStrike" kern="1200" cap="none" spc="0" normalizeH="0" baseline="30000" noProof="0" dirty="0">
                <a:ln>
                  <a:noFill/>
                </a:ln>
                <a:solidFill>
                  <a:srgbClr val="000000"/>
                </a:solidFill>
                <a:effectLst/>
                <a:uLnTx/>
                <a:uFillTx/>
                <a:latin typeface="Arial"/>
                <a:cs typeface="Arial"/>
              </a:rPr>
              <a:t>2 </a:t>
            </a:r>
            <a:r>
              <a:rPr kumimoji="0" lang="en-US" sz="800" b="0" i="0" u="none" strike="noStrike" kern="1200" cap="none" spc="0" normalizeH="0" baseline="0" noProof="0" dirty="0">
                <a:ln>
                  <a:noFill/>
                </a:ln>
                <a:solidFill>
                  <a:srgbClr val="000000"/>
                </a:solidFill>
                <a:effectLst/>
                <a:uLnTx/>
                <a:uFillTx/>
                <a:latin typeface="Arial"/>
                <a:cs typeface="Arial"/>
              </a:rPr>
              <a:t>See Appendix for </a:t>
            </a:r>
            <a:r>
              <a:rPr lang="en-US" sz="800" dirty="0">
                <a:solidFill>
                  <a:srgbClr val="000000"/>
                </a:solidFill>
                <a:latin typeface="Arial"/>
                <a:cs typeface="Arial"/>
              </a:rPr>
              <a:t>further details on waste, land use, and safety</a:t>
            </a:r>
            <a:r>
              <a:rPr kumimoji="0" lang="en-US" sz="800" b="0" i="0" u="none" strike="noStrike" kern="1200" cap="none" spc="0" normalizeH="0" baseline="0" noProof="0" dirty="0">
                <a:ln>
                  <a:noFill/>
                </a:ln>
                <a:solidFill>
                  <a:srgbClr val="000000"/>
                </a:solidFill>
                <a:effectLst/>
                <a:uLnTx/>
                <a:uFillTx/>
                <a:latin typeface="Arial"/>
                <a:cs typeface="Arial"/>
              </a:rPr>
              <a:t> comparison. </a:t>
            </a:r>
            <a:r>
              <a:rPr lang="en-US" sz="800" baseline="30000" dirty="0">
                <a:solidFill>
                  <a:srgbClr val="000000"/>
                </a:solidFill>
                <a:latin typeface="Arial"/>
                <a:cs typeface="Arial"/>
              </a:rPr>
              <a:t>3</a:t>
            </a:r>
            <a:r>
              <a:rPr kumimoji="0" lang="en-US" sz="800" b="0" i="0" u="none" strike="noStrike" kern="1200" cap="none" spc="0" normalizeH="0" noProof="0" dirty="0">
                <a:ln>
                  <a:noFill/>
                </a:ln>
                <a:solidFill>
                  <a:srgbClr val="000000"/>
                </a:solidFill>
                <a:effectLst/>
                <a:uLnTx/>
                <a:uFillTx/>
                <a:latin typeface="Arial"/>
                <a:cs typeface="Arial"/>
              </a:rPr>
              <a:t> Decommissioning costs as a share of total costs varies by country.</a:t>
            </a:r>
            <a:endParaRPr kumimoji="0" lang="en-US" sz="800" b="0" i="0" u="none" strike="noStrike" kern="1200" cap="none" spc="0" normalizeH="0" baseline="0" noProof="0" dirty="0">
              <a:ln>
                <a:noFill/>
              </a:ln>
              <a:solidFill>
                <a:srgbClr val="000000"/>
              </a:solidFill>
              <a:effectLst/>
              <a:uLnTx/>
              <a:uFillTx/>
              <a:latin typeface="Arial"/>
              <a:cs typeface="Arial"/>
            </a:endParaRPr>
          </a:p>
          <a:p>
            <a:pPr marL="0" lvl="0" indent="0" fontAlgn="base">
              <a:spcBef>
                <a:spcPts val="0"/>
              </a:spcBef>
              <a:buNone/>
              <a:defRPr/>
            </a:pPr>
            <a:r>
              <a:rPr kumimoji="0" lang="en-US" sz="800" b="0" i="0" u="none" strike="noStrike" kern="1200" cap="none" spc="0" normalizeH="0" baseline="0" noProof="0" dirty="0">
                <a:ln>
                  <a:noFill/>
                </a:ln>
                <a:solidFill>
                  <a:srgbClr val="000000"/>
                </a:solidFill>
                <a:effectLst/>
                <a:uLnTx/>
                <a:uFillTx/>
                <a:latin typeface="Arial"/>
                <a:cs typeface="Arial"/>
              </a:rPr>
              <a:t>Sources: </a:t>
            </a:r>
            <a:r>
              <a:rPr kumimoji="0" lang="en-ID" sz="800" b="0" i="0" u="none" strike="noStrike" kern="1200" cap="none" spc="0" normalizeH="0" baseline="0" noProof="0" dirty="0">
                <a:ln>
                  <a:noFill/>
                </a:ln>
                <a:solidFill>
                  <a:srgbClr val="000000"/>
                </a:solidFill>
                <a:effectLst/>
                <a:uLnTx/>
                <a:uFillTx/>
                <a:latin typeface="Arial"/>
                <a:cs typeface="Arial"/>
              </a:rPr>
              <a:t>IAEA, </a:t>
            </a:r>
            <a:r>
              <a:rPr kumimoji="0" lang="en-ID" sz="800" b="0" i="0" u="none" strike="noStrike" kern="1200" cap="none" spc="0" normalizeH="0" baseline="0" noProof="0" dirty="0">
                <a:ln>
                  <a:noFill/>
                </a:ln>
                <a:solidFill>
                  <a:srgbClr val="000000"/>
                </a:solidFill>
                <a:effectLst/>
                <a:uLnTx/>
                <a:uFillTx/>
                <a:latin typeface="Arial"/>
                <a:cs typeface="Arial"/>
                <a:hlinkClick r:id="rId39"/>
              </a:rPr>
              <a:t>Radioactive Waste Summary</a:t>
            </a:r>
            <a:r>
              <a:rPr kumimoji="0" lang="en-ID" sz="800" b="0" i="0" u="none" strike="noStrike" kern="1200" cap="none" spc="0" normalizeH="0" baseline="0" noProof="0" dirty="0">
                <a:ln>
                  <a:noFill/>
                </a:ln>
                <a:solidFill>
                  <a:srgbClr val="000000"/>
                </a:solidFill>
                <a:effectLst/>
                <a:uLnTx/>
                <a:uFillTx/>
                <a:latin typeface="Arial"/>
                <a:cs typeface="Arial"/>
              </a:rPr>
              <a:t> (2023); </a:t>
            </a:r>
            <a:r>
              <a:rPr kumimoji="0" lang="en-US" sz="800" b="0" i="0" u="none" strike="noStrike" kern="1200" cap="none" spc="0" normalizeH="0" baseline="0" noProof="0" dirty="0">
                <a:ln>
                  <a:noFill/>
                </a:ln>
                <a:solidFill>
                  <a:srgbClr val="000000"/>
                </a:solidFill>
                <a:effectLst/>
                <a:uLnTx/>
                <a:uFillTx/>
                <a:latin typeface="Arial"/>
                <a:ea typeface="+mn-lt"/>
                <a:cs typeface="Arial"/>
              </a:rPr>
              <a:t>Our World in Data,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40"/>
              </a:rPr>
              <a:t>Death rates per electricity production</a:t>
            </a:r>
            <a:r>
              <a:rPr kumimoji="0" lang="en-US" sz="800" b="0" i="0" u="none" strike="noStrike" kern="1200" cap="none" spc="0" normalizeH="0" baseline="0" noProof="0" dirty="0">
                <a:ln>
                  <a:noFill/>
                </a:ln>
                <a:solidFill>
                  <a:srgbClr val="000000"/>
                </a:solidFill>
                <a:effectLst/>
                <a:uLnTx/>
                <a:uFillTx/>
                <a:latin typeface="Arial"/>
                <a:ea typeface="+mn-lt"/>
                <a:cs typeface="Arial"/>
              </a:rPr>
              <a:t> (2016); Our World in Data,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41"/>
              </a:rPr>
              <a:t>How does the land use of different energy sources compare?</a:t>
            </a:r>
            <a:r>
              <a:rPr kumimoji="0" lang="en-US" sz="800" b="0" i="0" u="none" strike="noStrike" kern="1200" cap="none" spc="0" normalizeH="0" baseline="0" noProof="0" dirty="0">
                <a:ln>
                  <a:noFill/>
                </a:ln>
                <a:solidFill>
                  <a:srgbClr val="000000"/>
                </a:solidFill>
                <a:effectLst/>
                <a:uLnTx/>
                <a:uFillTx/>
                <a:latin typeface="Arial"/>
                <a:ea typeface="+mn-lt"/>
                <a:cs typeface="Arial"/>
              </a:rPr>
              <a:t> (2022); </a:t>
            </a:r>
            <a:r>
              <a:rPr lang="en-US" sz="800" dirty="0">
                <a:solidFill>
                  <a:srgbClr val="000000"/>
                </a:solidFill>
                <a:latin typeface="Arial"/>
                <a:ea typeface="+mn-lt"/>
                <a:cs typeface="Arial"/>
              </a:rPr>
              <a:t>Wo</a:t>
            </a:r>
            <a:r>
              <a:rPr kumimoji="0" lang="en-US" sz="800" b="0" i="0" u="none" strike="noStrike" kern="1200" cap="none" spc="0" normalizeH="0" baseline="0" noProof="0" dirty="0" err="1">
                <a:ln>
                  <a:noFill/>
                </a:ln>
                <a:solidFill>
                  <a:srgbClr val="000000"/>
                </a:solidFill>
                <a:effectLst/>
                <a:uLnTx/>
                <a:uFillTx/>
                <a:latin typeface="Arial"/>
                <a:ea typeface="+mn-lt"/>
                <a:cs typeface="Arial"/>
              </a:rPr>
              <a:t>rld</a:t>
            </a:r>
            <a:r>
              <a:rPr kumimoji="0" lang="en-US" sz="800" b="0" i="0" u="none" strike="noStrike" kern="1200" cap="none" spc="0" normalizeH="0" baseline="0" noProof="0" dirty="0">
                <a:ln>
                  <a:noFill/>
                </a:ln>
                <a:solidFill>
                  <a:srgbClr val="000000"/>
                </a:solidFill>
                <a:effectLst/>
                <a:uLnTx/>
                <a:uFillTx/>
                <a:latin typeface="Arial"/>
                <a:ea typeface="+mn-lt"/>
                <a:cs typeface="Arial"/>
              </a:rPr>
              <a:t> Nuclear Association,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42"/>
              </a:rPr>
              <a:t>Radioactive Waste Management </a:t>
            </a:r>
            <a:r>
              <a:rPr kumimoji="0" lang="en-US" sz="800" b="0" i="0" u="none" strike="noStrike" kern="1200" cap="none" spc="0" normalizeH="0" baseline="0" noProof="0" dirty="0">
                <a:ln>
                  <a:noFill/>
                </a:ln>
                <a:solidFill>
                  <a:srgbClr val="000000"/>
                </a:solidFill>
                <a:effectLst/>
                <a:uLnTx/>
                <a:uFillTx/>
                <a:latin typeface="Arial"/>
                <a:ea typeface="+mn-lt"/>
                <a:cs typeface="Arial"/>
              </a:rPr>
              <a:t>(2022); World Nuclear Association,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43"/>
              </a:rPr>
              <a:t>Radioactive Waste: Myths and Realities</a:t>
            </a:r>
            <a:r>
              <a:rPr kumimoji="0" lang="en-US" sz="800" b="0" i="0" u="none" strike="noStrike" kern="1200" cap="none" spc="0" normalizeH="0" baseline="0" noProof="0" dirty="0">
                <a:ln>
                  <a:noFill/>
                </a:ln>
                <a:solidFill>
                  <a:srgbClr val="000000"/>
                </a:solidFill>
                <a:effectLst/>
                <a:uLnTx/>
                <a:uFillTx/>
                <a:latin typeface="Arial"/>
                <a:ea typeface="+mn-lt"/>
                <a:cs typeface="Arial"/>
              </a:rPr>
              <a:t> (2025); Sustainability by Numbers,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44"/>
              </a:rPr>
              <a:t>How much </a:t>
            </a:r>
            <a:r>
              <a:rPr lang="en-US" sz="800" dirty="0">
                <a:solidFill>
                  <a:srgbClr val="000000"/>
                </a:solidFill>
                <a:latin typeface="Arial"/>
                <a:ea typeface="+mn-lt"/>
                <a:cs typeface="Arial"/>
                <a:hlinkClick r:id="rId44"/>
              </a:rPr>
              <a:t>w</a:t>
            </a:r>
            <a:r>
              <a:rPr kumimoji="0" lang="en-US" sz="800" b="0" i="0" u="none" strike="noStrike" kern="1200" cap="none" spc="0" normalizeH="0" baseline="0" noProof="0" dirty="0" err="1">
                <a:ln>
                  <a:noFill/>
                </a:ln>
                <a:solidFill>
                  <a:srgbClr val="000000"/>
                </a:solidFill>
                <a:effectLst/>
                <a:uLnTx/>
                <a:uFillTx/>
                <a:latin typeface="Arial"/>
                <a:ea typeface="+mn-lt"/>
                <a:cs typeface="Arial"/>
                <a:hlinkClick r:id="rId44"/>
              </a:rPr>
              <a:t>aste</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44"/>
              </a:rPr>
              <a:t> </a:t>
            </a:r>
            <a:r>
              <a:rPr lang="en-US" sz="800" dirty="0">
                <a:solidFill>
                  <a:srgbClr val="000000"/>
                </a:solidFill>
                <a:latin typeface="Arial"/>
                <a:ea typeface="+mn-lt"/>
                <a:cs typeface="Arial"/>
                <a:hlinkClick r:id="rId44"/>
              </a:rPr>
              <a:t>d</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44"/>
              </a:rPr>
              <a:t>o </a:t>
            </a:r>
            <a:r>
              <a:rPr lang="en-US" sz="800" dirty="0">
                <a:solidFill>
                  <a:srgbClr val="000000"/>
                </a:solidFill>
                <a:latin typeface="Arial"/>
                <a:ea typeface="+mn-lt"/>
                <a:cs typeface="Arial"/>
                <a:hlinkClick r:id="rId44"/>
              </a:rPr>
              <a:t>s</a:t>
            </a:r>
            <a:r>
              <a:rPr kumimoji="0" lang="en-US" sz="800" b="0" i="0" u="none" strike="noStrike" kern="1200" cap="none" spc="0" normalizeH="0" baseline="0" noProof="0" dirty="0" err="1">
                <a:ln>
                  <a:noFill/>
                </a:ln>
                <a:solidFill>
                  <a:srgbClr val="000000"/>
                </a:solidFill>
                <a:effectLst/>
                <a:uLnTx/>
                <a:uFillTx/>
                <a:latin typeface="Arial"/>
                <a:ea typeface="+mn-lt"/>
                <a:cs typeface="Arial"/>
                <a:hlinkClick r:id="rId44"/>
              </a:rPr>
              <a:t>olar</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44"/>
              </a:rPr>
              <a:t> </a:t>
            </a:r>
            <a:r>
              <a:rPr lang="en-US" sz="800" dirty="0">
                <a:solidFill>
                  <a:srgbClr val="000000"/>
                </a:solidFill>
                <a:latin typeface="Arial"/>
                <a:ea typeface="+mn-lt"/>
                <a:cs typeface="Arial"/>
                <a:hlinkClick r:id="rId44"/>
              </a:rPr>
              <a:t>p</a:t>
            </a:r>
            <a:r>
              <a:rPr kumimoji="0" lang="en-US" sz="800" b="0" i="0" u="none" strike="noStrike" kern="1200" cap="none" spc="0" normalizeH="0" baseline="0" noProof="0" dirty="0" err="1">
                <a:ln>
                  <a:noFill/>
                </a:ln>
                <a:solidFill>
                  <a:srgbClr val="000000"/>
                </a:solidFill>
                <a:effectLst/>
                <a:uLnTx/>
                <a:uFillTx/>
                <a:latin typeface="Arial"/>
                <a:ea typeface="+mn-lt"/>
                <a:cs typeface="Arial"/>
                <a:hlinkClick r:id="rId44"/>
              </a:rPr>
              <a:t>anels</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44"/>
              </a:rPr>
              <a:t> and wind </a:t>
            </a:r>
            <a:r>
              <a:rPr lang="en-US" sz="800" dirty="0">
                <a:solidFill>
                  <a:srgbClr val="000000"/>
                </a:solidFill>
                <a:latin typeface="Arial"/>
                <a:ea typeface="+mn-lt"/>
                <a:cs typeface="Arial"/>
                <a:hlinkClick r:id="rId44"/>
              </a:rPr>
              <a:t>t</a:t>
            </a:r>
            <a:r>
              <a:rPr kumimoji="0" lang="en-US" sz="800" b="0" i="0" u="none" strike="noStrike" kern="1200" cap="none" spc="0" normalizeH="0" baseline="0" noProof="0" dirty="0" err="1">
                <a:ln>
                  <a:noFill/>
                </a:ln>
                <a:solidFill>
                  <a:srgbClr val="000000"/>
                </a:solidFill>
                <a:effectLst/>
                <a:uLnTx/>
                <a:uFillTx/>
                <a:latin typeface="Arial"/>
                <a:ea typeface="+mn-lt"/>
                <a:cs typeface="Arial"/>
                <a:hlinkClick r:id="rId44"/>
              </a:rPr>
              <a:t>urbines</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44"/>
              </a:rPr>
              <a:t> </a:t>
            </a:r>
            <a:r>
              <a:rPr lang="en-US" sz="800" dirty="0">
                <a:solidFill>
                  <a:srgbClr val="000000"/>
                </a:solidFill>
                <a:latin typeface="Arial"/>
                <a:ea typeface="+mn-lt"/>
                <a:cs typeface="Arial"/>
                <a:hlinkClick r:id="rId44"/>
              </a:rPr>
              <a:t>p</a:t>
            </a:r>
            <a:r>
              <a:rPr kumimoji="0" lang="en-US" sz="800" b="0" i="0" u="none" strike="noStrike" kern="1200" cap="none" spc="0" normalizeH="0" baseline="0" noProof="0" dirty="0" err="1">
                <a:ln>
                  <a:noFill/>
                </a:ln>
                <a:solidFill>
                  <a:srgbClr val="000000"/>
                </a:solidFill>
                <a:effectLst/>
                <a:uLnTx/>
                <a:uFillTx/>
                <a:latin typeface="Arial"/>
                <a:ea typeface="+mn-lt"/>
                <a:cs typeface="Arial"/>
                <a:hlinkClick r:id="rId44"/>
              </a:rPr>
              <a:t>roduce</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44"/>
              </a:rPr>
              <a:t>?</a:t>
            </a:r>
            <a:r>
              <a:rPr lang="en-US" sz="800" dirty="0">
                <a:solidFill>
                  <a:srgbClr val="000000"/>
                </a:solidFill>
                <a:latin typeface="Arial"/>
                <a:ea typeface="+mn-lt"/>
                <a:cs typeface="Arial"/>
              </a:rPr>
              <a:t> (</a:t>
            </a:r>
            <a:r>
              <a:rPr kumimoji="0" lang="en-US" sz="800" b="0" i="0" u="none" strike="noStrike" kern="1200" cap="none" spc="0" normalizeH="0" baseline="0" noProof="0" dirty="0">
                <a:ln>
                  <a:noFill/>
                </a:ln>
                <a:solidFill>
                  <a:srgbClr val="000000"/>
                </a:solidFill>
                <a:effectLst/>
                <a:uLnTx/>
                <a:uFillTx/>
                <a:latin typeface="Arial"/>
                <a:ea typeface="+mn-lt"/>
                <a:cs typeface="Arial"/>
              </a:rPr>
              <a:t>2023). </a:t>
            </a:r>
            <a:br>
              <a:rPr lang="en-US" sz="80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800" b="0" i="0" u="none" strike="noStrike" kern="1200" cap="none" spc="0" normalizeH="0" baseline="0" noProof="0" dirty="0">
                <a:ln>
                  <a:noFill/>
                </a:ln>
                <a:solidFill>
                  <a:srgbClr val="000000"/>
                </a:solidFill>
                <a:effectLst/>
                <a:uLnTx/>
                <a:uFillTx/>
                <a:latin typeface="Arial"/>
                <a:cs typeface="Arial"/>
              </a:rPr>
              <a:t>Credit: Clara </a:t>
            </a:r>
            <a:r>
              <a:rPr kumimoji="0" lang="en-US" sz="800" b="0" i="0" u="none" strike="noStrike" kern="1200" cap="none" spc="0" normalizeH="0" baseline="0" noProof="0" dirty="0" err="1">
                <a:ln>
                  <a:noFill/>
                </a:ln>
                <a:solidFill>
                  <a:srgbClr val="000000"/>
                </a:solidFill>
                <a:effectLst/>
                <a:uLnTx/>
                <a:uFillTx/>
                <a:latin typeface="Arial"/>
                <a:cs typeface="Arial"/>
              </a:rPr>
              <a:t>Zibell</a:t>
            </a:r>
            <a:r>
              <a:rPr kumimoji="0" lang="en-US" sz="800" b="0" i="0" u="none" strike="noStrike" kern="1200" cap="none" spc="0" normalizeH="0" baseline="0" noProof="0" dirty="0">
                <a:ln>
                  <a:noFill/>
                </a:ln>
                <a:solidFill>
                  <a:srgbClr val="000000"/>
                </a:solidFill>
                <a:effectLst/>
                <a:uLnTx/>
                <a:uFillTx/>
                <a:latin typeface="Arial"/>
                <a:cs typeface="Arial"/>
              </a:rPr>
              <a:t>, Isabel </a:t>
            </a:r>
            <a:r>
              <a:rPr kumimoji="0" lang="en-US" sz="800" b="0" i="0" u="none" strike="noStrike" kern="1200" cap="none" spc="0" normalizeH="0" baseline="0" noProof="0" dirty="0" err="1">
                <a:ln>
                  <a:noFill/>
                </a:ln>
                <a:solidFill>
                  <a:srgbClr val="000000"/>
                </a:solidFill>
                <a:effectLst/>
                <a:uLnTx/>
                <a:uFillTx/>
                <a:latin typeface="Arial"/>
                <a:cs typeface="Arial"/>
              </a:rPr>
              <a:t>Hoyos</a:t>
            </a:r>
            <a:r>
              <a:rPr kumimoji="0" lang="en-US" sz="800" b="0" i="0" u="none" strike="noStrike" kern="1200" cap="none" spc="0" normalizeH="0" baseline="0" noProof="0" dirty="0">
                <a:ln>
                  <a:noFill/>
                </a:ln>
                <a:solidFill>
                  <a:srgbClr val="000000"/>
                </a:solidFill>
                <a:effectLst/>
                <a:uLnTx/>
                <a:uFillTx/>
                <a:latin typeface="Arial"/>
                <a:cs typeface="Arial"/>
              </a:rPr>
              <a:t>, </a:t>
            </a:r>
            <a:r>
              <a:rPr lang="en-US" sz="800" dirty="0" err="1">
                <a:solidFill>
                  <a:srgbClr val="000000"/>
                </a:solidFill>
              </a:rPr>
              <a:t>Hyae</a:t>
            </a:r>
            <a:r>
              <a:rPr lang="en-US" sz="800" dirty="0">
                <a:solidFill>
                  <a:srgbClr val="000000"/>
                </a:solidFill>
              </a:rPr>
              <a:t> </a:t>
            </a:r>
            <a:r>
              <a:rPr lang="en-US" sz="800" dirty="0" err="1">
                <a:solidFill>
                  <a:srgbClr val="000000"/>
                </a:solidFill>
              </a:rPr>
              <a:t>Ryung</a:t>
            </a:r>
            <a:r>
              <a:rPr lang="en-US" sz="800" dirty="0">
                <a:solidFill>
                  <a:srgbClr val="000000"/>
                </a:solidFill>
              </a:rPr>
              <a:t> Kim, </a:t>
            </a:r>
            <a:r>
              <a:rPr kumimoji="0" lang="en-US" sz="800" b="0" i="0" u="none" strike="noStrike" kern="1200" cap="none" spc="0" normalizeH="0" baseline="0" noProof="0" dirty="0">
                <a:ln>
                  <a:noFill/>
                </a:ln>
                <a:solidFill>
                  <a:srgbClr val="000000"/>
                </a:solidFill>
                <a:effectLst/>
                <a:uLnTx/>
                <a:uFillTx/>
                <a:latin typeface="Arial"/>
                <a:cs typeface="Arial"/>
              </a:rPr>
              <a:t>and </a:t>
            </a:r>
            <a:r>
              <a:rPr kumimoji="0" lang="en-US" sz="800" b="0" i="0" u="sng" strike="noStrike" kern="1200" cap="none" spc="0" normalizeH="0" baseline="0" noProof="0" dirty="0">
                <a:ln>
                  <a:noFill/>
                </a:ln>
                <a:solidFill>
                  <a:srgbClr val="46647B"/>
                </a:solidFill>
                <a:effectLst/>
                <a:uLnTx/>
                <a:uFillTx/>
                <a:latin typeface="Arial"/>
                <a:cs typeface="Arial"/>
                <a:hlinkClick r:id="rId45"/>
              </a:rPr>
              <a:t>Gernot Wagner</a:t>
            </a:r>
            <a:r>
              <a:rPr kumimoji="0" lang="en-US" sz="800" b="0" i="0" u="none" strike="noStrike" kern="1200" cap="none" spc="0" normalizeH="0" baseline="0" noProof="0" dirty="0">
                <a:ln>
                  <a:noFill/>
                </a:ln>
                <a:solidFill>
                  <a:srgbClr val="000000"/>
                </a:solidFill>
                <a:effectLst/>
                <a:uLnTx/>
                <a:uFillTx/>
                <a:latin typeface="Arial"/>
                <a:cs typeface="Arial"/>
              </a:rPr>
              <a:t>. Share with </a:t>
            </a:r>
            <a:r>
              <a:rPr kumimoji="0" lang="en-US" sz="800" b="0" i="0" u="sng" strike="noStrike" kern="1200" cap="none" spc="0" normalizeH="0" baseline="0" noProof="0" dirty="0">
                <a:ln>
                  <a:noFill/>
                </a:ln>
                <a:solidFill>
                  <a:srgbClr val="46647B"/>
                </a:solidFill>
                <a:effectLst/>
                <a:uLnTx/>
                <a:uFillTx/>
                <a:latin typeface="Arial"/>
                <a:cs typeface="Arial"/>
                <a:hlinkClick r:id="rId46"/>
              </a:rPr>
              <a:t>attribution</a:t>
            </a:r>
            <a:r>
              <a:rPr kumimoji="0" lang="en-US" sz="800" b="0" i="0" u="none" strike="noStrike" kern="1200" cap="none" spc="0" normalizeH="0" baseline="0" noProof="0" dirty="0">
                <a:ln>
                  <a:noFill/>
                </a:ln>
                <a:solidFill>
                  <a:srgbClr val="000000"/>
                </a:solidFill>
                <a:effectLst/>
                <a:uLnTx/>
                <a:uFillTx/>
                <a:latin typeface="Arial"/>
                <a:cs typeface="Arial"/>
              </a:rPr>
              <a:t>: </a:t>
            </a:r>
            <a:r>
              <a:rPr kumimoji="0" lang="en-US" sz="800" b="0" i="0" u="none" strike="noStrike" kern="1200" cap="none" spc="0" normalizeH="0" baseline="0" noProof="0" dirty="0" err="1">
                <a:ln>
                  <a:noFill/>
                </a:ln>
                <a:solidFill>
                  <a:srgbClr val="000000"/>
                </a:solidFill>
                <a:effectLst/>
                <a:uLnTx/>
                <a:uFillTx/>
                <a:latin typeface="Arial"/>
                <a:cs typeface="Arial"/>
              </a:rPr>
              <a:t>Houwink</a:t>
            </a:r>
            <a:r>
              <a:rPr kumimoji="0" lang="en-US" sz="800" b="0" i="0" u="none" strike="noStrike" kern="1200" cap="none" spc="0" normalizeH="0" baseline="0" noProof="0" dirty="0">
                <a:ln>
                  <a:noFill/>
                </a:ln>
                <a:solidFill>
                  <a:srgbClr val="000000"/>
                </a:solidFill>
                <a:effectLst/>
                <a:uLnTx/>
                <a:uFillTx/>
                <a:latin typeface="Arial"/>
                <a:cs typeface="Arial"/>
              </a:rPr>
              <a:t> </a:t>
            </a:r>
            <a:r>
              <a:rPr kumimoji="0" lang="en-US" sz="800" b="0" u="none" strike="noStrike" kern="1200" cap="none" spc="0" normalizeH="0" baseline="0" noProof="0" dirty="0">
                <a:ln>
                  <a:noFill/>
                </a:ln>
                <a:solidFill>
                  <a:srgbClr val="000000"/>
                </a:solidFill>
                <a:effectLst/>
                <a:uLnTx/>
                <a:uFillTx/>
                <a:latin typeface="Arial"/>
                <a:cs typeface="Arial"/>
              </a:rPr>
              <a:t>et al., </a:t>
            </a:r>
            <a:r>
              <a:rPr kumimoji="0" lang="en-US" sz="800" b="0" i="0" u="none" strike="noStrike" kern="1200" cap="none" spc="0" normalizeH="0" baseline="0" noProof="0" dirty="0">
                <a:ln>
                  <a:noFill/>
                </a:ln>
                <a:solidFill>
                  <a:srgbClr val="000000"/>
                </a:solidFill>
                <a:effectLst/>
                <a:uLnTx/>
                <a:uFillTx/>
                <a:latin typeface="Arial"/>
                <a:cs typeface="Arial"/>
              </a:rPr>
              <a:t>"Reenergizing Nuclear" (</a:t>
            </a:r>
            <a:r>
              <a:rPr lang="en-US" sz="800" dirty="0">
                <a:solidFill>
                  <a:srgbClr val="000000"/>
                </a:solidFill>
                <a:latin typeface="Arial"/>
                <a:cs typeface="Arial"/>
              </a:rPr>
              <a:t>23 September </a:t>
            </a:r>
            <a:r>
              <a:rPr kumimoji="0" lang="en-US" sz="800" b="0" i="0" u="none" strike="noStrike" kern="1200" cap="none" spc="0" normalizeH="0" baseline="0" noProof="0" dirty="0">
                <a:ln>
                  <a:noFill/>
                </a:ln>
                <a:solidFill>
                  <a:srgbClr val="000000"/>
                </a:solidFill>
                <a:effectLst/>
                <a:uLnTx/>
                <a:uFillTx/>
                <a:latin typeface="Arial"/>
                <a:cs typeface="Arial"/>
              </a:rPr>
              <a:t>2025).​</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45" name="TextBox 44">
            <a:extLst>
              <a:ext uri="{FF2B5EF4-FFF2-40B4-BE49-F238E27FC236}">
                <a16:creationId xmlns:a16="http://schemas.microsoft.com/office/drawing/2014/main" id="{ECEF1E7D-18F1-060D-1602-B88829FF8A80}"/>
              </a:ext>
            </a:extLst>
          </p:cNvPr>
          <p:cNvSpPr txBox="1"/>
          <p:nvPr/>
        </p:nvSpPr>
        <p:spPr bwMode="gray">
          <a:xfrm>
            <a:off x="5894388" y="1554480"/>
            <a:ext cx="3205163" cy="28814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400" b="1">
                <a:solidFill>
                  <a:srgbClr val="000000"/>
                </a:solidFill>
                <a:latin typeface="Arial" panose="020B0604020202020204" pitchFamily="34" charset="0"/>
                <a:cs typeface="Arial" panose="020B0604020202020204" pitchFamily="34" charset="0"/>
              </a:rPr>
              <a:t>Radioactivity </a:t>
            </a:r>
            <a:r>
              <a:rPr kumimoji="0" lang="en-ID"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f nuclear waste, </a:t>
            </a:r>
            <a:r>
              <a:rPr kumimoji="0" lang="en-ID"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023</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46" name="btfpColumnHeaderBoxLine912903">
            <a:extLst>
              <a:ext uri="{FF2B5EF4-FFF2-40B4-BE49-F238E27FC236}">
                <a16:creationId xmlns:a16="http://schemas.microsoft.com/office/drawing/2014/main" id="{42BE2084-0C1C-9781-809D-6C0928A5592C}"/>
              </a:ext>
            </a:extLst>
          </p:cNvPr>
          <p:cNvCxnSpPr>
            <a:cxnSpLocks/>
          </p:cNvCxnSpPr>
          <p:nvPr/>
        </p:nvCxnSpPr>
        <p:spPr bwMode="gray">
          <a:xfrm>
            <a:off x="5887332" y="1821473"/>
            <a:ext cx="32004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97" name="TextBox 496">
            <a:extLst>
              <a:ext uri="{FF2B5EF4-FFF2-40B4-BE49-F238E27FC236}">
                <a16:creationId xmlns:a16="http://schemas.microsoft.com/office/drawing/2014/main" id="{67008C2C-FCB6-8058-2BE2-AB9B2E75A9A0}"/>
              </a:ext>
            </a:extLst>
          </p:cNvPr>
          <p:cNvSpPr txBox="1"/>
          <p:nvPr/>
        </p:nvSpPr>
        <p:spPr bwMode="gray">
          <a:xfrm>
            <a:off x="329184" y="1554480"/>
            <a:ext cx="5384229" cy="28814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400" b="1" noProof="0">
                <a:solidFill>
                  <a:srgbClr val="000000"/>
                </a:solidFill>
                <a:latin typeface="Arial" panose="020B0604020202020204" pitchFamily="34" charset="0"/>
                <a:cs typeface="Arial" panose="020B0604020202020204" pitchFamily="34" charset="0"/>
              </a:rPr>
              <a:t>W</a:t>
            </a:r>
            <a:r>
              <a:rPr kumimoji="0" lang="en-ID"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ste</a:t>
            </a:r>
            <a:r>
              <a:rPr kumimoji="0" lang="en-ID" sz="1400" b="1"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1</a:t>
            </a:r>
            <a:r>
              <a:rPr kumimoji="0" lang="en-ID"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r>
              <a:rPr kumimoji="0" lang="en-ID" sz="1400" b="1"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ID"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and use,</a:t>
            </a:r>
            <a:r>
              <a:rPr kumimoji="0" lang="en-ID" sz="1400" b="1"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ID"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nd death rates</a:t>
            </a:r>
            <a:r>
              <a:rPr kumimoji="0" lang="en-ID" sz="1400" b="1"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rPr>
              <a:t> by energy source</a:t>
            </a:r>
            <a:r>
              <a:rPr kumimoji="0" lang="en-ID" sz="1400" b="1"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2</a:t>
            </a:r>
            <a:r>
              <a:rPr kumimoji="0" lang="en-ID"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ID"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023</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498" name="btfpColumnHeaderBoxLine912903">
            <a:extLst>
              <a:ext uri="{FF2B5EF4-FFF2-40B4-BE49-F238E27FC236}">
                <a16:creationId xmlns:a16="http://schemas.microsoft.com/office/drawing/2014/main" id="{50C8C284-0759-62AF-D62D-BD632DD62149}"/>
              </a:ext>
            </a:extLst>
          </p:cNvPr>
          <p:cNvCxnSpPr>
            <a:cxnSpLocks/>
          </p:cNvCxnSpPr>
          <p:nvPr/>
        </p:nvCxnSpPr>
        <p:spPr bwMode="gray">
          <a:xfrm>
            <a:off x="329184" y="1821473"/>
            <a:ext cx="499846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96" name="Chart 95">
            <a:extLst>
              <a:ext uri="{FF2B5EF4-FFF2-40B4-BE49-F238E27FC236}">
                <a16:creationId xmlns:a16="http://schemas.microsoft.com/office/drawing/2014/main" id="{B77EE6A4-4BEC-5A61-D850-4950613E7BC1}"/>
              </a:ext>
            </a:extLst>
          </p:cNvPr>
          <p:cNvGraphicFramePr/>
          <p:nvPr>
            <p:custDataLst>
              <p:tags r:id="rId3"/>
            </p:custDataLst>
          </p:nvPr>
        </p:nvGraphicFramePr>
        <p:xfrm>
          <a:off x="835025" y="1970088"/>
          <a:ext cx="4559300" cy="3727450"/>
        </p:xfrm>
        <a:graphic>
          <a:graphicData uri="http://schemas.openxmlformats.org/drawingml/2006/chart">
            <c:chart xmlns:c="http://schemas.openxmlformats.org/drawingml/2006/chart" xmlns:r="http://schemas.openxmlformats.org/officeDocument/2006/relationships" r:id="rId47"/>
          </a:graphicData>
        </a:graphic>
      </p:graphicFrame>
      <p:sp>
        <p:nvSpPr>
          <p:cNvPr id="1845" name="Text Placeholder 10">
            <a:extLst>
              <a:ext uri="{FF2B5EF4-FFF2-40B4-BE49-F238E27FC236}">
                <a16:creationId xmlns:a16="http://schemas.microsoft.com/office/drawing/2014/main" id="{99F7E3B8-CEE3-448C-AE9C-71AD41E329A5}"/>
              </a:ext>
            </a:extLst>
          </p:cNvPr>
          <p:cNvSpPr txBox="1">
            <a:spLocks/>
          </p:cNvSpPr>
          <p:nvPr>
            <p:custDataLst>
              <p:tags r:id="rId4"/>
            </p:custDataLst>
          </p:nvPr>
        </p:nvSpPr>
        <p:spPr bwMode="gray">
          <a:xfrm>
            <a:off x="1268413" y="5719763"/>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7AA30A7-6C7B-4AD4-87EB-572F4806A599}" type="datetime'''''''''''''''''''''''''0'''''''''''''">
              <a:rPr lang="en-US" altLang="en-US" sz="1400" smtClean="0">
                <a:solidFill>
                  <a:srgbClr val="000000"/>
                </a:solidFill>
              </a:rPr>
              <a:pPr marL="0" lvl="0" indent="0" algn="ctr">
                <a:spcBef>
                  <a:spcPct val="0"/>
                </a:spcBef>
                <a:spcAft>
                  <a:spcPct val="0"/>
                </a:spcAft>
                <a:buNone/>
                <a:defRPr/>
              </a:pPr>
              <a:t>0</a:t>
            </a:fld>
            <a:endParaRPr kumimoji="0" lang="en-US" sz="1400" b="0" i="0" strike="noStrike" kern="1200" cap="none" spc="0" normalizeH="0" baseline="0" noProof="0">
              <a:ln>
                <a:noFill/>
              </a:ln>
              <a:solidFill>
                <a:srgbClr val="000000"/>
              </a:solidFill>
              <a:effectLst/>
              <a:uLnTx/>
              <a:uFillTx/>
            </a:endParaRPr>
          </a:p>
        </p:txBody>
      </p:sp>
      <p:sp>
        <p:nvSpPr>
          <p:cNvPr id="1849" name="Text Placeholder 10">
            <a:extLst>
              <a:ext uri="{FF2B5EF4-FFF2-40B4-BE49-F238E27FC236}">
                <a16:creationId xmlns:a16="http://schemas.microsoft.com/office/drawing/2014/main" id="{D59AECB2-91C1-AA94-121F-54E9B74E7AED}"/>
              </a:ext>
            </a:extLst>
          </p:cNvPr>
          <p:cNvSpPr txBox="1">
            <a:spLocks/>
          </p:cNvSpPr>
          <p:nvPr>
            <p:custDataLst>
              <p:tags r:id="rId5"/>
            </p:custDataLst>
          </p:nvPr>
        </p:nvSpPr>
        <p:spPr bwMode="gray">
          <a:xfrm>
            <a:off x="5164138" y="5719763"/>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474A609-854B-4FB2-ACAA-1BD8C6C7D676}" type="datetime'''1''0''''''''''''''''''''''''''''''0'''''''''''''''''''">
              <a:rPr lang="en-US" altLang="en-US" sz="1400" smtClean="0">
                <a:solidFill>
                  <a:srgbClr val="000000"/>
                </a:solidFill>
              </a:rPr>
              <a:pPr marL="0" lvl="0" indent="0" algn="ctr">
                <a:spcBef>
                  <a:spcPct val="0"/>
                </a:spcBef>
                <a:spcAft>
                  <a:spcPct val="0"/>
                </a:spcAft>
                <a:buNone/>
                <a:defRPr/>
              </a:pPr>
              <a:t>100</a:t>
            </a:fld>
            <a:endParaRPr kumimoji="0" lang="en-US" sz="1400" b="0" i="0" strike="noStrike" kern="1200" cap="none" spc="0" normalizeH="0" baseline="0" noProof="0">
              <a:ln>
                <a:noFill/>
              </a:ln>
              <a:solidFill>
                <a:srgbClr val="000000"/>
              </a:solidFill>
              <a:effectLst/>
              <a:uLnTx/>
              <a:uFillTx/>
            </a:endParaRPr>
          </a:p>
        </p:txBody>
      </p:sp>
      <p:sp>
        <p:nvSpPr>
          <p:cNvPr id="2167" name="Text Placeholder 10">
            <a:extLst>
              <a:ext uri="{FF2B5EF4-FFF2-40B4-BE49-F238E27FC236}">
                <a16:creationId xmlns:a16="http://schemas.microsoft.com/office/drawing/2014/main" id="{6B88F313-78C0-256A-0315-D609E1F96437}"/>
              </a:ext>
            </a:extLst>
          </p:cNvPr>
          <p:cNvSpPr txBox="1">
            <a:spLocks/>
          </p:cNvSpPr>
          <p:nvPr>
            <p:custDataLst>
              <p:tags r:id="rId6"/>
            </p:custDataLst>
          </p:nvPr>
        </p:nvSpPr>
        <p:spPr bwMode="gray">
          <a:xfrm>
            <a:off x="642938" y="5200650"/>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0E1770E-545C-44B0-B8C4-119C3343221D}" type="datetime'''''''''''0'''''''''''''''''''''''''''''''''''''''''''''">
              <a:rPr lang="en-US" altLang="en-US" sz="1400" smtClean="0">
                <a:solidFill>
                  <a:srgbClr val="000000"/>
                </a:solidFill>
              </a:rPr>
              <a:pPr marL="0" lvl="0" indent="0" algn="r">
                <a:spcBef>
                  <a:spcPct val="0"/>
                </a:spcBef>
                <a:spcAft>
                  <a:spcPct val="0"/>
                </a:spcAft>
                <a:buNone/>
                <a:defRPr/>
              </a:pPr>
              <a:t>0</a:t>
            </a:fld>
            <a:endParaRPr kumimoji="0" lang="en-US" sz="1400" b="0" i="0" strike="noStrike" kern="1200" cap="none" spc="0" normalizeH="0" baseline="0" noProof="0">
              <a:ln>
                <a:noFill/>
              </a:ln>
              <a:solidFill>
                <a:srgbClr val="000000"/>
              </a:solidFill>
              <a:effectLst/>
              <a:uLnTx/>
              <a:uFillTx/>
            </a:endParaRPr>
          </a:p>
        </p:txBody>
      </p:sp>
      <p:sp>
        <p:nvSpPr>
          <p:cNvPr id="2172" name="Text Placeholder 10">
            <a:extLst>
              <a:ext uri="{FF2B5EF4-FFF2-40B4-BE49-F238E27FC236}">
                <a16:creationId xmlns:a16="http://schemas.microsoft.com/office/drawing/2014/main" id="{800DC3AA-56F5-4C22-BFC2-5B6A3AD3CA69}"/>
              </a:ext>
            </a:extLst>
          </p:cNvPr>
          <p:cNvSpPr txBox="1">
            <a:spLocks/>
          </p:cNvSpPr>
          <p:nvPr>
            <p:custDataLst>
              <p:tags r:id="rId7"/>
            </p:custDataLst>
          </p:nvPr>
        </p:nvSpPr>
        <p:spPr bwMode="gray">
          <a:xfrm>
            <a:off x="544513" y="3721100"/>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3896A90-2C31-4A03-99CC-E3EE9828ED29}" type="datetime'''''''''''''''''5''''''0'''''''''''''''''''''''''''">
              <a:rPr lang="en-US" altLang="en-US" sz="1400" smtClean="0">
                <a:solidFill>
                  <a:srgbClr val="000000"/>
                </a:solidFill>
              </a:rPr>
              <a:pPr marL="0" lvl="0" indent="0" algn="r">
                <a:spcBef>
                  <a:spcPct val="0"/>
                </a:spcBef>
                <a:spcAft>
                  <a:spcPct val="0"/>
                </a:spcAft>
                <a:buNone/>
                <a:defRPr/>
              </a:pPr>
              <a:t>50</a:t>
            </a:fld>
            <a:endParaRPr kumimoji="0" lang="en-US" sz="1400" b="0" i="0" strike="noStrike" kern="1200" cap="none" spc="0" normalizeH="0" baseline="0" noProof="0">
              <a:ln>
                <a:noFill/>
              </a:ln>
              <a:solidFill>
                <a:srgbClr val="000000"/>
              </a:solidFill>
              <a:effectLst/>
              <a:uLnTx/>
              <a:uFillTx/>
            </a:endParaRPr>
          </a:p>
        </p:txBody>
      </p:sp>
      <p:sp>
        <p:nvSpPr>
          <p:cNvPr id="2177" name="Text Placeholder 10">
            <a:extLst>
              <a:ext uri="{FF2B5EF4-FFF2-40B4-BE49-F238E27FC236}">
                <a16:creationId xmlns:a16="http://schemas.microsoft.com/office/drawing/2014/main" id="{6CDFFCF0-709D-A655-E10F-764C760747A2}"/>
              </a:ext>
            </a:extLst>
          </p:cNvPr>
          <p:cNvSpPr txBox="1">
            <a:spLocks/>
          </p:cNvSpPr>
          <p:nvPr>
            <p:custDataLst>
              <p:tags r:id="rId8"/>
            </p:custDataLst>
          </p:nvPr>
        </p:nvSpPr>
        <p:spPr bwMode="gray">
          <a:xfrm>
            <a:off x="446088" y="2241550"/>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087158C-68AE-4C1B-B81C-AA6D2F87858F}" type="datetime'''''''''''1''0''''''''''''''''''''''''''''''''''0'''">
              <a:rPr lang="en-US" altLang="en-US" sz="1400" smtClean="0">
                <a:solidFill>
                  <a:srgbClr val="000000"/>
                </a:solidFill>
              </a:rPr>
              <a:pPr marL="0" lvl="0" indent="0" algn="r">
                <a:spcBef>
                  <a:spcPct val="0"/>
                </a:spcBef>
                <a:spcAft>
                  <a:spcPct val="0"/>
                </a:spcAft>
                <a:buNone/>
                <a:defRPr/>
              </a:pPr>
              <a:t>100</a:t>
            </a:fld>
            <a:endParaRPr kumimoji="0" lang="en-US" sz="1400" b="0" i="0" strike="noStrike" kern="1200" cap="none" spc="0" normalizeH="0" baseline="0" noProof="0">
              <a:ln>
                <a:noFill/>
              </a:ln>
              <a:solidFill>
                <a:srgbClr val="000000"/>
              </a:solidFill>
              <a:effectLst/>
              <a:uLnTx/>
              <a:uFillTx/>
            </a:endParaRPr>
          </a:p>
        </p:txBody>
      </p:sp>
      <p:sp>
        <p:nvSpPr>
          <p:cNvPr id="97" name="Text Placeholder 10">
            <a:extLst>
              <a:ext uri="{FF2B5EF4-FFF2-40B4-BE49-F238E27FC236}">
                <a16:creationId xmlns:a16="http://schemas.microsoft.com/office/drawing/2014/main" id="{BCE71076-F5FA-C517-415C-769D663CCBAA}"/>
              </a:ext>
            </a:extLst>
          </p:cNvPr>
          <p:cNvSpPr>
            <a:spLocks noGrp="1"/>
          </p:cNvSpPr>
          <p:nvPr>
            <p:custDataLst>
              <p:tags r:id="rId9"/>
            </p:custDataLst>
          </p:nvPr>
        </p:nvSpPr>
        <p:spPr bwMode="auto">
          <a:xfrm>
            <a:off x="2433638" y="5874195"/>
            <a:ext cx="13636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5C3477F-1F5E-496D-9FFE-4BADDDC33668}" type="datetime''''' ''''''''Was''te'' (''''kg''''''''''''''''/M''W''''''h)'''">
              <a:rPr lang="en-US" altLang="en-US" sz="1400" smtClean="0"/>
              <a:pPr marL="0" lvl="0" indent="0" algn="ctr">
                <a:spcBef>
                  <a:spcPct val="0"/>
                </a:spcBef>
                <a:spcAft>
                  <a:spcPct val="0"/>
                </a:spcAft>
                <a:buNone/>
              </a:pPr>
              <a:t> Waste (kg/MWh)</a:t>
            </a:fld>
            <a:endParaRPr lang="en-US" sz="1400"/>
          </a:p>
        </p:txBody>
      </p:sp>
      <p:sp>
        <p:nvSpPr>
          <p:cNvPr id="76" name="Text Placeholder 10">
            <a:extLst>
              <a:ext uri="{FF2B5EF4-FFF2-40B4-BE49-F238E27FC236}">
                <a16:creationId xmlns:a16="http://schemas.microsoft.com/office/drawing/2014/main" id="{1669F8EC-D1B4-AC0C-20C9-A06E8879FB82}"/>
              </a:ext>
            </a:extLst>
          </p:cNvPr>
          <p:cNvSpPr>
            <a:spLocks noGrp="1"/>
          </p:cNvSpPr>
          <p:nvPr>
            <p:custDataLst>
              <p:tags r:id="rId10"/>
            </p:custDataLst>
          </p:nvPr>
        </p:nvSpPr>
        <p:spPr bwMode="auto">
          <a:xfrm>
            <a:off x="90488" y="3025775"/>
            <a:ext cx="212725" cy="16049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8FD1F83-6B11-42E1-9EF7-3EA617A11139}" type="datetime'''''''L''a''nd'''''''''' u''''se ''(m3/''M''''W''''h)'''">
              <a:rPr lang="en-US" altLang="en-US" sz="1400" smtClean="0"/>
              <a:pPr marL="0" lvl="0" indent="0" algn="ctr">
                <a:spcBef>
                  <a:spcPct val="0"/>
                </a:spcBef>
                <a:spcAft>
                  <a:spcPct val="0"/>
                </a:spcAft>
                <a:buNone/>
              </a:pPr>
              <a:t>Land use (m3/MWh)</a:t>
            </a:fld>
            <a:endParaRPr lang="en-US" sz="1400"/>
          </a:p>
        </p:txBody>
      </p:sp>
      <p:sp>
        <p:nvSpPr>
          <p:cNvPr id="248" name="Text Placeholder 10">
            <a:extLst>
              <a:ext uri="{FF2B5EF4-FFF2-40B4-BE49-F238E27FC236}">
                <a16:creationId xmlns:a16="http://schemas.microsoft.com/office/drawing/2014/main" id="{EFE84250-DC97-9074-ED1E-042660927EC0}"/>
              </a:ext>
            </a:extLst>
          </p:cNvPr>
          <p:cNvSpPr>
            <a:spLocks noGrp="1"/>
          </p:cNvSpPr>
          <p:nvPr>
            <p:custDataLst>
              <p:tags r:id="rId11"/>
            </p:custDataLst>
          </p:nvPr>
        </p:nvSpPr>
        <p:spPr bwMode="gray">
          <a:xfrm>
            <a:off x="1349375" y="5191125"/>
            <a:ext cx="701675" cy="2127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7D3FCC6-925E-4717-9E10-8782BE14D079}" type="datetime'''''''''N''u''''''''''''''c''''l''''''''e''''''ar'''''''''''''">
              <a:rPr lang="en-US" altLang="en-US" sz="1400" b="1" smtClean="0">
                <a:solidFill>
                  <a:schemeClr val="accent1"/>
                </a:solidFill>
              </a:rPr>
              <a:pPr marL="0" lvl="0" indent="0">
                <a:spcBef>
                  <a:spcPct val="0"/>
                </a:spcBef>
                <a:spcAft>
                  <a:spcPct val="0"/>
                </a:spcAft>
                <a:buNone/>
              </a:pPr>
              <a:t>Nuclear</a:t>
            </a:fld>
            <a:endParaRPr lang="en-US" sz="1400" b="1">
              <a:solidFill>
                <a:schemeClr val="accent1"/>
              </a:solidFill>
            </a:endParaRPr>
          </a:p>
        </p:txBody>
      </p:sp>
      <p:sp>
        <p:nvSpPr>
          <p:cNvPr id="249" name="Text Placeholder 10">
            <a:extLst>
              <a:ext uri="{FF2B5EF4-FFF2-40B4-BE49-F238E27FC236}">
                <a16:creationId xmlns:a16="http://schemas.microsoft.com/office/drawing/2014/main" id="{F4A73E26-6EA3-2D82-071F-85BEDC2DC3F9}"/>
              </a:ext>
            </a:extLst>
          </p:cNvPr>
          <p:cNvSpPr>
            <a:spLocks noGrp="1"/>
          </p:cNvSpPr>
          <p:nvPr>
            <p:custDataLst>
              <p:tags r:id="rId12"/>
            </p:custDataLst>
          </p:nvPr>
        </p:nvSpPr>
        <p:spPr bwMode="gray">
          <a:xfrm>
            <a:off x="1412875" y="4638675"/>
            <a:ext cx="752475" cy="2127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422CE17-E330-4414-9A6A-369AB713AF96}" type="datetime'So''''''''''''lar ''''''''''''''''''''''''''''''P''''V'''''">
              <a:rPr lang="en-US" altLang="en-US" sz="1400" smtClean="0">
                <a:solidFill>
                  <a:schemeClr val="accent4"/>
                </a:solidFill>
              </a:rPr>
              <a:pPr marL="0" lvl="0" indent="0">
                <a:spcBef>
                  <a:spcPct val="0"/>
                </a:spcBef>
                <a:spcAft>
                  <a:spcPct val="0"/>
                </a:spcAft>
                <a:buNone/>
              </a:pPr>
              <a:t>Solar PV</a:t>
            </a:fld>
            <a:endParaRPr lang="en-US" sz="1400">
              <a:solidFill>
                <a:schemeClr val="accent4"/>
              </a:solidFill>
            </a:endParaRPr>
          </a:p>
        </p:txBody>
      </p:sp>
      <p:sp>
        <p:nvSpPr>
          <p:cNvPr id="250" name="Text Placeholder 10">
            <a:extLst>
              <a:ext uri="{FF2B5EF4-FFF2-40B4-BE49-F238E27FC236}">
                <a16:creationId xmlns:a16="http://schemas.microsoft.com/office/drawing/2014/main" id="{5DA33702-425F-818E-EAC6-33BB810B4FCA}"/>
              </a:ext>
            </a:extLst>
          </p:cNvPr>
          <p:cNvSpPr>
            <a:spLocks noGrp="1"/>
          </p:cNvSpPr>
          <p:nvPr>
            <p:custDataLst>
              <p:tags r:id="rId13"/>
            </p:custDataLst>
          </p:nvPr>
        </p:nvSpPr>
        <p:spPr bwMode="gray">
          <a:xfrm>
            <a:off x="1357313" y="2271713"/>
            <a:ext cx="455613" cy="2127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FE75BC5-C98D-4DF1-8CBA-50EDFB477E5F}" type="datetime'W''''''i''''''''''''''''''''n''''''''d'">
              <a:rPr lang="en-US" altLang="en-US" sz="1400" smtClean="0">
                <a:solidFill>
                  <a:schemeClr val="accent3"/>
                </a:solidFill>
              </a:rPr>
              <a:pPr marL="0" lvl="0" indent="0">
                <a:spcBef>
                  <a:spcPct val="0"/>
                </a:spcBef>
                <a:spcAft>
                  <a:spcPct val="0"/>
                </a:spcAft>
                <a:buNone/>
              </a:pPr>
              <a:t>Wind</a:t>
            </a:fld>
            <a:endParaRPr lang="en-US" sz="1400">
              <a:solidFill>
                <a:schemeClr val="accent3"/>
              </a:solidFill>
            </a:endParaRPr>
          </a:p>
        </p:txBody>
      </p:sp>
      <p:sp>
        <p:nvSpPr>
          <p:cNvPr id="251" name="Text Placeholder 10">
            <a:extLst>
              <a:ext uri="{FF2B5EF4-FFF2-40B4-BE49-F238E27FC236}">
                <a16:creationId xmlns:a16="http://schemas.microsoft.com/office/drawing/2014/main" id="{FB4725FA-6231-4C84-84E1-B7EF57763094}"/>
              </a:ext>
            </a:extLst>
          </p:cNvPr>
          <p:cNvSpPr>
            <a:spLocks noGrp="1"/>
          </p:cNvSpPr>
          <p:nvPr>
            <p:custDataLst>
              <p:tags r:id="rId14"/>
            </p:custDataLst>
          </p:nvPr>
        </p:nvSpPr>
        <p:spPr bwMode="gray">
          <a:xfrm>
            <a:off x="4664075" y="4578350"/>
            <a:ext cx="4159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50279EA-AFEE-4719-B6AC-0B1D9CFD4803}" type="datetime'''''Co''''a''''''''''''''''''''l'''''''''''''''''''''">
              <a:rPr lang="en-US" altLang="en-US" sz="1400" smtClean="0">
                <a:solidFill>
                  <a:schemeClr val="bg1"/>
                </a:solidFill>
              </a:rPr>
              <a:pPr marL="0" lvl="0" indent="0" algn="ctr">
                <a:spcBef>
                  <a:spcPct val="0"/>
                </a:spcBef>
                <a:spcAft>
                  <a:spcPct val="0"/>
                </a:spcAft>
                <a:buNone/>
              </a:pPr>
              <a:t>Coal</a:t>
            </a:fld>
            <a:endParaRPr lang="en-US" sz="1400">
              <a:solidFill>
                <a:schemeClr val="bg1"/>
              </a:solidFill>
            </a:endParaRPr>
          </a:p>
        </p:txBody>
      </p:sp>
      <p:sp>
        <p:nvSpPr>
          <p:cNvPr id="2124" name="TextBox 8">
            <a:extLst>
              <a:ext uri="{FF2B5EF4-FFF2-40B4-BE49-F238E27FC236}">
                <a16:creationId xmlns:a16="http://schemas.microsoft.com/office/drawing/2014/main" id="{50163B0B-840B-E989-1184-733D824D23D3}"/>
              </a:ext>
            </a:extLst>
          </p:cNvPr>
          <p:cNvSpPr txBox="1"/>
          <p:nvPr/>
        </p:nvSpPr>
        <p:spPr bwMode="gray">
          <a:xfrm>
            <a:off x="9557951" y="1554480"/>
            <a:ext cx="2386240" cy="4485843"/>
          </a:xfrm>
          <a:prstGeom prst="rect">
            <a:avLst/>
          </a:prstGeom>
          <a:solidFill>
            <a:srgbClr val="E3E8EE"/>
          </a:solidFill>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bservations</a:t>
            </a:r>
          </a:p>
          <a:p>
            <a:pPr marL="171450" indent="-171450">
              <a:spcAft>
                <a:spcPts val="600"/>
              </a:spcAft>
              <a:buFont typeface="Arial" panose="020B0604020202020204" pitchFamily="34" charset="0"/>
              <a:buChar char="•"/>
              <a:defRPr/>
            </a:pPr>
            <a:r>
              <a:rPr lang="en-US" sz="1050">
                <a:solidFill>
                  <a:srgbClr val="000000"/>
                </a:solidFill>
                <a:latin typeface="Arial" panose="020B0604020202020204" pitchFamily="34" charset="0"/>
                <a:cs typeface="Arial" panose="020B0604020202020204" pitchFamily="34" charset="0"/>
              </a:rPr>
              <a:t>Very low and low radioactive-level waste types are </a:t>
            </a:r>
            <a:r>
              <a:rPr lang="en-US" sz="1050" b="1">
                <a:solidFill>
                  <a:srgbClr val="000000"/>
                </a:solidFill>
                <a:latin typeface="Arial" panose="020B0604020202020204" pitchFamily="34" charset="0"/>
                <a:cs typeface="Arial" panose="020B0604020202020204" pitchFamily="34" charset="0"/>
              </a:rPr>
              <a:t>78% of total nuclear waste </a:t>
            </a:r>
            <a:r>
              <a:rPr lang="en-US" sz="1050">
                <a:solidFill>
                  <a:srgbClr val="000000"/>
                </a:solidFill>
                <a:latin typeface="Arial" panose="020B0604020202020204" pitchFamily="34" charset="0"/>
                <a:cs typeface="Arial" panose="020B0604020202020204" pitchFamily="34" charset="0"/>
              </a:rPr>
              <a:t>by volume and have a </a:t>
            </a:r>
            <a:r>
              <a:rPr lang="en-US" sz="1050" b="1">
                <a:solidFill>
                  <a:srgbClr val="000000"/>
                </a:solidFill>
                <a:latin typeface="Arial" panose="020B0604020202020204" pitchFamily="34" charset="0"/>
                <a:cs typeface="Arial" panose="020B0604020202020204" pitchFamily="34" charset="0"/>
              </a:rPr>
              <a:t>radioactivity of &lt;1%.</a:t>
            </a:r>
          </a:p>
          <a:p>
            <a:pPr marL="171450" indent="-171450">
              <a:spcAft>
                <a:spcPts val="600"/>
              </a:spcAft>
              <a:buFont typeface="Arial" panose="020B0604020202020204" pitchFamily="34" charset="0"/>
              <a:buChar char="•"/>
              <a:defRPr/>
            </a:pPr>
            <a:r>
              <a:rPr lang="en-US" sz="1050">
                <a:solidFill>
                  <a:srgbClr val="000000"/>
                </a:solidFill>
                <a:latin typeface="Arial"/>
                <a:cs typeface="Arial"/>
              </a:rPr>
              <a:t>Nuclear is the only energy source that fully accounts for all its waste throughout its entire lifecycle, with </a:t>
            </a:r>
            <a:r>
              <a:rPr lang="en-US" sz="1050" b="1">
                <a:solidFill>
                  <a:srgbClr val="000000"/>
                </a:solidFill>
                <a:latin typeface="Arial"/>
                <a:cs typeface="Arial"/>
              </a:rPr>
              <a:t>producers paying for nuclear waste disposal,</a:t>
            </a:r>
            <a:r>
              <a:rPr lang="en-US" sz="1050">
                <a:solidFill>
                  <a:srgbClr val="000000"/>
                </a:solidFill>
                <a:latin typeface="Arial"/>
                <a:cs typeface="Arial"/>
              </a:rPr>
              <a:t> which is about 10% of total costs.</a:t>
            </a:r>
            <a:r>
              <a:rPr lang="en-US" sz="1050" baseline="30000">
                <a:solidFill>
                  <a:srgbClr val="000000"/>
                </a:solidFill>
                <a:latin typeface="Arial"/>
                <a:cs typeface="Arial"/>
              </a:rPr>
              <a:t>3</a:t>
            </a:r>
            <a:r>
              <a:rPr lang="en-US" sz="1050">
                <a:solidFill>
                  <a:srgbClr val="000000"/>
                </a:solidFill>
                <a:latin typeface="Arial"/>
                <a:cs typeface="Arial"/>
              </a:rPr>
              <a:t> </a:t>
            </a:r>
          </a:p>
          <a:p>
            <a:pPr marL="171450" indent="-171450">
              <a:spcAft>
                <a:spcPts val="600"/>
              </a:spcAft>
              <a:buFont typeface="Arial" panose="020B0604020202020204" pitchFamily="34" charset="0"/>
              <a:buChar char="•"/>
              <a:defRPr/>
            </a:pPr>
            <a:r>
              <a:rPr lang="en-US" sz="1050">
                <a:solidFill>
                  <a:srgbClr val="000000"/>
                </a:solidFill>
                <a:latin typeface="Arial" panose="020B0604020202020204" pitchFamily="34" charset="0"/>
                <a:cs typeface="Arial" panose="020B0604020202020204" pitchFamily="34" charset="0"/>
              </a:rPr>
              <a:t>Fossil fuel operators typically do not internalize the full environmental costs of CO</a:t>
            </a:r>
            <a:r>
              <a:rPr lang="en-US" sz="1050" baseline="-25000">
                <a:solidFill>
                  <a:srgbClr val="000000"/>
                </a:solidFill>
                <a:latin typeface="Arial" panose="020B0604020202020204" pitchFamily="34" charset="0"/>
                <a:cs typeface="Arial" panose="020B0604020202020204" pitchFamily="34" charset="0"/>
              </a:rPr>
              <a:t>2</a:t>
            </a:r>
            <a:r>
              <a:rPr lang="en-US" sz="1050">
                <a:solidFill>
                  <a:srgbClr val="000000"/>
                </a:solidFill>
                <a:latin typeface="Arial" panose="020B0604020202020204" pitchFamily="34" charset="0"/>
                <a:cs typeface="Arial" panose="020B0604020202020204" pitchFamily="34" charset="0"/>
              </a:rPr>
              <a:t> emissions, pollution, and methane leaks, making the energy source appear artificially cheaper.</a:t>
            </a:r>
          </a:p>
          <a:p>
            <a:pPr marL="171450" indent="-171450">
              <a:spcAft>
                <a:spcPts val="600"/>
              </a:spcAft>
              <a:buFont typeface="Arial" panose="020B0604020202020204" pitchFamily="34" charset="0"/>
              <a:buChar char="•"/>
              <a:defRPr/>
            </a:pPr>
            <a:r>
              <a:rPr lang="en-US" sz="1050">
                <a:solidFill>
                  <a:srgbClr val="000000"/>
                </a:solidFill>
                <a:latin typeface="Arial" panose="020B0604020202020204" pitchFamily="34" charset="0"/>
                <a:cs typeface="Arial" panose="020B0604020202020204" pitchFamily="34" charset="0"/>
              </a:rPr>
              <a:t>Solar panels and wind blades are often landfilled at end of life.</a:t>
            </a:r>
          </a:p>
        </p:txBody>
      </p:sp>
      <p:sp>
        <p:nvSpPr>
          <p:cNvPr id="3" name="Rectangular Callout 2">
            <a:extLst>
              <a:ext uri="{FF2B5EF4-FFF2-40B4-BE49-F238E27FC236}">
                <a16:creationId xmlns:a16="http://schemas.microsoft.com/office/drawing/2014/main" id="{B28CE8A8-9ECC-ECE3-0388-9B4202A94DEB}"/>
              </a:ext>
            </a:extLst>
          </p:cNvPr>
          <p:cNvSpPr/>
          <p:nvPr/>
        </p:nvSpPr>
        <p:spPr>
          <a:xfrm flipH="1">
            <a:off x="2254989" y="2950467"/>
            <a:ext cx="1879997" cy="1246542"/>
          </a:xfrm>
          <a:prstGeom prst="wedgeRectCallout">
            <a:avLst>
              <a:gd name="adj1" fmla="val 56246"/>
              <a:gd name="adj2" fmla="val 12690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kumimoji="0" lang="en-US" sz="1050" b="0" i="0" u="none" strike="noStrike" kern="1200" cap="none" spc="0" normalizeH="0" baseline="0" noProof="0">
                <a:solidFill>
                  <a:schemeClr val="bg1"/>
                </a:solidFill>
                <a:effectLst/>
                <a:uLnTx/>
                <a:uFillTx/>
                <a:latin typeface="Arial"/>
                <a:ea typeface="+mn-ea"/>
                <a:cs typeface="+mn-cs"/>
              </a:rPr>
              <a:t>Nuclear energy uses the</a:t>
            </a:r>
            <a:r>
              <a:rPr kumimoji="0" lang="en-US" sz="1050" b="0" i="0" u="none" strike="noStrike" kern="1200" cap="none" spc="0" normalizeH="0" noProof="0">
                <a:solidFill>
                  <a:schemeClr val="bg1"/>
                </a:solidFill>
                <a:effectLst/>
                <a:uLnTx/>
                <a:uFillTx/>
                <a:latin typeface="Arial"/>
                <a:ea typeface="+mn-ea"/>
                <a:cs typeface="+mn-cs"/>
              </a:rPr>
              <a:t> </a:t>
            </a:r>
            <a:r>
              <a:rPr kumimoji="0" lang="en-US" sz="1050" b="1" i="0" u="none" strike="noStrike" kern="1200" cap="none" spc="0" normalizeH="0" noProof="0">
                <a:solidFill>
                  <a:schemeClr val="bg1"/>
                </a:solidFill>
                <a:effectLst/>
                <a:uLnTx/>
                <a:uFillTx/>
                <a:latin typeface="Arial"/>
                <a:ea typeface="+mn-ea"/>
                <a:cs typeface="+mn-cs"/>
              </a:rPr>
              <a:t>least</a:t>
            </a:r>
            <a:r>
              <a:rPr kumimoji="0" lang="en-US" sz="1050" b="1" i="0" u="none" strike="noStrike" kern="1200" cap="none" spc="0" normalizeH="0" baseline="0" noProof="0">
                <a:solidFill>
                  <a:schemeClr val="bg1"/>
                </a:solidFill>
                <a:effectLst/>
                <a:uLnTx/>
                <a:uFillTx/>
                <a:latin typeface="Arial"/>
                <a:ea typeface="+mn-ea"/>
                <a:cs typeface="+mn-cs"/>
              </a:rPr>
              <a:t> land</a:t>
            </a:r>
            <a:r>
              <a:rPr kumimoji="0" lang="en-US" sz="1050" b="1" i="0" u="none" strike="noStrike" kern="1200" cap="none" spc="0" normalizeH="0" noProof="0">
                <a:solidFill>
                  <a:schemeClr val="bg1"/>
                </a:solidFill>
                <a:effectLst/>
                <a:uLnTx/>
                <a:uFillTx/>
                <a:latin typeface="Arial"/>
                <a:ea typeface="+mn-ea"/>
                <a:cs typeface="+mn-cs"/>
              </a:rPr>
              <a:t> </a:t>
            </a:r>
            <a:r>
              <a:rPr kumimoji="0" lang="en-US" sz="1050" b="0" i="0" u="none" strike="noStrike" kern="1200" cap="none" spc="0" normalizeH="0" noProof="0">
                <a:solidFill>
                  <a:schemeClr val="bg1"/>
                </a:solidFill>
                <a:effectLst/>
                <a:uLnTx/>
                <a:uFillTx/>
                <a:latin typeface="Arial"/>
                <a:ea typeface="+mn-ea"/>
                <a:cs typeface="+mn-cs"/>
              </a:rPr>
              <a:t>(</a:t>
            </a:r>
            <a:r>
              <a:rPr lang="en-US" sz="1050">
                <a:solidFill>
                  <a:schemeClr val="bg1"/>
                </a:solidFill>
              </a:rPr>
              <a:t>0.3 m</a:t>
            </a:r>
            <a:r>
              <a:rPr lang="en-US" sz="1050" baseline="30000">
                <a:solidFill>
                  <a:schemeClr val="bg1"/>
                </a:solidFill>
              </a:rPr>
              <a:t>3</a:t>
            </a:r>
            <a:r>
              <a:rPr lang="en-US" sz="1050">
                <a:solidFill>
                  <a:schemeClr val="bg1"/>
                </a:solidFill>
              </a:rPr>
              <a:t>/MWh) and produces the </a:t>
            </a:r>
            <a:r>
              <a:rPr lang="en-US" sz="1050" b="1">
                <a:solidFill>
                  <a:schemeClr val="bg1"/>
                </a:solidFill>
              </a:rPr>
              <a:t>least waste </a:t>
            </a:r>
            <a:r>
              <a:rPr lang="en-US" sz="1050">
                <a:solidFill>
                  <a:schemeClr val="bg1"/>
                </a:solidFill>
              </a:rPr>
              <a:t>(0.03 </a:t>
            </a:r>
            <a:r>
              <a:rPr kumimoji="0" lang="en-US" sz="1050" b="0" i="0" u="none" strike="noStrike" kern="1200" cap="none" spc="0" normalizeH="0" baseline="0" noProof="0">
                <a:solidFill>
                  <a:schemeClr val="bg1"/>
                </a:solidFill>
                <a:effectLst/>
                <a:uLnTx/>
                <a:uFillTx/>
                <a:latin typeface="Arial"/>
                <a:ea typeface="+mn-ea"/>
                <a:cs typeface="+mn-cs"/>
              </a:rPr>
              <a:t>kg/MWh)</a:t>
            </a:r>
            <a:r>
              <a:rPr kumimoji="0" lang="en-US" sz="1050" b="0" i="0" u="none" strike="noStrike" kern="1200" cap="none" spc="0" normalizeH="0" noProof="0">
                <a:solidFill>
                  <a:schemeClr val="bg1"/>
                </a:solidFill>
                <a:effectLst/>
                <a:uLnTx/>
                <a:uFillTx/>
                <a:latin typeface="Arial"/>
                <a:ea typeface="+mn-ea"/>
                <a:cs typeface="+mn-cs"/>
              </a:rPr>
              <a:t> out of the sources evaluated; it has a </a:t>
            </a:r>
            <a:r>
              <a:rPr kumimoji="0" lang="en-US" sz="1050" b="1" i="0" u="none" strike="noStrike" kern="1200" cap="none" spc="0" normalizeH="0" noProof="0">
                <a:solidFill>
                  <a:schemeClr val="bg1"/>
                </a:solidFill>
                <a:effectLst/>
                <a:uLnTx/>
                <a:uFillTx/>
                <a:latin typeface="Arial"/>
                <a:ea typeface="+mn-ea"/>
                <a:cs typeface="+mn-cs"/>
              </a:rPr>
              <a:t>comparable death rate </a:t>
            </a:r>
            <a:r>
              <a:rPr kumimoji="0" lang="en-US" sz="1050" i="0" u="none" strike="noStrike" kern="1200" cap="none" spc="0" normalizeH="0" noProof="0">
                <a:solidFill>
                  <a:schemeClr val="bg1"/>
                </a:solidFill>
                <a:effectLst/>
                <a:uLnTx/>
                <a:uFillTx/>
                <a:latin typeface="Arial"/>
                <a:ea typeface="+mn-ea"/>
                <a:cs typeface="+mn-cs"/>
              </a:rPr>
              <a:t>to wind and solar.</a:t>
            </a:r>
            <a:endParaRPr kumimoji="0" lang="en-US" sz="1050" i="0" u="none" strike="noStrike" kern="1200" cap="none" spc="0" normalizeH="0" baseline="0" noProof="0">
              <a:solidFill>
                <a:schemeClr val="bg1"/>
              </a:solidFill>
              <a:effectLst/>
              <a:uLnTx/>
              <a:uFillTx/>
              <a:latin typeface="Arial"/>
              <a:ea typeface="+mn-ea"/>
              <a:cs typeface="+mn-cs"/>
            </a:endParaRPr>
          </a:p>
        </p:txBody>
      </p:sp>
      <p:graphicFrame>
        <p:nvGraphicFramePr>
          <p:cNvPr id="48" name="Chart 47">
            <a:extLst>
              <a:ext uri="{FF2B5EF4-FFF2-40B4-BE49-F238E27FC236}">
                <a16:creationId xmlns:a16="http://schemas.microsoft.com/office/drawing/2014/main" id="{BBDE7F19-0C0C-F971-2015-460F44925111}"/>
              </a:ext>
            </a:extLst>
          </p:cNvPr>
          <p:cNvGraphicFramePr/>
          <p:nvPr>
            <p:custDataLst>
              <p:tags r:id="rId15"/>
            </p:custDataLst>
          </p:nvPr>
        </p:nvGraphicFramePr>
        <p:xfrm>
          <a:off x="5711825" y="2368550"/>
          <a:ext cx="2681288" cy="2824163"/>
        </p:xfrm>
        <a:graphic>
          <a:graphicData uri="http://schemas.openxmlformats.org/drawingml/2006/chart">
            <c:chart xmlns:c="http://schemas.openxmlformats.org/drawingml/2006/chart" xmlns:r="http://schemas.openxmlformats.org/officeDocument/2006/relationships" r:id="rId48"/>
          </a:graphicData>
        </a:graphic>
      </p:graphicFrame>
      <p:sp>
        <p:nvSpPr>
          <p:cNvPr id="23" name="Text Placeholder 10">
            <a:extLst>
              <a:ext uri="{FF2B5EF4-FFF2-40B4-BE49-F238E27FC236}">
                <a16:creationId xmlns:a16="http://schemas.microsoft.com/office/drawing/2014/main" id="{65F131A4-5232-BCAC-95FC-465BDC88F2D3}"/>
              </a:ext>
            </a:extLst>
          </p:cNvPr>
          <p:cNvSpPr txBox="1">
            <a:spLocks/>
          </p:cNvSpPr>
          <p:nvPr>
            <p:custDataLst>
              <p:tags r:id="rId16"/>
            </p:custDataLst>
          </p:nvPr>
        </p:nvSpPr>
        <p:spPr bwMode="gray">
          <a:xfrm>
            <a:off x="6024564" y="3702050"/>
            <a:ext cx="436563" cy="168275"/>
          </a:xfrm>
          <a:prstGeom prst="rect">
            <a:avLst/>
          </a:prstGeom>
          <a:solidFill>
            <a:schemeClr val="accent1"/>
          </a:solidFill>
          <a:ln>
            <a:noFill/>
          </a:ln>
          <a:effectLst/>
        </p:spPr>
        <p:txBody>
          <a:bodyPr vert="horz" wrap="none" lIns="20638" tIns="0" rIns="206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27BFA39-5C86-4308-890F-98BFAF471628}" type="datetime'''''''''''''''''''''''0''.''2''''''''''3''''%'''''">
              <a:rPr kumimoji="0" lang="en-US" altLang="en-US" sz="11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23%</a:t>
            </a:fld>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2170" name="Rectangle 2169">
            <a:extLst>
              <a:ext uri="{FF2B5EF4-FFF2-40B4-BE49-F238E27FC236}">
                <a16:creationId xmlns:a16="http://schemas.microsoft.com/office/drawing/2014/main" id="{8D1927AE-BDDC-7A65-DD84-6BA6F63CF206}"/>
              </a:ext>
            </a:extLst>
          </p:cNvPr>
          <p:cNvSpPr/>
          <p:nvPr>
            <p:custDataLst>
              <p:tags r:id="rId17"/>
            </p:custDataLst>
          </p:nvPr>
        </p:nvSpPr>
        <p:spPr bwMode="auto">
          <a:xfrm>
            <a:off x="8075613" y="2343150"/>
            <a:ext cx="1230313" cy="10033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32" name="Rectangle 2131">
            <a:extLst>
              <a:ext uri="{FF2B5EF4-FFF2-40B4-BE49-F238E27FC236}">
                <a16:creationId xmlns:a16="http://schemas.microsoft.com/office/drawing/2014/main" id="{7ADE1C9C-7AB6-A43D-75B5-2365DBD05D6F}"/>
              </a:ext>
            </a:extLst>
          </p:cNvPr>
          <p:cNvSpPr/>
          <p:nvPr>
            <p:custDataLst>
              <p:tags r:id="rId18"/>
            </p:custDataLst>
          </p:nvPr>
        </p:nvSpPr>
        <p:spPr bwMode="auto">
          <a:xfrm>
            <a:off x="8135938" y="2408238"/>
            <a:ext cx="214313" cy="160338"/>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33" name="Rectangle 2132">
            <a:extLst>
              <a:ext uri="{FF2B5EF4-FFF2-40B4-BE49-F238E27FC236}">
                <a16:creationId xmlns:a16="http://schemas.microsoft.com/office/drawing/2014/main" id="{1D064A5B-CA04-EA90-E9AF-89B7CBD3121E}"/>
              </a:ext>
            </a:extLst>
          </p:cNvPr>
          <p:cNvSpPr/>
          <p:nvPr>
            <p:custDataLst>
              <p:tags r:id="rId19"/>
            </p:custDataLst>
          </p:nvPr>
        </p:nvSpPr>
        <p:spPr bwMode="auto">
          <a:xfrm>
            <a:off x="8135938" y="2641600"/>
            <a:ext cx="214313" cy="160338"/>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85" name="Rectangle 484">
            <a:extLst>
              <a:ext uri="{FF2B5EF4-FFF2-40B4-BE49-F238E27FC236}">
                <a16:creationId xmlns:a16="http://schemas.microsoft.com/office/drawing/2014/main" id="{8AB319B3-8811-7221-B59A-9C8E45BFE612}"/>
              </a:ext>
            </a:extLst>
          </p:cNvPr>
          <p:cNvSpPr/>
          <p:nvPr>
            <p:custDataLst>
              <p:tags r:id="rId20"/>
            </p:custDataLst>
          </p:nvPr>
        </p:nvSpPr>
        <p:spPr bwMode="auto">
          <a:xfrm>
            <a:off x="8135938" y="2874963"/>
            <a:ext cx="214313" cy="160338"/>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65" name="Rectangle 2164">
            <a:extLst>
              <a:ext uri="{FF2B5EF4-FFF2-40B4-BE49-F238E27FC236}">
                <a16:creationId xmlns:a16="http://schemas.microsoft.com/office/drawing/2014/main" id="{DF95C34A-308C-EBD6-A56E-A67A46BF9139}"/>
              </a:ext>
            </a:extLst>
          </p:cNvPr>
          <p:cNvSpPr/>
          <p:nvPr>
            <p:custDataLst>
              <p:tags r:id="rId21"/>
            </p:custDataLst>
          </p:nvPr>
        </p:nvSpPr>
        <p:spPr bwMode="auto">
          <a:xfrm>
            <a:off x="8135938" y="3108325"/>
            <a:ext cx="214313" cy="160338"/>
          </a:xfrm>
          <a:prstGeom prst="rect">
            <a:avLst/>
          </a:prstGeom>
          <a:solidFill>
            <a:srgbClr val="DFE5E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 name="Text Placeholder 10">
            <a:extLst>
              <a:ext uri="{FF2B5EF4-FFF2-40B4-BE49-F238E27FC236}">
                <a16:creationId xmlns:a16="http://schemas.microsoft.com/office/drawing/2014/main" id="{FCC37290-CD43-0616-AB36-17AB4797F57A}"/>
              </a:ext>
            </a:extLst>
          </p:cNvPr>
          <p:cNvSpPr txBox="1">
            <a:spLocks/>
          </p:cNvSpPr>
          <p:nvPr>
            <p:custDataLst>
              <p:tags r:id="rId22"/>
            </p:custDataLst>
          </p:nvPr>
        </p:nvSpPr>
        <p:spPr bwMode="auto">
          <a:xfrm>
            <a:off x="8401050" y="2403475"/>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6132CB6B-7707-4370-A09C-78286993EA17}" type="datetime'''H''i''''''''g''''''''''''''''''h'''''">
              <a:rPr lang="en-US" altLang="en-US" sz="1200" smtClean="0">
                <a:solidFill>
                  <a:srgbClr val="000000"/>
                </a:solidFill>
              </a:rPr>
              <a:pPr marL="0" lvl="0" indent="0">
                <a:spcBef>
                  <a:spcPct val="0"/>
                </a:spcBef>
                <a:spcAft>
                  <a:spcPct val="0"/>
                </a:spcAft>
                <a:buNone/>
                <a:defRPr/>
              </a:pPr>
              <a:t>High</a:t>
            </a:fld>
            <a:endParaRPr kumimoji="0" lang="en-US" sz="1200" b="0" i="0" u="none" strike="noStrike" kern="1200" cap="none" spc="0" normalizeH="0" baseline="0" noProof="0">
              <a:ln>
                <a:noFill/>
              </a:ln>
              <a:solidFill>
                <a:srgbClr val="000000"/>
              </a:solidFill>
              <a:effectLst/>
              <a:uLnTx/>
              <a:uFillTx/>
            </a:endParaRPr>
          </a:p>
        </p:txBody>
      </p:sp>
      <p:sp>
        <p:nvSpPr>
          <p:cNvPr id="10" name="Text Placeholder 10">
            <a:extLst>
              <a:ext uri="{FF2B5EF4-FFF2-40B4-BE49-F238E27FC236}">
                <a16:creationId xmlns:a16="http://schemas.microsoft.com/office/drawing/2014/main" id="{92B00552-4E04-BA83-D2C1-7026BE988280}"/>
              </a:ext>
            </a:extLst>
          </p:cNvPr>
          <p:cNvSpPr txBox="1">
            <a:spLocks/>
          </p:cNvSpPr>
          <p:nvPr>
            <p:custDataLst>
              <p:tags r:id="rId23"/>
            </p:custDataLst>
          </p:nvPr>
        </p:nvSpPr>
        <p:spPr bwMode="auto">
          <a:xfrm>
            <a:off x="8401050" y="2636838"/>
            <a:ext cx="844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AB6699AF-5388-44EB-9311-3F1474A16CBF}" type="datetime'In''''t''''''''e''r''med''''''i''''a''''t''''''''e'''''''">
              <a:rPr lang="en-US" altLang="en-US" sz="1200" smtClean="0">
                <a:solidFill>
                  <a:srgbClr val="000000"/>
                </a:solidFill>
              </a:rPr>
              <a:pPr marL="0" lvl="0" indent="0">
                <a:spcBef>
                  <a:spcPct val="0"/>
                </a:spcBef>
                <a:spcAft>
                  <a:spcPct val="0"/>
                </a:spcAft>
                <a:buNone/>
                <a:defRPr/>
              </a:pPr>
              <a:t>Intermediate</a:t>
            </a:fld>
            <a:endParaRPr kumimoji="0" lang="en-US" sz="1200" b="0" i="0" u="none" strike="noStrike" kern="1200" cap="none" spc="0" normalizeH="0" baseline="0" noProof="0">
              <a:ln>
                <a:noFill/>
              </a:ln>
              <a:solidFill>
                <a:srgbClr val="000000"/>
              </a:solidFill>
              <a:effectLst/>
              <a:uLnTx/>
              <a:uFillTx/>
            </a:endParaRPr>
          </a:p>
        </p:txBody>
      </p:sp>
      <p:sp>
        <p:nvSpPr>
          <p:cNvPr id="482" name="Text Placeholder 10">
            <a:extLst>
              <a:ext uri="{FF2B5EF4-FFF2-40B4-BE49-F238E27FC236}">
                <a16:creationId xmlns:a16="http://schemas.microsoft.com/office/drawing/2014/main" id="{17C53A92-338F-3D3F-29B5-EF3321DAE104}"/>
              </a:ext>
            </a:extLst>
          </p:cNvPr>
          <p:cNvSpPr txBox="1">
            <a:spLocks/>
          </p:cNvSpPr>
          <p:nvPr>
            <p:custDataLst>
              <p:tags r:id="rId24"/>
            </p:custDataLst>
          </p:nvPr>
        </p:nvSpPr>
        <p:spPr bwMode="auto">
          <a:xfrm>
            <a:off x="8401050" y="2870200"/>
            <a:ext cx="277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38C25B01-1543-4D40-A69A-F3079E55EFAB}" type="datetime'''''''L''''''''''''''''''''''''''''''''''''''''''''''''ow'''">
              <a:rPr lang="en-US" altLang="en-US" sz="1200" smtClean="0">
                <a:solidFill>
                  <a:srgbClr val="000000"/>
                </a:solidFill>
              </a:rPr>
              <a:pPr marL="0" lvl="0" indent="0">
                <a:spcBef>
                  <a:spcPct val="0"/>
                </a:spcBef>
                <a:spcAft>
                  <a:spcPct val="0"/>
                </a:spcAft>
                <a:buNone/>
                <a:defRPr/>
              </a:pPr>
              <a:t>Low</a:t>
            </a:fld>
            <a:endParaRPr kumimoji="0" lang="en-US" sz="1200" b="0" i="0" u="none" strike="noStrike" kern="1200" cap="none" spc="0" normalizeH="0" baseline="0" noProof="0">
              <a:ln>
                <a:noFill/>
              </a:ln>
              <a:solidFill>
                <a:srgbClr val="000000"/>
              </a:solidFill>
              <a:effectLst/>
              <a:uLnTx/>
              <a:uFillTx/>
            </a:endParaRPr>
          </a:p>
        </p:txBody>
      </p:sp>
      <p:sp>
        <p:nvSpPr>
          <p:cNvPr id="398" name="Text Placeholder 10">
            <a:extLst>
              <a:ext uri="{FF2B5EF4-FFF2-40B4-BE49-F238E27FC236}">
                <a16:creationId xmlns:a16="http://schemas.microsoft.com/office/drawing/2014/main" id="{0061E715-C47B-6768-B59B-3AE9DBFA040B}"/>
              </a:ext>
            </a:extLst>
          </p:cNvPr>
          <p:cNvSpPr txBox="1">
            <a:spLocks/>
          </p:cNvSpPr>
          <p:nvPr>
            <p:custDataLst>
              <p:tags r:id="rId25"/>
            </p:custDataLst>
          </p:nvPr>
        </p:nvSpPr>
        <p:spPr bwMode="auto">
          <a:xfrm>
            <a:off x="8401050" y="3103563"/>
            <a:ext cx="6254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8945D060-01C8-4BC9-98BE-706C9B733BE6}" type="datetime'''''V''er''''''y'''''''''''''' ''L''''''''''''o''''w'">
              <a:rPr lang="en-US" altLang="en-US" sz="1200" smtClean="0">
                <a:solidFill>
                  <a:srgbClr val="000000"/>
                </a:solidFill>
              </a:rPr>
              <a:pPr marL="0" lvl="0" indent="0">
                <a:spcBef>
                  <a:spcPct val="0"/>
                </a:spcBef>
                <a:spcAft>
                  <a:spcPct val="0"/>
                </a:spcAft>
                <a:buNone/>
                <a:defRPr/>
              </a:pPr>
              <a:t>Very Low</a:t>
            </a:fld>
            <a:endParaRPr kumimoji="0" lang="en-US" sz="1200" b="0" i="0" strike="noStrike" kern="1200" cap="none" spc="0" normalizeH="0" baseline="0" noProof="0">
              <a:ln>
                <a:noFill/>
              </a:ln>
              <a:solidFill>
                <a:srgbClr val="000000"/>
              </a:solidFill>
              <a:effectLst/>
              <a:uLnTx/>
              <a:uFillTx/>
            </a:endParaRPr>
          </a:p>
        </p:txBody>
      </p:sp>
      <p:sp>
        <p:nvSpPr>
          <p:cNvPr id="2136" name="Rectangle 2135">
            <a:extLst>
              <a:ext uri="{FF2B5EF4-FFF2-40B4-BE49-F238E27FC236}">
                <a16:creationId xmlns:a16="http://schemas.microsoft.com/office/drawing/2014/main" id="{0B0250A1-2522-2979-16D2-83F210523B7B}"/>
              </a:ext>
            </a:extLst>
          </p:cNvPr>
          <p:cNvSpPr/>
          <p:nvPr>
            <p:custDataLst>
              <p:tags r:id="rId26"/>
            </p:custDataLst>
          </p:nvPr>
        </p:nvSpPr>
        <p:spPr bwMode="auto">
          <a:xfrm>
            <a:off x="4546600" y="2343150"/>
            <a:ext cx="765175" cy="10033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29" name="Oval 2128">
            <a:extLst>
              <a:ext uri="{FF2B5EF4-FFF2-40B4-BE49-F238E27FC236}">
                <a16:creationId xmlns:a16="http://schemas.microsoft.com/office/drawing/2014/main" id="{C47CB450-CBE1-C1E6-2902-89FE79ADE3DF}"/>
              </a:ext>
            </a:extLst>
          </p:cNvPr>
          <p:cNvSpPr/>
          <p:nvPr>
            <p:custDataLst>
              <p:tags r:id="rId27"/>
            </p:custDataLst>
          </p:nvPr>
        </p:nvSpPr>
        <p:spPr bwMode="auto">
          <a:xfrm>
            <a:off x="4632325" y="2406650"/>
            <a:ext cx="161925" cy="161925"/>
          </a:xfrm>
          <a:prstGeom prst="ellipse">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30" name="Oval 2129">
            <a:extLst>
              <a:ext uri="{FF2B5EF4-FFF2-40B4-BE49-F238E27FC236}">
                <a16:creationId xmlns:a16="http://schemas.microsoft.com/office/drawing/2014/main" id="{0B77A790-EC0D-32AE-E5D9-2E87F42BBE13}"/>
              </a:ext>
            </a:extLst>
          </p:cNvPr>
          <p:cNvSpPr/>
          <p:nvPr>
            <p:custDataLst>
              <p:tags r:id="rId28"/>
            </p:custDataLst>
          </p:nvPr>
        </p:nvSpPr>
        <p:spPr bwMode="auto">
          <a:xfrm>
            <a:off x="4632325" y="2640013"/>
            <a:ext cx="161925" cy="161925"/>
          </a:xfrm>
          <a:prstGeom prst="ellipse">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31" name="Oval 2130">
            <a:extLst>
              <a:ext uri="{FF2B5EF4-FFF2-40B4-BE49-F238E27FC236}">
                <a16:creationId xmlns:a16="http://schemas.microsoft.com/office/drawing/2014/main" id="{62B6C2D9-3CD3-C8B8-DB32-810B00EB25A1}"/>
              </a:ext>
            </a:extLst>
          </p:cNvPr>
          <p:cNvSpPr/>
          <p:nvPr>
            <p:custDataLst>
              <p:tags r:id="rId29"/>
            </p:custDataLst>
          </p:nvPr>
        </p:nvSpPr>
        <p:spPr bwMode="auto">
          <a:xfrm>
            <a:off x="4632325" y="2873375"/>
            <a:ext cx="161925" cy="161925"/>
          </a:xfrm>
          <a:prstGeom prst="ellipse">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35" name="Oval 2134">
            <a:extLst>
              <a:ext uri="{FF2B5EF4-FFF2-40B4-BE49-F238E27FC236}">
                <a16:creationId xmlns:a16="http://schemas.microsoft.com/office/drawing/2014/main" id="{C3E9D4E5-C3FC-4295-43FC-B1CCDBBCF306}"/>
              </a:ext>
            </a:extLst>
          </p:cNvPr>
          <p:cNvSpPr/>
          <p:nvPr>
            <p:custDataLst>
              <p:tags r:id="rId30"/>
            </p:custDataLst>
          </p:nvPr>
        </p:nvSpPr>
        <p:spPr bwMode="auto">
          <a:xfrm>
            <a:off x="4632325" y="3106738"/>
            <a:ext cx="161925" cy="161925"/>
          </a:xfrm>
          <a:prstGeom prst="ellipse">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7" name="Text Placeholder 10">
            <a:extLst>
              <a:ext uri="{FF2B5EF4-FFF2-40B4-BE49-F238E27FC236}">
                <a16:creationId xmlns:a16="http://schemas.microsoft.com/office/drawing/2014/main" id="{A3AB84B8-C18A-2C9A-381B-4471C8CC7984}"/>
              </a:ext>
            </a:extLst>
          </p:cNvPr>
          <p:cNvSpPr>
            <a:spLocks noGrp="1"/>
          </p:cNvSpPr>
          <p:nvPr>
            <p:custDataLst>
              <p:tags r:id="rId31"/>
            </p:custDataLst>
          </p:nvPr>
        </p:nvSpPr>
        <p:spPr bwMode="auto">
          <a:xfrm>
            <a:off x="4872038" y="2403475"/>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03A716D-0B2C-443F-91B5-4C09153BDBF6}" type="datetime'''''''''''''''''''''''''''''''''''''''''''''0'''''''''',03'''">
              <a:rPr lang="en-US" altLang="en-US" sz="1200" smtClean="0"/>
              <a:pPr marL="0" lvl="0" indent="0">
                <a:spcBef>
                  <a:spcPct val="0"/>
                </a:spcBef>
                <a:spcAft>
                  <a:spcPct val="0"/>
                </a:spcAft>
                <a:buNone/>
              </a:pPr>
              <a:t>0,03</a:t>
            </a:fld>
            <a:endParaRPr lang="en-US" sz="1200"/>
          </a:p>
        </p:txBody>
      </p:sp>
      <p:sp>
        <p:nvSpPr>
          <p:cNvPr id="329" name="Text Placeholder 10">
            <a:extLst>
              <a:ext uri="{FF2B5EF4-FFF2-40B4-BE49-F238E27FC236}">
                <a16:creationId xmlns:a16="http://schemas.microsoft.com/office/drawing/2014/main" id="{B5A339AD-0C27-C8E5-61CA-D9D9BE394C6B}"/>
              </a:ext>
            </a:extLst>
          </p:cNvPr>
          <p:cNvSpPr>
            <a:spLocks noGrp="1"/>
          </p:cNvSpPr>
          <p:nvPr>
            <p:custDataLst>
              <p:tags r:id="rId32"/>
            </p:custDataLst>
          </p:nvPr>
        </p:nvSpPr>
        <p:spPr bwMode="auto">
          <a:xfrm>
            <a:off x="4872038" y="2636838"/>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1822EDD-87BA-4AB1-850B-454C63BBBC78}" type="datetime'''''''0'''''''''''',''''0''''2'''''''''''''''''''''''''''''">
              <a:rPr lang="en-US" altLang="en-US" sz="1200" smtClean="0"/>
              <a:pPr marL="0" lvl="0" indent="0">
                <a:spcBef>
                  <a:spcPct val="0"/>
                </a:spcBef>
                <a:spcAft>
                  <a:spcPct val="0"/>
                </a:spcAft>
                <a:buNone/>
              </a:pPr>
              <a:t>0,02</a:t>
            </a:fld>
            <a:endParaRPr lang="en-US" sz="1200"/>
          </a:p>
        </p:txBody>
      </p:sp>
      <p:sp>
        <p:nvSpPr>
          <p:cNvPr id="330" name="Text Placeholder 10">
            <a:extLst>
              <a:ext uri="{FF2B5EF4-FFF2-40B4-BE49-F238E27FC236}">
                <a16:creationId xmlns:a16="http://schemas.microsoft.com/office/drawing/2014/main" id="{E4CF77E4-747D-422B-2BA0-E452D97A8397}"/>
              </a:ext>
            </a:extLst>
          </p:cNvPr>
          <p:cNvSpPr>
            <a:spLocks noGrp="1"/>
          </p:cNvSpPr>
          <p:nvPr>
            <p:custDataLst>
              <p:tags r:id="rId33"/>
            </p:custDataLst>
          </p:nvPr>
        </p:nvSpPr>
        <p:spPr bwMode="auto">
          <a:xfrm>
            <a:off x="4872038" y="2870200"/>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8E648E9-51DF-44B6-BE43-829A6BDF0A78}" type="datetime'''''''''0'''',''''''''''''''''''0''4'''''''''''">
              <a:rPr lang="en-US" altLang="en-US" sz="1200" smtClean="0"/>
              <a:pPr marL="0" lvl="0" indent="0">
                <a:spcBef>
                  <a:spcPct val="0"/>
                </a:spcBef>
                <a:spcAft>
                  <a:spcPct val="0"/>
                </a:spcAft>
                <a:buNone/>
              </a:pPr>
              <a:t>0,04</a:t>
            </a:fld>
            <a:endParaRPr lang="en-US" sz="1200"/>
          </a:p>
        </p:txBody>
      </p:sp>
      <p:sp>
        <p:nvSpPr>
          <p:cNvPr id="331" name="Text Placeholder 10">
            <a:extLst>
              <a:ext uri="{FF2B5EF4-FFF2-40B4-BE49-F238E27FC236}">
                <a16:creationId xmlns:a16="http://schemas.microsoft.com/office/drawing/2014/main" id="{DEAF0108-8037-0E06-5B29-8D9090877E0E}"/>
              </a:ext>
            </a:extLst>
          </p:cNvPr>
          <p:cNvSpPr>
            <a:spLocks noGrp="1"/>
          </p:cNvSpPr>
          <p:nvPr>
            <p:custDataLst>
              <p:tags r:id="rId34"/>
            </p:custDataLst>
          </p:nvPr>
        </p:nvSpPr>
        <p:spPr bwMode="auto">
          <a:xfrm>
            <a:off x="4872038" y="310356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56BB5A5-E55A-407B-AB53-442D8C8EC397}" type="datetime'''2''''4'',''''''''''''''''''''''''''''''62'">
              <a:rPr lang="en-US" altLang="en-US" sz="1200" smtClean="0"/>
              <a:pPr marL="0" lvl="0" indent="0">
                <a:spcBef>
                  <a:spcPct val="0"/>
                </a:spcBef>
                <a:spcAft>
                  <a:spcPct val="0"/>
                </a:spcAft>
                <a:buNone/>
              </a:pPr>
              <a:t>24,62</a:t>
            </a:fld>
            <a:endParaRPr lang="en-US" sz="1200"/>
          </a:p>
        </p:txBody>
      </p:sp>
      <p:sp>
        <p:nvSpPr>
          <p:cNvPr id="2142" name="Rectangle 2141">
            <a:extLst>
              <a:ext uri="{FF2B5EF4-FFF2-40B4-BE49-F238E27FC236}">
                <a16:creationId xmlns:a16="http://schemas.microsoft.com/office/drawing/2014/main" id="{CC1F0B7E-9D2D-19D7-3EEC-0FAA93D09E8B}"/>
              </a:ext>
            </a:extLst>
          </p:cNvPr>
          <p:cNvSpPr/>
          <p:nvPr/>
        </p:nvSpPr>
        <p:spPr>
          <a:xfrm>
            <a:off x="4392020" y="1971120"/>
            <a:ext cx="1074332" cy="276999"/>
          </a:xfrm>
          <a:prstGeom prst="rect">
            <a:avLst/>
          </a:prstGeom>
        </p:spPr>
        <p:txBody>
          <a:bodyPr wrap="none">
            <a:spAutoFit/>
          </a:bodyPr>
          <a:lstStyle/>
          <a:p>
            <a:pPr algn="ctr"/>
            <a:r>
              <a:rPr lang="en-US" sz="1200">
                <a:solidFill>
                  <a:srgbClr val="000000"/>
                </a:solidFill>
              </a:rPr>
              <a:t>Deaths/TWh</a:t>
            </a:r>
            <a:endParaRPr lang="en-US" sz="1200"/>
          </a:p>
        </p:txBody>
      </p:sp>
      <p:sp>
        <p:nvSpPr>
          <p:cNvPr id="410" name="Rectangle 409">
            <a:extLst>
              <a:ext uri="{FF2B5EF4-FFF2-40B4-BE49-F238E27FC236}">
                <a16:creationId xmlns:a16="http://schemas.microsoft.com/office/drawing/2014/main" id="{DBAE8BD2-8C3D-EF65-5A3C-7F7291DE9E73}"/>
              </a:ext>
            </a:extLst>
          </p:cNvPr>
          <p:cNvSpPr/>
          <p:nvPr/>
        </p:nvSpPr>
        <p:spPr>
          <a:xfrm>
            <a:off x="7964898" y="1878787"/>
            <a:ext cx="1451744" cy="461665"/>
          </a:xfrm>
          <a:prstGeom prst="rect">
            <a:avLst/>
          </a:prstGeom>
        </p:spPr>
        <p:txBody>
          <a:bodyPr wrap="none">
            <a:spAutoFit/>
          </a:bodyPr>
          <a:lstStyle/>
          <a:p>
            <a:pPr algn="ctr"/>
            <a:r>
              <a:rPr lang="en-US" sz="1200">
                <a:solidFill>
                  <a:srgbClr val="000000"/>
                </a:solidFill>
              </a:rPr>
              <a:t>Waste category by</a:t>
            </a:r>
          </a:p>
          <a:p>
            <a:pPr algn="ctr"/>
            <a:r>
              <a:rPr lang="en-US" sz="1200">
                <a:solidFill>
                  <a:srgbClr val="000000"/>
                </a:solidFill>
              </a:rPr>
              <a:t>radioactivity level</a:t>
            </a:r>
            <a:endParaRPr lang="en-US" sz="1200"/>
          </a:p>
        </p:txBody>
      </p:sp>
      <p:sp>
        <p:nvSpPr>
          <p:cNvPr id="428" name="Rectangular Callout 427">
            <a:extLst>
              <a:ext uri="{FF2B5EF4-FFF2-40B4-BE49-F238E27FC236}">
                <a16:creationId xmlns:a16="http://schemas.microsoft.com/office/drawing/2014/main" id="{9D2D36FE-1882-67CE-5360-551915B78AE5}"/>
              </a:ext>
            </a:extLst>
          </p:cNvPr>
          <p:cNvSpPr/>
          <p:nvPr/>
        </p:nvSpPr>
        <p:spPr>
          <a:xfrm flipH="1">
            <a:off x="7200105" y="5065050"/>
            <a:ext cx="1991520" cy="1010313"/>
          </a:xfrm>
          <a:prstGeom prst="wedgeRectCallout">
            <a:avLst>
              <a:gd name="adj1" fmla="val 40029"/>
              <a:gd name="adj2" fmla="val -74913"/>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kumimoji="0" lang="en-US" sz="1050" b="0" i="0" u="none" strike="noStrike" kern="1200" cap="none" spc="0" normalizeH="0" baseline="0" noProof="0">
                <a:solidFill>
                  <a:schemeClr val="bg1"/>
                </a:solidFill>
                <a:effectLst/>
                <a:uLnTx/>
                <a:uFillTx/>
                <a:latin typeface="Arial"/>
                <a:ea typeface="+mn-ea"/>
                <a:cs typeface="+mn-cs"/>
              </a:rPr>
              <a:t>High</a:t>
            </a:r>
            <a:r>
              <a:rPr kumimoji="0" lang="en-US" sz="1050" b="0" i="0" u="none" strike="noStrike" kern="1200" cap="none" spc="0" normalizeH="0" noProof="0">
                <a:solidFill>
                  <a:schemeClr val="bg1"/>
                </a:solidFill>
                <a:effectLst/>
                <a:uLnTx/>
                <a:uFillTx/>
                <a:latin typeface="Arial"/>
                <a:ea typeface="+mn-ea"/>
                <a:cs typeface="+mn-cs"/>
              </a:rPr>
              <a:t> radioactive-</a:t>
            </a:r>
            <a:r>
              <a:rPr kumimoji="0" lang="en-US" sz="1050" b="0" i="0" u="none" strike="noStrike" kern="1200" cap="none" spc="0" normalizeH="0" baseline="0" noProof="0">
                <a:solidFill>
                  <a:schemeClr val="bg1"/>
                </a:solidFill>
                <a:effectLst/>
                <a:uLnTx/>
                <a:uFillTx/>
                <a:latin typeface="Arial"/>
                <a:ea typeface="+mn-ea"/>
                <a:cs typeface="+mn-cs"/>
              </a:rPr>
              <a:t>level</a:t>
            </a:r>
            <a:r>
              <a:rPr kumimoji="0" lang="en-US" sz="1050" b="0" i="0" u="none" strike="noStrike" kern="1200" cap="none" spc="0" normalizeH="0" noProof="0">
                <a:solidFill>
                  <a:schemeClr val="bg1"/>
                </a:solidFill>
                <a:effectLst/>
                <a:uLnTx/>
                <a:uFillTx/>
                <a:latin typeface="Arial"/>
                <a:ea typeface="+mn-ea"/>
                <a:cs typeface="+mn-cs"/>
              </a:rPr>
              <a:t> nuclear waste includes used fuel and has 95% of radioactivity but makes up only ~0.2% of total nuclear waste.</a:t>
            </a:r>
            <a:endParaRPr kumimoji="0" lang="en-US" sz="1050" i="0" u="none" strike="noStrike" kern="1200" cap="none" spc="0" normalizeH="0" baseline="0" noProof="0">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22290545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D0168A-13B0-07AE-51B6-658AB6D0443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23C3ED-5429-A4AD-7180-829732353E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7" name="think-cell data - do not delete" hidden="1">
                        <a:extLst>
                          <a:ext uri="{FF2B5EF4-FFF2-40B4-BE49-F238E27FC236}">
                            <a16:creationId xmlns:a16="http://schemas.microsoft.com/office/drawing/2014/main" id="{4023C3ED-5429-A4AD-7180-829732353E5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DF696E4-DD06-ACF3-D600-43BDE8D5FDDA}"/>
              </a:ext>
            </a:extLst>
          </p:cNvPr>
          <p:cNvSpPr>
            <a:spLocks noGrp="1"/>
          </p:cNvSpPr>
          <p:nvPr>
            <p:ph type="title"/>
          </p:nvPr>
        </p:nvSpPr>
        <p:spPr/>
        <p:txBody>
          <a:bodyPr vert="horz">
            <a:noAutofit/>
          </a:bodyPr>
          <a:lstStyle/>
          <a:p>
            <a:r>
              <a:rPr lang="en-US"/>
              <a:t>More than half of the nuclear power plants in France went off the grid in the summer of 2022 due to maintenance nuclear shutdowns </a:t>
            </a:r>
          </a:p>
        </p:txBody>
      </p:sp>
      <p:sp>
        <p:nvSpPr>
          <p:cNvPr id="32" name="btfpNotesBox368131">
            <a:hlinkClick r:id="rId18"/>
            <a:extLst>
              <a:ext uri="{FF2B5EF4-FFF2-40B4-BE49-F238E27FC236}">
                <a16:creationId xmlns:a16="http://schemas.microsoft.com/office/drawing/2014/main" id="{BE349FC9-EA64-B95D-0AB8-ACCF36AA8B15}"/>
              </a:ext>
            </a:extLst>
          </p:cNvPr>
          <p:cNvSpPr txBox="1"/>
          <p:nvPr>
            <p:custDataLst>
              <p:tags r:id="rId3"/>
            </p:custDataLst>
          </p:nvPr>
        </p:nvSpPr>
        <p:spPr bwMode="gray">
          <a:xfrm>
            <a:off x="330199" y="6309360"/>
            <a:ext cx="9217838"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RT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Generation – Nuclear</a:t>
            </a:r>
            <a:r>
              <a:rPr kumimoji="0" lang="en-US" sz="800" b="0" i="0" u="none" strike="noStrike" kern="1200" cap="none" spc="0" normalizeH="0" baseline="0" noProof="0" dirty="0">
                <a:ln>
                  <a:noFill/>
                </a:ln>
                <a:solidFill>
                  <a:srgbClr val="000000"/>
                </a:solidFill>
                <a:effectLst/>
                <a:uLnTx/>
                <a:uFillTx/>
                <a:latin typeface="Arial"/>
                <a:ea typeface="+mn-ea"/>
                <a:cs typeface="+mn-cs"/>
              </a:rPr>
              <a:t> (2025); W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Nuclear Power in France </a:t>
            </a:r>
            <a:r>
              <a:rPr kumimoji="0" lang="en-US" sz="800" b="0" i="0" u="none" strike="noStrike" kern="1200" cap="none" spc="0" normalizeH="0" baseline="0" noProof="0" dirty="0">
                <a:ln>
                  <a:noFill/>
                </a:ln>
                <a:solidFill>
                  <a:srgbClr val="000000"/>
                </a:solidFill>
                <a:effectLst/>
                <a:uLnTx/>
                <a:uFillTx/>
                <a:latin typeface="Arial"/>
                <a:ea typeface="+mn-ea"/>
                <a:cs typeface="+mn-cs"/>
              </a:rPr>
              <a:t>(2025); Clean Air Task Forc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1"/>
              </a:rPr>
              <a:t>The 2022 French nuclear outages: Lessons for nuclear energy in Europe</a:t>
            </a:r>
            <a:r>
              <a:rPr kumimoji="0" lang="en-US" sz="800" b="0" i="0" u="none" strike="noStrike" kern="1200" cap="none" spc="0" normalizeH="0" baseline="0" noProof="0" dirty="0">
                <a:ln>
                  <a:noFill/>
                </a:ln>
                <a:solidFill>
                  <a:srgbClr val="000000"/>
                </a:solidFill>
                <a:effectLst/>
                <a:uLnTx/>
                <a:uFillTx/>
                <a:latin typeface="Arial"/>
                <a:ea typeface="+mn-ea"/>
                <a:cs typeface="+mn-cs"/>
              </a:rPr>
              <a:t> (2023); </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Bundestag,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2"/>
              </a:rPr>
              <a:t>The Nuclear Phase-out in Germany</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inako Arai,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3"/>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4"/>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3" name="TextBox 2">
            <a:extLst>
              <a:ext uri="{FF2B5EF4-FFF2-40B4-BE49-F238E27FC236}">
                <a16:creationId xmlns:a16="http://schemas.microsoft.com/office/drawing/2014/main" id="{497317F1-5EDB-9F15-7431-6550A2101DA6}"/>
              </a:ext>
            </a:extLst>
          </p:cNvPr>
          <p:cNvSpPr txBox="1"/>
          <p:nvPr/>
        </p:nvSpPr>
        <p:spPr bwMode="gray">
          <a:xfrm>
            <a:off x="7672388" y="1558046"/>
            <a:ext cx="4184651" cy="3970318"/>
          </a:xfrm>
          <a:prstGeom prst="rect">
            <a:avLst/>
          </a:prstGeom>
          <a:solidFill>
            <a:srgbClr val="E3E8EE"/>
          </a:solidFill>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Observations</a:t>
            </a:r>
          </a:p>
          <a:p>
            <a:pPr marL="0" marR="0" lvl="0" indent="0" algn="l" defTabSz="914400" rtl="0" eaLnBrk="1" fontAlgn="auto" latinLnBrk="0" hangingPunct="1">
              <a:lnSpc>
                <a:spcPct val="100000"/>
              </a:lnSpc>
              <a:spcBef>
                <a:spcPts val="600"/>
              </a:spcBef>
              <a:spcAft>
                <a:spcPts val="4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Reasons for shutdown:</a:t>
            </a:r>
          </a:p>
          <a:p>
            <a:pPr marL="171450" marR="0" lvl="0" indent="-171450" algn="l" defTabSz="9144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Corrosion: </a:t>
            </a:r>
            <a:r>
              <a:rPr kumimoji="0" lang="en-US" sz="1050" b="0" i="0" u="none" strike="noStrike" kern="1200" cap="none" spc="0" normalizeH="0" baseline="0" noProof="0" dirty="0">
                <a:ln>
                  <a:noFill/>
                </a:ln>
                <a:solidFill>
                  <a:srgbClr val="000000"/>
                </a:solidFill>
                <a:effectLst/>
                <a:uLnTx/>
                <a:uFillTx/>
                <a:latin typeface="Arial"/>
                <a:ea typeface="+mn-ea"/>
                <a:cs typeface="Arial"/>
              </a:rPr>
              <a:t>In December 2021, inspections at </a:t>
            </a:r>
            <a:r>
              <a:rPr kumimoji="0" lang="en-US" sz="1050" b="0" i="0" u="none" strike="noStrike" kern="1200" cap="none" spc="0" normalizeH="0" baseline="0" noProof="0" dirty="0" err="1">
                <a:ln>
                  <a:noFill/>
                </a:ln>
                <a:solidFill>
                  <a:srgbClr val="000000"/>
                </a:solidFill>
                <a:effectLst/>
                <a:uLnTx/>
                <a:uFillTx/>
                <a:latin typeface="Arial"/>
                <a:ea typeface="+mn-ea"/>
                <a:cs typeface="Arial"/>
              </a:rPr>
              <a:t>Civaux</a:t>
            </a:r>
            <a:r>
              <a:rPr kumimoji="0" lang="en-US" sz="1050" b="0" i="0" u="none" strike="noStrike" kern="1200" cap="none" spc="0" normalizeH="0" baseline="0" noProof="0" dirty="0">
                <a:ln>
                  <a:noFill/>
                </a:ln>
                <a:solidFill>
                  <a:srgbClr val="000000"/>
                </a:solidFill>
                <a:effectLst/>
                <a:uLnTx/>
                <a:uFillTx/>
                <a:latin typeface="Arial"/>
                <a:ea typeface="+mn-ea"/>
                <a:cs typeface="Arial"/>
              </a:rPr>
              <a:t> 1 revealed pipe corrosion; similar defects at other units required part replacements and plant shutdowns.</a:t>
            </a:r>
          </a:p>
          <a:p>
            <a:pPr marL="171450" marR="0" lvl="0" indent="-171450" algn="l" defTabSz="9144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rPr>
              <a:t>Maintenance delays:</a:t>
            </a:r>
            <a:r>
              <a:rPr kumimoji="0" lang="en-US" sz="1050" b="0" i="0" u="none" strike="noStrike" kern="1200" cap="none" spc="0" normalizeH="0" baseline="0" noProof="0" dirty="0">
                <a:ln>
                  <a:noFill/>
                </a:ln>
                <a:solidFill>
                  <a:srgbClr val="000000"/>
                </a:solidFill>
                <a:effectLst/>
                <a:uLnTx/>
                <a:uFillTx/>
                <a:latin typeface="Arial"/>
                <a:ea typeface="+mn-ea"/>
              </a:rPr>
              <a:t> COVID‑19 and a shortage of nuclear workers — linked to weak policy support — postponed scheduled outages and extended downtime.</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179388" marR="0" lvl="2" indent="-171450" algn="l" defTabSz="9144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rPr>
              <a:t>Cooling restrictions:</a:t>
            </a:r>
            <a:r>
              <a:rPr kumimoji="0" lang="en-US" sz="1050" b="0" i="0" u="none" strike="noStrike" kern="1200" cap="none" spc="0" normalizeH="0" baseline="0" noProof="0" dirty="0">
                <a:ln>
                  <a:noFill/>
                </a:ln>
                <a:solidFill>
                  <a:srgbClr val="000000"/>
                </a:solidFill>
                <a:effectLst/>
                <a:uLnTx/>
                <a:uFillTx/>
                <a:latin typeface="Arial"/>
                <a:ea typeface="+mn-ea"/>
              </a:rPr>
              <a:t> Regulated use of river water and unusually high water temperatures forced output cuts at operating reactors.</a:t>
            </a:r>
            <a:endParaRPr kumimoji="0" lang="en-US" sz="1050" b="1" i="0" u="none" strike="noStrike" kern="1200" cap="none" spc="0" normalizeH="0" baseline="0" noProof="0" dirty="0">
              <a:ln>
                <a:noFill/>
              </a:ln>
              <a:solidFill>
                <a:srgbClr val="000000"/>
              </a:solidFill>
              <a:effectLst/>
              <a:uLnTx/>
              <a:uFillTx/>
              <a:latin typeface="Arial"/>
              <a:ea typeface="+mn-ea"/>
              <a:cs typeface="Arial"/>
            </a:endParaRPr>
          </a:p>
          <a:p>
            <a:pPr marL="7938" marR="0" lvl="2" indent="0" algn="l" defTabSz="914400" rtl="0" eaLnBrk="1" fontAlgn="auto" latinLnBrk="0" hangingPunct="1">
              <a:lnSpc>
                <a:spcPct val="100000"/>
              </a:lnSpc>
              <a:spcBef>
                <a:spcPts val="600"/>
              </a:spcBef>
              <a:spcAft>
                <a:spcPts val="4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Policy implications:</a:t>
            </a:r>
          </a:p>
          <a:p>
            <a:pPr marL="171450" marR="0" lvl="0" indent="-171450" algn="l" defTabSz="9144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a:rPr>
              <a:t>Revealed risk of </a:t>
            </a:r>
            <a:r>
              <a:rPr kumimoji="0" lang="en-US" sz="1050" b="1" i="0" u="none" strike="noStrike" kern="1200" cap="none" spc="0" normalizeH="0" baseline="0" noProof="0" dirty="0">
                <a:ln>
                  <a:noFill/>
                </a:ln>
                <a:solidFill>
                  <a:srgbClr val="000000"/>
                </a:solidFill>
                <a:effectLst/>
                <a:uLnTx/>
                <a:uFillTx/>
                <a:latin typeface="Arial"/>
                <a:ea typeface="+mn-ea"/>
                <a:cs typeface="Arial"/>
              </a:rPr>
              <a:t>high nuclear reliance. </a:t>
            </a:r>
          </a:p>
          <a:p>
            <a:pPr marL="171450" marR="0" lvl="0" indent="-171450" algn="l" defTabSz="9144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rPr>
              <a:t>In the long term, </a:t>
            </a:r>
            <a:r>
              <a:rPr kumimoji="0" lang="en-US" sz="1050" b="1" i="0" u="none" strike="noStrike" kern="1200" cap="none" spc="0" normalizeH="0" baseline="0" noProof="0" dirty="0">
                <a:ln>
                  <a:noFill/>
                </a:ln>
                <a:solidFill>
                  <a:srgbClr val="000000"/>
                </a:solidFill>
                <a:effectLst/>
                <a:uLnTx/>
                <a:uFillTx/>
                <a:latin typeface="Arial"/>
                <a:ea typeface="+mn-ea"/>
              </a:rPr>
              <a:t>standardizing and modularizing nuclear plant components </a:t>
            </a:r>
            <a:r>
              <a:rPr kumimoji="0" lang="en-US" sz="1050" b="0" i="0" u="none" strike="noStrike" kern="1200" cap="none" spc="0" normalizeH="0" baseline="0" noProof="0" dirty="0">
                <a:ln>
                  <a:noFill/>
                </a:ln>
                <a:solidFill>
                  <a:srgbClr val="000000"/>
                </a:solidFill>
                <a:effectLst/>
                <a:uLnTx/>
                <a:uFillTx/>
                <a:latin typeface="Arial"/>
                <a:ea typeface="+mn-ea"/>
              </a:rPr>
              <a:t>— rather than undertaking bespoke, labor‑intensive fixes — </a:t>
            </a:r>
            <a:r>
              <a:rPr kumimoji="0" lang="en-US" sz="1050" b="1" i="0" u="none" strike="noStrike" kern="1200" cap="none" spc="0" normalizeH="0" baseline="0" noProof="0" dirty="0">
                <a:ln>
                  <a:noFill/>
                </a:ln>
                <a:solidFill>
                  <a:srgbClr val="000000"/>
                </a:solidFill>
                <a:effectLst/>
                <a:uLnTx/>
                <a:uFillTx/>
                <a:latin typeface="Arial"/>
                <a:ea typeface="+mn-ea"/>
              </a:rPr>
              <a:t>can improve reliability </a:t>
            </a:r>
            <a:r>
              <a:rPr kumimoji="0" lang="en-US" sz="1050" b="0" i="0" u="none" strike="noStrike" kern="1200" cap="none" spc="0" normalizeH="0" baseline="0" noProof="0" dirty="0">
                <a:ln>
                  <a:noFill/>
                </a:ln>
                <a:solidFill>
                  <a:srgbClr val="000000"/>
                </a:solidFill>
                <a:effectLst/>
                <a:uLnTx/>
                <a:uFillTx/>
                <a:latin typeface="Arial"/>
                <a:ea typeface="+mn-ea"/>
              </a:rPr>
              <a:t>and streamline future maintenance.</a:t>
            </a:r>
          </a:p>
        </p:txBody>
      </p:sp>
      <p:graphicFrame>
        <p:nvGraphicFramePr>
          <p:cNvPr id="1678" name="Chart 1677">
            <a:extLst>
              <a:ext uri="{FF2B5EF4-FFF2-40B4-BE49-F238E27FC236}">
                <a16:creationId xmlns:a16="http://schemas.microsoft.com/office/drawing/2014/main" id="{3050744E-6CB0-881C-5D6B-501D91A80A75}"/>
              </a:ext>
            </a:extLst>
          </p:cNvPr>
          <p:cNvGraphicFramePr/>
          <p:nvPr>
            <p:custDataLst>
              <p:tags r:id="rId4"/>
            </p:custDataLst>
          </p:nvPr>
        </p:nvGraphicFramePr>
        <p:xfrm>
          <a:off x="246063" y="1860550"/>
          <a:ext cx="7067550" cy="4286250"/>
        </p:xfrm>
        <a:graphic>
          <a:graphicData uri="http://schemas.openxmlformats.org/drawingml/2006/chart">
            <c:chart xmlns:c="http://schemas.openxmlformats.org/drawingml/2006/chart" xmlns:r="http://schemas.openxmlformats.org/officeDocument/2006/relationships" r:id="rId25"/>
          </a:graphicData>
        </a:graphic>
      </p:graphicFrame>
      <p:cxnSp>
        <p:nvCxnSpPr>
          <p:cNvPr id="1546" name="Straight Connector 1545">
            <a:extLst>
              <a:ext uri="{FF2B5EF4-FFF2-40B4-BE49-F238E27FC236}">
                <a16:creationId xmlns:a16="http://schemas.microsoft.com/office/drawing/2014/main" id="{E1FFDDD3-C9B1-6747-9746-F16410B3A0A5}"/>
              </a:ext>
            </a:extLst>
          </p:cNvPr>
          <p:cNvCxnSpPr>
            <a:cxnSpLocks/>
          </p:cNvCxnSpPr>
          <p:nvPr>
            <p:custDataLst>
              <p:tags r:id="rId5"/>
            </p:custDataLst>
          </p:nvPr>
        </p:nvCxnSpPr>
        <p:spPr bwMode="auto">
          <a:xfrm>
            <a:off x="687388" y="2792413"/>
            <a:ext cx="6543675" cy="0"/>
          </a:xfrm>
          <a:prstGeom prst="line">
            <a:avLst/>
          </a:prstGeom>
          <a:ln w="952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380" name="Text Placeholder 10">
            <a:extLst>
              <a:ext uri="{FF2B5EF4-FFF2-40B4-BE49-F238E27FC236}">
                <a16:creationId xmlns:a16="http://schemas.microsoft.com/office/drawing/2014/main" id="{97A0DBD0-F02D-4BBF-5D12-9A8C90656320}"/>
              </a:ext>
            </a:extLst>
          </p:cNvPr>
          <p:cNvSpPr txBox="1">
            <a:spLocks/>
          </p:cNvSpPr>
          <p:nvPr>
            <p:custDataLst>
              <p:tags r:id="rId6"/>
            </p:custDataLst>
          </p:nvPr>
        </p:nvSpPr>
        <p:spPr bwMode="auto">
          <a:xfrm>
            <a:off x="1701800" y="59642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38F45E9-8CCA-4FAD-A98F-D41A5302201B}"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385" name="Text Placeholder 10">
            <a:extLst>
              <a:ext uri="{FF2B5EF4-FFF2-40B4-BE49-F238E27FC236}">
                <a16:creationId xmlns:a16="http://schemas.microsoft.com/office/drawing/2014/main" id="{C4022025-DB28-8B14-F521-AA6311B4D8CA}"/>
              </a:ext>
            </a:extLst>
          </p:cNvPr>
          <p:cNvSpPr txBox="1">
            <a:spLocks/>
          </p:cNvSpPr>
          <p:nvPr>
            <p:custDataLst>
              <p:tags r:id="rId7"/>
            </p:custDataLst>
          </p:nvPr>
        </p:nvSpPr>
        <p:spPr bwMode="auto">
          <a:xfrm>
            <a:off x="2757488" y="59642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2FBF9C5-D84C-4032-BC40-B644A91E15F3}" type="datetime'''''''2''''''''0''''''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390" name="Text Placeholder 10">
            <a:extLst>
              <a:ext uri="{FF2B5EF4-FFF2-40B4-BE49-F238E27FC236}">
                <a16:creationId xmlns:a16="http://schemas.microsoft.com/office/drawing/2014/main" id="{62C439BF-AFC8-1117-6177-447B94B21F9F}"/>
              </a:ext>
            </a:extLst>
          </p:cNvPr>
          <p:cNvSpPr txBox="1">
            <a:spLocks/>
          </p:cNvSpPr>
          <p:nvPr>
            <p:custDataLst>
              <p:tags r:id="rId8"/>
            </p:custDataLst>
          </p:nvPr>
        </p:nvSpPr>
        <p:spPr bwMode="auto">
          <a:xfrm>
            <a:off x="3813175" y="59642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63C97C5-7FFC-47F1-A4B1-F113A7D3EA3D}"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527" name="Text Placeholder 10">
            <a:extLst>
              <a:ext uri="{FF2B5EF4-FFF2-40B4-BE49-F238E27FC236}">
                <a16:creationId xmlns:a16="http://schemas.microsoft.com/office/drawing/2014/main" id="{8AA90FB7-E9C8-0BAC-0A83-255221D55F59}"/>
              </a:ext>
            </a:extLst>
          </p:cNvPr>
          <p:cNvSpPr txBox="1">
            <a:spLocks/>
          </p:cNvSpPr>
          <p:nvPr>
            <p:custDataLst>
              <p:tags r:id="rId9"/>
            </p:custDataLst>
          </p:nvPr>
        </p:nvSpPr>
        <p:spPr bwMode="auto">
          <a:xfrm>
            <a:off x="349250" y="1755775"/>
            <a:ext cx="268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TWh</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00" name="Text Placeholder 10">
            <a:extLst>
              <a:ext uri="{FF2B5EF4-FFF2-40B4-BE49-F238E27FC236}">
                <a16:creationId xmlns:a16="http://schemas.microsoft.com/office/drawing/2014/main" id="{5959D174-7E8C-C866-68B2-AD26058C86B1}"/>
              </a:ext>
            </a:extLst>
          </p:cNvPr>
          <p:cNvSpPr txBox="1">
            <a:spLocks/>
          </p:cNvSpPr>
          <p:nvPr>
            <p:custDataLst>
              <p:tags r:id="rId10"/>
            </p:custDataLst>
          </p:nvPr>
        </p:nvSpPr>
        <p:spPr bwMode="auto">
          <a:xfrm>
            <a:off x="5922963" y="59642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24D8C5-7113-4D83-81EC-6BBA602A9760}"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05" name="Text Placeholder 10">
            <a:extLst>
              <a:ext uri="{FF2B5EF4-FFF2-40B4-BE49-F238E27FC236}">
                <a16:creationId xmlns:a16="http://schemas.microsoft.com/office/drawing/2014/main" id="{9CA34887-A442-7613-5A31-7B6456D81666}"/>
              </a:ext>
            </a:extLst>
          </p:cNvPr>
          <p:cNvSpPr txBox="1">
            <a:spLocks/>
          </p:cNvSpPr>
          <p:nvPr>
            <p:custDataLst>
              <p:tags r:id="rId11"/>
            </p:custDataLst>
          </p:nvPr>
        </p:nvSpPr>
        <p:spPr bwMode="auto">
          <a:xfrm>
            <a:off x="6978650" y="59642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DE58B3-215A-4733-A1E7-C04A79F57F37}"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375" name="Text Placeholder 10">
            <a:extLst>
              <a:ext uri="{FF2B5EF4-FFF2-40B4-BE49-F238E27FC236}">
                <a16:creationId xmlns:a16="http://schemas.microsoft.com/office/drawing/2014/main" id="{28A0A863-ED04-4ED2-98B4-FA2AF64F4017}"/>
              </a:ext>
            </a:extLst>
          </p:cNvPr>
          <p:cNvSpPr txBox="1">
            <a:spLocks/>
          </p:cNvSpPr>
          <p:nvPr>
            <p:custDataLst>
              <p:tags r:id="rId12"/>
            </p:custDataLst>
          </p:nvPr>
        </p:nvSpPr>
        <p:spPr bwMode="auto">
          <a:xfrm>
            <a:off x="646113" y="59642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735847-5F29-467B-8C1B-82355DD0904E}" type="datetime'1''''''''9''''''''''''''''''''9''''''''''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9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395" name="Text Placeholder 10">
            <a:extLst>
              <a:ext uri="{FF2B5EF4-FFF2-40B4-BE49-F238E27FC236}">
                <a16:creationId xmlns:a16="http://schemas.microsoft.com/office/drawing/2014/main" id="{3BF9A5B0-4910-6371-7579-D4C34272F668}"/>
              </a:ext>
            </a:extLst>
          </p:cNvPr>
          <p:cNvSpPr txBox="1">
            <a:spLocks/>
          </p:cNvSpPr>
          <p:nvPr>
            <p:custDataLst>
              <p:tags r:id="rId13"/>
            </p:custDataLst>
          </p:nvPr>
        </p:nvSpPr>
        <p:spPr bwMode="auto">
          <a:xfrm>
            <a:off x="4867275" y="59642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3A17838-8E98-4780-87C1-01C0BA067A17}" type="datetime'''''20''''''''''''''''''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grpSp>
        <p:nvGrpSpPr>
          <p:cNvPr id="1637" name="Group 1636">
            <a:extLst>
              <a:ext uri="{FF2B5EF4-FFF2-40B4-BE49-F238E27FC236}">
                <a16:creationId xmlns:a16="http://schemas.microsoft.com/office/drawing/2014/main" id="{DB764362-1B0E-D033-598D-B8D3E1043D79}"/>
              </a:ext>
            </a:extLst>
          </p:cNvPr>
          <p:cNvGrpSpPr/>
          <p:nvPr/>
        </p:nvGrpSpPr>
        <p:grpSpPr>
          <a:xfrm>
            <a:off x="755468" y="2314326"/>
            <a:ext cx="2015596" cy="369580"/>
            <a:chOff x="755468" y="2314326"/>
            <a:chExt cx="2015596" cy="369580"/>
          </a:xfrm>
        </p:grpSpPr>
        <p:sp>
          <p:nvSpPr>
            <p:cNvPr id="1621" name="Triangle 1620">
              <a:extLst>
                <a:ext uri="{FF2B5EF4-FFF2-40B4-BE49-F238E27FC236}">
                  <a16:creationId xmlns:a16="http://schemas.microsoft.com/office/drawing/2014/main" id="{DBF5137D-6744-DE2A-4822-346AF1BA094B}"/>
                </a:ext>
              </a:extLst>
            </p:cNvPr>
            <p:cNvSpPr/>
            <p:nvPr/>
          </p:nvSpPr>
          <p:spPr bwMode="gray">
            <a:xfrm flipV="1">
              <a:off x="1525315" y="2544577"/>
              <a:ext cx="161622" cy="139329"/>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636" name="TextBox 1635">
              <a:extLst>
                <a:ext uri="{FF2B5EF4-FFF2-40B4-BE49-F238E27FC236}">
                  <a16:creationId xmlns:a16="http://schemas.microsoft.com/office/drawing/2014/main" id="{9E189C8F-7D09-779B-56B9-4E964EB42492}"/>
                </a:ext>
              </a:extLst>
            </p:cNvPr>
            <p:cNvSpPr txBox="1"/>
            <p:nvPr/>
          </p:nvSpPr>
          <p:spPr bwMode="gray">
            <a:xfrm>
              <a:off x="755468" y="2314326"/>
              <a:ext cx="2015596" cy="161583"/>
            </a:xfrm>
            <a:prstGeom prst="rect">
              <a:avLst/>
            </a:prstGeom>
            <a:noFill/>
          </p:spPr>
          <p:txBody>
            <a:bodyPr wrap="square" lIns="0" tIns="0" rIns="0" bIns="0" rtlCol="0">
              <a:spAutoFit/>
            </a:bodyPr>
            <a:lstStyle/>
            <a:p>
              <a:pPr marL="0" marR="0" lvl="1" indent="0" algn="l" defTabSz="711200"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1995-2024 average: 404.6 TWh </a:t>
              </a:r>
            </a:p>
          </p:txBody>
        </p:sp>
      </p:grpSp>
      <p:sp>
        <p:nvSpPr>
          <p:cNvPr id="1653" name="btfpColumnHeaderBoxText223027">
            <a:extLst>
              <a:ext uri="{FF2B5EF4-FFF2-40B4-BE49-F238E27FC236}">
                <a16:creationId xmlns:a16="http://schemas.microsoft.com/office/drawing/2014/main" id="{D368DD6F-BF15-EA22-79AC-EEF2349FABE8}"/>
              </a:ext>
            </a:extLst>
          </p:cNvPr>
          <p:cNvSpPr txBox="1"/>
          <p:nvPr/>
        </p:nvSpPr>
        <p:spPr bwMode="gray">
          <a:xfrm>
            <a:off x="659970" y="1555274"/>
            <a:ext cx="6698774"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Electricity generation from nuclear power plants in France</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654" name="btfpColumnHeaderBoxLine223027">
            <a:extLst>
              <a:ext uri="{FF2B5EF4-FFF2-40B4-BE49-F238E27FC236}">
                <a16:creationId xmlns:a16="http://schemas.microsoft.com/office/drawing/2014/main" id="{23D4E645-C3FB-2CB8-10C6-276093069F17}"/>
              </a:ext>
            </a:extLst>
          </p:cNvPr>
          <p:cNvCxnSpPr>
            <a:cxnSpLocks/>
          </p:cNvCxnSpPr>
          <p:nvPr/>
        </p:nvCxnSpPr>
        <p:spPr bwMode="gray">
          <a:xfrm>
            <a:off x="646906" y="1881460"/>
            <a:ext cx="507462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49DB45B8-9B99-D07B-99AE-A7163DF69A8A}"/>
              </a:ext>
            </a:extLst>
          </p:cNvPr>
          <p:cNvSpPr txBox="1"/>
          <p:nvPr/>
        </p:nvSpPr>
        <p:spPr bwMode="gray">
          <a:xfrm>
            <a:off x="7064443" y="5055718"/>
            <a:ext cx="588601" cy="284693"/>
          </a:xfrm>
          <a:prstGeom prst="rect">
            <a:avLst/>
          </a:prstGeom>
          <a:noFill/>
        </p:spPr>
        <p:txBody>
          <a:bodyPr wrap="square" lIns="0" tIns="0" rIns="0" bIns="0" rtlCol="0">
            <a:spAutoFit/>
          </a:bodyPr>
          <a:lstStyle/>
          <a:p>
            <a:pPr marL="0" marR="0" lvl="1" indent="0" algn="l" defTabSz="711200" rtl="0" eaLnBrk="1" fontAlgn="auto"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April 9, </a:t>
            </a:r>
          </a:p>
          <a:p>
            <a:pPr marL="0" marR="0" lvl="1" indent="0" algn="l" defTabSz="711200" rtl="0" eaLnBrk="1" fontAlgn="auto"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2025</a:t>
            </a:r>
          </a:p>
        </p:txBody>
      </p:sp>
      <p:grpSp>
        <p:nvGrpSpPr>
          <p:cNvPr id="8" name="Group 7">
            <a:extLst>
              <a:ext uri="{FF2B5EF4-FFF2-40B4-BE49-F238E27FC236}">
                <a16:creationId xmlns:a16="http://schemas.microsoft.com/office/drawing/2014/main" id="{EA8AEEF5-5E5E-4BD5-CABE-E5C2FE5A4CD3}"/>
              </a:ext>
            </a:extLst>
          </p:cNvPr>
          <p:cNvGrpSpPr/>
          <p:nvPr/>
        </p:nvGrpSpPr>
        <p:grpSpPr>
          <a:xfrm>
            <a:off x="3813175" y="4264543"/>
            <a:ext cx="2373017" cy="927946"/>
            <a:chOff x="3779838" y="4018520"/>
            <a:chExt cx="2373017" cy="927946"/>
          </a:xfrm>
        </p:grpSpPr>
        <p:sp>
          <p:nvSpPr>
            <p:cNvPr id="1682" name="Rectangle 1681">
              <a:extLst>
                <a:ext uri="{FF2B5EF4-FFF2-40B4-BE49-F238E27FC236}">
                  <a16:creationId xmlns:a16="http://schemas.microsoft.com/office/drawing/2014/main" id="{816528EC-BD07-EAE4-E6F2-4C77C347A38C}"/>
                </a:ext>
              </a:extLst>
            </p:cNvPr>
            <p:cNvSpPr/>
            <p:nvPr/>
          </p:nvSpPr>
          <p:spPr bwMode="gray">
            <a:xfrm>
              <a:off x="3779838" y="4018520"/>
              <a:ext cx="2373017" cy="92794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75DD429A-354F-28BD-5885-C86126B822CD}"/>
                </a:ext>
              </a:extLst>
            </p:cNvPr>
            <p:cNvSpPr txBox="1"/>
            <p:nvPr/>
          </p:nvSpPr>
          <p:spPr bwMode="gray">
            <a:xfrm>
              <a:off x="3849952" y="4154737"/>
              <a:ext cx="2236523" cy="646331"/>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600"/>
                </a:spcBef>
                <a:spcAft>
                  <a:spcPct val="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The lowest nuclear power production in 30 years</a:t>
              </a:r>
            </a:p>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26 out of 56 reactors </a:t>
              </a:r>
              <a:r>
                <a:rPr kumimoji="0" lang="en-US" sz="1050" b="0" i="0" u="none" strike="noStrike" kern="1200" cap="none" spc="0" normalizeH="0" baseline="0" noProof="0">
                  <a:ln>
                    <a:noFill/>
                  </a:ln>
                  <a:solidFill>
                    <a:srgbClr val="000000"/>
                  </a:solidFill>
                  <a:effectLst/>
                  <a:uLnTx/>
                  <a:uFillTx/>
                  <a:latin typeface="Arial"/>
                  <a:ea typeface="+mn-ea"/>
                  <a:cs typeface="+mn-cs"/>
                </a:rPr>
                <a:t>went offline for maintenance</a:t>
              </a:r>
            </a:p>
          </p:txBody>
        </p:sp>
      </p:grpSp>
      <p:sp>
        <p:nvSpPr>
          <p:cNvPr id="5" name="Rectangle 4">
            <a:extLst>
              <a:ext uri="{FF2B5EF4-FFF2-40B4-BE49-F238E27FC236}">
                <a16:creationId xmlns:a16="http://schemas.microsoft.com/office/drawing/2014/main" id="{E2DF52CE-C26E-84A6-CA82-7F69BCB7D269}"/>
              </a:ext>
            </a:extLst>
          </p:cNvPr>
          <p:cNvSpPr/>
          <p:nvPr/>
        </p:nvSpPr>
        <p:spPr bwMode="gray">
          <a:xfrm>
            <a:off x="0" y="0"/>
            <a:ext cx="2926080" cy="382208"/>
          </a:xfrm>
          <a:prstGeom prst="rect">
            <a:avLst/>
          </a:prstGeom>
          <a:solidFill>
            <a:srgbClr val="4C6C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Case Study: France</a:t>
            </a:r>
          </a:p>
        </p:txBody>
      </p:sp>
    </p:spTree>
    <p:custDataLst>
      <p:tags r:id="rId1"/>
    </p:custDataLst>
    <p:extLst>
      <p:ext uri="{BB962C8B-B14F-4D97-AF65-F5344CB8AC3E}">
        <p14:creationId xmlns:p14="http://schemas.microsoft.com/office/powerpoint/2010/main" val="19094763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46C804-C57D-0977-25EF-CB9B31B5A9E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057F1C8-6576-6EEC-9B2F-D71E4ED9088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92" imgH="591" progId="TCLayout.ActiveDocument.1">
                  <p:embed/>
                </p:oleObj>
              </mc:Choice>
              <mc:Fallback>
                <p:oleObj name="think-cell Slide" r:id="rId34" imgW="592" imgH="591" progId="TCLayout.ActiveDocument.1">
                  <p:embed/>
                  <p:pic>
                    <p:nvPicPr>
                      <p:cNvPr id="7" name="think-cell data - do not delete" hidden="1">
                        <a:extLst>
                          <a:ext uri="{FF2B5EF4-FFF2-40B4-BE49-F238E27FC236}">
                            <a16:creationId xmlns:a16="http://schemas.microsoft.com/office/drawing/2014/main" id="{8057F1C8-6576-6EEC-9B2F-D71E4ED9088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581CEED-C79F-8764-F59B-569179FD2648}"/>
              </a:ext>
            </a:extLst>
          </p:cNvPr>
          <p:cNvSpPr>
            <a:spLocks noGrp="1"/>
          </p:cNvSpPr>
          <p:nvPr>
            <p:ph type="title"/>
          </p:nvPr>
        </p:nvSpPr>
        <p:spPr/>
        <p:txBody>
          <a:bodyPr vert="horz">
            <a:noAutofit/>
          </a:bodyPr>
          <a:lstStyle/>
          <a:p>
            <a:r>
              <a:rPr lang="en-US"/>
              <a:t>China is leading the global increase in nuclear capacity and development in new nuclear technologies </a:t>
            </a:r>
          </a:p>
        </p:txBody>
      </p:sp>
      <p:sp>
        <p:nvSpPr>
          <p:cNvPr id="32" name="btfpNotesBox368131">
            <a:hlinkClick r:id="rId36"/>
            <a:extLst>
              <a:ext uri="{FF2B5EF4-FFF2-40B4-BE49-F238E27FC236}">
                <a16:creationId xmlns:a16="http://schemas.microsoft.com/office/drawing/2014/main" id="{7E540961-3AE8-6071-7682-101D66B7880A}"/>
              </a:ext>
            </a:extLst>
          </p:cNvPr>
          <p:cNvSpPr txBox="1"/>
          <p:nvPr>
            <p:custDataLst>
              <p:tags r:id="rId3"/>
            </p:custDataLst>
          </p:nvPr>
        </p:nvSpPr>
        <p:spPr bwMode="gray">
          <a:xfrm>
            <a:off x="330199" y="6309360"/>
            <a:ext cx="9185585" cy="49244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W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7"/>
              </a:rPr>
              <a:t>World Nuclear Performance Report</a:t>
            </a:r>
            <a:r>
              <a:rPr kumimoji="0" lang="en-US" sz="800" b="0" i="0" u="none" strike="noStrike" kern="1200" cap="none" spc="0" normalizeH="0" baseline="0" noProof="0" dirty="0">
                <a:ln>
                  <a:noFill/>
                </a:ln>
                <a:solidFill>
                  <a:srgbClr val="000000"/>
                </a:solidFill>
                <a:effectLst/>
                <a:uLnTx/>
                <a:uFillTx/>
                <a:latin typeface="Arial"/>
                <a:ea typeface="+mn-ea"/>
                <a:cs typeface="+mn-cs"/>
              </a:rPr>
              <a:t> (2024);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8"/>
              </a:rPr>
              <a:t>The Path to a New Era for Nuclear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5); W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9"/>
              </a:rPr>
              <a:t>Nuclear Power in China</a:t>
            </a:r>
            <a:r>
              <a:rPr kumimoji="0" lang="en-US" sz="800" b="0" i="0" u="none" strike="noStrike" kern="1200" cap="none" spc="0" normalizeH="0" baseline="0" noProof="0" dirty="0">
                <a:ln>
                  <a:noFill/>
                </a:ln>
                <a:solidFill>
                  <a:srgbClr val="000000"/>
                </a:solidFill>
                <a:effectLst/>
                <a:uLnTx/>
                <a:uFillTx/>
                <a:latin typeface="Arial"/>
                <a:ea typeface="+mn-ea"/>
                <a:cs typeface="+mn-cs"/>
              </a:rPr>
              <a:t> (2025); WN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0"/>
              </a:rPr>
              <a:t>Nuclear Growth Revealed in China’s New Five-Year Plan</a:t>
            </a:r>
            <a:r>
              <a:rPr kumimoji="0" lang="en-US" sz="800" b="0" i="0" u="none" strike="noStrike" kern="1200" cap="none" spc="0" normalizeH="0" baseline="0" noProof="0" dirty="0">
                <a:ln>
                  <a:noFill/>
                </a:ln>
                <a:solidFill>
                  <a:srgbClr val="000000"/>
                </a:solidFill>
                <a:effectLst/>
                <a:uLnTx/>
                <a:uFillTx/>
                <a:latin typeface="Arial"/>
                <a:ea typeface="+mn-ea"/>
                <a:cs typeface="+mn-cs"/>
              </a:rPr>
              <a:t> (2016); Oxford Institute of Energy Studi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1"/>
              </a:rPr>
              <a:t>Guide to Chinese Climate Policy</a:t>
            </a:r>
            <a:r>
              <a:rPr kumimoji="0" lang="en-US" sz="800" b="0" i="0" u="none" strike="noStrike" kern="1200" cap="none" spc="0" normalizeH="0" baseline="0" noProof="0" dirty="0">
                <a:ln>
                  <a:noFill/>
                </a:ln>
                <a:solidFill>
                  <a:srgbClr val="000000"/>
                </a:solidFill>
                <a:effectLst/>
                <a:uLnTx/>
                <a:uFillTx/>
                <a:latin typeface="Arial"/>
                <a:ea typeface="+mn-ea"/>
                <a:cs typeface="+mn-cs"/>
              </a:rPr>
              <a:t> (2022); </a:t>
            </a:r>
            <a:r>
              <a:rPr kumimoji="0" lang="en-US" sz="800" b="0" i="0" u="none" strike="noStrike" kern="1200" cap="none" spc="0" normalizeH="0" baseline="0" noProof="0" dirty="0" err="1">
                <a:ln>
                  <a:noFill/>
                </a:ln>
                <a:solidFill>
                  <a:srgbClr val="000000"/>
                </a:solidFill>
                <a:effectLst/>
                <a:uLnTx/>
                <a:uFillTx/>
                <a:latin typeface="Arial"/>
                <a:ea typeface="+mn-ea"/>
                <a:cs typeface="+mn-cs"/>
              </a:rPr>
              <a:t>NucNe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2"/>
              </a:rPr>
              <a:t>China/First Hualong One Reactor Begins Commercial Operation at Fuqing</a:t>
            </a:r>
            <a:r>
              <a:rPr kumimoji="0" lang="en-US" sz="800" b="0" i="0" u="none" strike="noStrike" kern="1200" cap="none" spc="0" normalizeH="0" baseline="0" noProof="0" dirty="0">
                <a:ln>
                  <a:noFill/>
                </a:ln>
                <a:solidFill>
                  <a:srgbClr val="000000"/>
                </a:solidFill>
                <a:effectLst/>
                <a:uLnTx/>
                <a:uFillTx/>
                <a:latin typeface="Arial"/>
                <a:ea typeface="+mn-ea"/>
                <a:cs typeface="+mn-cs"/>
              </a:rPr>
              <a:t> (2021).</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inako Arai,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3"/>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4"/>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graphicFrame>
        <p:nvGraphicFramePr>
          <p:cNvPr id="745" name="Chart 744">
            <a:extLst>
              <a:ext uri="{FF2B5EF4-FFF2-40B4-BE49-F238E27FC236}">
                <a16:creationId xmlns:a16="http://schemas.microsoft.com/office/drawing/2014/main" id="{9008E05D-52B9-F3A2-1E41-1858603A3EDD}"/>
              </a:ext>
            </a:extLst>
          </p:cNvPr>
          <p:cNvGraphicFramePr/>
          <p:nvPr>
            <p:custDataLst>
              <p:tags r:id="rId4"/>
            </p:custDataLst>
          </p:nvPr>
        </p:nvGraphicFramePr>
        <p:xfrm>
          <a:off x="804863" y="1754188"/>
          <a:ext cx="5367337" cy="2105025"/>
        </p:xfrm>
        <a:graphic>
          <a:graphicData uri="http://schemas.openxmlformats.org/drawingml/2006/chart">
            <c:chart xmlns:c="http://schemas.openxmlformats.org/drawingml/2006/chart" xmlns:r="http://schemas.openxmlformats.org/officeDocument/2006/relationships" r:id="rId45"/>
          </a:graphicData>
        </a:graphic>
      </p:graphicFrame>
      <p:sp>
        <p:nvSpPr>
          <p:cNvPr id="48" name="Text Placeholder 10">
            <a:extLst>
              <a:ext uri="{FF2B5EF4-FFF2-40B4-BE49-F238E27FC236}">
                <a16:creationId xmlns:a16="http://schemas.microsoft.com/office/drawing/2014/main" id="{EAEC70FE-436D-2278-4B1D-AFD4D567B585}"/>
              </a:ext>
            </a:extLst>
          </p:cNvPr>
          <p:cNvSpPr txBox="1">
            <a:spLocks/>
          </p:cNvSpPr>
          <p:nvPr>
            <p:custDataLst>
              <p:tags r:id="rId5"/>
            </p:custDataLst>
          </p:nvPr>
        </p:nvSpPr>
        <p:spPr bwMode="gray">
          <a:xfrm>
            <a:off x="661988" y="34226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98D596A-B867-46BA-9074-220846F0207F}"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1" name="Text Placeholder 10">
            <a:extLst>
              <a:ext uri="{FF2B5EF4-FFF2-40B4-BE49-F238E27FC236}">
                <a16:creationId xmlns:a16="http://schemas.microsoft.com/office/drawing/2014/main" id="{5AF92968-AC64-A8D7-F17E-83DD5F6B6675}"/>
              </a:ext>
            </a:extLst>
          </p:cNvPr>
          <p:cNvSpPr txBox="1">
            <a:spLocks/>
          </p:cNvSpPr>
          <p:nvPr>
            <p:custDataLst>
              <p:tags r:id="rId6"/>
            </p:custDataLst>
          </p:nvPr>
        </p:nvSpPr>
        <p:spPr bwMode="gray">
          <a:xfrm>
            <a:off x="661988" y="3146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FBC0EC0-8ED1-4A68-BEFD-0610899C93B2}"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41" name="Text Placeholder 10">
            <a:extLst>
              <a:ext uri="{FF2B5EF4-FFF2-40B4-BE49-F238E27FC236}">
                <a16:creationId xmlns:a16="http://schemas.microsoft.com/office/drawing/2014/main" id="{87C2CED5-8CCF-3F24-32FD-B079B7FECDAF}"/>
              </a:ext>
            </a:extLst>
          </p:cNvPr>
          <p:cNvSpPr txBox="1">
            <a:spLocks/>
          </p:cNvSpPr>
          <p:nvPr>
            <p:custDataLst>
              <p:tags r:id="rId7"/>
            </p:custDataLst>
          </p:nvPr>
        </p:nvSpPr>
        <p:spPr bwMode="gray">
          <a:xfrm>
            <a:off x="661988" y="1760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52E91B9-8443-42D8-A792-13D894520110}" type="datetime'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37" name="Text Placeholder 10">
            <a:extLst>
              <a:ext uri="{FF2B5EF4-FFF2-40B4-BE49-F238E27FC236}">
                <a16:creationId xmlns:a16="http://schemas.microsoft.com/office/drawing/2014/main" id="{7165276C-D282-423A-27C6-C390C06B29AC}"/>
              </a:ext>
            </a:extLst>
          </p:cNvPr>
          <p:cNvSpPr txBox="1">
            <a:spLocks/>
          </p:cNvSpPr>
          <p:nvPr>
            <p:custDataLst>
              <p:tags r:id="rId8"/>
            </p:custDataLst>
          </p:nvPr>
        </p:nvSpPr>
        <p:spPr bwMode="gray">
          <a:xfrm>
            <a:off x="661988" y="2038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716367A-1522-4298-916D-132BC65704D2}"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36" name="Text Placeholder 10">
            <a:extLst>
              <a:ext uri="{FF2B5EF4-FFF2-40B4-BE49-F238E27FC236}">
                <a16:creationId xmlns:a16="http://schemas.microsoft.com/office/drawing/2014/main" id="{D9BF1030-E3D1-D132-D230-6C505BA6A5B1}"/>
              </a:ext>
            </a:extLst>
          </p:cNvPr>
          <p:cNvSpPr txBox="1">
            <a:spLocks/>
          </p:cNvSpPr>
          <p:nvPr>
            <p:custDataLst>
              <p:tags r:id="rId9"/>
            </p:custDataLst>
          </p:nvPr>
        </p:nvSpPr>
        <p:spPr bwMode="gray">
          <a:xfrm>
            <a:off x="661988" y="23145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61837D8-F0B2-4DA1-A0EF-A9B32D3E0482}" type="datetime'''''''''''''''''''''''''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35" name="Text Placeholder 10">
            <a:extLst>
              <a:ext uri="{FF2B5EF4-FFF2-40B4-BE49-F238E27FC236}">
                <a16:creationId xmlns:a16="http://schemas.microsoft.com/office/drawing/2014/main" id="{9C8B2512-B364-8620-D7E5-C678DFC1DEEB}"/>
              </a:ext>
            </a:extLst>
          </p:cNvPr>
          <p:cNvSpPr txBox="1">
            <a:spLocks/>
          </p:cNvSpPr>
          <p:nvPr>
            <p:custDataLst>
              <p:tags r:id="rId10"/>
            </p:custDataLst>
          </p:nvPr>
        </p:nvSpPr>
        <p:spPr bwMode="gray">
          <a:xfrm>
            <a:off x="661988" y="2592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6A66E16-0898-4F45-8139-E232A9B615AB}"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 Placeholder 10">
            <a:extLst>
              <a:ext uri="{FF2B5EF4-FFF2-40B4-BE49-F238E27FC236}">
                <a16:creationId xmlns:a16="http://schemas.microsoft.com/office/drawing/2014/main" id="{A9A1B615-2D96-2632-8D5A-7858F28C7ECD}"/>
              </a:ext>
            </a:extLst>
          </p:cNvPr>
          <p:cNvSpPr txBox="1">
            <a:spLocks/>
          </p:cNvSpPr>
          <p:nvPr>
            <p:custDataLst>
              <p:tags r:id="rId11"/>
            </p:custDataLst>
          </p:nvPr>
        </p:nvSpPr>
        <p:spPr bwMode="gray">
          <a:xfrm>
            <a:off x="731838" y="37004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F743781-15E0-47B6-A76D-1DF9BEAC18AA}"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34" name="Text Placeholder 10">
            <a:extLst>
              <a:ext uri="{FF2B5EF4-FFF2-40B4-BE49-F238E27FC236}">
                <a16:creationId xmlns:a16="http://schemas.microsoft.com/office/drawing/2014/main" id="{12F2F37B-FE7A-62C1-C970-CEB9667C7303}"/>
              </a:ext>
            </a:extLst>
          </p:cNvPr>
          <p:cNvSpPr txBox="1">
            <a:spLocks/>
          </p:cNvSpPr>
          <p:nvPr>
            <p:custDataLst>
              <p:tags r:id="rId12"/>
            </p:custDataLst>
          </p:nvPr>
        </p:nvSpPr>
        <p:spPr bwMode="gray">
          <a:xfrm>
            <a:off x="661988" y="28686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1A0F98E-F616-4A85-80BF-90DD876CDF7E}"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39" name="Text Placeholder 10">
            <a:extLst>
              <a:ext uri="{FF2B5EF4-FFF2-40B4-BE49-F238E27FC236}">
                <a16:creationId xmlns:a16="http://schemas.microsoft.com/office/drawing/2014/main" id="{2AD0BB91-2849-538D-7DDD-B2B9CF8ADB45}"/>
              </a:ext>
            </a:extLst>
          </p:cNvPr>
          <p:cNvSpPr>
            <a:spLocks noGrp="1"/>
          </p:cNvSpPr>
          <p:nvPr>
            <p:custDataLst>
              <p:tags r:id="rId13"/>
            </p:custDataLst>
          </p:nvPr>
        </p:nvSpPr>
        <p:spPr bwMode="auto">
          <a:xfrm>
            <a:off x="3508375" y="38195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89D123E-82BB-4B04-8A7C-6E34E9A7BD6B}"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38" name="Text Placeholder 10">
            <a:extLst>
              <a:ext uri="{FF2B5EF4-FFF2-40B4-BE49-F238E27FC236}">
                <a16:creationId xmlns:a16="http://schemas.microsoft.com/office/drawing/2014/main" id="{4DA27F49-375F-EB90-D52A-0D8656EBC488}"/>
              </a:ext>
            </a:extLst>
          </p:cNvPr>
          <p:cNvSpPr>
            <a:spLocks noGrp="1"/>
          </p:cNvSpPr>
          <p:nvPr>
            <p:custDataLst>
              <p:tags r:id="rId14"/>
            </p:custDataLst>
          </p:nvPr>
        </p:nvSpPr>
        <p:spPr bwMode="auto">
          <a:xfrm>
            <a:off x="1830388" y="38195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EDFCD7C-D628-43CE-A891-B0E030FF49D3}"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 name="Text Placeholder 10">
            <a:extLst>
              <a:ext uri="{FF2B5EF4-FFF2-40B4-BE49-F238E27FC236}">
                <a16:creationId xmlns:a16="http://schemas.microsoft.com/office/drawing/2014/main" id="{9ED2B643-D178-B1A3-7320-0782C4EF9D6E}"/>
              </a:ext>
            </a:extLst>
          </p:cNvPr>
          <p:cNvSpPr>
            <a:spLocks noGrp="1"/>
          </p:cNvSpPr>
          <p:nvPr>
            <p:custDataLst>
              <p:tags r:id="rId15"/>
            </p:custDataLst>
          </p:nvPr>
        </p:nvSpPr>
        <p:spPr bwMode="auto">
          <a:xfrm>
            <a:off x="823913" y="38195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6782AE8-E182-4021-A4CB-900EAB23A82B}" type="datetime'''''''''199''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94</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61" name="Text Placeholder 10">
            <a:extLst>
              <a:ext uri="{FF2B5EF4-FFF2-40B4-BE49-F238E27FC236}">
                <a16:creationId xmlns:a16="http://schemas.microsoft.com/office/drawing/2014/main" id="{B36BA595-99BF-DB71-4F55-9FB42391E334}"/>
              </a:ext>
            </a:extLst>
          </p:cNvPr>
          <p:cNvSpPr txBox="1">
            <a:spLocks/>
          </p:cNvSpPr>
          <p:nvPr>
            <p:custDataLst>
              <p:tags r:id="rId16"/>
            </p:custDataLst>
          </p:nvPr>
        </p:nvSpPr>
        <p:spPr bwMode="auto">
          <a:xfrm>
            <a:off x="357188" y="2674938"/>
            <a:ext cx="182563" cy="263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GW</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40" name="Text Placeholder 10">
            <a:extLst>
              <a:ext uri="{FF2B5EF4-FFF2-40B4-BE49-F238E27FC236}">
                <a16:creationId xmlns:a16="http://schemas.microsoft.com/office/drawing/2014/main" id="{8FD80CC3-CC6C-E3D0-55F8-6AF8E36A4ABA}"/>
              </a:ext>
            </a:extLst>
          </p:cNvPr>
          <p:cNvSpPr>
            <a:spLocks noGrp="1"/>
          </p:cNvSpPr>
          <p:nvPr>
            <p:custDataLst>
              <p:tags r:id="rId17"/>
            </p:custDataLst>
          </p:nvPr>
        </p:nvSpPr>
        <p:spPr bwMode="auto">
          <a:xfrm>
            <a:off x="5186363" y="38195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0FB9FE8-610C-4062-9D9A-957732E04AB1}"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B44B6C5-E325-66E2-DCDC-7B8FB6FCC967}"/>
              </a:ext>
            </a:extLst>
          </p:cNvPr>
          <p:cNvSpPr/>
          <p:nvPr>
            <p:custDataLst>
              <p:tags r:id="rId18"/>
            </p:custDataLst>
          </p:nvPr>
        </p:nvSpPr>
        <p:spPr bwMode="auto">
          <a:xfrm>
            <a:off x="1162050" y="2741613"/>
            <a:ext cx="179388" cy="13335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E19B44EC-6A5C-47B0-DDF8-19D0EA68F7B4}"/>
              </a:ext>
            </a:extLst>
          </p:cNvPr>
          <p:cNvSpPr/>
          <p:nvPr>
            <p:custDataLst>
              <p:tags r:id="rId19"/>
            </p:custDataLst>
          </p:nvPr>
        </p:nvSpPr>
        <p:spPr bwMode="auto">
          <a:xfrm>
            <a:off x="1162050" y="2132013"/>
            <a:ext cx="179388" cy="1333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BEE0A597-E648-065F-5364-44F4FC14E507}"/>
              </a:ext>
            </a:extLst>
          </p:cNvPr>
          <p:cNvSpPr/>
          <p:nvPr>
            <p:custDataLst>
              <p:tags r:id="rId20"/>
            </p:custDataLst>
          </p:nvPr>
        </p:nvSpPr>
        <p:spPr bwMode="auto">
          <a:xfrm>
            <a:off x="1816100" y="2335213"/>
            <a:ext cx="179388" cy="133350"/>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58A60D37-1679-2A46-69EC-4111A3AFCB71}"/>
              </a:ext>
            </a:extLst>
          </p:cNvPr>
          <p:cNvSpPr/>
          <p:nvPr>
            <p:custDataLst>
              <p:tags r:id="rId21"/>
            </p:custDataLst>
          </p:nvPr>
        </p:nvSpPr>
        <p:spPr bwMode="auto">
          <a:xfrm>
            <a:off x="1162050" y="2335213"/>
            <a:ext cx="179388" cy="133350"/>
          </a:xfrm>
          <a:prstGeom prst="rect">
            <a:avLst/>
          </a:prstGeom>
          <a:solidFill>
            <a:srgbClr val="364D6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588B3CFF-B077-1BAF-CEA7-959F4D728202}"/>
              </a:ext>
            </a:extLst>
          </p:cNvPr>
          <p:cNvSpPr/>
          <p:nvPr>
            <p:custDataLst>
              <p:tags r:id="rId22"/>
            </p:custDataLst>
          </p:nvPr>
        </p:nvSpPr>
        <p:spPr bwMode="auto">
          <a:xfrm>
            <a:off x="1816100" y="2132013"/>
            <a:ext cx="179388" cy="133350"/>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5F923008-D4FB-5CAF-0E2D-446667ABB71B}"/>
              </a:ext>
            </a:extLst>
          </p:cNvPr>
          <p:cNvSpPr/>
          <p:nvPr>
            <p:custDataLst>
              <p:tags r:id="rId23"/>
            </p:custDataLst>
          </p:nvPr>
        </p:nvSpPr>
        <p:spPr bwMode="auto">
          <a:xfrm>
            <a:off x="1162050" y="2538413"/>
            <a:ext cx="179388" cy="133350"/>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147BB505-836E-8200-D9C4-21CD47C95DEA}"/>
              </a:ext>
            </a:extLst>
          </p:cNvPr>
          <p:cNvSpPr/>
          <p:nvPr>
            <p:custDataLst>
              <p:tags r:id="rId24"/>
            </p:custDataLst>
          </p:nvPr>
        </p:nvSpPr>
        <p:spPr bwMode="auto">
          <a:xfrm>
            <a:off x="1816100" y="2538413"/>
            <a:ext cx="179388" cy="133350"/>
          </a:xfrm>
          <a:prstGeom prst="rect">
            <a:avLst/>
          </a:prstGeom>
          <a:solidFill>
            <a:srgbClr val="DFE5E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0" name="Text Placeholder 10">
            <a:extLst>
              <a:ext uri="{FF2B5EF4-FFF2-40B4-BE49-F238E27FC236}">
                <a16:creationId xmlns:a16="http://schemas.microsoft.com/office/drawing/2014/main" id="{4F6291AE-5617-E30B-7332-E3AFD3620FB5}"/>
              </a:ext>
            </a:extLst>
          </p:cNvPr>
          <p:cNvSpPr txBox="1">
            <a:spLocks/>
          </p:cNvSpPr>
          <p:nvPr>
            <p:custDataLst>
              <p:tags r:id="rId25"/>
            </p:custDataLst>
          </p:nvPr>
        </p:nvSpPr>
        <p:spPr bwMode="auto">
          <a:xfrm>
            <a:off x="1392238" y="2736850"/>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84A44F7-567C-4894-8B05-230402C294F0}" type="datetime'''2''''''''4-''''''''''''''''''''''''3''''''''''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4-31</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1" name="Text Placeholder 10">
            <a:extLst>
              <a:ext uri="{FF2B5EF4-FFF2-40B4-BE49-F238E27FC236}">
                <a16:creationId xmlns:a16="http://schemas.microsoft.com/office/drawing/2014/main" id="{3CB9137C-890B-C90D-1920-8A7C62C53516}"/>
              </a:ext>
            </a:extLst>
          </p:cNvPr>
          <p:cNvSpPr txBox="1">
            <a:spLocks/>
          </p:cNvSpPr>
          <p:nvPr>
            <p:custDataLst>
              <p:tags r:id="rId26"/>
            </p:custDataLst>
          </p:nvPr>
        </p:nvSpPr>
        <p:spPr bwMode="auto">
          <a:xfrm>
            <a:off x="2046288" y="2127250"/>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B961F98-D47A-494A-BB62-3435C7E9AA28}" type="datetime'1''''''''''''6''''''''''''''''''''-''2''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23</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3" name="Text Placeholder 10">
            <a:extLst>
              <a:ext uri="{FF2B5EF4-FFF2-40B4-BE49-F238E27FC236}">
                <a16:creationId xmlns:a16="http://schemas.microsoft.com/office/drawing/2014/main" id="{B45D3C3C-CE0F-E2E0-C5C9-1642B5802EBF}"/>
              </a:ext>
            </a:extLst>
          </p:cNvPr>
          <p:cNvSpPr txBox="1">
            <a:spLocks/>
          </p:cNvSpPr>
          <p:nvPr>
            <p:custDataLst>
              <p:tags r:id="rId27"/>
            </p:custDataLst>
          </p:nvPr>
        </p:nvSpPr>
        <p:spPr bwMode="auto">
          <a:xfrm>
            <a:off x="1392238" y="2533650"/>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B3C7874-A66A-4E70-A937-5509CCB91729}" type="datetime'''''''3''''''2''''''''-3''9'''''''">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2-39</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4" name="Text Placeholder 10">
            <a:extLst>
              <a:ext uri="{FF2B5EF4-FFF2-40B4-BE49-F238E27FC236}">
                <a16:creationId xmlns:a16="http://schemas.microsoft.com/office/drawing/2014/main" id="{512F9402-102D-ADAB-CB74-742D671DFB00}"/>
              </a:ext>
            </a:extLst>
          </p:cNvPr>
          <p:cNvSpPr txBox="1">
            <a:spLocks/>
          </p:cNvSpPr>
          <p:nvPr>
            <p:custDataLst>
              <p:tags r:id="rId28"/>
            </p:custDataLst>
          </p:nvPr>
        </p:nvSpPr>
        <p:spPr bwMode="auto">
          <a:xfrm>
            <a:off x="2046288" y="2330450"/>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B843056-2CE9-46FE-BDF5-51E10BEA6D5B}" type="datetime'8''''''''''''''-''''''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5" name="Text Placeholder 10">
            <a:extLst>
              <a:ext uri="{FF2B5EF4-FFF2-40B4-BE49-F238E27FC236}">
                <a16:creationId xmlns:a16="http://schemas.microsoft.com/office/drawing/2014/main" id="{7AA1B2D4-9992-CF57-966F-93A39565A34A}"/>
              </a:ext>
            </a:extLst>
          </p:cNvPr>
          <p:cNvSpPr txBox="1">
            <a:spLocks/>
          </p:cNvSpPr>
          <p:nvPr>
            <p:custDataLst>
              <p:tags r:id="rId29"/>
            </p:custDataLst>
          </p:nvPr>
        </p:nvSpPr>
        <p:spPr bwMode="auto">
          <a:xfrm>
            <a:off x="1392238" y="2330450"/>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EB23DB1-AF88-4334-B2FF-FD9D9A1D1C33}" type="datetime'4''''''''''0''''''''''''''''-''''''''4''''''7'''''''''''''''">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47</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6" name="Text Placeholder 10">
            <a:extLst>
              <a:ext uri="{FF2B5EF4-FFF2-40B4-BE49-F238E27FC236}">
                <a16:creationId xmlns:a16="http://schemas.microsoft.com/office/drawing/2014/main" id="{0494C594-6244-1302-C0CC-1A3714CB743D}"/>
              </a:ext>
            </a:extLst>
          </p:cNvPr>
          <p:cNvSpPr txBox="1">
            <a:spLocks/>
          </p:cNvSpPr>
          <p:nvPr>
            <p:custDataLst>
              <p:tags r:id="rId30"/>
            </p:custDataLst>
          </p:nvPr>
        </p:nvSpPr>
        <p:spPr bwMode="auto">
          <a:xfrm>
            <a:off x="2046288" y="2533650"/>
            <a:ext cx="144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DDF39CF-3217-4C88-8003-27DFEB6B7AD4}" type="datetime'&lt;''''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t;8</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7" name="Text Placeholder 10">
            <a:extLst>
              <a:ext uri="{FF2B5EF4-FFF2-40B4-BE49-F238E27FC236}">
                <a16:creationId xmlns:a16="http://schemas.microsoft.com/office/drawing/2014/main" id="{228123D1-281E-067E-26CB-CA1FE028E2BE}"/>
              </a:ext>
            </a:extLst>
          </p:cNvPr>
          <p:cNvSpPr txBox="1">
            <a:spLocks/>
          </p:cNvSpPr>
          <p:nvPr>
            <p:custDataLst>
              <p:tags r:id="rId31"/>
            </p:custDataLst>
          </p:nvPr>
        </p:nvSpPr>
        <p:spPr bwMode="auto">
          <a:xfrm>
            <a:off x="1392238" y="2127250"/>
            <a:ext cx="2143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B16353B-4181-4C7F-91A2-983637EE4D72}" type="datetime'''''''4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8+</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 name="TextBox 2">
            <a:extLst>
              <a:ext uri="{FF2B5EF4-FFF2-40B4-BE49-F238E27FC236}">
                <a16:creationId xmlns:a16="http://schemas.microsoft.com/office/drawing/2014/main" id="{243DB405-C2F7-3A4D-3FA4-6FC5795734F3}"/>
              </a:ext>
            </a:extLst>
          </p:cNvPr>
          <p:cNvSpPr txBox="1"/>
          <p:nvPr/>
        </p:nvSpPr>
        <p:spPr bwMode="gray">
          <a:xfrm>
            <a:off x="1162050" y="1915061"/>
            <a:ext cx="480901" cy="246221"/>
          </a:xfrm>
          <a:prstGeom prst="rect">
            <a:avLst/>
          </a:prstGeom>
          <a:noFill/>
        </p:spPr>
        <p:txBody>
          <a:bodyPr wrap="none" lIns="0" tIns="0" rIns="0" bIns="9144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Lifespan</a:t>
            </a:r>
          </a:p>
        </p:txBody>
      </p:sp>
      <p:grpSp>
        <p:nvGrpSpPr>
          <p:cNvPr id="57" name="Group 56">
            <a:extLst>
              <a:ext uri="{FF2B5EF4-FFF2-40B4-BE49-F238E27FC236}">
                <a16:creationId xmlns:a16="http://schemas.microsoft.com/office/drawing/2014/main" id="{94CB47BD-6304-A45F-613C-68E4CCFE6AC6}"/>
              </a:ext>
            </a:extLst>
          </p:cNvPr>
          <p:cNvGrpSpPr>
            <a:grpSpLocks/>
          </p:cNvGrpSpPr>
          <p:nvPr/>
        </p:nvGrpSpPr>
        <p:grpSpPr>
          <a:xfrm>
            <a:off x="1116014" y="3989882"/>
            <a:ext cx="10599434" cy="2360585"/>
            <a:chOff x="1116014" y="3928245"/>
            <a:chExt cx="10599434" cy="2232052"/>
          </a:xfrm>
        </p:grpSpPr>
        <p:sp>
          <p:nvSpPr>
            <p:cNvPr id="21" name="Rectangle 20">
              <a:extLst>
                <a:ext uri="{FF2B5EF4-FFF2-40B4-BE49-F238E27FC236}">
                  <a16:creationId xmlns:a16="http://schemas.microsoft.com/office/drawing/2014/main" id="{CFD79666-4579-44EE-310B-FA6EB58BB4A3}"/>
                </a:ext>
              </a:extLst>
            </p:cNvPr>
            <p:cNvSpPr>
              <a:spLocks/>
            </p:cNvSpPr>
            <p:nvPr/>
          </p:nvSpPr>
          <p:spPr bwMode="gray">
            <a:xfrm>
              <a:off x="1116014" y="3928245"/>
              <a:ext cx="10599434" cy="419878"/>
            </a:xfrm>
            <a:prstGeom prst="rect">
              <a:avLst/>
            </a:prstGeom>
            <a:solidFill>
              <a:srgbClr val="C30C3C"/>
            </a:solidFill>
            <a:ln w="9525">
              <a:solidFill>
                <a:srgbClr val="C30C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A4DA5F95-0076-5ABC-253E-84FD334D5735}"/>
                </a:ext>
              </a:extLst>
            </p:cNvPr>
            <p:cNvSpPr>
              <a:spLocks/>
            </p:cNvSpPr>
            <p:nvPr/>
          </p:nvSpPr>
          <p:spPr bwMode="gray">
            <a:xfrm>
              <a:off x="1116014" y="4344254"/>
              <a:ext cx="10599434" cy="1816043"/>
            </a:xfrm>
            <a:prstGeom prst="rect">
              <a:avLst/>
            </a:prstGeom>
            <a:solidFill>
              <a:srgbClr val="C30C3C">
                <a:alpha val="29804"/>
              </a:srgbClr>
            </a:solidFill>
            <a:ln w="9525">
              <a:solidFill>
                <a:srgbClr val="C30C3C">
                  <a:alpha val="29804"/>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8" name="TextBox 37">
              <a:extLst>
                <a:ext uri="{FF2B5EF4-FFF2-40B4-BE49-F238E27FC236}">
                  <a16:creationId xmlns:a16="http://schemas.microsoft.com/office/drawing/2014/main" id="{A54FD856-010B-ABDC-F5BD-3A4DD71969E0}"/>
                </a:ext>
              </a:extLst>
            </p:cNvPr>
            <p:cNvSpPr txBox="1">
              <a:spLocks/>
            </p:cNvSpPr>
            <p:nvPr/>
          </p:nvSpPr>
          <p:spPr bwMode="gray">
            <a:xfrm>
              <a:off x="1915105" y="3985137"/>
              <a:ext cx="2015596" cy="323165"/>
            </a:xfrm>
            <a:prstGeom prst="rect">
              <a:avLst/>
            </a:prstGeom>
            <a:noFill/>
          </p:spPr>
          <p:txBody>
            <a:bodyPr wrap="square" lIns="0" tIns="0" rIns="0" bIns="0" rtlCol="0">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2011-2015</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12</a:t>
              </a:r>
              <a:r>
                <a:rPr kumimoji="0" lang="en-US" sz="1050" b="1" i="0" u="none" strike="noStrike" kern="1200" cap="none" spc="0" normalizeH="0" baseline="30000" noProof="0">
                  <a:ln>
                    <a:noFill/>
                  </a:ln>
                  <a:solidFill>
                    <a:srgbClr val="FFFFFF"/>
                  </a:solidFill>
                  <a:effectLst/>
                  <a:uLnTx/>
                  <a:uFillTx/>
                  <a:latin typeface="Arial"/>
                  <a:ea typeface="+mn-ea"/>
                  <a:cs typeface="+mn-cs"/>
                </a:rPr>
                <a:t>th</a:t>
              </a:r>
              <a:r>
                <a:rPr kumimoji="0" lang="en-US" sz="1050" b="1" i="0" u="none" strike="noStrike" kern="1200" cap="none" spc="0" normalizeH="0" baseline="0" noProof="0">
                  <a:ln>
                    <a:noFill/>
                  </a:ln>
                  <a:solidFill>
                    <a:srgbClr val="FFFFFF"/>
                  </a:solidFill>
                  <a:effectLst/>
                  <a:uLnTx/>
                  <a:uFillTx/>
                  <a:latin typeface="Arial"/>
                  <a:ea typeface="+mn-ea"/>
                  <a:cs typeface="+mn-cs"/>
                </a:rPr>
                <a:t> Five-Year Plan)</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39" name="TextBox 38">
              <a:extLst>
                <a:ext uri="{FF2B5EF4-FFF2-40B4-BE49-F238E27FC236}">
                  <a16:creationId xmlns:a16="http://schemas.microsoft.com/office/drawing/2014/main" id="{9F5C93D4-42F1-E4E2-607B-B35823566CC1}"/>
                </a:ext>
              </a:extLst>
            </p:cNvPr>
            <p:cNvSpPr txBox="1">
              <a:spLocks/>
            </p:cNvSpPr>
            <p:nvPr/>
          </p:nvSpPr>
          <p:spPr bwMode="gray">
            <a:xfrm>
              <a:off x="5523706" y="3971170"/>
              <a:ext cx="2015596" cy="323165"/>
            </a:xfrm>
            <a:prstGeom prst="rect">
              <a:avLst/>
            </a:prstGeom>
            <a:noFill/>
          </p:spPr>
          <p:txBody>
            <a:bodyPr wrap="square" lIns="0" tIns="0" rIns="0" bIns="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2016-2020 </a:t>
              </a:r>
              <a:br>
                <a:rPr kumimoji="0" lang="en-US" sz="1050" b="1" i="0" u="none" strike="noStrike" kern="1200" cap="none" spc="0" normalizeH="0" baseline="0" noProof="0">
                  <a:ln>
                    <a:noFill/>
                  </a:ln>
                  <a:solidFill>
                    <a:srgbClr val="FFFFFF"/>
                  </a:solidFill>
                  <a:effectLst/>
                  <a:uLnTx/>
                  <a:uFillTx/>
                  <a:latin typeface="Arial"/>
                  <a:ea typeface="+mn-ea"/>
                  <a:cs typeface="+mn-cs"/>
                </a:rPr>
              </a:br>
              <a:r>
                <a:rPr kumimoji="0" lang="en-US" sz="1050" b="1" i="0" u="none" strike="noStrike" kern="1200" cap="none" spc="0" normalizeH="0" baseline="0" noProof="0">
                  <a:ln>
                    <a:noFill/>
                  </a:ln>
                  <a:solidFill>
                    <a:srgbClr val="FFFFFF"/>
                  </a:solidFill>
                  <a:effectLst/>
                  <a:uLnTx/>
                  <a:uFillTx/>
                  <a:latin typeface="Arial"/>
                  <a:ea typeface="+mn-ea"/>
                  <a:cs typeface="+mn-cs"/>
                </a:rPr>
                <a:t>(13</a:t>
              </a:r>
              <a:r>
                <a:rPr kumimoji="0" lang="en-US" sz="1050" b="1" i="0" u="none" strike="noStrike" kern="1200" cap="none" spc="0" normalizeH="0" baseline="30000" noProof="0">
                  <a:ln>
                    <a:noFill/>
                  </a:ln>
                  <a:solidFill>
                    <a:srgbClr val="FFFFFF"/>
                  </a:solidFill>
                  <a:effectLst/>
                  <a:uLnTx/>
                  <a:uFillTx/>
                  <a:latin typeface="Arial"/>
                  <a:ea typeface="+mn-ea"/>
                  <a:cs typeface="+mn-cs"/>
                </a:rPr>
                <a:t>th</a:t>
              </a:r>
              <a:r>
                <a:rPr kumimoji="0" lang="en-US" sz="1050" b="1" i="0" u="none" strike="noStrike" kern="1200" cap="none" spc="0" normalizeH="0" baseline="0" noProof="0">
                  <a:ln>
                    <a:noFill/>
                  </a:ln>
                  <a:solidFill>
                    <a:srgbClr val="FFFFFF"/>
                  </a:solidFill>
                  <a:effectLst/>
                  <a:uLnTx/>
                  <a:uFillTx/>
                  <a:latin typeface="Arial"/>
                  <a:ea typeface="+mn-ea"/>
                  <a:cs typeface="+mn-cs"/>
                </a:rPr>
                <a:t> Five-Year Plan)</a:t>
              </a:r>
              <a:endParaRPr kumimoji="0" lang="en-US"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C7ED8062-15E0-6201-7D95-E511249A5C1B}"/>
                </a:ext>
              </a:extLst>
            </p:cNvPr>
            <p:cNvSpPr txBox="1">
              <a:spLocks/>
            </p:cNvSpPr>
            <p:nvPr/>
          </p:nvSpPr>
          <p:spPr bwMode="gray">
            <a:xfrm>
              <a:off x="8980033" y="3971170"/>
              <a:ext cx="2015596" cy="323165"/>
            </a:xfrm>
            <a:prstGeom prst="rect">
              <a:avLst/>
            </a:prstGeom>
            <a:noFill/>
          </p:spPr>
          <p:txBody>
            <a:bodyPr wrap="square" lIns="0" tIns="0" rIns="0" bIns="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2021-2025</a:t>
              </a:r>
              <a:br>
                <a:rPr kumimoji="0" lang="en-US" sz="1050" b="1" i="0" u="none" strike="noStrike" kern="1200" cap="none" spc="0" normalizeH="0" baseline="0" noProof="0">
                  <a:ln>
                    <a:noFill/>
                  </a:ln>
                  <a:solidFill>
                    <a:srgbClr val="FFFFFF"/>
                  </a:solidFill>
                  <a:effectLst/>
                  <a:uLnTx/>
                  <a:uFillTx/>
                  <a:latin typeface="Arial"/>
                  <a:ea typeface="+mn-ea"/>
                  <a:cs typeface="+mn-cs"/>
                </a:rPr>
              </a:br>
              <a:r>
                <a:rPr kumimoji="0" lang="en-US" sz="1050" b="1" i="0" u="none" strike="noStrike" kern="1200" cap="none" spc="0" normalizeH="0" baseline="0" noProof="0">
                  <a:ln>
                    <a:noFill/>
                  </a:ln>
                  <a:solidFill>
                    <a:srgbClr val="FFFFFF"/>
                  </a:solidFill>
                  <a:effectLst/>
                  <a:uLnTx/>
                  <a:uFillTx/>
                  <a:latin typeface="Arial"/>
                  <a:ea typeface="+mn-ea"/>
                  <a:cs typeface="+mn-cs"/>
                </a:rPr>
                <a:t>(14</a:t>
              </a:r>
              <a:r>
                <a:rPr kumimoji="0" lang="en-US" sz="1050" b="1" i="0" u="none" strike="noStrike" kern="1200" cap="none" spc="0" normalizeH="0" baseline="30000" noProof="0">
                  <a:ln>
                    <a:noFill/>
                  </a:ln>
                  <a:solidFill>
                    <a:srgbClr val="FFFFFF"/>
                  </a:solidFill>
                  <a:effectLst/>
                  <a:uLnTx/>
                  <a:uFillTx/>
                  <a:latin typeface="Arial"/>
                  <a:ea typeface="+mn-ea"/>
                  <a:cs typeface="+mn-cs"/>
                </a:rPr>
                <a:t>th</a:t>
              </a:r>
              <a:r>
                <a:rPr kumimoji="0" lang="en-US" sz="1050" b="1" i="0" u="none" strike="noStrike" kern="1200" cap="none" spc="0" normalizeH="0" baseline="0" noProof="0">
                  <a:ln>
                    <a:noFill/>
                  </a:ln>
                  <a:solidFill>
                    <a:srgbClr val="FFFFFF"/>
                  </a:solidFill>
                  <a:effectLst/>
                  <a:uLnTx/>
                  <a:uFillTx/>
                  <a:latin typeface="Arial"/>
                  <a:ea typeface="+mn-ea"/>
                  <a:cs typeface="+mn-cs"/>
                </a:rPr>
                <a:t> Five-Year Plan)</a:t>
              </a:r>
              <a:endParaRPr kumimoji="0" lang="en-US" sz="1050" b="1" i="0" u="none" strike="noStrike" kern="1200" cap="none" spc="0" normalizeH="0" baseline="0" noProof="0">
                <a:ln>
                  <a:noFill/>
                </a:ln>
                <a:solidFill>
                  <a:srgbClr val="FFFFFF"/>
                </a:solidFill>
                <a:effectLst/>
                <a:uLnTx/>
                <a:uFillTx/>
                <a:latin typeface="Arial"/>
                <a:ea typeface="+mn-ea"/>
                <a:cs typeface="Arial"/>
              </a:endParaRPr>
            </a:p>
          </p:txBody>
        </p:sp>
      </p:grpSp>
      <p:sp>
        <p:nvSpPr>
          <p:cNvPr id="44" name="TextBox 43">
            <a:extLst>
              <a:ext uri="{FF2B5EF4-FFF2-40B4-BE49-F238E27FC236}">
                <a16:creationId xmlns:a16="http://schemas.microsoft.com/office/drawing/2014/main" id="{2A98DBAD-5F37-1EB4-AE0F-ED25FCA02837}"/>
              </a:ext>
            </a:extLst>
          </p:cNvPr>
          <p:cNvSpPr txBox="1"/>
          <p:nvPr/>
        </p:nvSpPr>
        <p:spPr bwMode="gray">
          <a:xfrm>
            <a:off x="455350" y="4779573"/>
            <a:ext cx="678921" cy="161583"/>
          </a:xfrm>
          <a:prstGeom prst="rect">
            <a:avLst/>
          </a:prstGeom>
          <a:noFill/>
        </p:spPr>
        <p:txBody>
          <a:bodyPr wrap="square" lIns="0" tIns="0" rIns="0" bIns="0" rtlCol="0">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ysClr val="windowText" lastClr="000000"/>
                </a:solidFill>
                <a:effectLst/>
                <a:uLnTx/>
                <a:uFillTx/>
                <a:latin typeface="Arial"/>
                <a:ea typeface="+mn-ea"/>
                <a:cs typeface="+mn-cs"/>
              </a:rPr>
              <a:t>Plan</a:t>
            </a:r>
            <a:endParaRPr kumimoji="0" lang="en-US" sz="1050" b="0" i="0" u="none" strike="noStrike" kern="1200" cap="none" spc="0" normalizeH="0" baseline="0" noProof="0">
              <a:ln>
                <a:noFill/>
              </a:ln>
              <a:solidFill>
                <a:sysClr val="windowText" lastClr="000000"/>
              </a:solidFill>
              <a:effectLst/>
              <a:uLnTx/>
              <a:uFillTx/>
              <a:latin typeface="Arial"/>
              <a:ea typeface="+mn-ea"/>
              <a:cs typeface="+mn-cs"/>
            </a:endParaRPr>
          </a:p>
        </p:txBody>
      </p:sp>
      <p:sp>
        <p:nvSpPr>
          <p:cNvPr id="45" name="TextBox 44">
            <a:extLst>
              <a:ext uri="{FF2B5EF4-FFF2-40B4-BE49-F238E27FC236}">
                <a16:creationId xmlns:a16="http://schemas.microsoft.com/office/drawing/2014/main" id="{8DE4486D-EEFB-66D2-8B38-43DC4D74FC1F}"/>
              </a:ext>
            </a:extLst>
          </p:cNvPr>
          <p:cNvSpPr txBox="1"/>
          <p:nvPr/>
        </p:nvSpPr>
        <p:spPr bwMode="gray">
          <a:xfrm>
            <a:off x="404616" y="5648903"/>
            <a:ext cx="678921" cy="161583"/>
          </a:xfrm>
          <a:prstGeom prst="rect">
            <a:avLst/>
          </a:prstGeom>
          <a:noFill/>
        </p:spPr>
        <p:txBody>
          <a:bodyPr wrap="square" lIns="0" tIns="0" rIns="0" bIns="0" rtlCol="0">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ysClr val="windowText" lastClr="000000"/>
                </a:solidFill>
                <a:effectLst/>
                <a:uLnTx/>
                <a:uFillTx/>
                <a:latin typeface="Arial"/>
                <a:ea typeface="+mn-ea"/>
                <a:cs typeface="+mn-cs"/>
              </a:rPr>
              <a:t>Progress</a:t>
            </a:r>
            <a:endParaRPr kumimoji="0" lang="en-US" sz="1050" b="0" i="0" u="none" strike="noStrike" kern="1200" cap="none" spc="0" normalizeH="0" baseline="0" noProof="0">
              <a:ln>
                <a:noFill/>
              </a:ln>
              <a:solidFill>
                <a:sysClr val="windowText" lastClr="000000"/>
              </a:solidFill>
              <a:effectLst/>
              <a:uLnTx/>
              <a:uFillTx/>
              <a:latin typeface="Arial"/>
              <a:ea typeface="+mn-ea"/>
              <a:cs typeface="+mn-cs"/>
            </a:endParaRPr>
          </a:p>
        </p:txBody>
      </p:sp>
      <p:sp>
        <p:nvSpPr>
          <p:cNvPr id="46" name="TextBox 45">
            <a:extLst>
              <a:ext uri="{FF2B5EF4-FFF2-40B4-BE49-F238E27FC236}">
                <a16:creationId xmlns:a16="http://schemas.microsoft.com/office/drawing/2014/main" id="{8301B179-27EC-0C20-ED78-7B14F7F27D35}"/>
              </a:ext>
            </a:extLst>
          </p:cNvPr>
          <p:cNvSpPr txBox="1"/>
          <p:nvPr/>
        </p:nvSpPr>
        <p:spPr bwMode="gray">
          <a:xfrm>
            <a:off x="1201467" y="4507940"/>
            <a:ext cx="3312371" cy="807913"/>
          </a:xfrm>
          <a:prstGeom prst="rect">
            <a:avLst/>
          </a:prstGeom>
          <a:noFill/>
        </p:spPr>
        <p:txBody>
          <a:bodyPr wrap="square" lIns="0" tIns="0" rIns="0" bIns="0" rtlCol="0">
            <a:spAutoFit/>
          </a:bodyPr>
          <a:lstStyle/>
          <a:p>
            <a:pPr marL="177800" marR="0" lvl="0" indent="-177800" algn="l" defTabSz="711200" rtl="0" eaLnBrk="1" fontAlgn="b" latinLnBrk="0" hangingPunct="1">
              <a:lnSpc>
                <a:spcPct val="100000"/>
              </a:lnSpc>
              <a:spcBef>
                <a:spcPts val="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Begin construction at coastal and inland sites to </a:t>
            </a:r>
            <a:r>
              <a:rPr kumimoji="0" lang="en-US" sz="1050" b="1" i="0" u="none" strike="noStrike" kern="1200" cap="none" spc="0" normalizeH="0" baseline="0" noProof="0">
                <a:ln>
                  <a:noFill/>
                </a:ln>
                <a:solidFill>
                  <a:srgbClr val="000000"/>
                </a:solidFill>
                <a:effectLst/>
                <a:uLnTx/>
                <a:uFillTx/>
                <a:latin typeface="Arial"/>
                <a:ea typeface="+mn-ea"/>
                <a:cs typeface="+mn-cs"/>
              </a:rPr>
              <a:t>add 25 GW </a:t>
            </a:r>
            <a:r>
              <a:rPr kumimoji="0" lang="en-US" sz="1050" b="0" i="0" u="none" strike="noStrike" kern="1200" cap="none" spc="0" normalizeH="0" baseline="0" noProof="0">
                <a:ln>
                  <a:noFill/>
                </a:ln>
                <a:solidFill>
                  <a:srgbClr val="000000"/>
                </a:solidFill>
                <a:effectLst/>
                <a:uLnTx/>
                <a:uFillTx/>
                <a:latin typeface="Arial"/>
                <a:ea typeface="+mn-ea"/>
                <a:cs typeface="+mn-cs"/>
              </a:rPr>
              <a:t>of nuclear capacity by 2015, bringing </a:t>
            </a:r>
            <a:r>
              <a:rPr kumimoji="0" lang="en-US" sz="1050" b="1" i="0" u="none" strike="noStrike" kern="1200" cap="none" spc="0" normalizeH="0" baseline="0" noProof="0">
                <a:ln>
                  <a:noFill/>
                </a:ln>
                <a:solidFill>
                  <a:srgbClr val="000000"/>
                </a:solidFill>
                <a:effectLst/>
                <a:uLnTx/>
                <a:uFillTx/>
                <a:latin typeface="Arial"/>
                <a:ea typeface="+mn-ea"/>
                <a:cs typeface="+mn-cs"/>
              </a:rPr>
              <a:t>total capacity to 40 GW</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b" latinLnBrk="0" hangingPunct="1">
              <a:lnSpc>
                <a:spcPct val="100000"/>
              </a:lnSpc>
              <a:spcBef>
                <a:spcPts val="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Develop </a:t>
            </a:r>
            <a:r>
              <a:rPr kumimoji="0" lang="en-US" sz="1050" b="1" i="0" u="none" strike="noStrike" kern="1200" cap="none" spc="0" normalizeH="0" baseline="0" noProof="0">
                <a:ln>
                  <a:noFill/>
                </a:ln>
                <a:solidFill>
                  <a:srgbClr val="000000"/>
                </a:solidFill>
                <a:effectLst/>
                <a:uLnTx/>
                <a:uFillTx/>
                <a:latin typeface="Arial"/>
                <a:ea typeface="+mn-ea"/>
                <a:cs typeface="+mn-cs"/>
              </a:rPr>
              <a:t>multipurpose water-pressurized SMR, ACP100</a:t>
            </a:r>
            <a:r>
              <a:rPr kumimoji="0" lang="en-US" sz="1050" b="0" i="0" u="none" strike="noStrike" kern="1200" cap="none" spc="0" normalizeH="0" baseline="0" noProof="0">
                <a:ln>
                  <a:noFill/>
                </a:ln>
                <a:solidFill>
                  <a:srgbClr val="000000"/>
                </a:solidFill>
                <a:effectLst/>
                <a:uLnTx/>
                <a:uFillTx/>
                <a:latin typeface="Arial"/>
                <a:ea typeface="+mn-ea"/>
                <a:cs typeface="+mn-cs"/>
              </a:rPr>
              <a:t>, with a capacity of 125 MW</a:t>
            </a:r>
          </a:p>
        </p:txBody>
      </p:sp>
      <p:cxnSp>
        <p:nvCxnSpPr>
          <p:cNvPr id="50" name="btfpColumnHeaderBoxLine284602">
            <a:extLst>
              <a:ext uri="{FF2B5EF4-FFF2-40B4-BE49-F238E27FC236}">
                <a16:creationId xmlns:a16="http://schemas.microsoft.com/office/drawing/2014/main" id="{B3AD0150-3EC4-4612-F476-76BE9B16952A}"/>
              </a:ext>
            </a:extLst>
          </p:cNvPr>
          <p:cNvCxnSpPr>
            <a:cxnSpLocks/>
          </p:cNvCxnSpPr>
          <p:nvPr/>
        </p:nvCxnSpPr>
        <p:spPr bwMode="gray">
          <a:xfrm>
            <a:off x="355238" y="5324546"/>
            <a:ext cx="11380484" cy="0"/>
          </a:xfrm>
          <a:prstGeom prst="line">
            <a:avLst/>
          </a:prstGeom>
          <a:ln w="952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1" name="btfpColumnHeaderBoxLine284602">
            <a:extLst>
              <a:ext uri="{FF2B5EF4-FFF2-40B4-BE49-F238E27FC236}">
                <a16:creationId xmlns:a16="http://schemas.microsoft.com/office/drawing/2014/main" id="{3912F455-B0B2-737A-8367-9C7F78F99EA1}"/>
              </a:ext>
            </a:extLst>
          </p:cNvPr>
          <p:cNvCxnSpPr>
            <a:cxnSpLocks/>
          </p:cNvCxnSpPr>
          <p:nvPr/>
        </p:nvCxnSpPr>
        <p:spPr bwMode="gray">
          <a:xfrm>
            <a:off x="4618784" y="3992043"/>
            <a:ext cx="0" cy="2232052"/>
          </a:xfrm>
          <a:prstGeom prst="line">
            <a:avLst/>
          </a:prstGeom>
          <a:ln w="952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0" name="btfpColumnHeaderBoxLine284602">
            <a:extLst>
              <a:ext uri="{FF2B5EF4-FFF2-40B4-BE49-F238E27FC236}">
                <a16:creationId xmlns:a16="http://schemas.microsoft.com/office/drawing/2014/main" id="{E14C8FAD-1AD0-7D94-0D71-0F86012B8F21}"/>
              </a:ext>
            </a:extLst>
          </p:cNvPr>
          <p:cNvCxnSpPr>
            <a:cxnSpLocks/>
          </p:cNvCxnSpPr>
          <p:nvPr/>
        </p:nvCxnSpPr>
        <p:spPr bwMode="gray">
          <a:xfrm>
            <a:off x="8340604" y="3987855"/>
            <a:ext cx="0" cy="2232052"/>
          </a:xfrm>
          <a:prstGeom prst="line">
            <a:avLst/>
          </a:prstGeom>
          <a:ln w="952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3" name="btfpColumnHeaderBoxLine284602">
            <a:extLst>
              <a:ext uri="{FF2B5EF4-FFF2-40B4-BE49-F238E27FC236}">
                <a16:creationId xmlns:a16="http://schemas.microsoft.com/office/drawing/2014/main" id="{D318D255-028C-FA67-C066-F83AA9628CB9}"/>
              </a:ext>
            </a:extLst>
          </p:cNvPr>
          <p:cNvCxnSpPr>
            <a:cxnSpLocks/>
          </p:cNvCxnSpPr>
          <p:nvPr/>
        </p:nvCxnSpPr>
        <p:spPr bwMode="gray">
          <a:xfrm>
            <a:off x="334963" y="4415940"/>
            <a:ext cx="11380484" cy="0"/>
          </a:xfrm>
          <a:prstGeom prst="line">
            <a:avLst/>
          </a:prstGeom>
          <a:ln w="952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04" name="TextBox 703">
            <a:extLst>
              <a:ext uri="{FF2B5EF4-FFF2-40B4-BE49-F238E27FC236}">
                <a16:creationId xmlns:a16="http://schemas.microsoft.com/office/drawing/2014/main" id="{418FD4DD-C4D0-1EAA-DFDF-3695505BCBDC}"/>
              </a:ext>
            </a:extLst>
          </p:cNvPr>
          <p:cNvSpPr txBox="1"/>
          <p:nvPr/>
        </p:nvSpPr>
        <p:spPr bwMode="gray">
          <a:xfrm>
            <a:off x="4711829" y="4460207"/>
            <a:ext cx="3550705" cy="807913"/>
          </a:xfrm>
          <a:prstGeom prst="rect">
            <a:avLst/>
          </a:prstGeom>
          <a:noFill/>
        </p:spPr>
        <p:txBody>
          <a:bodyPr wrap="square" lIns="0" tIns="0" rIns="0" bIns="0" rtlCol="0">
            <a:spAutoFit/>
          </a:bodyPr>
          <a:lstStyle/>
          <a:p>
            <a:pPr marL="177800" marR="0" lvl="0" indent="-177800" algn="l" defTabSz="711200" rtl="0" eaLnBrk="1" fontAlgn="b" latinLnBrk="0" hangingPunct="1">
              <a:lnSpc>
                <a:spcPct val="100000"/>
              </a:lnSpc>
              <a:spcBef>
                <a:spcPts val="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Increase nuclear capacity from 27 GW to </a:t>
            </a:r>
            <a:r>
              <a:rPr kumimoji="0" lang="en-US" sz="1050" b="1" i="0" u="none" strike="noStrike" kern="1200" cap="none" spc="0" normalizeH="0" baseline="0" noProof="0">
                <a:ln>
                  <a:noFill/>
                </a:ln>
                <a:solidFill>
                  <a:srgbClr val="000000"/>
                </a:solidFill>
                <a:effectLst/>
                <a:uLnTx/>
                <a:uFillTx/>
                <a:latin typeface="Arial"/>
                <a:ea typeface="+mn-ea"/>
                <a:cs typeface="+mn-cs"/>
              </a:rPr>
              <a:t>58 GW </a:t>
            </a:r>
            <a:r>
              <a:rPr kumimoji="0" lang="en-US" sz="1050" b="0" i="0" u="none" strike="noStrike" kern="1200" cap="none" spc="0" normalizeH="0" baseline="0" noProof="0">
                <a:ln>
                  <a:noFill/>
                </a:ln>
                <a:solidFill>
                  <a:srgbClr val="000000"/>
                </a:solidFill>
                <a:effectLst/>
                <a:uLnTx/>
                <a:uFillTx/>
                <a:latin typeface="Arial"/>
                <a:ea typeface="+mn-ea"/>
                <a:cs typeface="+mn-cs"/>
              </a:rPr>
              <a:t>by the end of 2020 </a:t>
            </a:r>
          </a:p>
          <a:p>
            <a:pPr marL="177800" marR="0" lvl="0" indent="-177800" algn="l" defTabSz="711200" rtl="0" eaLnBrk="1" fontAlgn="b" latinLnBrk="0" hangingPunct="1">
              <a:lnSpc>
                <a:spcPct val="100000"/>
              </a:lnSpc>
              <a:spcBef>
                <a:spcPts val="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Complete four Gen III reactors (U.S.-developed AP1000) and build demonstration units using </a:t>
            </a:r>
            <a:r>
              <a:rPr kumimoji="0" lang="en-US" sz="1050" b="1" i="0" u="none" strike="noStrike" kern="1200" cap="none" spc="0" normalizeH="0" baseline="0" noProof="0">
                <a:ln>
                  <a:noFill/>
                </a:ln>
                <a:solidFill>
                  <a:srgbClr val="000000"/>
                </a:solidFill>
                <a:effectLst/>
                <a:uLnTx/>
                <a:uFillTx/>
                <a:latin typeface="Arial"/>
                <a:ea typeface="+mn-ea"/>
                <a:cs typeface="+mn-cs"/>
              </a:rPr>
              <a:t>Chinese-developed technology (Hualong One, CAP1400, etc.)</a:t>
            </a:r>
          </a:p>
        </p:txBody>
      </p:sp>
      <p:sp>
        <p:nvSpPr>
          <p:cNvPr id="705" name="TextBox 704">
            <a:extLst>
              <a:ext uri="{FF2B5EF4-FFF2-40B4-BE49-F238E27FC236}">
                <a16:creationId xmlns:a16="http://schemas.microsoft.com/office/drawing/2014/main" id="{8C140DEC-53E5-1ED6-CB2B-9AB24EF169E0}"/>
              </a:ext>
            </a:extLst>
          </p:cNvPr>
          <p:cNvSpPr txBox="1"/>
          <p:nvPr/>
        </p:nvSpPr>
        <p:spPr bwMode="gray">
          <a:xfrm>
            <a:off x="8473490" y="4463988"/>
            <a:ext cx="3241958" cy="807913"/>
          </a:xfrm>
          <a:prstGeom prst="rect">
            <a:avLst/>
          </a:prstGeom>
          <a:noFill/>
        </p:spPr>
        <p:txBody>
          <a:bodyPr wrap="square" lIns="0" tIns="0" rIns="0" bIns="0" rtlCol="0">
            <a:spAutoFit/>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argets capacity of </a:t>
            </a:r>
            <a:r>
              <a:rPr kumimoji="0" lang="en-US" sz="1050" b="1" i="0" u="none" strike="noStrike" kern="1200" cap="none" spc="0" normalizeH="0" baseline="0" noProof="0" dirty="0">
                <a:ln>
                  <a:noFill/>
                </a:ln>
                <a:solidFill>
                  <a:srgbClr val="000000"/>
                </a:solidFill>
                <a:effectLst/>
                <a:uLnTx/>
                <a:uFillTx/>
                <a:latin typeface="Arial"/>
                <a:ea typeface="+mn-ea"/>
                <a:cs typeface="+mn-cs"/>
              </a:rPr>
              <a:t>70 GW by 2025 </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Mandates</a:t>
            </a:r>
            <a:r>
              <a:rPr lang="en-US" sz="1050" b="1" dirty="0">
                <a:solidFill>
                  <a:srgbClr val="000000"/>
                </a:solidFill>
                <a:latin typeface="Arial"/>
              </a:rPr>
              <a:t> and</a:t>
            </a:r>
            <a:r>
              <a:rPr kumimoji="0" lang="en-US" sz="1050" b="1" i="0" u="none" strike="noStrike" kern="1200" cap="none" spc="0" normalizeH="0" baseline="0" noProof="0" dirty="0">
                <a:ln>
                  <a:noFill/>
                </a:ln>
                <a:solidFill>
                  <a:srgbClr val="000000"/>
                </a:solidFill>
                <a:effectLst/>
                <a:uLnTx/>
                <a:uFillTx/>
                <a:latin typeface="Arial"/>
                <a:ea typeface="+mn-ea"/>
                <a:cs typeface="+mn-cs"/>
              </a:rPr>
              <a:t> increases the use of Gen III or more advanced technologies</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Develop ACP100 SMR by 2026 and floating offshore nuclear power plants</a:t>
            </a:r>
          </a:p>
        </p:txBody>
      </p:sp>
      <p:sp>
        <p:nvSpPr>
          <p:cNvPr id="706" name="TextBox 705">
            <a:extLst>
              <a:ext uri="{FF2B5EF4-FFF2-40B4-BE49-F238E27FC236}">
                <a16:creationId xmlns:a16="http://schemas.microsoft.com/office/drawing/2014/main" id="{2C623480-66CF-A939-3798-DC10B7F1AE80}"/>
              </a:ext>
            </a:extLst>
          </p:cNvPr>
          <p:cNvSpPr txBox="1"/>
          <p:nvPr/>
        </p:nvSpPr>
        <p:spPr bwMode="gray">
          <a:xfrm>
            <a:off x="1209554" y="5375925"/>
            <a:ext cx="3274388" cy="646331"/>
          </a:xfrm>
          <a:prstGeom prst="rect">
            <a:avLst/>
          </a:prstGeom>
          <a:noFill/>
        </p:spPr>
        <p:txBody>
          <a:bodyPr wrap="square" lIns="0" tIns="0" rIns="0" bIns="0" rtlCol="0">
            <a:spAutoFit/>
          </a:bodyPr>
          <a:lstStyle/>
          <a:p>
            <a:pPr marL="177800" marR="0" lvl="0" indent="-177800" algn="l" defTabSz="711200" rtl="0" eaLnBrk="1" fontAlgn="b" latinLnBrk="0" hangingPunct="1">
              <a:lnSpc>
                <a:spcPct val="100000"/>
              </a:lnSpc>
              <a:spcBef>
                <a:spcPts val="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Following the March 2011 Fukushima accident, </a:t>
            </a:r>
            <a:r>
              <a:rPr kumimoji="0" lang="en-US" sz="1050" b="1" i="0" u="none" strike="noStrike" kern="1200" cap="none" spc="0" normalizeH="0" baseline="0" noProof="0">
                <a:ln>
                  <a:noFill/>
                </a:ln>
                <a:solidFill>
                  <a:srgbClr val="000000"/>
                </a:solidFill>
                <a:effectLst/>
                <a:uLnTx/>
                <a:uFillTx/>
                <a:latin typeface="Arial"/>
                <a:ea typeface="+mn-ea"/>
                <a:cs typeface="+mn-cs"/>
              </a:rPr>
              <a:t>approvals for new nuclear plants suspended</a:t>
            </a:r>
            <a:r>
              <a:rPr kumimoji="0" lang="en-US" sz="1050" b="0" i="0" u="none" strike="noStrike" kern="1200" cap="none" spc="0" normalizeH="0" baseline="0" noProof="0">
                <a:ln>
                  <a:noFill/>
                </a:ln>
                <a:solidFill>
                  <a:srgbClr val="000000"/>
                </a:solidFill>
                <a:effectLst/>
                <a:uLnTx/>
                <a:uFillTx/>
                <a:latin typeface="Arial"/>
                <a:ea typeface="+mn-ea"/>
                <a:cs typeface="+mn-cs"/>
              </a:rPr>
              <a:t>, delaying the projects but order revoked in 2012</a:t>
            </a:r>
          </a:p>
          <a:p>
            <a:pPr marL="177800" marR="0" lvl="0" indent="-177800" algn="l" defTabSz="711200" rtl="0" eaLnBrk="1" fontAlgn="b" latinLnBrk="0" hangingPunct="1">
              <a:lnSpc>
                <a:spcPct val="100000"/>
              </a:lnSpc>
              <a:spcBef>
                <a:spcPts val="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eliminary design of ACP100 completed in 2014</a:t>
            </a:r>
          </a:p>
        </p:txBody>
      </p:sp>
      <p:sp>
        <p:nvSpPr>
          <p:cNvPr id="707" name="TextBox 706">
            <a:extLst>
              <a:ext uri="{FF2B5EF4-FFF2-40B4-BE49-F238E27FC236}">
                <a16:creationId xmlns:a16="http://schemas.microsoft.com/office/drawing/2014/main" id="{4AC883DD-FF64-5327-72F1-00BDF4336A13}"/>
              </a:ext>
            </a:extLst>
          </p:cNvPr>
          <p:cNvSpPr txBox="1"/>
          <p:nvPr/>
        </p:nvSpPr>
        <p:spPr bwMode="gray">
          <a:xfrm>
            <a:off x="4723730" y="5414030"/>
            <a:ext cx="3492613" cy="807913"/>
          </a:xfrm>
          <a:prstGeom prst="rect">
            <a:avLst/>
          </a:prstGeom>
          <a:noFill/>
        </p:spPr>
        <p:txBody>
          <a:bodyPr wrap="square" lIns="0" tIns="0" rIns="0" bIns="0" rtlCol="0">
            <a:spAutoFit/>
          </a:bodyPr>
          <a:lstStyle/>
          <a:p>
            <a:pPr marL="177800" marR="0" lvl="0" indent="-177800" algn="l" defTabSz="711200" rtl="0" eaLnBrk="1" fontAlgn="b" latinLnBrk="0" hangingPunct="1">
              <a:lnSpc>
                <a:spcPct val="100000"/>
              </a:lnSpc>
              <a:spcBef>
                <a:spcPts val="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Four AP1000 reactors completed in 2018 at </a:t>
            </a:r>
            <a:r>
              <a:rPr kumimoji="0" lang="en-US" sz="1050" b="0" i="0" u="none" strike="noStrike" kern="1200" cap="none" spc="0" normalizeH="0" baseline="0" noProof="0" err="1">
                <a:ln>
                  <a:noFill/>
                </a:ln>
                <a:solidFill>
                  <a:srgbClr val="000000"/>
                </a:solidFill>
                <a:effectLst/>
                <a:uLnTx/>
                <a:uFillTx/>
                <a:latin typeface="Arial"/>
                <a:ea typeface="+mn-ea"/>
                <a:cs typeface="+mn-cs"/>
              </a:rPr>
              <a:t>Sanmen</a:t>
            </a:r>
            <a:r>
              <a:rPr kumimoji="0" lang="en-US" sz="1050" b="0" i="0" u="none" strike="noStrike" kern="1200" cap="none" spc="0" normalizeH="0" baseline="0" noProof="0">
                <a:ln>
                  <a:noFill/>
                </a:ln>
                <a:solidFill>
                  <a:srgbClr val="000000"/>
                </a:solidFill>
                <a:effectLst/>
                <a:uLnTx/>
                <a:uFillTx/>
                <a:latin typeface="Arial"/>
                <a:ea typeface="+mn-ea"/>
                <a:cs typeface="+mn-cs"/>
              </a:rPr>
              <a:t> and Haiyang</a:t>
            </a:r>
          </a:p>
          <a:p>
            <a:pPr marL="177800" marR="0" lvl="0" indent="-177800" algn="l" defTabSz="711200" rtl="0" eaLnBrk="1" fontAlgn="b" latinLnBrk="0" hangingPunct="1">
              <a:lnSpc>
                <a:spcPct val="100000"/>
              </a:lnSpc>
              <a:spcBef>
                <a:spcPts val="0"/>
              </a:spcBef>
              <a:spcAft>
                <a:spcPts val="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ACP100 SMR passed the IAEA safety review</a:t>
            </a:r>
            <a:r>
              <a:rPr kumimoji="0" lang="en-US" sz="1050" i="0" u="none" strike="noStrike" kern="1200" cap="none" spc="0" normalizeH="0" baseline="0" noProof="0">
                <a:ln>
                  <a:noFill/>
                </a:ln>
                <a:solidFill>
                  <a:srgbClr val="000000"/>
                </a:solidFill>
                <a:effectLst/>
                <a:uLnTx/>
                <a:uFillTx/>
                <a:latin typeface="Arial"/>
                <a:ea typeface="+mn-ea"/>
                <a:cs typeface="+mn-cs"/>
              </a:rPr>
              <a:t> in 2016</a:t>
            </a:r>
            <a:r>
              <a:rPr kumimoji="0" lang="en-US" sz="1050" b="0" i="0" u="none" strike="noStrike" kern="1200" cap="none" spc="0" normalizeH="0" baseline="0" noProof="0">
                <a:ln>
                  <a:noFill/>
                </a:ln>
                <a:solidFill>
                  <a:srgbClr val="000000"/>
                </a:solidFill>
                <a:effectLst/>
                <a:uLnTx/>
                <a:uFillTx/>
                <a:latin typeface="Arial"/>
                <a:ea typeface="+mn-ea"/>
                <a:cs typeface="+mn-cs"/>
              </a:rPr>
              <a:t>, making it the world’s first SMR to achieve this milestone</a:t>
            </a:r>
          </a:p>
        </p:txBody>
      </p:sp>
      <p:sp>
        <p:nvSpPr>
          <p:cNvPr id="717" name="btfpColumnHeaderBoxText223027">
            <a:extLst>
              <a:ext uri="{FF2B5EF4-FFF2-40B4-BE49-F238E27FC236}">
                <a16:creationId xmlns:a16="http://schemas.microsoft.com/office/drawing/2014/main" id="{D5DB2172-0513-454A-5856-76D5343A89A4}"/>
              </a:ext>
            </a:extLst>
          </p:cNvPr>
          <p:cNvSpPr txBox="1"/>
          <p:nvPr/>
        </p:nvSpPr>
        <p:spPr bwMode="gray">
          <a:xfrm>
            <a:off x="355238" y="1438436"/>
            <a:ext cx="6698774"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Nuclear capacity in China</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cxnSp>
        <p:nvCxnSpPr>
          <p:cNvPr id="718" name="btfpColumnHeaderBoxLine223027">
            <a:extLst>
              <a:ext uri="{FF2B5EF4-FFF2-40B4-BE49-F238E27FC236}">
                <a16:creationId xmlns:a16="http://schemas.microsoft.com/office/drawing/2014/main" id="{29C33E9D-D67E-37C9-B2EE-78CD528742D5}"/>
              </a:ext>
            </a:extLst>
          </p:cNvPr>
          <p:cNvCxnSpPr>
            <a:cxnSpLocks/>
          </p:cNvCxnSpPr>
          <p:nvPr/>
        </p:nvCxnSpPr>
        <p:spPr bwMode="gray">
          <a:xfrm>
            <a:off x="330199" y="1733005"/>
            <a:ext cx="602015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23AF3007-F7D3-CFA4-FE39-39FD5D131255}"/>
              </a:ext>
            </a:extLst>
          </p:cNvPr>
          <p:cNvSpPr txBox="1"/>
          <p:nvPr/>
        </p:nvSpPr>
        <p:spPr bwMode="gray">
          <a:xfrm>
            <a:off x="8464862" y="5380973"/>
            <a:ext cx="3060878" cy="969496"/>
          </a:xfrm>
          <a:prstGeom prst="rect">
            <a:avLst/>
          </a:prstGeom>
          <a:noFill/>
        </p:spPr>
        <p:txBody>
          <a:bodyPr wrap="square" lIns="0" tIns="0" rIns="0" bIns="0" rtlCol="0">
            <a:spAutoFit/>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First Hualong One reactor put into commercial operation </a:t>
            </a:r>
            <a:r>
              <a:rPr kumimoji="0" lang="en-US" sz="1050" b="0" i="0" u="none" strike="noStrike" kern="1200" cap="none" spc="0" normalizeH="0" baseline="0" noProof="0">
                <a:ln>
                  <a:noFill/>
                </a:ln>
                <a:solidFill>
                  <a:srgbClr val="000000"/>
                </a:solidFill>
                <a:effectLst/>
                <a:uLnTx/>
                <a:uFillTx/>
                <a:latin typeface="Arial"/>
                <a:ea typeface="+mn-ea"/>
                <a:cs typeface="+mn-cs"/>
              </a:rPr>
              <a:t>in 2021, and two in Pakistan</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50">
                <a:solidFill>
                  <a:srgbClr val="000000"/>
                </a:solidFill>
                <a:latin typeface="Arial"/>
              </a:rPr>
              <a:t>F</a:t>
            </a:r>
            <a:r>
              <a:rPr kumimoji="0" lang="en-US" sz="1050" b="0" i="0" u="none" strike="noStrike" kern="1200" cap="none" spc="0" normalizeH="0" baseline="0" noProof="0" err="1">
                <a:ln>
                  <a:noFill/>
                </a:ln>
                <a:solidFill>
                  <a:srgbClr val="000000"/>
                </a:solidFill>
                <a:effectLst/>
                <a:uLnTx/>
                <a:uFillTx/>
                <a:latin typeface="Arial"/>
                <a:ea typeface="+mn-ea"/>
                <a:cs typeface="+mn-cs"/>
              </a:rPr>
              <a:t>irst</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kumimoji="0" lang="en-US" sz="1050" b="1" i="0" u="none" strike="noStrike" kern="1200" cap="none" spc="0" normalizeH="0" baseline="0" noProof="0">
                <a:ln>
                  <a:noFill/>
                </a:ln>
                <a:solidFill>
                  <a:srgbClr val="000000"/>
                </a:solidFill>
                <a:effectLst/>
                <a:uLnTx/>
                <a:uFillTx/>
                <a:latin typeface="Arial"/>
                <a:ea typeface="+mn-ea"/>
                <a:cs typeface="+mn-cs"/>
              </a:rPr>
              <a:t>ACP100 construction began </a:t>
            </a:r>
            <a:r>
              <a:rPr kumimoji="0" lang="en-US" sz="1050" b="0" i="0" u="none" strike="noStrike" kern="1200" cap="none" spc="0" normalizeH="0" baseline="0" noProof="0">
                <a:ln>
                  <a:noFill/>
                </a:ln>
                <a:solidFill>
                  <a:srgbClr val="000000"/>
                </a:solidFill>
                <a:effectLst/>
                <a:uLnTx/>
                <a:uFillTx/>
                <a:latin typeface="Arial"/>
                <a:ea typeface="+mn-ea"/>
                <a:cs typeface="+mn-cs"/>
              </a:rPr>
              <a:t>in 2021 in Hainan </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094419E0-6219-BD61-1177-CF16CA39DE2C}"/>
              </a:ext>
            </a:extLst>
          </p:cNvPr>
          <p:cNvSpPr txBox="1"/>
          <p:nvPr/>
        </p:nvSpPr>
        <p:spPr bwMode="gray">
          <a:xfrm>
            <a:off x="6667172" y="1723472"/>
            <a:ext cx="5048275" cy="1823576"/>
          </a:xfrm>
          <a:prstGeom prst="rect">
            <a:avLst/>
          </a:prstGeom>
          <a:solidFill>
            <a:srgbClr val="E3E8EE"/>
          </a:solidFill>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olicy tools used by the Chinese government: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Nuclear plants typically benefit </a:t>
            </a:r>
            <a:r>
              <a:rPr kumimoji="0" lang="en-US" sz="1050" b="1" i="0" u="none" strike="noStrike" kern="1200" cap="none" spc="0" normalizeH="0" baseline="0" noProof="0" dirty="0">
                <a:ln>
                  <a:noFill/>
                </a:ln>
                <a:solidFill>
                  <a:srgbClr val="000000"/>
                </a:solidFill>
                <a:effectLst/>
                <a:uLnTx/>
                <a:uFillTx/>
                <a:latin typeface="Arial"/>
                <a:ea typeface="+mn-ea"/>
                <a:cs typeface="+mn-cs"/>
              </a:rPr>
              <a:t>from guaranteed price premiums and priority dispatch.</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Major state‑owned nuclear operators (e.g., China National Nuclear Corporation, China General Nuclear Power Group) gain access to </a:t>
            </a:r>
            <a:r>
              <a:rPr kumimoji="0" lang="en-US" sz="1050" b="1" i="0" u="none" strike="noStrike" kern="1200" cap="none" spc="0" normalizeH="0" baseline="0" noProof="0" dirty="0">
                <a:ln>
                  <a:noFill/>
                </a:ln>
                <a:solidFill>
                  <a:srgbClr val="000000"/>
                </a:solidFill>
                <a:effectLst/>
                <a:uLnTx/>
                <a:uFillTx/>
                <a:latin typeface="Arial"/>
                <a:ea typeface="+mn-ea"/>
                <a:cs typeface="+mn-cs"/>
              </a:rPr>
              <a:t>low‑cost loans </a:t>
            </a:r>
            <a:r>
              <a:rPr kumimoji="0" lang="en-US" sz="1050" b="0" i="0" u="none" strike="noStrike" kern="1200" cap="none" spc="0" normalizeH="0" baseline="0" noProof="0" dirty="0">
                <a:ln>
                  <a:noFill/>
                </a:ln>
                <a:solidFill>
                  <a:srgbClr val="000000"/>
                </a:solidFill>
                <a:effectLst/>
                <a:uLnTx/>
                <a:uFillTx/>
                <a:latin typeface="Arial"/>
                <a:ea typeface="+mn-ea"/>
                <a:cs typeface="+mn-cs"/>
              </a:rPr>
              <a:t>through state-owned bank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Central and provincial governments facilitate site development by </a:t>
            </a:r>
            <a:r>
              <a:rPr kumimoji="0" lang="en-US" sz="1050" b="1" i="0" u="none" strike="noStrike" kern="1200" cap="none" spc="0" normalizeH="0" baseline="0" noProof="0" dirty="0">
                <a:ln>
                  <a:noFill/>
                </a:ln>
                <a:solidFill>
                  <a:srgbClr val="000000"/>
                </a:solidFill>
                <a:effectLst/>
                <a:uLnTx/>
                <a:uFillTx/>
                <a:latin typeface="Arial"/>
                <a:ea typeface="+mn-ea"/>
                <a:cs typeface="+mn-cs"/>
              </a:rPr>
              <a:t>securing land and organizing grid interconnections for new nuclear projects.</a:t>
            </a:r>
          </a:p>
        </p:txBody>
      </p:sp>
      <p:sp>
        <p:nvSpPr>
          <p:cNvPr id="2" name="Rectangle 1">
            <a:extLst>
              <a:ext uri="{FF2B5EF4-FFF2-40B4-BE49-F238E27FC236}">
                <a16:creationId xmlns:a16="http://schemas.microsoft.com/office/drawing/2014/main" id="{B15A91E3-B556-BC22-AF51-42CEBD66B2FB}"/>
              </a:ext>
            </a:extLst>
          </p:cNvPr>
          <p:cNvSpPr/>
          <p:nvPr/>
        </p:nvSpPr>
        <p:spPr bwMode="gray">
          <a:xfrm>
            <a:off x="0" y="0"/>
            <a:ext cx="2926080" cy="382208"/>
          </a:xfrm>
          <a:prstGeom prst="rect">
            <a:avLst/>
          </a:prstGeom>
          <a:solidFill>
            <a:srgbClr val="C30C3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bg1"/>
                </a:solidFill>
              </a:rPr>
              <a:t>China</a:t>
            </a:r>
          </a:p>
        </p:txBody>
      </p:sp>
    </p:spTree>
    <p:custDataLst>
      <p:tags r:id="rId1"/>
    </p:custDataLst>
    <p:extLst>
      <p:ext uri="{BB962C8B-B14F-4D97-AF65-F5344CB8AC3E}">
        <p14:creationId xmlns:p14="http://schemas.microsoft.com/office/powerpoint/2010/main" val="18082145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BDACAB-BB02-C476-7E86-D5677C2D4A6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6244E4B-DC71-C8E5-2DF4-F99D99A4548E}"/>
              </a:ext>
            </a:extLst>
          </p:cNvPr>
          <p:cNvGraphicFramePr>
            <a:graphicFrameLocks noChangeAspect="1"/>
          </p:cNvGraphicFramePr>
          <p:nvPr>
            <p:custDataLst>
              <p:tags r:id="rId2"/>
            </p:custDataLst>
            <p:extLst>
              <p:ext uri="{D42A27DB-BD31-4B8C-83A1-F6EECF244321}">
                <p14:modId xmlns:p14="http://schemas.microsoft.com/office/powerpoint/2010/main" val="2162574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592" imgH="591" progId="TCLayout.ActiveDocument.1">
                  <p:embed/>
                </p:oleObj>
              </mc:Choice>
              <mc:Fallback>
                <p:oleObj name="think-cell Slide" r:id="rId80" imgW="592" imgH="591" progId="TCLayout.ActiveDocument.1">
                  <p:embed/>
                  <p:pic>
                    <p:nvPicPr>
                      <p:cNvPr id="7" name="think-cell data - do not delete" hidden="1">
                        <a:extLst>
                          <a:ext uri="{FF2B5EF4-FFF2-40B4-BE49-F238E27FC236}">
                            <a16:creationId xmlns:a16="http://schemas.microsoft.com/office/drawing/2014/main" id="{96244E4B-DC71-C8E5-2DF4-F99D99A4548E}"/>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graphicFrame>
        <p:nvGraphicFramePr>
          <p:cNvPr id="40" name="Table 39">
            <a:extLst>
              <a:ext uri="{FF2B5EF4-FFF2-40B4-BE49-F238E27FC236}">
                <a16:creationId xmlns:a16="http://schemas.microsoft.com/office/drawing/2014/main" id="{299747A7-F716-A3EB-CD2E-2E244A51AF0A}"/>
              </a:ext>
            </a:extLst>
          </p:cNvPr>
          <p:cNvGraphicFramePr>
            <a:graphicFrameLocks noGrp="1"/>
          </p:cNvGraphicFramePr>
          <p:nvPr>
            <p:extLst>
              <p:ext uri="{D42A27DB-BD31-4B8C-83A1-F6EECF244321}">
                <p14:modId xmlns:p14="http://schemas.microsoft.com/office/powerpoint/2010/main" val="1099682315"/>
              </p:ext>
            </p:extLst>
          </p:nvPr>
        </p:nvGraphicFramePr>
        <p:xfrm>
          <a:off x="410353" y="1531937"/>
          <a:ext cx="11653868" cy="4410099"/>
        </p:xfrm>
        <a:graphic>
          <a:graphicData uri="http://schemas.openxmlformats.org/drawingml/2006/table">
            <a:tbl>
              <a:tblPr firstRow="1" bandRow="1">
                <a:tableStyleId>{2D5ABB26-0587-4C30-8999-92F81FD0307C}</a:tableStyleId>
              </a:tblPr>
              <a:tblGrid>
                <a:gridCol w="1218209">
                  <a:extLst>
                    <a:ext uri="{9D8B030D-6E8A-4147-A177-3AD203B41FA5}">
                      <a16:colId xmlns:a16="http://schemas.microsoft.com/office/drawing/2014/main" val="738721708"/>
                    </a:ext>
                  </a:extLst>
                </a:gridCol>
                <a:gridCol w="3478553">
                  <a:extLst>
                    <a:ext uri="{9D8B030D-6E8A-4147-A177-3AD203B41FA5}">
                      <a16:colId xmlns:a16="http://schemas.microsoft.com/office/drawing/2014/main" val="2497270386"/>
                    </a:ext>
                  </a:extLst>
                </a:gridCol>
                <a:gridCol w="3478553">
                  <a:extLst>
                    <a:ext uri="{9D8B030D-6E8A-4147-A177-3AD203B41FA5}">
                      <a16:colId xmlns:a16="http://schemas.microsoft.com/office/drawing/2014/main" val="2671481539"/>
                    </a:ext>
                  </a:extLst>
                </a:gridCol>
                <a:gridCol w="3478553">
                  <a:extLst>
                    <a:ext uri="{9D8B030D-6E8A-4147-A177-3AD203B41FA5}">
                      <a16:colId xmlns:a16="http://schemas.microsoft.com/office/drawing/2014/main" val="3729775278"/>
                    </a:ext>
                  </a:extLst>
                </a:gridCol>
              </a:tblGrid>
              <a:tr h="457194">
                <a:tc>
                  <a:txBody>
                    <a:bodyPr/>
                    <a:lstStyle/>
                    <a:p>
                      <a:endParaRPr lang="en-US" sz="1400" dirty="0"/>
                    </a:p>
                  </a:txBody>
                  <a:tcP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tcPr>
                </a:tc>
                <a:tc>
                  <a:txBody>
                    <a:bodyPr/>
                    <a:lstStyle/>
                    <a:p>
                      <a:pPr marL="0" indent="0">
                        <a:buNone/>
                      </a:pPr>
                      <a:r>
                        <a:rPr lang="en-US" sz="1200" b="1" dirty="0"/>
                        <a:t>         Japan restarting plants that shut down after March 2011 accident </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tcPr>
                </a:tc>
                <a:tc>
                  <a:txBody>
                    <a:bodyPr/>
                    <a:lstStyle/>
                    <a:p>
                      <a:pPr marL="0" indent="0">
                        <a:buNone/>
                      </a:pPr>
                      <a:r>
                        <a:rPr lang="en-US" sz="1200" b="1" dirty="0"/>
                        <a:t>         Korea’s nuclear power phaseout plan reversed by former president </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tcPr>
                </a:tc>
                <a:tc>
                  <a:txBody>
                    <a:bodyPr/>
                    <a:lstStyle/>
                    <a:p>
                      <a:pPr marL="0" indent="0">
                        <a:spcBef>
                          <a:spcPts val="0"/>
                        </a:spcBef>
                        <a:buNone/>
                      </a:pPr>
                      <a:r>
                        <a:rPr lang="en-US" sz="1200" b="1" dirty="0"/>
                        <a:t>         India rapidly expanding nuclear capacity, developing Indian SMRs </a:t>
                      </a:r>
                    </a:p>
                  </a:txBody>
                  <a:tcPr>
                    <a:lnL w="12700" cap="flat" cmpd="sng" algn="ctr">
                      <a:solidFill>
                        <a:schemeClr val="tx2"/>
                      </a:solidFill>
                      <a:prstDash val="solid"/>
                      <a:round/>
                      <a:headEnd type="none" w="med" len="med"/>
                      <a:tailEnd type="none" w="med" len="med"/>
                    </a:lnL>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733200416"/>
                  </a:ext>
                </a:extLst>
              </a:tr>
              <a:tr h="605282">
                <a:tc>
                  <a:txBody>
                    <a:bodyPr/>
                    <a:lstStyle/>
                    <a:p>
                      <a:pPr marL="0" indent="0">
                        <a:buNone/>
                      </a:pPr>
                      <a:r>
                        <a:rPr lang="en-US" sz="1200" b="1" dirty="0"/>
                        <a:t>Legislative policy</a:t>
                      </a:r>
                    </a:p>
                  </a:txBody>
                  <a:tcP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spcBef>
                          <a:spcPts val="0"/>
                        </a:spcBef>
                      </a:pPr>
                      <a:r>
                        <a:rPr lang="en-US" sz="1100" b="1" kern="1200" dirty="0">
                          <a:solidFill>
                            <a:schemeClr val="tx1"/>
                          </a:solidFill>
                          <a:latin typeface="+mn-lt"/>
                          <a:ea typeface="+mn-ea"/>
                          <a:cs typeface="+mn-cs"/>
                        </a:rPr>
                        <a:t>The 7th Strategic Energy Plan </a:t>
                      </a:r>
                    </a:p>
                    <a:p>
                      <a:pPr>
                        <a:spcBef>
                          <a:spcPts val="0"/>
                        </a:spcBef>
                      </a:pPr>
                      <a:r>
                        <a:rPr lang="en-US" sz="1100" b="1" kern="1200" dirty="0">
                          <a:solidFill>
                            <a:schemeClr val="tx1"/>
                          </a:solidFill>
                          <a:latin typeface="+mn-lt"/>
                          <a:ea typeface="+mn-ea"/>
                          <a:cs typeface="+mn-cs"/>
                        </a:rPr>
                        <a:t>Electricity Business Ac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r>
                        <a:rPr lang="en-US" sz="1100" b="1" kern="1200" dirty="0">
                          <a:solidFill>
                            <a:schemeClr val="tx1"/>
                          </a:solidFill>
                          <a:latin typeface="+mn-lt"/>
                          <a:ea typeface="+mn-ea"/>
                          <a:cs typeface="+mn-cs"/>
                        </a:rPr>
                        <a:t>11th (2024-2038) Basic Plan for Long-Term Electricity Supply and Demand</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7800" indent="-177800" algn="l" defTabSz="711200" rtl="0" eaLnBrk="1" latinLnBrk="0" hangingPunct="1">
                        <a:spcBef>
                          <a:spcPts val="0"/>
                        </a:spcBef>
                      </a:pPr>
                      <a:r>
                        <a:rPr lang="en-US" sz="1100" b="1" kern="1200" dirty="0">
                          <a:solidFill>
                            <a:schemeClr val="tx1"/>
                          </a:solidFill>
                          <a:latin typeface="+mn-lt"/>
                          <a:ea typeface="+mn-ea"/>
                          <a:cs typeface="+mn-cs"/>
                        </a:rPr>
                        <a:t>National Electricity Plan of 2023</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100" b="1" kern="1200" dirty="0">
                          <a:solidFill>
                            <a:schemeClr val="tx1"/>
                          </a:solidFill>
                          <a:latin typeface="+mn-lt"/>
                          <a:ea typeface="+mn-ea"/>
                          <a:cs typeface="+mn-cs"/>
                        </a:rPr>
                        <a:t>Nuclear Energy Mission for Viksit Bharat</a:t>
                      </a:r>
                    </a:p>
                  </a:txBody>
                  <a:tcPr>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487292328"/>
                  </a:ext>
                </a:extLst>
              </a:tr>
              <a:tr h="1432542">
                <a:tc>
                  <a:txBody>
                    <a:bodyPr/>
                    <a:lstStyle/>
                    <a:p>
                      <a:pPr marL="0" indent="0" algn="l" defTabSz="711200" rtl="0" eaLnBrk="1" latinLnBrk="0" hangingPunct="1">
                        <a:spcBef>
                          <a:spcPts val="1200"/>
                        </a:spcBef>
                        <a:buNone/>
                      </a:pPr>
                      <a:r>
                        <a:rPr lang="en-US" sz="1200" b="1" kern="1200" dirty="0">
                          <a:solidFill>
                            <a:schemeClr val="tx1"/>
                          </a:solidFill>
                          <a:latin typeface="+mn-lt"/>
                          <a:ea typeface="+mn-ea"/>
                          <a:cs typeface="+mn-cs"/>
                        </a:rPr>
                        <a:t>Trend observed</a:t>
                      </a:r>
                    </a:p>
                  </a:txBody>
                  <a:tcP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spcBef>
                          <a:spcPts val="0"/>
                        </a:spcBef>
                      </a:pPr>
                      <a:r>
                        <a:rPr lang="en-US" sz="1100" dirty="0"/>
                        <a:t>Of the 54 nuclear reactors that operated before the Fukushima Daiichi accident, </a:t>
                      </a:r>
                      <a:r>
                        <a:rPr lang="en-US" sz="1100" b="1" dirty="0"/>
                        <a:t>14 have resumed operation, and 12 are scheduled to begin operation.</a:t>
                      </a:r>
                    </a:p>
                    <a:p>
                      <a:pPr>
                        <a:spcBef>
                          <a:spcPts val="0"/>
                        </a:spcBef>
                      </a:pPr>
                      <a:r>
                        <a:rPr lang="en-US" sz="1100" dirty="0"/>
                        <a:t>Restarting these nuclear plants is key to increasing energy self-sufficiency and reducing GHG emissions to achieve net zero.</a:t>
                      </a:r>
                      <a:endParaRPr lang="en-US" sz="1100" kern="1200" dirty="0">
                        <a:solidFill>
                          <a:schemeClr val="tx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7800" indent="-177800" algn="l" rtl="0" eaLnBrk="1" latinLnBrk="0" hangingPunct="1">
                        <a:spcBef>
                          <a:spcPts val="1200"/>
                        </a:spcBef>
                        <a:buChar char="•"/>
                      </a:pPr>
                      <a:r>
                        <a:rPr lang="en-US" sz="1100" kern="1200" dirty="0">
                          <a:solidFill>
                            <a:schemeClr val="tx1"/>
                          </a:solidFill>
                          <a:latin typeface="+mn-lt"/>
                          <a:ea typeface="+mn-ea"/>
                          <a:cs typeface="+mn-cs"/>
                        </a:rPr>
                        <a:t>The nuclear phaseout policy, introduced by former President Moon </a:t>
                      </a:r>
                      <a:r>
                        <a:rPr lang="en-US" sz="1100" kern="1200" dirty="0" err="1">
                          <a:solidFill>
                            <a:schemeClr val="tx1"/>
                          </a:solidFill>
                          <a:latin typeface="+mn-lt"/>
                          <a:ea typeface="+mn-ea"/>
                          <a:cs typeface="+mn-cs"/>
                        </a:rPr>
                        <a:t>Jae-in</a:t>
                      </a:r>
                      <a:r>
                        <a:rPr lang="en-US" sz="1100" kern="1200" dirty="0">
                          <a:solidFill>
                            <a:schemeClr val="tx1"/>
                          </a:solidFill>
                          <a:latin typeface="+mn-lt"/>
                          <a:ea typeface="+mn-ea"/>
                          <a:cs typeface="+mn-cs"/>
                        </a:rPr>
                        <a:t> in 2017, was reversed in March 2022 by then-President Yoon Suk Yeol.</a:t>
                      </a:r>
                    </a:p>
                    <a:p>
                      <a:pPr marL="177800" indent="-177800" algn="l" defTabSz="711200" rtl="0" eaLnBrk="1" latinLnBrk="0" hangingPunct="1">
                        <a:spcBef>
                          <a:spcPts val="0"/>
                        </a:spcBef>
                        <a:buChar char="•"/>
                      </a:pPr>
                      <a:r>
                        <a:rPr lang="en-US" sz="1100" b="1" kern="1200" dirty="0">
                          <a:solidFill>
                            <a:schemeClr val="tx1"/>
                          </a:solidFill>
                          <a:latin typeface="+mn-lt"/>
                          <a:ea typeface="+mn-ea"/>
                          <a:cs typeface="+mn-cs"/>
                        </a:rPr>
                        <a:t>The country formed a public-private partnership </a:t>
                      </a:r>
                      <a:r>
                        <a:rPr lang="en-US" sz="1100" kern="1200" dirty="0">
                          <a:solidFill>
                            <a:schemeClr val="tx1"/>
                          </a:solidFill>
                          <a:latin typeface="+mn-lt"/>
                          <a:ea typeface="+mn-ea"/>
                          <a:cs typeface="+mn-cs"/>
                        </a:rPr>
                        <a:t>comprising 42 entities to advance SMR development.</a:t>
                      </a:r>
                    </a:p>
                    <a:p>
                      <a:pPr marL="177800" indent="-177800" algn="l" defTabSz="711200" rtl="0" eaLnBrk="1" latinLnBrk="0" hangingPunct="1">
                        <a:spcBef>
                          <a:spcPts val="0"/>
                        </a:spcBef>
                        <a:buChar char="•"/>
                      </a:pPr>
                      <a:r>
                        <a:rPr lang="en-US" sz="1100" kern="1200" dirty="0">
                          <a:solidFill>
                            <a:schemeClr val="tx1"/>
                          </a:solidFill>
                          <a:latin typeface="+mn-lt"/>
                          <a:ea typeface="+mn-ea"/>
                          <a:cs typeface="+mn-cs"/>
                        </a:rPr>
                        <a:t>The target is to build two large nuclear reactors and 700 MW of SMRs by 2038.</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spcBef>
                          <a:spcPts val="0"/>
                        </a:spcBef>
                      </a:pPr>
                      <a:r>
                        <a:rPr lang="en-US" sz="1100" kern="1200" dirty="0">
                          <a:solidFill>
                            <a:schemeClr val="tx1"/>
                          </a:solidFill>
                          <a:latin typeface="+mn-lt"/>
                          <a:ea typeface="+mn-ea"/>
                          <a:cs typeface="+mn-cs"/>
                        </a:rPr>
                        <a:t>India will provide funds to construct at least five Indian-designed SMRs, to be operational by 2033.</a:t>
                      </a:r>
                    </a:p>
                    <a:p>
                      <a:pPr>
                        <a:spcBef>
                          <a:spcPts val="0"/>
                        </a:spcBef>
                      </a:pPr>
                      <a:r>
                        <a:rPr lang="en-US" sz="1100" b="1" kern="1200" dirty="0">
                          <a:solidFill>
                            <a:schemeClr val="tx1"/>
                          </a:solidFill>
                          <a:latin typeface="+mn-lt"/>
                          <a:ea typeface="+mn-ea"/>
                          <a:cs typeface="+mn-cs"/>
                        </a:rPr>
                        <a:t>It aims to reach 100 GW of nuclear capacity by 2047.</a:t>
                      </a:r>
                    </a:p>
                    <a:p>
                      <a:pPr>
                        <a:spcBef>
                          <a:spcPts val="0"/>
                        </a:spcBef>
                      </a:pPr>
                      <a:r>
                        <a:rPr lang="en-US" sz="1100" kern="1200" dirty="0">
                          <a:solidFill>
                            <a:schemeClr val="tx1"/>
                          </a:solidFill>
                          <a:latin typeface="+mn-lt"/>
                          <a:ea typeface="+mn-ea"/>
                          <a:cs typeface="+mn-cs"/>
                        </a:rPr>
                        <a:t>A new program focused on development of SMRs, called the Nuclear Energy Mission, was introduced in the 2025-2026 Union Budget.</a:t>
                      </a:r>
                    </a:p>
                  </a:txBody>
                  <a:tcPr>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861509198"/>
                  </a:ext>
                </a:extLst>
              </a:tr>
              <a:tr h="1915057">
                <a:tc>
                  <a:txBody>
                    <a:bodyPr/>
                    <a:lstStyle/>
                    <a:p>
                      <a:pPr marL="0" indent="0" algn="l" defTabSz="711200" rtl="0" eaLnBrk="1" latinLnBrk="0" hangingPunct="1">
                        <a:spcBef>
                          <a:spcPts val="1200"/>
                        </a:spcBef>
                        <a:buNone/>
                      </a:pPr>
                      <a:r>
                        <a:rPr lang="en-US" sz="1200" b="1" kern="1200" dirty="0">
                          <a:solidFill>
                            <a:schemeClr val="tx1"/>
                          </a:solidFill>
                          <a:latin typeface="+mn-lt"/>
                          <a:ea typeface="+mn-ea"/>
                          <a:cs typeface="+mn-cs"/>
                        </a:rPr>
                        <a:t>Energy mix</a:t>
                      </a:r>
                    </a:p>
                  </a:txBody>
                  <a:tcP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tcPr>
                </a:tc>
                <a:tc>
                  <a:txBody>
                    <a:bodyPr/>
                    <a:lstStyle/>
                    <a:p>
                      <a:endParaRPr lang="en-US"/>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tcPr>
                </a:tc>
                <a:tc>
                  <a:txBody>
                    <a:bodyPr/>
                    <a:lstStyle/>
                    <a:p>
                      <a:endParaRPr lang="en-US"/>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tcPr>
                </a:tc>
                <a:tc>
                  <a:txBody>
                    <a:bodyPr/>
                    <a:lstStyle/>
                    <a:p>
                      <a:endParaRPr lang="en-US" dirty="0"/>
                    </a:p>
                  </a:txBody>
                  <a:tcPr>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1477565738"/>
                  </a:ext>
                </a:extLst>
              </a:tr>
            </a:tbl>
          </a:graphicData>
        </a:graphic>
      </p:graphicFrame>
      <p:sp>
        <p:nvSpPr>
          <p:cNvPr id="6" name="Title 5">
            <a:extLst>
              <a:ext uri="{FF2B5EF4-FFF2-40B4-BE49-F238E27FC236}">
                <a16:creationId xmlns:a16="http://schemas.microsoft.com/office/drawing/2014/main" id="{3AD2ABB7-1CE1-E19A-7A76-CFA3C694698A}"/>
              </a:ext>
            </a:extLst>
          </p:cNvPr>
          <p:cNvSpPr>
            <a:spLocks noGrp="1"/>
          </p:cNvSpPr>
          <p:nvPr>
            <p:ph type="title"/>
          </p:nvPr>
        </p:nvSpPr>
        <p:spPr/>
        <p:txBody>
          <a:bodyPr vert="horz">
            <a:noAutofit/>
          </a:bodyPr>
          <a:lstStyle/>
          <a:p>
            <a:r>
              <a:rPr lang="en-US" dirty="0"/>
              <a:t>Japan, Korea, and India all aim to increase nuclear capacity to enhance energy security and reduce reliance on fossil fuel</a:t>
            </a:r>
          </a:p>
        </p:txBody>
      </p:sp>
      <p:sp>
        <p:nvSpPr>
          <p:cNvPr id="32" name="btfpNotesBox368131">
            <a:hlinkClick r:id="rId82"/>
            <a:extLst>
              <a:ext uri="{FF2B5EF4-FFF2-40B4-BE49-F238E27FC236}">
                <a16:creationId xmlns:a16="http://schemas.microsoft.com/office/drawing/2014/main" id="{8DD775B5-ED1B-89DD-8DAC-BAC88D765A1D}"/>
              </a:ext>
            </a:extLst>
          </p:cNvPr>
          <p:cNvSpPr txBox="1"/>
          <p:nvPr>
            <p:custDataLst>
              <p:tags r:id="rId3"/>
            </p:custDataLst>
          </p:nvPr>
        </p:nvSpPr>
        <p:spPr bwMode="gray">
          <a:xfrm>
            <a:off x="330200" y="6029302"/>
            <a:ext cx="9285288" cy="61555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W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3"/>
              </a:rPr>
              <a:t>World Nuclear Performance Report</a:t>
            </a:r>
            <a:r>
              <a:rPr kumimoji="0" lang="en-US" sz="800" b="0" i="0" u="none" strike="noStrike" kern="1200" cap="none" spc="0" normalizeH="0" baseline="0" noProof="0" dirty="0">
                <a:ln>
                  <a:noFill/>
                </a:ln>
                <a:solidFill>
                  <a:srgbClr val="000000"/>
                </a:solidFill>
                <a:effectLst/>
                <a:uLnTx/>
                <a:uFillTx/>
                <a:latin typeface="Arial"/>
                <a:ea typeface="+mn-ea"/>
                <a:cs typeface="+mn-cs"/>
              </a:rPr>
              <a:t> (2024);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4"/>
              </a:rPr>
              <a:t>The Path to a New Era for Nuclear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5); METI, Agency for Natural Resources and Energy,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5"/>
              </a:rPr>
              <a:t>Energy in Japa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2025</a:t>
            </a:r>
            <a:r>
              <a:rPr lang="en-US" sz="800" dirty="0">
                <a:solidFill>
                  <a:srgbClr val="000000"/>
                </a:solidFill>
                <a:latin typeface="Arial"/>
              </a:rPr>
              <a:t>) (a</a:t>
            </a:r>
            <a:r>
              <a:rPr kumimoji="0" lang="en-US" sz="800" b="0" i="0" u="none" strike="noStrike" kern="1200" cap="none" spc="0" normalizeH="0" baseline="0" noProof="0" dirty="0" err="1">
                <a:ln>
                  <a:noFill/>
                </a:ln>
                <a:solidFill>
                  <a:srgbClr val="000000"/>
                </a:solidFill>
                <a:effectLst/>
                <a:uLnTx/>
                <a:uFillTx/>
                <a:latin typeface="Arial"/>
                <a:ea typeface="+mn-ea"/>
                <a:cs typeface="+mn-cs"/>
              </a:rPr>
              <a:t>vailable</a:t>
            </a:r>
            <a:r>
              <a:rPr kumimoji="0" lang="en-US" sz="800" b="0" i="0" u="none" strike="noStrike" kern="1200" cap="none" spc="0" normalizeH="0" baseline="0" noProof="0" dirty="0">
                <a:ln>
                  <a:noFill/>
                </a:ln>
                <a:solidFill>
                  <a:srgbClr val="000000"/>
                </a:solidFill>
                <a:effectLst/>
                <a:uLnTx/>
                <a:uFillTx/>
                <a:latin typeface="Arial"/>
                <a:ea typeface="+mn-ea"/>
                <a:cs typeface="+mn-cs"/>
              </a:rPr>
              <a:t> only in Japanese); W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6"/>
              </a:rPr>
              <a:t>South Korea Confirms Need for New Reactors</a:t>
            </a:r>
            <a:r>
              <a:rPr kumimoji="0" lang="en-US" sz="800" b="0" i="0" u="none" strike="noStrike" kern="1200" cap="none" spc="0" normalizeH="0" baseline="0" noProof="0" dirty="0">
                <a:ln>
                  <a:noFill/>
                </a:ln>
                <a:solidFill>
                  <a:srgbClr val="000000"/>
                </a:solidFill>
                <a:effectLst/>
                <a:uLnTx/>
                <a:uFillTx/>
                <a:latin typeface="Arial"/>
                <a:ea typeface="+mn-ea"/>
                <a:cs typeface="+mn-cs"/>
              </a:rPr>
              <a:t> (2025); IEEF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7"/>
              </a:rPr>
              <a:t>South Korea’s 11th Power Plan Makes Partial Progress Towards Decarboniza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r>
              <a:rPr kumimoji="0" lang="en-US" sz="800" b="0" i="0" u="none" strike="noStrike" kern="1200" cap="none" spc="0" normalizeH="0" baseline="0" noProof="0" dirty="0" err="1">
                <a:ln>
                  <a:noFill/>
                </a:ln>
                <a:solidFill>
                  <a:srgbClr val="000000"/>
                </a:solidFill>
                <a:effectLst/>
                <a:uLnTx/>
                <a:uFillTx/>
                <a:latin typeface="Arial"/>
                <a:ea typeface="+mn-ea"/>
                <a:cs typeface="+mn-cs"/>
              </a:rPr>
              <a:t>BloombergNEF</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8"/>
              </a:rPr>
              <a:t>India’s Clean Power Revolu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0); W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Indian </a:t>
            </a:r>
            <a:r>
              <a:rPr lang="en-US" sz="800" dirty="0">
                <a:solidFill>
                  <a:srgbClr val="000000"/>
                </a:solidFill>
                <a:latin typeface="Arial"/>
                <a:hlinkClick r:id="rId89"/>
              </a:rPr>
              <a:t>B</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udget </a:t>
            </a:r>
            <a:r>
              <a:rPr lang="en-US" sz="800" dirty="0">
                <a:solidFill>
                  <a:srgbClr val="000000"/>
                </a:solidFill>
                <a:latin typeface="Arial"/>
                <a:hlinkClick r:id="rId89"/>
              </a:rPr>
              <a:t>L</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aunches Nuclear Energy Mission</a:t>
            </a:r>
            <a:r>
              <a:rPr kumimoji="0" lang="en-US" sz="800" b="0" i="0" u="none" strike="noStrike" kern="1200" cap="none" spc="0" normalizeH="0" baseline="0" noProof="0" dirty="0">
                <a:ln>
                  <a:noFill/>
                </a:ln>
                <a:solidFill>
                  <a:srgbClr val="000000"/>
                </a:solidFill>
                <a:effectLst/>
                <a:uLnTx/>
                <a:uFillTx/>
                <a:latin typeface="Arial"/>
                <a:ea typeface="+mn-ea"/>
                <a:cs typeface="+mn-cs"/>
              </a:rPr>
              <a:t> (2025); Impact and Policy Research Institut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Nuclear Energy Mission for Vikasit Bharat 2025</a:t>
            </a:r>
            <a:r>
              <a:rPr kumimoji="0" lang="en-US" sz="800" b="0" i="0" u="none" strike="noStrike" kern="1200" cap="none" spc="0" normalizeH="0" baseline="0" noProof="0" dirty="0">
                <a:ln>
                  <a:noFill/>
                </a:ln>
                <a:solidFill>
                  <a:srgbClr val="000000"/>
                </a:solidFill>
                <a:effectLst/>
                <a:uLnTx/>
                <a:uFillTx/>
                <a:latin typeface="Arial"/>
                <a:ea typeface="+mn-ea"/>
                <a:cs typeface="+mn-cs"/>
              </a:rPr>
              <a:t> (2025); Embe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1"/>
              </a:rPr>
              <a:t>Electricity Data Explorer</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inako Arai,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2"/>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3"/>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cxnSp>
        <p:nvCxnSpPr>
          <p:cNvPr id="193" name="Straight Connector 192">
            <a:extLst>
              <a:ext uri="{FF2B5EF4-FFF2-40B4-BE49-F238E27FC236}">
                <a16:creationId xmlns:a16="http://schemas.microsoft.com/office/drawing/2014/main" id="{2975D5F1-F823-68F8-E46D-F9AA4D27829D}"/>
              </a:ext>
            </a:extLst>
          </p:cNvPr>
          <p:cNvCxnSpPr>
            <a:cxnSpLocks/>
          </p:cNvCxnSpPr>
          <p:nvPr>
            <p:custDataLst>
              <p:tags r:id="rId4"/>
            </p:custDataLst>
          </p:nvPr>
        </p:nvCxnSpPr>
        <p:spPr bwMode="auto">
          <a:xfrm flipV="1">
            <a:off x="3563938" y="4446588"/>
            <a:ext cx="447675" cy="1857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FAB9CE0A-BEF0-ECA3-59FB-012DC107CB8B}"/>
              </a:ext>
            </a:extLst>
          </p:cNvPr>
          <p:cNvCxnSpPr>
            <a:cxnSpLocks/>
          </p:cNvCxnSpPr>
          <p:nvPr>
            <p:custDataLst>
              <p:tags r:id="rId5"/>
            </p:custDataLst>
          </p:nvPr>
        </p:nvCxnSpPr>
        <p:spPr bwMode="auto">
          <a:xfrm>
            <a:off x="3563938" y="4970463"/>
            <a:ext cx="447675" cy="3556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9" name="Straight Connector 218">
            <a:extLst>
              <a:ext uri="{FF2B5EF4-FFF2-40B4-BE49-F238E27FC236}">
                <a16:creationId xmlns:a16="http://schemas.microsoft.com/office/drawing/2014/main" id="{C478486C-48A7-82AC-AD08-ECDFEB3756B5}"/>
              </a:ext>
            </a:extLst>
          </p:cNvPr>
          <p:cNvCxnSpPr>
            <a:cxnSpLocks/>
          </p:cNvCxnSpPr>
          <p:nvPr>
            <p:custDataLst>
              <p:tags r:id="rId6"/>
            </p:custDataLst>
          </p:nvPr>
        </p:nvCxnSpPr>
        <p:spPr bwMode="auto">
          <a:xfrm>
            <a:off x="3563938" y="4881563"/>
            <a:ext cx="447675" cy="1936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E44B438C-7F55-2209-A6E4-6508DA5CD01F}"/>
              </a:ext>
            </a:extLst>
          </p:cNvPr>
          <p:cNvCxnSpPr/>
          <p:nvPr>
            <p:custDataLst>
              <p:tags r:id="rId7"/>
            </p:custDataLst>
          </p:nvPr>
        </p:nvCxnSpPr>
        <p:spPr bwMode="auto">
          <a:xfrm>
            <a:off x="2566988" y="4592638"/>
            <a:ext cx="434975" cy="396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FC8BC55F-7838-B23C-D2C0-BC5D8562A476}"/>
              </a:ext>
            </a:extLst>
          </p:cNvPr>
          <p:cNvCxnSpPr/>
          <p:nvPr>
            <p:custDataLst>
              <p:tags r:id="rId8"/>
            </p:custDataLst>
          </p:nvPr>
        </p:nvCxnSpPr>
        <p:spPr bwMode="auto">
          <a:xfrm>
            <a:off x="2565400" y="4737100"/>
            <a:ext cx="436563" cy="2333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5EAD448F-B367-DB2A-13C1-A955303775C1}"/>
              </a:ext>
            </a:extLst>
          </p:cNvPr>
          <p:cNvCxnSpPr/>
          <p:nvPr>
            <p:custDataLst>
              <p:tags r:id="rId9"/>
            </p:custDataLst>
          </p:nvPr>
        </p:nvCxnSpPr>
        <p:spPr bwMode="auto">
          <a:xfrm>
            <a:off x="2566988" y="4735513"/>
            <a:ext cx="434975" cy="14605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4" name="Chart 3">
            <a:extLst>
              <a:ext uri="{FF2B5EF4-FFF2-40B4-BE49-F238E27FC236}">
                <a16:creationId xmlns:a16="http://schemas.microsoft.com/office/drawing/2014/main" id="{4EFA15FE-D95F-180F-F35D-AA771C8FF2CF}"/>
              </a:ext>
            </a:extLst>
          </p:cNvPr>
          <p:cNvGraphicFramePr/>
          <p:nvPr>
            <p:custDataLst>
              <p:tags r:id="rId10"/>
            </p:custDataLst>
            <p:extLst>
              <p:ext uri="{D42A27DB-BD31-4B8C-83A1-F6EECF244321}">
                <p14:modId xmlns:p14="http://schemas.microsoft.com/office/powerpoint/2010/main" val="719552325"/>
              </p:ext>
            </p:extLst>
          </p:nvPr>
        </p:nvGraphicFramePr>
        <p:xfrm>
          <a:off x="1687513" y="4364038"/>
          <a:ext cx="3190875" cy="1422400"/>
        </p:xfrm>
        <a:graphic>
          <a:graphicData uri="http://schemas.openxmlformats.org/drawingml/2006/chart">
            <c:chart xmlns:c="http://schemas.openxmlformats.org/drawingml/2006/chart" xmlns:r="http://schemas.openxmlformats.org/officeDocument/2006/relationships" r:id="rId94"/>
          </a:graphicData>
        </a:graphic>
      </p:graphicFrame>
      <p:sp>
        <p:nvSpPr>
          <p:cNvPr id="52" name="Text Placeholder 10">
            <a:extLst>
              <a:ext uri="{FF2B5EF4-FFF2-40B4-BE49-F238E27FC236}">
                <a16:creationId xmlns:a16="http://schemas.microsoft.com/office/drawing/2014/main" id="{5E55D1BF-CB7C-699E-E867-F801ADB1E4D2}"/>
              </a:ext>
            </a:extLst>
          </p:cNvPr>
          <p:cNvSpPr txBox="1">
            <a:spLocks/>
          </p:cNvSpPr>
          <p:nvPr>
            <p:custDataLst>
              <p:tags r:id="rId11"/>
            </p:custDataLst>
          </p:nvPr>
        </p:nvSpPr>
        <p:spPr bwMode="auto">
          <a:xfrm>
            <a:off x="3136900" y="57467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14D6C75-879C-4C72-86EC-BCB89E166D25}" type="datetime'''''2''0''''2''''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33" name="Text Placeholder 10">
            <a:extLst>
              <a:ext uri="{FF2B5EF4-FFF2-40B4-BE49-F238E27FC236}">
                <a16:creationId xmlns:a16="http://schemas.microsoft.com/office/drawing/2014/main" id="{E4D0B497-F33E-10C9-BD20-97D89F8E9951}"/>
              </a:ext>
            </a:extLst>
          </p:cNvPr>
          <p:cNvSpPr txBox="1">
            <a:spLocks/>
          </p:cNvSpPr>
          <p:nvPr>
            <p:custDataLst>
              <p:tags r:id="rId12"/>
            </p:custDataLst>
          </p:nvPr>
        </p:nvSpPr>
        <p:spPr bwMode="gray">
          <a:xfrm>
            <a:off x="4148138" y="46847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C927084-501F-4E7D-8497-23F787233E20}" type="datetime'''''''''''''''''''''''5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034" name="Text Placeholder 10">
            <a:extLst>
              <a:ext uri="{FF2B5EF4-FFF2-40B4-BE49-F238E27FC236}">
                <a16:creationId xmlns:a16="http://schemas.microsoft.com/office/drawing/2014/main" id="{90376A9E-7D20-157C-D114-8DD3142CA82C}"/>
              </a:ext>
            </a:extLst>
          </p:cNvPr>
          <p:cNvSpPr txBox="1">
            <a:spLocks/>
          </p:cNvSpPr>
          <p:nvPr>
            <p:custDataLst>
              <p:tags r:id="rId13"/>
            </p:custDataLst>
          </p:nvPr>
        </p:nvSpPr>
        <p:spPr bwMode="gray">
          <a:xfrm>
            <a:off x="4148138" y="51244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72988D4-6E33-47F5-B397-B169C015C861}" type="datetime'2''''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035" name="Text Placeholder 10">
            <a:extLst>
              <a:ext uri="{FF2B5EF4-FFF2-40B4-BE49-F238E27FC236}">
                <a16:creationId xmlns:a16="http://schemas.microsoft.com/office/drawing/2014/main" id="{8B10AF60-0A6F-81F2-3F71-059169C775F8}"/>
              </a:ext>
            </a:extLst>
          </p:cNvPr>
          <p:cNvSpPr txBox="1">
            <a:spLocks/>
          </p:cNvSpPr>
          <p:nvPr>
            <p:custDataLst>
              <p:tags r:id="rId14"/>
            </p:custDataLst>
          </p:nvPr>
        </p:nvSpPr>
        <p:spPr bwMode="gray">
          <a:xfrm>
            <a:off x="4148138" y="54387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FB0240D-8CE5-4A91-BCC5-F66E21EDE466}" type="datetime'''3''''''''''''''''''''''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025" name="Text Placeholder 10">
            <a:extLst>
              <a:ext uri="{FF2B5EF4-FFF2-40B4-BE49-F238E27FC236}">
                <a16:creationId xmlns:a16="http://schemas.microsoft.com/office/drawing/2014/main" id="{D6D636BE-79FB-B9B4-46B5-9090455E6C4F}"/>
              </a:ext>
            </a:extLst>
          </p:cNvPr>
          <p:cNvSpPr txBox="1">
            <a:spLocks/>
          </p:cNvSpPr>
          <p:nvPr>
            <p:custDataLst>
              <p:tags r:id="rId15"/>
            </p:custDataLst>
          </p:nvPr>
        </p:nvSpPr>
        <p:spPr bwMode="gray">
          <a:xfrm>
            <a:off x="2271713" y="45847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C96D902-6ACF-4F07-B164-870BDBA0A577}" type="datetime'''''''''1''''''''''''3''''''''''''''''''''''''''''''''%'''">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3%</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032" name="Text Placeholder 10">
            <a:extLst>
              <a:ext uri="{FF2B5EF4-FFF2-40B4-BE49-F238E27FC236}">
                <a16:creationId xmlns:a16="http://schemas.microsoft.com/office/drawing/2014/main" id="{FCD07152-9B2B-38AF-FD69-E24A7FA3D537}"/>
              </a:ext>
            </a:extLst>
          </p:cNvPr>
          <p:cNvSpPr txBox="1">
            <a:spLocks/>
          </p:cNvSpPr>
          <p:nvPr>
            <p:custDataLst>
              <p:tags r:id="rId16"/>
            </p:custDataLst>
          </p:nvPr>
        </p:nvSpPr>
        <p:spPr bwMode="gray">
          <a:xfrm>
            <a:off x="3140075" y="52609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87AE007-F7AC-48CC-A46A-A8B5440F4DDE}" type="datetime'''''''''''''''''''''''''''''6''''''''8''''''''''''''''''''%'''">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8%</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47" name="Text Placeholder 10">
            <a:extLst>
              <a:ext uri="{FF2B5EF4-FFF2-40B4-BE49-F238E27FC236}">
                <a16:creationId xmlns:a16="http://schemas.microsoft.com/office/drawing/2014/main" id="{57776B51-EC21-6F0F-55D8-F4701D8B55C5}"/>
              </a:ext>
            </a:extLst>
          </p:cNvPr>
          <p:cNvSpPr txBox="1">
            <a:spLocks/>
          </p:cNvSpPr>
          <p:nvPr>
            <p:custDataLst>
              <p:tags r:id="rId17"/>
            </p:custDataLst>
          </p:nvPr>
        </p:nvSpPr>
        <p:spPr bwMode="gray">
          <a:xfrm>
            <a:off x="3175000" y="4849813"/>
            <a:ext cx="217488"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1439CE6-FA0B-4D75-8B93-105DE36A7CD3}" type="datetime'''''''''''''''''''''''''''''''''8''''''''''''%'''''">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031" name="Text Placeholder 10">
            <a:extLst>
              <a:ext uri="{FF2B5EF4-FFF2-40B4-BE49-F238E27FC236}">
                <a16:creationId xmlns:a16="http://schemas.microsoft.com/office/drawing/2014/main" id="{4A413CB8-6032-0F5E-7FF5-80B5BF1FFEBE}"/>
              </a:ext>
            </a:extLst>
          </p:cNvPr>
          <p:cNvSpPr txBox="1">
            <a:spLocks/>
          </p:cNvSpPr>
          <p:nvPr>
            <p:custDataLst>
              <p:tags r:id="rId18"/>
            </p:custDataLst>
          </p:nvPr>
        </p:nvSpPr>
        <p:spPr bwMode="gray">
          <a:xfrm>
            <a:off x="3140075" y="46799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15DECC8-CEA8-40C6-A612-EF7CBC20490C}" type="datetime'''''2''''''''3''''%'''''''''''''''''">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3%</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50" name="Text Placeholder 10">
            <a:extLst>
              <a:ext uri="{FF2B5EF4-FFF2-40B4-BE49-F238E27FC236}">
                <a16:creationId xmlns:a16="http://schemas.microsoft.com/office/drawing/2014/main" id="{11094F13-08D8-BE0F-469F-8A25EF8A5F6A}"/>
              </a:ext>
            </a:extLst>
          </p:cNvPr>
          <p:cNvSpPr txBox="1">
            <a:spLocks/>
          </p:cNvSpPr>
          <p:nvPr>
            <p:custDataLst>
              <p:tags r:id="rId19"/>
            </p:custDataLst>
          </p:nvPr>
        </p:nvSpPr>
        <p:spPr bwMode="auto">
          <a:xfrm>
            <a:off x="2127250" y="57467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736470-A655-4929-B09A-2BEDCED60AEC}" type="datetime'''''''''''''''''2''''''''''''''''''''0''''''''''1''''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4</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29" name="Text Placeholder 10">
            <a:extLst>
              <a:ext uri="{FF2B5EF4-FFF2-40B4-BE49-F238E27FC236}">
                <a16:creationId xmlns:a16="http://schemas.microsoft.com/office/drawing/2014/main" id="{36D7B184-7A28-8428-96F3-A545917BFCC0}"/>
              </a:ext>
            </a:extLst>
          </p:cNvPr>
          <p:cNvSpPr txBox="1">
            <a:spLocks/>
          </p:cNvSpPr>
          <p:nvPr>
            <p:custDataLst>
              <p:tags r:id="rId20"/>
            </p:custDataLst>
          </p:nvPr>
        </p:nvSpPr>
        <p:spPr bwMode="gray">
          <a:xfrm>
            <a:off x="2130425" y="51403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E58410B-7238-4CDC-9D8C-5DFFBF95210B}" type="datetime'''''''''8''''''''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7%</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46" name="Text Placeholder 10">
            <a:extLst>
              <a:ext uri="{FF2B5EF4-FFF2-40B4-BE49-F238E27FC236}">
                <a16:creationId xmlns:a16="http://schemas.microsoft.com/office/drawing/2014/main" id="{516CDB47-8112-9EA0-48F5-7AE2C2303DD4}"/>
              </a:ext>
            </a:extLst>
          </p:cNvPr>
          <p:cNvSpPr txBox="1">
            <a:spLocks/>
          </p:cNvSpPr>
          <p:nvPr>
            <p:custDataLst>
              <p:tags r:id="rId21"/>
            </p:custDataLst>
          </p:nvPr>
        </p:nvSpPr>
        <p:spPr bwMode="gray">
          <a:xfrm>
            <a:off x="2025650" y="4654550"/>
            <a:ext cx="217488"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ED1BE1A-5BE1-4941-9608-DC8E07039BD5}" type="datetime'''''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43" name="Text Placeholder 10">
            <a:extLst>
              <a:ext uri="{FF2B5EF4-FFF2-40B4-BE49-F238E27FC236}">
                <a16:creationId xmlns:a16="http://schemas.microsoft.com/office/drawing/2014/main" id="{066F042B-9031-FF97-648D-32B89379E9F9}"/>
              </a:ext>
            </a:extLst>
          </p:cNvPr>
          <p:cNvSpPr txBox="1">
            <a:spLocks/>
          </p:cNvSpPr>
          <p:nvPr>
            <p:custDataLst>
              <p:tags r:id="rId22"/>
            </p:custDataLst>
          </p:nvPr>
        </p:nvSpPr>
        <p:spPr bwMode="gray">
          <a:xfrm>
            <a:off x="2098675" y="44132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1B8FBD-8EA1-4B05-8374-D508AF837931}" type="datetime'1'''''''''',''''''0''''''''6''''''''''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63</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4" name="Text Placeholder 10">
            <a:extLst>
              <a:ext uri="{FF2B5EF4-FFF2-40B4-BE49-F238E27FC236}">
                <a16:creationId xmlns:a16="http://schemas.microsoft.com/office/drawing/2014/main" id="{2FD96E7D-CE72-3A63-1C2E-3C63371393FC}"/>
              </a:ext>
            </a:extLst>
          </p:cNvPr>
          <p:cNvSpPr txBox="1">
            <a:spLocks/>
          </p:cNvSpPr>
          <p:nvPr>
            <p:custDataLst>
              <p:tags r:id="rId23"/>
            </p:custDataLst>
          </p:nvPr>
        </p:nvSpPr>
        <p:spPr bwMode="gray">
          <a:xfrm>
            <a:off x="3108325" y="44545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4A5DC1E-F535-4203-87F9-97EC532C2F75}" type="datetime'''''''''''''''1'''''',''''''0''''''''''''''2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22</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7" name="Text Placeholder 10">
            <a:extLst>
              <a:ext uri="{FF2B5EF4-FFF2-40B4-BE49-F238E27FC236}">
                <a16:creationId xmlns:a16="http://schemas.microsoft.com/office/drawing/2014/main" id="{5A8882E9-483A-6F3F-4D22-C12CE73BE1BC}"/>
              </a:ext>
            </a:extLst>
          </p:cNvPr>
          <p:cNvSpPr txBox="1">
            <a:spLocks/>
          </p:cNvSpPr>
          <p:nvPr>
            <p:custDataLst>
              <p:tags r:id="rId24"/>
            </p:custDataLst>
          </p:nvPr>
        </p:nvSpPr>
        <p:spPr bwMode="gray">
          <a:xfrm>
            <a:off x="4116388" y="42687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D84B73A-FAB0-4041-BC32-0E3E75C19BBE}" type="datetime'''1,''''''''2''''''''''''''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6" name="Text Placeholder 10">
            <a:extLst>
              <a:ext uri="{FF2B5EF4-FFF2-40B4-BE49-F238E27FC236}">
                <a16:creationId xmlns:a16="http://schemas.microsoft.com/office/drawing/2014/main" id="{2A852A44-3061-DB44-36AB-CD019F9B1194}"/>
              </a:ext>
            </a:extLst>
          </p:cNvPr>
          <p:cNvSpPr txBox="1">
            <a:spLocks/>
          </p:cNvSpPr>
          <p:nvPr>
            <p:custDataLst>
              <p:tags r:id="rId25"/>
            </p:custDataLst>
          </p:nvPr>
        </p:nvSpPr>
        <p:spPr bwMode="auto">
          <a:xfrm>
            <a:off x="3902075" y="5746750"/>
            <a:ext cx="777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AE5A4BF-EA3F-467B-B325-813213D0A6CE}"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r>
              <a:rPr kumimoji="0" lang="en-US" altLang="en-US" sz="1000" b="0" i="0" u="none" strike="noStrike" kern="1200" cap="none" spc="0" normalizeH="0" baseline="0" noProof="0">
                <a:ln>
                  <a:noFill/>
                </a:ln>
                <a:solidFill>
                  <a:srgbClr val="000000"/>
                </a:solidFill>
                <a:effectLst/>
                <a:uLnTx/>
                <a:uFillTx/>
                <a:latin typeface="Arial"/>
                <a:ea typeface="+mn-ea"/>
                <a:cs typeface="+mn-cs"/>
              </a:rPr>
              <a:t> (Target)</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23" name="Rectangle 122">
            <a:extLst>
              <a:ext uri="{FF2B5EF4-FFF2-40B4-BE49-F238E27FC236}">
                <a16:creationId xmlns:a16="http://schemas.microsoft.com/office/drawing/2014/main" id="{93A0B62A-20E9-9832-6109-44BA15D66939}"/>
              </a:ext>
            </a:extLst>
          </p:cNvPr>
          <p:cNvSpPr/>
          <p:nvPr>
            <p:custDataLst>
              <p:tags r:id="rId26"/>
            </p:custDataLst>
          </p:nvPr>
        </p:nvSpPr>
        <p:spPr bwMode="auto">
          <a:xfrm>
            <a:off x="504825" y="4710113"/>
            <a:ext cx="179388" cy="133350"/>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4" name="Rectangle 123">
            <a:extLst>
              <a:ext uri="{FF2B5EF4-FFF2-40B4-BE49-F238E27FC236}">
                <a16:creationId xmlns:a16="http://schemas.microsoft.com/office/drawing/2014/main" id="{3524DE47-B710-6B04-2C3F-C8176B977303}"/>
              </a:ext>
            </a:extLst>
          </p:cNvPr>
          <p:cNvSpPr/>
          <p:nvPr>
            <p:custDataLst>
              <p:tags r:id="rId27"/>
            </p:custDataLst>
          </p:nvPr>
        </p:nvSpPr>
        <p:spPr bwMode="auto">
          <a:xfrm>
            <a:off x="504825" y="4913313"/>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5" name="Rectangle 124">
            <a:extLst>
              <a:ext uri="{FF2B5EF4-FFF2-40B4-BE49-F238E27FC236}">
                <a16:creationId xmlns:a16="http://schemas.microsoft.com/office/drawing/2014/main" id="{44E09674-5201-97F8-D49A-F70B34863558}"/>
              </a:ext>
            </a:extLst>
          </p:cNvPr>
          <p:cNvSpPr/>
          <p:nvPr>
            <p:custDataLst>
              <p:tags r:id="rId28"/>
            </p:custDataLst>
          </p:nvPr>
        </p:nvSpPr>
        <p:spPr bwMode="auto">
          <a:xfrm>
            <a:off x="504825" y="5116513"/>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4" name="Text Placeholder 10">
            <a:extLst>
              <a:ext uri="{FF2B5EF4-FFF2-40B4-BE49-F238E27FC236}">
                <a16:creationId xmlns:a16="http://schemas.microsoft.com/office/drawing/2014/main" id="{0E58CE0E-0C48-2C17-48E4-4B5DDAF1DBAC}"/>
              </a:ext>
            </a:extLst>
          </p:cNvPr>
          <p:cNvSpPr txBox="1">
            <a:spLocks/>
          </p:cNvSpPr>
          <p:nvPr>
            <p:custDataLst>
              <p:tags r:id="rId29"/>
            </p:custDataLst>
          </p:nvPr>
        </p:nvSpPr>
        <p:spPr bwMode="auto">
          <a:xfrm>
            <a:off x="735013" y="4705350"/>
            <a:ext cx="631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956C395-A204-47C9-9E13-AB99ABDF0A8D}" type="datetime'R''en''''''e''''''''''''w''ab''''l''''''''''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enewable</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5" name="Text Placeholder 10">
            <a:extLst>
              <a:ext uri="{FF2B5EF4-FFF2-40B4-BE49-F238E27FC236}">
                <a16:creationId xmlns:a16="http://schemas.microsoft.com/office/drawing/2014/main" id="{B475D606-2E99-F980-C07B-F6DA7D31FD35}"/>
              </a:ext>
            </a:extLst>
          </p:cNvPr>
          <p:cNvSpPr txBox="1">
            <a:spLocks/>
          </p:cNvSpPr>
          <p:nvPr>
            <p:custDataLst>
              <p:tags r:id="rId30"/>
            </p:custDataLst>
          </p:nvPr>
        </p:nvSpPr>
        <p:spPr bwMode="auto">
          <a:xfrm>
            <a:off x="735013" y="4908550"/>
            <a:ext cx="436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2335D8F-1FB1-4CFE-B44F-0E0FA8BEED4F}" type="datetime'N''''''u''''''''''c''''''''''''''''''''''l''''''e''''a''''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uclear</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 name="Text Placeholder 10">
            <a:extLst>
              <a:ext uri="{FF2B5EF4-FFF2-40B4-BE49-F238E27FC236}">
                <a16:creationId xmlns:a16="http://schemas.microsoft.com/office/drawing/2014/main" id="{CFA4F94A-B04D-0108-5792-BDB16D7F6FDF}"/>
              </a:ext>
            </a:extLst>
          </p:cNvPr>
          <p:cNvSpPr txBox="1">
            <a:spLocks/>
          </p:cNvSpPr>
          <p:nvPr>
            <p:custDataLst>
              <p:tags r:id="rId31"/>
            </p:custDataLst>
          </p:nvPr>
        </p:nvSpPr>
        <p:spPr bwMode="auto">
          <a:xfrm>
            <a:off x="735013" y="5111750"/>
            <a:ext cx="569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1BE97F0-C193-4AEB-9417-0D2451DD8C54}" type="datetime'Foss''''''''i''''''l'''''' ''''''''''''''''fue''''''l'''''">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Fossil fuel</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pic>
        <p:nvPicPr>
          <p:cNvPr id="1026" name="Picture 2">
            <a:extLst>
              <a:ext uri="{FF2B5EF4-FFF2-40B4-BE49-F238E27FC236}">
                <a16:creationId xmlns:a16="http://schemas.microsoft.com/office/drawing/2014/main" id="{1F471451-E3C8-B900-A1E1-397811A95A95}"/>
              </a:ext>
            </a:extLst>
          </p:cNvPr>
          <p:cNvPicPr>
            <a:picLocks noChangeAspect="1" noChangeArrowheads="1"/>
          </p:cNvPicPr>
          <p:nvPr/>
        </p:nvPicPr>
        <p:blipFill>
          <a:blip r:embed="rId95" cstate="screen">
            <a:extLst>
              <a:ext uri="{28A0092B-C50C-407E-A947-70E740481C1C}">
                <a14:useLocalDpi xmlns:a14="http://schemas.microsoft.com/office/drawing/2010/main"/>
              </a:ext>
            </a:extLst>
          </a:blip>
          <a:srcRect/>
          <a:stretch>
            <a:fillRect/>
          </a:stretch>
        </p:blipFill>
        <p:spPr bwMode="auto">
          <a:xfrm>
            <a:off x="1712735" y="1570355"/>
            <a:ext cx="263989" cy="1762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D5EB1B10-C312-4402-7719-3BE23AC2EC7B}"/>
              </a:ext>
            </a:extLst>
          </p:cNvPr>
          <p:cNvPicPr>
            <a:picLocks noChangeAspect="1" noChangeArrowheads="1"/>
          </p:cNvPicPr>
          <p:nvPr/>
        </p:nvPicPr>
        <p:blipFill>
          <a:blip r:embed="rId96" cstate="screen">
            <a:extLst>
              <a:ext uri="{28A0092B-C50C-407E-A947-70E740481C1C}">
                <a14:useLocalDpi xmlns:a14="http://schemas.microsoft.com/office/drawing/2010/main"/>
              </a:ext>
            </a:extLst>
          </a:blip>
          <a:srcRect/>
          <a:stretch>
            <a:fillRect/>
          </a:stretch>
        </p:blipFill>
        <p:spPr bwMode="auto">
          <a:xfrm>
            <a:off x="5171264" y="1570355"/>
            <a:ext cx="263160" cy="1762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13D812E9-435D-C426-9FCA-F06F9511628E}"/>
              </a:ext>
            </a:extLst>
          </p:cNvPr>
          <p:cNvPicPr>
            <a:picLocks noChangeAspect="1" noChangeArrowheads="1"/>
          </p:cNvPicPr>
          <p:nvPr/>
        </p:nvPicPr>
        <p:blipFill>
          <a:blip r:embed="rId97" cstate="screen">
            <a:extLst>
              <a:ext uri="{28A0092B-C50C-407E-A947-70E740481C1C}">
                <a14:useLocalDpi xmlns:a14="http://schemas.microsoft.com/office/drawing/2010/main"/>
              </a:ext>
            </a:extLst>
          </a:blip>
          <a:srcRect/>
          <a:stretch>
            <a:fillRect/>
          </a:stretch>
        </p:blipFill>
        <p:spPr bwMode="auto">
          <a:xfrm>
            <a:off x="8602649" y="1570355"/>
            <a:ext cx="292529" cy="195263"/>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FCEFA197-7464-89B8-73E4-1240DA638232}"/>
              </a:ext>
            </a:extLst>
          </p:cNvPr>
          <p:cNvSpPr txBox="1"/>
          <p:nvPr/>
        </p:nvSpPr>
        <p:spPr bwMode="gray">
          <a:xfrm>
            <a:off x="1551550" y="4270693"/>
            <a:ext cx="766238" cy="438150"/>
          </a:xfrm>
          <a:prstGeom prst="rect">
            <a:avLst/>
          </a:prstGeom>
          <a:noFill/>
          <a:ln>
            <a:noFill/>
          </a:ln>
        </p:spPr>
        <p:txBody>
          <a:bodyPr wrap="square" lIns="137160" tIns="137160" rIns="274320" bIns="13716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TWh</a:t>
            </a:r>
          </a:p>
        </p:txBody>
      </p:sp>
      <p:cxnSp>
        <p:nvCxnSpPr>
          <p:cNvPr id="1047" name="Straight Connector 1046">
            <a:extLst>
              <a:ext uri="{FF2B5EF4-FFF2-40B4-BE49-F238E27FC236}">
                <a16:creationId xmlns:a16="http://schemas.microsoft.com/office/drawing/2014/main" id="{9CB9F2C3-3183-F1EB-A88A-2E970B3F8F45}"/>
              </a:ext>
            </a:extLst>
          </p:cNvPr>
          <p:cNvCxnSpPr/>
          <p:nvPr>
            <p:custDataLst>
              <p:tags r:id="rId32"/>
            </p:custDataLst>
          </p:nvPr>
        </p:nvCxnSpPr>
        <p:spPr bwMode="auto">
          <a:xfrm flipV="1">
            <a:off x="7023100" y="4446588"/>
            <a:ext cx="447675" cy="1476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9D6ADA2F-C180-46EB-23B2-41BA3817D1D9}"/>
              </a:ext>
            </a:extLst>
          </p:cNvPr>
          <p:cNvCxnSpPr>
            <a:cxnSpLocks/>
          </p:cNvCxnSpPr>
          <p:nvPr>
            <p:custDataLst>
              <p:tags r:id="rId33"/>
            </p:custDataLst>
          </p:nvPr>
        </p:nvCxnSpPr>
        <p:spPr bwMode="auto">
          <a:xfrm>
            <a:off x="7023100" y="5037138"/>
            <a:ext cx="447675" cy="4079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48" name="Straight Connector 1047">
            <a:extLst>
              <a:ext uri="{FF2B5EF4-FFF2-40B4-BE49-F238E27FC236}">
                <a16:creationId xmlns:a16="http://schemas.microsoft.com/office/drawing/2014/main" id="{6121422C-0F29-EB61-9BD1-A61C8E64E1FD}"/>
              </a:ext>
            </a:extLst>
          </p:cNvPr>
          <p:cNvCxnSpPr>
            <a:cxnSpLocks/>
          </p:cNvCxnSpPr>
          <p:nvPr>
            <p:custDataLst>
              <p:tags r:id="rId34"/>
            </p:custDataLst>
          </p:nvPr>
        </p:nvCxnSpPr>
        <p:spPr bwMode="auto">
          <a:xfrm>
            <a:off x="7023100" y="4705350"/>
            <a:ext cx="447675" cy="2968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294BD44E-9A52-3124-0678-7A7F9A00E50F}"/>
              </a:ext>
            </a:extLst>
          </p:cNvPr>
          <p:cNvCxnSpPr>
            <a:cxnSpLocks/>
          </p:cNvCxnSpPr>
          <p:nvPr>
            <p:custDataLst>
              <p:tags r:id="rId35"/>
            </p:custDataLst>
          </p:nvPr>
        </p:nvCxnSpPr>
        <p:spPr bwMode="auto">
          <a:xfrm flipV="1">
            <a:off x="6013450" y="4594225"/>
            <a:ext cx="447675" cy="14605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C40F72EC-0345-11EE-CB06-82215C2E9DAA}"/>
              </a:ext>
            </a:extLst>
          </p:cNvPr>
          <p:cNvCxnSpPr>
            <a:cxnSpLocks/>
          </p:cNvCxnSpPr>
          <p:nvPr>
            <p:custDataLst>
              <p:tags r:id="rId36"/>
            </p:custDataLst>
          </p:nvPr>
        </p:nvCxnSpPr>
        <p:spPr bwMode="auto">
          <a:xfrm flipV="1">
            <a:off x="6013450" y="5037138"/>
            <a:ext cx="447675" cy="15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D8CC3D86-E692-EDAE-3399-5DBA0A0FFEC4}"/>
              </a:ext>
            </a:extLst>
          </p:cNvPr>
          <p:cNvCxnSpPr>
            <a:cxnSpLocks/>
          </p:cNvCxnSpPr>
          <p:nvPr>
            <p:custDataLst>
              <p:tags r:id="rId37"/>
            </p:custDataLst>
          </p:nvPr>
        </p:nvCxnSpPr>
        <p:spPr bwMode="auto">
          <a:xfrm flipV="1">
            <a:off x="6013450" y="4705350"/>
            <a:ext cx="447675" cy="539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 name="Chart 4">
            <a:extLst>
              <a:ext uri="{FF2B5EF4-FFF2-40B4-BE49-F238E27FC236}">
                <a16:creationId xmlns:a16="http://schemas.microsoft.com/office/drawing/2014/main" id="{009211B2-2802-1AA8-F6E4-310AB92ADAC8}"/>
              </a:ext>
            </a:extLst>
          </p:cNvPr>
          <p:cNvGraphicFramePr/>
          <p:nvPr>
            <p:custDataLst>
              <p:tags r:id="rId38"/>
            </p:custDataLst>
            <p:extLst>
              <p:ext uri="{D42A27DB-BD31-4B8C-83A1-F6EECF244321}">
                <p14:modId xmlns:p14="http://schemas.microsoft.com/office/powerpoint/2010/main" val="3820207097"/>
              </p:ext>
            </p:extLst>
          </p:nvPr>
        </p:nvGraphicFramePr>
        <p:xfrm>
          <a:off x="5146675" y="4364038"/>
          <a:ext cx="3190875" cy="1422400"/>
        </p:xfrm>
        <a:graphic>
          <a:graphicData uri="http://schemas.openxmlformats.org/drawingml/2006/chart">
            <c:chart xmlns:c="http://schemas.openxmlformats.org/drawingml/2006/chart" xmlns:r="http://schemas.openxmlformats.org/officeDocument/2006/relationships" r:id="rId98"/>
          </a:graphicData>
        </a:graphic>
      </p:graphicFrame>
      <p:sp>
        <p:nvSpPr>
          <p:cNvPr id="53" name="Text Placeholder 10">
            <a:extLst>
              <a:ext uri="{FF2B5EF4-FFF2-40B4-BE49-F238E27FC236}">
                <a16:creationId xmlns:a16="http://schemas.microsoft.com/office/drawing/2014/main" id="{0ADCD038-8259-A18D-784C-7E4C910CF8CE}"/>
              </a:ext>
            </a:extLst>
          </p:cNvPr>
          <p:cNvSpPr txBox="1">
            <a:spLocks/>
          </p:cNvSpPr>
          <p:nvPr>
            <p:custDataLst>
              <p:tags r:id="rId39"/>
            </p:custDataLst>
          </p:nvPr>
        </p:nvSpPr>
        <p:spPr bwMode="auto">
          <a:xfrm>
            <a:off x="6596063" y="57467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1981EE6-A33B-4BB7-8650-DC05061B183D}" type="datetime'''''''''''''''''2''''''0''2''''''''''''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43" name="Text Placeholder 10">
            <a:extLst>
              <a:ext uri="{FF2B5EF4-FFF2-40B4-BE49-F238E27FC236}">
                <a16:creationId xmlns:a16="http://schemas.microsoft.com/office/drawing/2014/main" id="{D8B69354-B178-4FFB-605E-9CC95E932A0A}"/>
              </a:ext>
            </a:extLst>
          </p:cNvPr>
          <p:cNvSpPr txBox="1">
            <a:spLocks/>
          </p:cNvSpPr>
          <p:nvPr>
            <p:custDataLst>
              <p:tags r:id="rId40"/>
            </p:custDataLst>
          </p:nvPr>
        </p:nvSpPr>
        <p:spPr bwMode="gray">
          <a:xfrm>
            <a:off x="7607300" y="46482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63E7F23-74EF-4D46-ABB3-DB9C6E8487A4}" type="datetime'''4''4%'''''''''''''''''''''''''">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4%</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044" name="Text Placeholder 10">
            <a:extLst>
              <a:ext uri="{FF2B5EF4-FFF2-40B4-BE49-F238E27FC236}">
                <a16:creationId xmlns:a16="http://schemas.microsoft.com/office/drawing/2014/main" id="{AF305130-6E62-C3A9-FAC6-18E4C93B11B7}"/>
              </a:ext>
            </a:extLst>
          </p:cNvPr>
          <p:cNvSpPr txBox="1">
            <a:spLocks/>
          </p:cNvSpPr>
          <p:nvPr>
            <p:custDataLst>
              <p:tags r:id="rId41"/>
            </p:custDataLst>
          </p:nvPr>
        </p:nvSpPr>
        <p:spPr bwMode="gray">
          <a:xfrm>
            <a:off x="7607300" y="51466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393D16E-865F-49B7-8C4E-4E9C079BF88E}" type="datetime'''''''''''''''''''''''3''''''''''''''''''5''''''%'''''''''">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5%</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045" name="Text Placeholder 10">
            <a:extLst>
              <a:ext uri="{FF2B5EF4-FFF2-40B4-BE49-F238E27FC236}">
                <a16:creationId xmlns:a16="http://schemas.microsoft.com/office/drawing/2014/main" id="{26C3DD46-6706-3D06-742D-9F5DD26268B5}"/>
              </a:ext>
            </a:extLst>
          </p:cNvPr>
          <p:cNvSpPr txBox="1">
            <a:spLocks/>
          </p:cNvSpPr>
          <p:nvPr>
            <p:custDataLst>
              <p:tags r:id="rId42"/>
            </p:custDataLst>
          </p:nvPr>
        </p:nvSpPr>
        <p:spPr bwMode="gray">
          <a:xfrm>
            <a:off x="7607300" y="54975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45933B4-C423-4F0A-8A30-0B82EB328426}" type="datetime'''''''''''''''''''''''''''''2''''''''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14" name="Text Placeholder 10">
            <a:extLst>
              <a:ext uri="{FF2B5EF4-FFF2-40B4-BE49-F238E27FC236}">
                <a16:creationId xmlns:a16="http://schemas.microsoft.com/office/drawing/2014/main" id="{E848BA99-9752-6AEB-1EBD-EBADC71A4390}"/>
              </a:ext>
            </a:extLst>
          </p:cNvPr>
          <p:cNvSpPr txBox="1">
            <a:spLocks/>
          </p:cNvSpPr>
          <p:nvPr>
            <p:custDataLst>
              <p:tags r:id="rId43"/>
            </p:custDataLst>
          </p:nvPr>
        </p:nvSpPr>
        <p:spPr bwMode="gray">
          <a:xfrm>
            <a:off x="5624513" y="4673600"/>
            <a:ext cx="21748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9132750-A389-433D-B991-5B1F998FD654}" type="datetime'''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042" name="Text Placeholder 10">
            <a:extLst>
              <a:ext uri="{FF2B5EF4-FFF2-40B4-BE49-F238E27FC236}">
                <a16:creationId xmlns:a16="http://schemas.microsoft.com/office/drawing/2014/main" id="{1DA98E34-332D-36E5-DFA0-5A6E81D1C647}"/>
              </a:ext>
            </a:extLst>
          </p:cNvPr>
          <p:cNvSpPr txBox="1">
            <a:spLocks/>
          </p:cNvSpPr>
          <p:nvPr>
            <p:custDataLst>
              <p:tags r:id="rId44"/>
            </p:custDataLst>
          </p:nvPr>
        </p:nvSpPr>
        <p:spPr bwMode="gray">
          <a:xfrm>
            <a:off x="6599238" y="52943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0152FEA-C945-4085-AC24-B91E74FFC27B}" type="datetime'''''''''6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041" name="Text Placeholder 10">
            <a:extLst>
              <a:ext uri="{FF2B5EF4-FFF2-40B4-BE49-F238E27FC236}">
                <a16:creationId xmlns:a16="http://schemas.microsoft.com/office/drawing/2014/main" id="{6FCC6594-26FD-271D-15DA-6C60C0A82D43}"/>
              </a:ext>
            </a:extLst>
          </p:cNvPr>
          <p:cNvSpPr txBox="1">
            <a:spLocks/>
          </p:cNvSpPr>
          <p:nvPr>
            <p:custDataLst>
              <p:tags r:id="rId45"/>
            </p:custDataLst>
          </p:nvPr>
        </p:nvSpPr>
        <p:spPr bwMode="gray">
          <a:xfrm>
            <a:off x="6599238" y="47942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C8F1700-E12E-4AEE-8037-ABEAF83B61BC}" type="datetime'''''''''''''''''''''''''''''3''''''''''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040" name="Text Placeholder 10">
            <a:extLst>
              <a:ext uri="{FF2B5EF4-FFF2-40B4-BE49-F238E27FC236}">
                <a16:creationId xmlns:a16="http://schemas.microsoft.com/office/drawing/2014/main" id="{31252052-17BD-B4E4-2FFA-96A0FDA1B58E}"/>
              </a:ext>
            </a:extLst>
          </p:cNvPr>
          <p:cNvSpPr txBox="1">
            <a:spLocks/>
          </p:cNvSpPr>
          <p:nvPr>
            <p:custDataLst>
              <p:tags r:id="rId46"/>
            </p:custDataLst>
          </p:nvPr>
        </p:nvSpPr>
        <p:spPr bwMode="gray">
          <a:xfrm>
            <a:off x="6599238" y="4573588"/>
            <a:ext cx="28733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9A6F298-87EE-4DDF-9530-D30087B93F1B}" type="datetime'''''1''''''''''''''''''''''''''''''''''''''''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64" name="Text Placeholder 10">
            <a:extLst>
              <a:ext uri="{FF2B5EF4-FFF2-40B4-BE49-F238E27FC236}">
                <a16:creationId xmlns:a16="http://schemas.microsoft.com/office/drawing/2014/main" id="{1C4AAF64-4AAD-7FE8-15EC-BEB7CD4C58AF}"/>
              </a:ext>
            </a:extLst>
          </p:cNvPr>
          <p:cNvSpPr txBox="1">
            <a:spLocks/>
          </p:cNvSpPr>
          <p:nvPr>
            <p:custDataLst>
              <p:tags r:id="rId47"/>
            </p:custDataLst>
          </p:nvPr>
        </p:nvSpPr>
        <p:spPr bwMode="auto">
          <a:xfrm>
            <a:off x="5586413" y="57467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BD25FA9-6AEE-48A3-BDBE-90C0E618C5D6}" type="datetime'''''''''''''''''''''2''''''''''''''0''''''1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4</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39" name="Text Placeholder 10">
            <a:extLst>
              <a:ext uri="{FF2B5EF4-FFF2-40B4-BE49-F238E27FC236}">
                <a16:creationId xmlns:a16="http://schemas.microsoft.com/office/drawing/2014/main" id="{804F229E-3ECE-B2D9-C792-7735412114A5}"/>
              </a:ext>
            </a:extLst>
          </p:cNvPr>
          <p:cNvSpPr txBox="1">
            <a:spLocks/>
          </p:cNvSpPr>
          <p:nvPr>
            <p:custDataLst>
              <p:tags r:id="rId48"/>
            </p:custDataLst>
          </p:nvPr>
        </p:nvSpPr>
        <p:spPr bwMode="gray">
          <a:xfrm>
            <a:off x="5589588" y="52943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1F62AE5-13F8-420C-ACD4-747253E10AEF}" type="datetime'''6''''''''''''''''''''''''''''''9''''''''''''''''%'">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9%</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037" name="Text Placeholder 10">
            <a:extLst>
              <a:ext uri="{FF2B5EF4-FFF2-40B4-BE49-F238E27FC236}">
                <a16:creationId xmlns:a16="http://schemas.microsoft.com/office/drawing/2014/main" id="{FB6F8731-08B5-463C-7671-B016D2D430FB}"/>
              </a:ext>
            </a:extLst>
          </p:cNvPr>
          <p:cNvSpPr txBox="1">
            <a:spLocks/>
          </p:cNvSpPr>
          <p:nvPr>
            <p:custDataLst>
              <p:tags r:id="rId49"/>
            </p:custDataLst>
          </p:nvPr>
        </p:nvSpPr>
        <p:spPr bwMode="gray">
          <a:xfrm>
            <a:off x="5589588" y="48228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4A5D4E6-F925-4533-B399-2B7ECCFFAFE5}" type="datetime'2''''''''''9''''''''''''''''''''''''''%'''''''''''''''''''">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9%</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11" name="Text Placeholder 10">
            <a:extLst>
              <a:ext uri="{FF2B5EF4-FFF2-40B4-BE49-F238E27FC236}">
                <a16:creationId xmlns:a16="http://schemas.microsoft.com/office/drawing/2014/main" id="{E9BE73D7-45F0-FE8B-61E5-F804FCAE0DF8}"/>
              </a:ext>
            </a:extLst>
          </p:cNvPr>
          <p:cNvSpPr txBox="1">
            <a:spLocks/>
          </p:cNvSpPr>
          <p:nvPr>
            <p:custDataLst>
              <p:tags r:id="rId50"/>
            </p:custDataLst>
          </p:nvPr>
        </p:nvSpPr>
        <p:spPr bwMode="gray">
          <a:xfrm>
            <a:off x="5610226" y="45212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45AFE4D-8DFA-43D0-8306-B63A86220FBC}" type="datetime'''''''''''''5''''''''''''''''''''''''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12" name="Text Placeholder 10">
            <a:extLst>
              <a:ext uri="{FF2B5EF4-FFF2-40B4-BE49-F238E27FC236}">
                <a16:creationId xmlns:a16="http://schemas.microsoft.com/office/drawing/2014/main" id="{745A4879-95EF-FF25-8107-3FD22FA957FB}"/>
              </a:ext>
            </a:extLst>
          </p:cNvPr>
          <p:cNvSpPr txBox="1">
            <a:spLocks/>
          </p:cNvSpPr>
          <p:nvPr>
            <p:custDataLst>
              <p:tags r:id="rId51"/>
            </p:custDataLst>
          </p:nvPr>
        </p:nvSpPr>
        <p:spPr bwMode="gray">
          <a:xfrm>
            <a:off x="6619876" y="4416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FEF30FD-C814-4483-A1D6-D20A7DC34857}" type="datetime'''''''''6''''''''''''''''2''''''''''''''''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22</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61" name="Text Placeholder 10">
            <a:extLst>
              <a:ext uri="{FF2B5EF4-FFF2-40B4-BE49-F238E27FC236}">
                <a16:creationId xmlns:a16="http://schemas.microsoft.com/office/drawing/2014/main" id="{5EFD0CFF-52AC-0BD4-BC9B-5F7EDE827C9F}"/>
              </a:ext>
            </a:extLst>
          </p:cNvPr>
          <p:cNvSpPr txBox="1">
            <a:spLocks/>
          </p:cNvSpPr>
          <p:nvPr>
            <p:custDataLst>
              <p:tags r:id="rId52"/>
            </p:custDataLst>
          </p:nvPr>
        </p:nvSpPr>
        <p:spPr bwMode="gray">
          <a:xfrm>
            <a:off x="7627939" y="42687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5CCD782-1795-4DC6-9374-1DC8708315B0}" type="datetime'''''''''7''''''''''''''''''''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1" name="Text Placeholder 10">
            <a:extLst>
              <a:ext uri="{FF2B5EF4-FFF2-40B4-BE49-F238E27FC236}">
                <a16:creationId xmlns:a16="http://schemas.microsoft.com/office/drawing/2014/main" id="{AD8A0EFA-111C-96C2-2038-BD302CED92E9}"/>
              </a:ext>
            </a:extLst>
          </p:cNvPr>
          <p:cNvSpPr txBox="1">
            <a:spLocks/>
          </p:cNvSpPr>
          <p:nvPr>
            <p:custDataLst>
              <p:tags r:id="rId53"/>
            </p:custDataLst>
          </p:nvPr>
        </p:nvSpPr>
        <p:spPr bwMode="auto">
          <a:xfrm>
            <a:off x="7361238" y="5746750"/>
            <a:ext cx="777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CB73F70-F982-4FE6-A16F-818F8988062E}" type="datetime'''2''''''0''3''8'''''' ''''''''''''(T''''''''''arge''''''t)'''">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8 (Target)</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162" name="Straight Connector 161">
            <a:extLst>
              <a:ext uri="{FF2B5EF4-FFF2-40B4-BE49-F238E27FC236}">
                <a16:creationId xmlns:a16="http://schemas.microsoft.com/office/drawing/2014/main" id="{7339DF84-2594-8037-F100-9D231D9A4176}"/>
              </a:ext>
            </a:extLst>
          </p:cNvPr>
          <p:cNvCxnSpPr>
            <a:cxnSpLocks/>
          </p:cNvCxnSpPr>
          <p:nvPr>
            <p:custDataLst>
              <p:tags r:id="rId54"/>
            </p:custDataLst>
          </p:nvPr>
        </p:nvCxnSpPr>
        <p:spPr bwMode="auto">
          <a:xfrm flipV="1">
            <a:off x="9502775" y="5229225"/>
            <a:ext cx="7938" cy="47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5FD0FF98-6E6D-14DE-4793-F82D402730ED}"/>
              </a:ext>
            </a:extLst>
          </p:cNvPr>
          <p:cNvCxnSpPr/>
          <p:nvPr>
            <p:custDataLst>
              <p:tags r:id="rId55"/>
            </p:custDataLst>
          </p:nvPr>
        </p:nvCxnSpPr>
        <p:spPr bwMode="auto">
          <a:xfrm>
            <a:off x="10512425" y="4973638"/>
            <a:ext cx="447675" cy="142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E0E03A4E-780C-FA4B-1AB5-82F70BACD6FF}"/>
              </a:ext>
            </a:extLst>
          </p:cNvPr>
          <p:cNvCxnSpPr>
            <a:cxnSpLocks/>
          </p:cNvCxnSpPr>
          <p:nvPr>
            <p:custDataLst>
              <p:tags r:id="rId56"/>
            </p:custDataLst>
          </p:nvPr>
        </p:nvCxnSpPr>
        <p:spPr bwMode="auto">
          <a:xfrm flipV="1">
            <a:off x="9502775" y="4762500"/>
            <a:ext cx="447675" cy="3635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5F9ECD7C-100B-AF7D-9DA0-5B854798BB87}"/>
              </a:ext>
            </a:extLst>
          </p:cNvPr>
          <p:cNvCxnSpPr>
            <a:cxnSpLocks/>
          </p:cNvCxnSpPr>
          <p:nvPr>
            <p:custDataLst>
              <p:tags r:id="rId57"/>
            </p:custDataLst>
          </p:nvPr>
        </p:nvCxnSpPr>
        <p:spPr bwMode="auto">
          <a:xfrm flipV="1">
            <a:off x="10512425" y="4446588"/>
            <a:ext cx="447675" cy="3159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72" name="Straight Connector 1071">
            <a:extLst>
              <a:ext uri="{FF2B5EF4-FFF2-40B4-BE49-F238E27FC236}">
                <a16:creationId xmlns:a16="http://schemas.microsoft.com/office/drawing/2014/main" id="{B2CDA420-DF29-1587-7113-5B4B2C02B32C}"/>
              </a:ext>
            </a:extLst>
          </p:cNvPr>
          <p:cNvCxnSpPr/>
          <p:nvPr>
            <p:custDataLst>
              <p:tags r:id="rId58"/>
            </p:custDataLst>
          </p:nvPr>
        </p:nvCxnSpPr>
        <p:spPr bwMode="auto">
          <a:xfrm flipV="1">
            <a:off x="9647238" y="4973638"/>
            <a:ext cx="303213" cy="1762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9C37F870-7312-783C-7CE2-B881C92956D8}"/>
              </a:ext>
            </a:extLst>
          </p:cNvPr>
          <p:cNvCxnSpPr/>
          <p:nvPr>
            <p:custDataLst>
              <p:tags r:id="rId59"/>
            </p:custDataLst>
          </p:nvPr>
        </p:nvCxnSpPr>
        <p:spPr bwMode="auto">
          <a:xfrm flipV="1">
            <a:off x="9502775" y="5213350"/>
            <a:ext cx="7938" cy="47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18ED88CB-526A-783C-73E0-F2F2CFA85D80}"/>
              </a:ext>
            </a:extLst>
          </p:cNvPr>
          <p:cNvCxnSpPr/>
          <p:nvPr>
            <p:custDataLst>
              <p:tags r:id="rId60"/>
            </p:custDataLst>
          </p:nvPr>
        </p:nvCxnSpPr>
        <p:spPr bwMode="auto">
          <a:xfrm flipV="1">
            <a:off x="9615488" y="4948238"/>
            <a:ext cx="334963" cy="2016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 name="Chart 7">
            <a:extLst>
              <a:ext uri="{FF2B5EF4-FFF2-40B4-BE49-F238E27FC236}">
                <a16:creationId xmlns:a16="http://schemas.microsoft.com/office/drawing/2014/main" id="{FA93078F-F263-AE75-0665-4F7F75CE3DB8}"/>
              </a:ext>
            </a:extLst>
          </p:cNvPr>
          <p:cNvGraphicFramePr/>
          <p:nvPr>
            <p:custDataLst>
              <p:tags r:id="rId61"/>
            </p:custDataLst>
            <p:extLst>
              <p:ext uri="{D42A27DB-BD31-4B8C-83A1-F6EECF244321}">
                <p14:modId xmlns:p14="http://schemas.microsoft.com/office/powerpoint/2010/main" val="885111965"/>
              </p:ext>
            </p:extLst>
          </p:nvPr>
        </p:nvGraphicFramePr>
        <p:xfrm>
          <a:off x="8636000" y="4364038"/>
          <a:ext cx="3190875" cy="1422400"/>
        </p:xfrm>
        <a:graphic>
          <a:graphicData uri="http://schemas.openxmlformats.org/drawingml/2006/chart">
            <c:chart xmlns:c="http://schemas.openxmlformats.org/drawingml/2006/chart" xmlns:r="http://schemas.openxmlformats.org/officeDocument/2006/relationships" r:id="rId99"/>
          </a:graphicData>
        </a:graphic>
      </p:graphicFrame>
      <p:cxnSp>
        <p:nvCxnSpPr>
          <p:cNvPr id="80" name="Straight Connector 79">
            <a:extLst>
              <a:ext uri="{FF2B5EF4-FFF2-40B4-BE49-F238E27FC236}">
                <a16:creationId xmlns:a16="http://schemas.microsoft.com/office/drawing/2014/main" id="{0EB9622D-C2FA-AC68-2146-1CB383BCB021}"/>
              </a:ext>
            </a:extLst>
          </p:cNvPr>
          <p:cNvCxnSpPr/>
          <p:nvPr>
            <p:custDataLst>
              <p:tags r:id="rId62"/>
            </p:custDataLst>
          </p:nvPr>
        </p:nvCxnSpPr>
        <p:spPr bwMode="auto">
          <a:xfrm flipH="1">
            <a:off x="9431338" y="5226050"/>
            <a:ext cx="87313"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667CD598-2490-4573-AD26-45628CC3F730}"/>
              </a:ext>
            </a:extLst>
          </p:cNvPr>
          <p:cNvCxnSpPr/>
          <p:nvPr>
            <p:custDataLst>
              <p:tags r:id="rId63"/>
            </p:custDataLst>
          </p:nvPr>
        </p:nvCxnSpPr>
        <p:spPr bwMode="auto">
          <a:xfrm flipH="1">
            <a:off x="11449050" y="4716463"/>
            <a:ext cx="87313"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74" name="Text Placeholder 10">
            <a:extLst>
              <a:ext uri="{FF2B5EF4-FFF2-40B4-BE49-F238E27FC236}">
                <a16:creationId xmlns:a16="http://schemas.microsoft.com/office/drawing/2014/main" id="{00345C48-87FE-538F-8DD3-ADC644974A06}"/>
              </a:ext>
            </a:extLst>
          </p:cNvPr>
          <p:cNvSpPr txBox="1">
            <a:spLocks/>
          </p:cNvSpPr>
          <p:nvPr>
            <p:custDataLst>
              <p:tags r:id="rId64"/>
            </p:custDataLst>
          </p:nvPr>
        </p:nvSpPr>
        <p:spPr bwMode="gray">
          <a:xfrm>
            <a:off x="11536363" y="46402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F273052-18F8-481B-80A3-48D131FA0794}" type="datetime'''''''''''4''''''''''''''''''''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3%</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3" name="Text Placeholder 10">
            <a:extLst>
              <a:ext uri="{FF2B5EF4-FFF2-40B4-BE49-F238E27FC236}">
                <a16:creationId xmlns:a16="http://schemas.microsoft.com/office/drawing/2014/main" id="{64D3C9C8-F5DE-EF74-600F-13A84D06E7F5}"/>
              </a:ext>
            </a:extLst>
          </p:cNvPr>
          <p:cNvSpPr txBox="1">
            <a:spLocks/>
          </p:cNvSpPr>
          <p:nvPr>
            <p:custDataLst>
              <p:tags r:id="rId65"/>
            </p:custDataLst>
          </p:nvPr>
        </p:nvSpPr>
        <p:spPr bwMode="gray">
          <a:xfrm>
            <a:off x="11096625" y="52689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B964CBD-7905-404A-9843-B3D7C0014C36}" type="datetime'''''''''''''''5''''''''''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7%</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065" name="Text Placeholder 10">
            <a:extLst>
              <a:ext uri="{FF2B5EF4-FFF2-40B4-BE49-F238E27FC236}">
                <a16:creationId xmlns:a16="http://schemas.microsoft.com/office/drawing/2014/main" id="{24662D2D-4896-3496-EDB9-256A50149CA8}"/>
              </a:ext>
            </a:extLst>
          </p:cNvPr>
          <p:cNvSpPr txBox="1">
            <a:spLocks/>
          </p:cNvSpPr>
          <p:nvPr>
            <p:custDataLst>
              <p:tags r:id="rId66"/>
            </p:custDataLst>
          </p:nvPr>
        </p:nvSpPr>
        <p:spPr bwMode="gray">
          <a:xfrm>
            <a:off x="9078913" y="5095875"/>
            <a:ext cx="28733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CCF6344-A3CA-40BE-BBF0-991FC53EBC17}" type="datetime'''1''''''''''''''''''6''''''''''''%'''''''">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82" name="Text Placeholder 10">
            <a:extLst>
              <a:ext uri="{FF2B5EF4-FFF2-40B4-BE49-F238E27FC236}">
                <a16:creationId xmlns:a16="http://schemas.microsoft.com/office/drawing/2014/main" id="{5031BD1C-D3D3-0E03-D553-5D21F0D428D5}"/>
              </a:ext>
            </a:extLst>
          </p:cNvPr>
          <p:cNvSpPr txBox="1">
            <a:spLocks/>
          </p:cNvSpPr>
          <p:nvPr>
            <p:custDataLst>
              <p:tags r:id="rId67"/>
            </p:custDataLst>
          </p:nvPr>
        </p:nvSpPr>
        <p:spPr bwMode="auto">
          <a:xfrm>
            <a:off x="10085388" y="57467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EC4E2B8-5167-4F56-8038-A81A83273044}" type="datetime'2''''''''0''''''2''''''''''''''''''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68" name="Text Placeholder 10">
            <a:extLst>
              <a:ext uri="{FF2B5EF4-FFF2-40B4-BE49-F238E27FC236}">
                <a16:creationId xmlns:a16="http://schemas.microsoft.com/office/drawing/2014/main" id="{89EB8B78-0736-6322-BC84-6FAA51513FC7}"/>
              </a:ext>
            </a:extLst>
          </p:cNvPr>
          <p:cNvSpPr txBox="1">
            <a:spLocks/>
          </p:cNvSpPr>
          <p:nvPr>
            <p:custDataLst>
              <p:tags r:id="rId68"/>
            </p:custDataLst>
          </p:nvPr>
        </p:nvSpPr>
        <p:spPr bwMode="gray">
          <a:xfrm>
            <a:off x="10088563" y="52625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B515769-C21E-46E2-8650-FAC7990DFC53}" type="datetime'''7''''''''''''''8''%'''''''''''''''''''''''''''">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8%</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59" name="Text Placeholder 10">
            <a:extLst>
              <a:ext uri="{FF2B5EF4-FFF2-40B4-BE49-F238E27FC236}">
                <a16:creationId xmlns:a16="http://schemas.microsoft.com/office/drawing/2014/main" id="{4F17AF52-7217-403C-1D61-C68A673E6199}"/>
              </a:ext>
            </a:extLst>
          </p:cNvPr>
          <p:cNvSpPr txBox="1">
            <a:spLocks/>
          </p:cNvSpPr>
          <p:nvPr>
            <p:custDataLst>
              <p:tags r:id="rId69"/>
            </p:custDataLst>
          </p:nvPr>
        </p:nvSpPr>
        <p:spPr bwMode="gray">
          <a:xfrm>
            <a:off x="9983788" y="4884738"/>
            <a:ext cx="217488"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B7380CB-DCA5-4CF1-82B3-3269DB601DB1}" type="datetime'3''''''''''''''''''''''''''''''''''%'''''''''''''''''">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067" name="Text Placeholder 10">
            <a:extLst>
              <a:ext uri="{FF2B5EF4-FFF2-40B4-BE49-F238E27FC236}">
                <a16:creationId xmlns:a16="http://schemas.microsoft.com/office/drawing/2014/main" id="{5E2B5E00-398F-49E6-D522-C50C38CFF31E}"/>
              </a:ext>
            </a:extLst>
          </p:cNvPr>
          <p:cNvSpPr txBox="1">
            <a:spLocks/>
          </p:cNvSpPr>
          <p:nvPr>
            <p:custDataLst>
              <p:tags r:id="rId70"/>
            </p:custDataLst>
          </p:nvPr>
        </p:nvSpPr>
        <p:spPr bwMode="gray">
          <a:xfrm>
            <a:off x="10229850" y="47783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44557B0-EB34-4F2C-B7C6-FB28F106B978}" type="datetime'''''''''''''''2''''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84" name="Text Placeholder 10">
            <a:extLst>
              <a:ext uri="{FF2B5EF4-FFF2-40B4-BE49-F238E27FC236}">
                <a16:creationId xmlns:a16="http://schemas.microsoft.com/office/drawing/2014/main" id="{6B64EC2D-0136-0DC2-5AAA-FBEA7412126D}"/>
              </a:ext>
            </a:extLst>
          </p:cNvPr>
          <p:cNvSpPr txBox="1">
            <a:spLocks/>
          </p:cNvSpPr>
          <p:nvPr>
            <p:custDataLst>
              <p:tags r:id="rId71"/>
            </p:custDataLst>
          </p:nvPr>
        </p:nvSpPr>
        <p:spPr bwMode="auto">
          <a:xfrm>
            <a:off x="9075738" y="57467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57B6A5E-0DCC-45F8-9E37-6A68880EA296}" type="datetime'''''''''''''''''''2''''''''''''''''''0''1''''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4</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66" name="Text Placeholder 10">
            <a:extLst>
              <a:ext uri="{FF2B5EF4-FFF2-40B4-BE49-F238E27FC236}">
                <a16:creationId xmlns:a16="http://schemas.microsoft.com/office/drawing/2014/main" id="{80417D03-9780-3207-62F4-C3CDEABF2A9D}"/>
              </a:ext>
            </a:extLst>
          </p:cNvPr>
          <p:cNvSpPr txBox="1">
            <a:spLocks/>
          </p:cNvSpPr>
          <p:nvPr>
            <p:custDataLst>
              <p:tags r:id="rId72"/>
            </p:custDataLst>
          </p:nvPr>
        </p:nvSpPr>
        <p:spPr bwMode="gray">
          <a:xfrm>
            <a:off x="9078913" y="53927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DA047B8-CA82-41A2-8F88-E04ADAC68AF0}" type="datetime'''''8''''''''''''''''''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1%</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58" name="Text Placeholder 10">
            <a:extLst>
              <a:ext uri="{FF2B5EF4-FFF2-40B4-BE49-F238E27FC236}">
                <a16:creationId xmlns:a16="http://schemas.microsoft.com/office/drawing/2014/main" id="{588DA396-EF3D-BFA7-B453-195C8B4749FB}"/>
              </a:ext>
            </a:extLst>
          </p:cNvPr>
          <p:cNvSpPr txBox="1">
            <a:spLocks/>
          </p:cNvSpPr>
          <p:nvPr>
            <p:custDataLst>
              <p:tags r:id="rId73"/>
            </p:custDataLst>
          </p:nvPr>
        </p:nvSpPr>
        <p:spPr bwMode="gray">
          <a:xfrm>
            <a:off x="9518650" y="5149850"/>
            <a:ext cx="217488"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B4A837A-2642-43A9-AD6F-A5126BD716A5}" type="datetime'''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55" name="Text Placeholder 10">
            <a:extLst>
              <a:ext uri="{FF2B5EF4-FFF2-40B4-BE49-F238E27FC236}">
                <a16:creationId xmlns:a16="http://schemas.microsoft.com/office/drawing/2014/main" id="{6BD0BB30-81B3-824D-E276-35983648F1A0}"/>
              </a:ext>
            </a:extLst>
          </p:cNvPr>
          <p:cNvSpPr txBox="1">
            <a:spLocks/>
          </p:cNvSpPr>
          <p:nvPr>
            <p:custDataLst>
              <p:tags r:id="rId74"/>
            </p:custDataLst>
          </p:nvPr>
        </p:nvSpPr>
        <p:spPr bwMode="gray">
          <a:xfrm>
            <a:off x="9047163" y="49434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CC2024B-E58F-4672-A4A7-AC76E366F1C6}" type="datetime'''''''''''''''''1'',''2''6''''''''''''''''''''''''''''''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62</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56" name="Text Placeholder 10">
            <a:extLst>
              <a:ext uri="{FF2B5EF4-FFF2-40B4-BE49-F238E27FC236}">
                <a16:creationId xmlns:a16="http://schemas.microsoft.com/office/drawing/2014/main" id="{9959E3F6-3227-3374-E00D-42CAE0EB8D37}"/>
              </a:ext>
            </a:extLst>
          </p:cNvPr>
          <p:cNvSpPr txBox="1">
            <a:spLocks/>
          </p:cNvSpPr>
          <p:nvPr>
            <p:custDataLst>
              <p:tags r:id="rId75"/>
            </p:custDataLst>
          </p:nvPr>
        </p:nvSpPr>
        <p:spPr bwMode="gray">
          <a:xfrm>
            <a:off x="10056813" y="45847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A664F9B-8194-4C91-9294-2F6D9AB5CC37}" type="datetime'''''''''''''''''2,''''0''''''''''''''''5''''''''''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8</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9" name="Text Placeholder 10">
            <a:extLst>
              <a:ext uri="{FF2B5EF4-FFF2-40B4-BE49-F238E27FC236}">
                <a16:creationId xmlns:a16="http://schemas.microsoft.com/office/drawing/2014/main" id="{C7BC017A-980A-AA12-AE30-482D509A333F}"/>
              </a:ext>
            </a:extLst>
          </p:cNvPr>
          <p:cNvSpPr txBox="1">
            <a:spLocks/>
          </p:cNvSpPr>
          <p:nvPr>
            <p:custDataLst>
              <p:tags r:id="rId76"/>
            </p:custDataLst>
          </p:nvPr>
        </p:nvSpPr>
        <p:spPr bwMode="gray">
          <a:xfrm>
            <a:off x="11064875" y="42687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8634981-B698-4C88-88B4-BC4F26C83214}" type="datetime'''2'''''''''',''''''''''''7''''''4''''''''''''''7'''">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747</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7" name="Text Placeholder 10">
            <a:extLst>
              <a:ext uri="{FF2B5EF4-FFF2-40B4-BE49-F238E27FC236}">
                <a16:creationId xmlns:a16="http://schemas.microsoft.com/office/drawing/2014/main" id="{8494A433-ED6F-CFC6-C0A8-6638FBFC5D71}"/>
              </a:ext>
            </a:extLst>
          </p:cNvPr>
          <p:cNvSpPr txBox="1">
            <a:spLocks/>
          </p:cNvSpPr>
          <p:nvPr>
            <p:custDataLst>
              <p:tags r:id="rId77"/>
            </p:custDataLst>
          </p:nvPr>
        </p:nvSpPr>
        <p:spPr bwMode="auto">
          <a:xfrm>
            <a:off x="10787063" y="5746750"/>
            <a:ext cx="904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9344AA8-95AD-409C-89FD-3ADE5A940F27}" type="datetime'''2''''''''0''30'' ''''(''Fo''''''''r''e''''c''a''s''t)'''''">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 (Forecast)</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76" name="TextBox 1075">
            <a:extLst>
              <a:ext uri="{FF2B5EF4-FFF2-40B4-BE49-F238E27FC236}">
                <a16:creationId xmlns:a16="http://schemas.microsoft.com/office/drawing/2014/main" id="{E5D9E6E4-E2A5-6322-DBE8-CECFED5526A5}"/>
              </a:ext>
            </a:extLst>
          </p:cNvPr>
          <p:cNvSpPr txBox="1"/>
          <p:nvPr/>
        </p:nvSpPr>
        <p:spPr bwMode="gray">
          <a:xfrm>
            <a:off x="5030782" y="4366578"/>
            <a:ext cx="766238" cy="438150"/>
          </a:xfrm>
          <a:prstGeom prst="rect">
            <a:avLst/>
          </a:prstGeom>
          <a:noFill/>
          <a:ln>
            <a:noFill/>
          </a:ln>
        </p:spPr>
        <p:txBody>
          <a:bodyPr wrap="square" lIns="137160" tIns="137160" rIns="274320" bIns="13716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TWh</a:t>
            </a:r>
          </a:p>
        </p:txBody>
      </p:sp>
      <p:sp>
        <p:nvSpPr>
          <p:cNvPr id="1077" name="TextBox 1076">
            <a:extLst>
              <a:ext uri="{FF2B5EF4-FFF2-40B4-BE49-F238E27FC236}">
                <a16:creationId xmlns:a16="http://schemas.microsoft.com/office/drawing/2014/main" id="{8572C228-3A78-E267-089E-BB6648CA4886}"/>
              </a:ext>
            </a:extLst>
          </p:cNvPr>
          <p:cNvSpPr txBox="1"/>
          <p:nvPr/>
        </p:nvSpPr>
        <p:spPr bwMode="gray">
          <a:xfrm>
            <a:off x="8472750" y="4786630"/>
            <a:ext cx="766238" cy="438150"/>
          </a:xfrm>
          <a:prstGeom prst="rect">
            <a:avLst/>
          </a:prstGeom>
          <a:noFill/>
          <a:ln>
            <a:noFill/>
          </a:ln>
        </p:spPr>
        <p:txBody>
          <a:bodyPr wrap="square" lIns="137160" tIns="137160" rIns="274320" bIns="13716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rPr>
              <a:t>TWh</a:t>
            </a:r>
          </a:p>
        </p:txBody>
      </p:sp>
      <p:sp>
        <p:nvSpPr>
          <p:cNvPr id="98" name="TextBox 97">
            <a:extLst>
              <a:ext uri="{FF2B5EF4-FFF2-40B4-BE49-F238E27FC236}">
                <a16:creationId xmlns:a16="http://schemas.microsoft.com/office/drawing/2014/main" id="{873BD5A5-EA24-AED7-DB32-4045FE8293C4}"/>
              </a:ext>
            </a:extLst>
          </p:cNvPr>
          <p:cNvSpPr txBox="1"/>
          <p:nvPr/>
        </p:nvSpPr>
        <p:spPr bwMode="gray">
          <a:xfrm>
            <a:off x="10916445" y="4346575"/>
            <a:ext cx="769937" cy="768350"/>
          </a:xfrm>
          <a:prstGeom prst="rect">
            <a:avLst/>
          </a:prstGeom>
          <a:noFill/>
          <a:ln>
            <a:noFill/>
          </a:ln>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a:rPr>
              <a:t>Z</a:t>
            </a:r>
            <a:r>
              <a:rPr lang="en-US" sz="800" err="1">
                <a:solidFill>
                  <a:srgbClr val="000000"/>
                </a:solidFill>
                <a:latin typeface="Arial"/>
                <a:cs typeface="Arial"/>
              </a:rPr>
              <a:t>ero</a:t>
            </a:r>
            <a:r>
              <a:rPr kumimoji="0" lang="en-US" sz="800" b="0" i="0" u="none" strike="noStrike" kern="1200" cap="none" spc="0" normalizeH="0" baseline="0" noProof="0">
                <a:ln>
                  <a:noFill/>
                </a:ln>
                <a:solidFill>
                  <a:srgbClr val="000000"/>
                </a:solidFill>
                <a:effectLst/>
                <a:uLnTx/>
                <a:uFillTx/>
                <a:latin typeface="Arial"/>
                <a:ea typeface="+mn-ea"/>
                <a:cs typeface="Arial"/>
              </a:rPr>
              <a:t> carbon, incl. nuclear</a:t>
            </a:r>
          </a:p>
        </p:txBody>
      </p:sp>
      <p:sp>
        <p:nvSpPr>
          <p:cNvPr id="2" name="Rectangle 1">
            <a:extLst>
              <a:ext uri="{FF2B5EF4-FFF2-40B4-BE49-F238E27FC236}">
                <a16:creationId xmlns:a16="http://schemas.microsoft.com/office/drawing/2014/main" id="{2D048535-E7EC-82F2-CE48-C2E936951294}"/>
              </a:ext>
            </a:extLst>
          </p:cNvPr>
          <p:cNvSpPr/>
          <p:nvPr/>
        </p:nvSpPr>
        <p:spPr bwMode="gray">
          <a:xfrm>
            <a:off x="0" y="0"/>
            <a:ext cx="2926080" cy="382208"/>
          </a:xfrm>
          <a:prstGeom prst="rect">
            <a:avLst/>
          </a:prstGeom>
          <a:solidFill>
            <a:srgbClr val="00223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APAC (excluding China)</a:t>
            </a:r>
          </a:p>
        </p:txBody>
      </p:sp>
    </p:spTree>
    <p:custDataLst>
      <p:tags r:id="rId1"/>
    </p:custDataLst>
    <p:extLst>
      <p:ext uri="{BB962C8B-B14F-4D97-AF65-F5344CB8AC3E}">
        <p14:creationId xmlns:p14="http://schemas.microsoft.com/office/powerpoint/2010/main" val="184678537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44CC5A-6616-8A43-D2AA-2A4B4BD8C99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3DF6A35-6E97-9C65-3C1B-0A3788F4781E}"/>
              </a:ext>
            </a:extLst>
          </p:cNvPr>
          <p:cNvGraphicFramePr>
            <a:graphicFrameLocks noChangeAspect="1"/>
          </p:cNvGraphicFramePr>
          <p:nvPr>
            <p:custDataLst>
              <p:tags r:id="rId2"/>
            </p:custDataLst>
            <p:extLst>
              <p:ext uri="{D42A27DB-BD31-4B8C-83A1-F6EECF244321}">
                <p14:modId xmlns:p14="http://schemas.microsoft.com/office/powerpoint/2010/main" val="283037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13DF6A35-6E97-9C65-3C1B-0A3788F4781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B468F22-2F35-E1D1-85A2-F8DEC60E2482}"/>
              </a:ext>
            </a:extLst>
          </p:cNvPr>
          <p:cNvSpPr>
            <a:spLocks noGrp="1"/>
          </p:cNvSpPr>
          <p:nvPr>
            <p:ph type="title"/>
          </p:nvPr>
        </p:nvSpPr>
        <p:spPr>
          <a:xfrm>
            <a:off x="363635" y="537213"/>
            <a:ext cx="11772649" cy="882788"/>
          </a:xfrm>
        </p:spPr>
        <p:txBody>
          <a:bodyPr vert="horz">
            <a:noAutofit/>
          </a:bodyPr>
          <a:lstStyle/>
          <a:p>
            <a:r>
              <a:rPr lang="en-US" dirty="0"/>
              <a:t>Since 2013, Japan has restarted 14 nuclear reactors (~13 GW)</a:t>
            </a:r>
            <a:r>
              <a:rPr lang="en-US" b="0" dirty="0"/>
              <a:t> </a:t>
            </a:r>
            <a:r>
              <a:rPr lang="en-US" dirty="0"/>
              <a:t>under new, stricter safety standards</a:t>
            </a:r>
          </a:p>
        </p:txBody>
      </p:sp>
      <p:sp>
        <p:nvSpPr>
          <p:cNvPr id="2" name="Rectangle 1">
            <a:extLst>
              <a:ext uri="{FF2B5EF4-FFF2-40B4-BE49-F238E27FC236}">
                <a16:creationId xmlns:a16="http://schemas.microsoft.com/office/drawing/2014/main" id="{EA6D9B37-3A19-D3CF-6265-2D5D5DAB2981}"/>
              </a:ext>
            </a:extLst>
          </p:cNvPr>
          <p:cNvSpPr/>
          <p:nvPr/>
        </p:nvSpPr>
        <p:spPr bwMode="gray">
          <a:xfrm>
            <a:off x="0" y="0"/>
            <a:ext cx="2926080" cy="382208"/>
          </a:xfrm>
          <a:prstGeom prst="rect">
            <a:avLst/>
          </a:prstGeom>
          <a:solidFill>
            <a:srgbClr val="00223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Case Study: Japan</a:t>
            </a:r>
          </a:p>
        </p:txBody>
      </p:sp>
      <p:graphicFrame>
        <p:nvGraphicFramePr>
          <p:cNvPr id="13" name="Table 12">
            <a:extLst>
              <a:ext uri="{FF2B5EF4-FFF2-40B4-BE49-F238E27FC236}">
                <a16:creationId xmlns:a16="http://schemas.microsoft.com/office/drawing/2014/main" id="{69F88E80-4225-DE47-D69F-58D7B61D0C55}"/>
              </a:ext>
            </a:extLst>
          </p:cNvPr>
          <p:cNvGraphicFramePr>
            <a:graphicFrameLocks noGrp="1"/>
          </p:cNvGraphicFramePr>
          <p:nvPr>
            <p:extLst>
              <p:ext uri="{D42A27DB-BD31-4B8C-83A1-F6EECF244321}">
                <p14:modId xmlns:p14="http://schemas.microsoft.com/office/powerpoint/2010/main" val="3546407748"/>
              </p:ext>
            </p:extLst>
          </p:nvPr>
        </p:nvGraphicFramePr>
        <p:xfrm>
          <a:off x="337597" y="1663156"/>
          <a:ext cx="6972145" cy="4510200"/>
        </p:xfrm>
        <a:graphic>
          <a:graphicData uri="http://schemas.openxmlformats.org/drawingml/2006/table">
            <a:tbl>
              <a:tblPr firstRow="1" bandRow="1">
                <a:tableStyleId>{2D5ABB26-0587-4C30-8999-92F81FD0307C}</a:tableStyleId>
              </a:tblPr>
              <a:tblGrid>
                <a:gridCol w="1563643">
                  <a:extLst>
                    <a:ext uri="{9D8B030D-6E8A-4147-A177-3AD203B41FA5}">
                      <a16:colId xmlns:a16="http://schemas.microsoft.com/office/drawing/2014/main" val="3263686821"/>
                    </a:ext>
                  </a:extLst>
                </a:gridCol>
                <a:gridCol w="5408502">
                  <a:extLst>
                    <a:ext uri="{9D8B030D-6E8A-4147-A177-3AD203B41FA5}">
                      <a16:colId xmlns:a16="http://schemas.microsoft.com/office/drawing/2014/main" val="1831252265"/>
                    </a:ext>
                  </a:extLst>
                </a:gridCol>
              </a:tblGrid>
              <a:tr h="1439543">
                <a:tc>
                  <a:txBody>
                    <a:bodyPr/>
                    <a:lstStyle/>
                    <a:p>
                      <a:pPr marL="0" indent="0">
                        <a:buNone/>
                      </a:pPr>
                      <a:r>
                        <a:rPr lang="en-US" sz="1200" b="1" dirty="0"/>
                        <a:t>Political, financial, and energy conditions</a:t>
                      </a:r>
                    </a:p>
                  </a:txBody>
                  <a:tcPr>
                    <a:lnR w="1270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a:txBody>
                    <a:bodyPr/>
                    <a:lstStyle/>
                    <a:p>
                      <a:pPr marL="177800" indent="-177800"/>
                      <a:r>
                        <a:rPr lang="en-US" sz="1050" dirty="0">
                          <a:latin typeface="+mn-lt"/>
                        </a:rPr>
                        <a:t>Following the 2011 </a:t>
                      </a:r>
                      <a:r>
                        <a:rPr lang="en-US" sz="1050" b="1" dirty="0">
                          <a:latin typeface="+mn-lt"/>
                        </a:rPr>
                        <a:t>Fukushima</a:t>
                      </a:r>
                      <a:r>
                        <a:rPr lang="en-US" sz="1050" dirty="0">
                          <a:latin typeface="+mn-lt"/>
                        </a:rPr>
                        <a:t> accident, Japan’s abrupt</a:t>
                      </a:r>
                      <a:r>
                        <a:rPr lang="en-US" sz="1050" baseline="0" dirty="0">
                          <a:latin typeface="+mn-lt"/>
                        </a:rPr>
                        <a:t> s</a:t>
                      </a:r>
                      <a:r>
                        <a:rPr lang="en-US" sz="1050" dirty="0">
                          <a:latin typeface="+mn-lt"/>
                        </a:rPr>
                        <a:t>uspension of its nuclear fleet led to </a:t>
                      </a:r>
                      <a:r>
                        <a:rPr lang="en-US" sz="1050" b="1" dirty="0">
                          <a:latin typeface="+mn-lt"/>
                        </a:rPr>
                        <a:t>increased dependence on imported fossil</a:t>
                      </a:r>
                      <a:r>
                        <a:rPr lang="en-US" sz="1050" b="1" baseline="0" dirty="0">
                          <a:latin typeface="+mn-lt"/>
                        </a:rPr>
                        <a:t> fuels </a:t>
                      </a:r>
                      <a:r>
                        <a:rPr lang="en-US" sz="1050" b="0" baseline="0" dirty="0">
                          <a:latin typeface="+mn-lt"/>
                        </a:rPr>
                        <a:t>and </a:t>
                      </a:r>
                      <a:r>
                        <a:rPr lang="en-US" sz="1050" b="1" baseline="0" dirty="0">
                          <a:latin typeface="+mn-lt"/>
                        </a:rPr>
                        <a:t>higher electricity prices.</a:t>
                      </a:r>
                    </a:p>
                    <a:p>
                      <a:pPr marL="355600" lvl="1" indent="-177800"/>
                      <a:r>
                        <a:rPr lang="en-US" sz="850" b="1" dirty="0">
                          <a:latin typeface="+mn-lt"/>
                        </a:rPr>
                        <a:t>90% </a:t>
                      </a:r>
                      <a:r>
                        <a:rPr lang="en-US" sz="850" dirty="0">
                          <a:latin typeface="+mn-lt"/>
                        </a:rPr>
                        <a:t>of energy demand was met by </a:t>
                      </a:r>
                      <a:r>
                        <a:rPr lang="en-US" sz="850" b="1" dirty="0">
                          <a:latin typeface="+mn-lt"/>
                        </a:rPr>
                        <a:t>imported fossil fuels.</a:t>
                      </a:r>
                    </a:p>
                    <a:p>
                      <a:pPr marL="355600" marR="0" lvl="1" indent="-177800" algn="l" defTabSz="711200" rtl="0" eaLnBrk="1" fontAlgn="auto" latinLnBrk="0" hangingPunct="1">
                        <a:lnSpc>
                          <a:spcPct val="100000"/>
                        </a:lnSpc>
                        <a:spcBef>
                          <a:spcPts val="600"/>
                        </a:spcBef>
                        <a:spcAft>
                          <a:spcPts val="0"/>
                        </a:spcAft>
                        <a:buClrTx/>
                        <a:buSzTx/>
                        <a:tabLst/>
                        <a:defRPr/>
                      </a:pPr>
                      <a:r>
                        <a:rPr lang="en-US" sz="850" b="0" i="0" kern="1200" dirty="0">
                          <a:solidFill>
                            <a:schemeClr val="tx1"/>
                          </a:solidFill>
                          <a:effectLst/>
                          <a:latin typeface="+mn-lt"/>
                          <a:ea typeface="+mn-ea"/>
                          <a:cs typeface="+mn-cs"/>
                        </a:rPr>
                        <a:t>Shares of Tokyo Electric Power Co. (</a:t>
                      </a:r>
                      <a:r>
                        <a:rPr lang="en-US" sz="850" dirty="0" err="1">
                          <a:latin typeface="+mn-lt"/>
                        </a:rPr>
                        <a:t>Tepco</a:t>
                      </a:r>
                      <a:r>
                        <a:rPr lang="en-US" sz="850" dirty="0">
                          <a:latin typeface="+mn-lt"/>
                        </a:rPr>
                        <a:t>) </a:t>
                      </a:r>
                      <a:r>
                        <a:rPr lang="en-US" sz="850" b="1" dirty="0">
                          <a:latin typeface="+mn-lt"/>
                        </a:rPr>
                        <a:t>fell ~70% and it reported $27B+ in losses in 2011.</a:t>
                      </a:r>
                    </a:p>
                    <a:p>
                      <a:pPr marL="177800" marR="0" lvl="0" indent="-177800" algn="l" defTabSz="711200" rtl="0" eaLnBrk="1" fontAlgn="auto" latinLnBrk="0" hangingPunct="1">
                        <a:lnSpc>
                          <a:spcPct val="100000"/>
                        </a:lnSpc>
                        <a:spcBef>
                          <a:spcPts val="600"/>
                        </a:spcBef>
                        <a:spcAft>
                          <a:spcPts val="0"/>
                        </a:spcAft>
                        <a:buClrTx/>
                        <a:buSzTx/>
                        <a:tabLst/>
                        <a:defRPr/>
                      </a:pPr>
                      <a:r>
                        <a:rPr lang="en-US" sz="1050" dirty="0">
                          <a:latin typeface="+mn-lt"/>
                        </a:rPr>
                        <a:t>In 2013, Japan began </a:t>
                      </a:r>
                      <a:r>
                        <a:rPr lang="en-US" sz="1050" b="1" dirty="0">
                          <a:latin typeface="+mn-lt"/>
                        </a:rPr>
                        <a:t>prioritizing energy independence</a:t>
                      </a:r>
                      <a:r>
                        <a:rPr lang="en-US" sz="1050" b="0" dirty="0">
                          <a:latin typeface="+mn-lt"/>
                        </a:rPr>
                        <a:t>, setting the conditions for a nuclear renaissance.</a:t>
                      </a:r>
                    </a:p>
                  </a:txBody>
                  <a:tcPr>
                    <a:lnL w="12700" cap="flat" cmpd="sng" algn="ctr">
                      <a:solidFill>
                        <a:schemeClr val="bg1"/>
                      </a:solidFill>
                      <a:prstDash val="solid"/>
                      <a:round/>
                      <a:headEnd type="none" w="med" len="med"/>
                      <a:tailEnd type="none" w="med" len="med"/>
                    </a:lnL>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81056241"/>
                  </a:ext>
                </a:extLst>
              </a:tr>
              <a:tr h="1874317">
                <a:tc>
                  <a:txBody>
                    <a:bodyPr/>
                    <a:lstStyle/>
                    <a:p>
                      <a:pPr marL="0" indent="0">
                        <a:buNone/>
                      </a:pPr>
                      <a:r>
                        <a:rPr lang="en-US" sz="1200" b="1" dirty="0"/>
                        <a:t>Key policy and finance levers</a:t>
                      </a:r>
                    </a:p>
                  </a:txBody>
                  <a:tcPr>
                    <a:lnR w="1270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a:txBody>
                    <a:bodyPr/>
                    <a:lstStyle/>
                    <a:p>
                      <a:r>
                        <a:rPr lang="en-US" sz="1050" dirty="0"/>
                        <a:t>Japan created the Nuclear Regulation Authority,</a:t>
                      </a:r>
                      <a:r>
                        <a:rPr lang="en-US" sz="1050" b="1" dirty="0"/>
                        <a:t> establishing new safety and regulatory requirements for nuclear plants in 2013</a:t>
                      </a:r>
                      <a:r>
                        <a:rPr lang="en-US" sz="1050" dirty="0"/>
                        <a:t>, with revisions in 2019.</a:t>
                      </a:r>
                    </a:p>
                    <a:p>
                      <a:pPr lvl="1"/>
                      <a:r>
                        <a:rPr lang="en-US" sz="850" b="1" dirty="0"/>
                        <a:t>Tsunami protection,</a:t>
                      </a:r>
                      <a:r>
                        <a:rPr lang="en-US" sz="850" b="1" baseline="0" dirty="0"/>
                        <a:t> </a:t>
                      </a:r>
                      <a:r>
                        <a:rPr lang="en-US" sz="850" b="1" dirty="0"/>
                        <a:t>seismic approval, and local government consent </a:t>
                      </a:r>
                      <a:r>
                        <a:rPr lang="en-US" sz="850" b="0" dirty="0"/>
                        <a:t>were included. </a:t>
                      </a:r>
                    </a:p>
                    <a:p>
                      <a:pPr lvl="0"/>
                      <a:r>
                        <a:rPr lang="en-US" sz="1050" dirty="0">
                          <a:solidFill>
                            <a:schemeClr val="tx1"/>
                          </a:solidFill>
                        </a:rPr>
                        <a:t>The country’s </a:t>
                      </a:r>
                      <a:r>
                        <a:rPr lang="en-US" sz="1050" b="1" dirty="0">
                          <a:solidFill>
                            <a:schemeClr val="tx1"/>
                          </a:solidFill>
                        </a:rPr>
                        <a:t>2014 Strategic Energy Plan reintroduced nuclear as a baseload power source</a:t>
                      </a:r>
                      <a:r>
                        <a:rPr lang="en-US" sz="1050" dirty="0">
                          <a:solidFill>
                            <a:schemeClr val="tx1"/>
                          </a:solidFill>
                        </a:rPr>
                        <a:t>, reinstating it as critical for domestic energy self-sufficiency.</a:t>
                      </a:r>
                    </a:p>
                    <a:p>
                      <a:pPr lvl="1"/>
                      <a:r>
                        <a:rPr lang="en-US" sz="850" dirty="0">
                          <a:solidFill>
                            <a:schemeClr val="tx1"/>
                          </a:solidFill>
                        </a:rPr>
                        <a:t>By contrast, the previous administration</a:t>
                      </a:r>
                      <a:r>
                        <a:rPr lang="en-US" sz="850" baseline="0" dirty="0">
                          <a:solidFill>
                            <a:schemeClr val="tx1"/>
                          </a:solidFill>
                        </a:rPr>
                        <a:t> had </a:t>
                      </a:r>
                      <a:r>
                        <a:rPr lang="en-US" sz="850" dirty="0">
                          <a:solidFill>
                            <a:schemeClr val="tx1"/>
                          </a:solidFill>
                        </a:rPr>
                        <a:t>declared a zero-nuclear future in 2012.</a:t>
                      </a:r>
                    </a:p>
                    <a:p>
                      <a:pPr lvl="0"/>
                      <a:r>
                        <a:rPr lang="en-US" sz="1050" dirty="0"/>
                        <a:t>Implementation was </a:t>
                      </a:r>
                      <a:r>
                        <a:rPr lang="en-US" sz="1050" b="1" dirty="0"/>
                        <a:t>financed by a combination of private funding and government incentives.</a:t>
                      </a:r>
                      <a:r>
                        <a:rPr lang="en-US" sz="1050" dirty="0"/>
                        <a:t> </a:t>
                      </a:r>
                      <a:r>
                        <a:rPr lang="en-US" sz="1050" b="1" dirty="0"/>
                        <a:t>Total costs were estimated at $700M-$1B per plant. </a:t>
                      </a:r>
                    </a:p>
                  </a:txBody>
                  <a:tcPr>
                    <a:lnL w="12700" cap="flat" cmpd="sng" algn="ctr">
                      <a:solidFill>
                        <a:schemeClr val="bg1"/>
                      </a:solidFill>
                      <a:prstDash val="solid"/>
                      <a:round/>
                      <a:headEnd type="none" w="med" len="med"/>
                      <a:tailEnd type="none" w="med" len="med"/>
                    </a:lnL>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689286499"/>
                  </a:ext>
                </a:extLst>
              </a:tr>
              <a:tr h="1121638">
                <a:tc>
                  <a:txBody>
                    <a:bodyPr/>
                    <a:lstStyle/>
                    <a:p>
                      <a:pPr marL="0" indent="0">
                        <a:buNone/>
                      </a:pPr>
                      <a:r>
                        <a:rPr lang="en-US" sz="1200" b="1" dirty="0"/>
                        <a:t>Impact</a:t>
                      </a:r>
                    </a:p>
                  </a:txBody>
                  <a:tcPr>
                    <a:lnR w="28575"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b="0" dirty="0">
                          <a:solidFill>
                            <a:schemeClr val="tx1"/>
                          </a:solidFill>
                        </a:rPr>
                        <a:t>Nuclear</a:t>
                      </a:r>
                      <a:r>
                        <a:rPr lang="en-US" sz="1050" b="0" baseline="0" dirty="0">
                          <a:solidFill>
                            <a:schemeClr val="tx1"/>
                          </a:solidFill>
                        </a:rPr>
                        <a:t> now </a:t>
                      </a:r>
                      <a:r>
                        <a:rPr lang="en-US" sz="1050" b="1" baseline="0" dirty="0">
                          <a:solidFill>
                            <a:schemeClr val="tx1"/>
                          </a:solidFill>
                        </a:rPr>
                        <a:t>supplies ~8.5% </a:t>
                      </a:r>
                      <a:r>
                        <a:rPr lang="en-US" sz="1050" b="0" baseline="0" dirty="0">
                          <a:solidFill>
                            <a:schemeClr val="tx1"/>
                          </a:solidFill>
                        </a:rPr>
                        <a:t>of Japan’s energy demand (compared with ~29% in 2010), with a target of </a:t>
                      </a:r>
                      <a:r>
                        <a:rPr lang="en-US" sz="1050" b="1" dirty="0">
                          <a:solidFill>
                            <a:schemeClr val="tx1"/>
                          </a:solidFill>
                        </a:rPr>
                        <a:t>20% by 2040.</a:t>
                      </a:r>
                      <a:endParaRPr lang="en-US" sz="1050" dirty="0">
                        <a:solidFill>
                          <a:schemeClr val="tx1"/>
                        </a:solidFill>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dirty="0">
                          <a:solidFill>
                            <a:schemeClr val="tx1"/>
                          </a:solidFill>
                        </a:rPr>
                        <a:t>A 2023 survey showed that </a:t>
                      </a:r>
                      <a:r>
                        <a:rPr lang="en-US" sz="1050" b="1" dirty="0">
                          <a:solidFill>
                            <a:schemeClr val="tx1"/>
                          </a:solidFill>
                        </a:rPr>
                        <a:t>50%+ of the population supports restarting plant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50" b="1" dirty="0" err="1">
                          <a:solidFill>
                            <a:schemeClr val="tx1"/>
                          </a:solidFill>
                        </a:rPr>
                        <a:t>Tepco’s</a:t>
                      </a:r>
                      <a:r>
                        <a:rPr lang="en-US" sz="1050" b="1" dirty="0">
                          <a:solidFill>
                            <a:schemeClr val="tx1"/>
                          </a:solidFill>
                        </a:rPr>
                        <a:t> shares have seen a 200%+ share increase </a:t>
                      </a:r>
                      <a:r>
                        <a:rPr lang="en-US" sz="1050" dirty="0">
                          <a:solidFill>
                            <a:schemeClr val="tx1"/>
                          </a:solidFill>
                        </a:rPr>
                        <a:t>since their lowest point ($1.50 in November 2012).</a:t>
                      </a:r>
                    </a:p>
                  </a:txBody>
                  <a:tcPr>
                    <a:lnL w="28575" cap="flat" cmpd="sng" algn="ctr">
                      <a:solidFill>
                        <a:schemeClr val="bg1"/>
                      </a:solidFill>
                      <a:prstDash val="solid"/>
                      <a:round/>
                      <a:headEnd type="none" w="med" len="med"/>
                      <a:tailEnd type="none" w="med" len="med"/>
                    </a:lnL>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53082737"/>
                  </a:ext>
                </a:extLst>
              </a:tr>
            </a:tbl>
          </a:graphicData>
        </a:graphic>
      </p:graphicFrame>
      <p:sp>
        <p:nvSpPr>
          <p:cNvPr id="15" name="btfpNotesBox368131">
            <a:hlinkClick r:id="rId8"/>
            <a:extLst>
              <a:ext uri="{FF2B5EF4-FFF2-40B4-BE49-F238E27FC236}">
                <a16:creationId xmlns:a16="http://schemas.microsoft.com/office/drawing/2014/main" id="{5BB4BC56-636B-0A82-0DC0-B81183E77DC7}"/>
              </a:ext>
            </a:extLst>
          </p:cNvPr>
          <p:cNvSpPr txBox="1"/>
          <p:nvPr>
            <p:custDataLst>
              <p:tags r:id="rId3"/>
            </p:custDataLst>
          </p:nvPr>
        </p:nvSpPr>
        <p:spPr bwMode="gray">
          <a:xfrm>
            <a:off x="330199" y="6309361"/>
            <a:ext cx="9209727"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Since Fukushima, Japan has restarted 14 nuclear reactors</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5); W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Nuclear Power in Japan</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5); Reuter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Tokyo Electric set to receive $5.9B financing</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13); Google Financ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TKECY</a:t>
            </a:r>
            <a:r>
              <a:rPr kumimoji="0" lang="en-US" sz="800" b="0" i="0" u="none" strike="noStrike" kern="1200" cap="none" spc="0" normalizeH="0" baseline="0" noProof="0" dirty="0">
                <a:ln>
                  <a:noFill/>
                </a:ln>
                <a:solidFill>
                  <a:srgbClr val="000000"/>
                </a:solidFill>
                <a:effectLst/>
                <a:uLnTx/>
                <a:uFillTx/>
                <a:latin typeface="Arial"/>
                <a:ea typeface="+mn-ea"/>
                <a:cs typeface="+mn-cs"/>
              </a:rPr>
              <a:t> (2025); IA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Japan</a:t>
            </a:r>
            <a:r>
              <a:rPr kumimoji="0" lang="en-US" sz="800" b="0" i="0" u="none" strike="noStrike" kern="1200" cap="none" spc="0" normalizeH="0" baseline="0" noProof="0" dirty="0">
                <a:ln>
                  <a:noFill/>
                </a:ln>
                <a:solidFill>
                  <a:srgbClr val="000000"/>
                </a:solidFill>
                <a:effectLst/>
                <a:uLnTx/>
                <a:uFillTx/>
                <a:latin typeface="Arial"/>
                <a:ea typeface="+mn-ea"/>
                <a:cs typeface="+mn-cs"/>
              </a:rPr>
              <a:t> (2025); Journal of Energy, </a:t>
            </a:r>
            <a:r>
              <a:rPr lang="en-US" sz="800" dirty="0">
                <a:hlinkClick r:id="rId14"/>
              </a:rPr>
              <a:t>Japan’s 2014 Strategic Energy Plan</a:t>
            </a:r>
            <a:r>
              <a:rPr lang="en-US" sz="800" dirty="0"/>
              <a:t> (2017).</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lvl="0"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rPr>
              <a:t>Ariela Farchi, Isabel Hoyos, </a:t>
            </a:r>
            <a:r>
              <a:rPr lang="en-US" sz="800" dirty="0" err="1">
                <a:solidFill>
                  <a:srgbClr val="000000"/>
                </a:solidFill>
              </a:rPr>
              <a:t>Hyae</a:t>
            </a:r>
            <a:r>
              <a:rPr lang="en-US" sz="800" dirty="0">
                <a:solidFill>
                  <a:srgbClr val="000000"/>
                </a:solidFill>
              </a:rPr>
              <a:t> Ryung Kim, and </a:t>
            </a:r>
            <a:r>
              <a:rPr lang="en-US" sz="800" dirty="0">
                <a:hlinkClick r:id="rId15"/>
              </a:rPr>
              <a:t>Gernot Wagner.</a:t>
            </a:r>
            <a:r>
              <a:rPr lang="en-US" sz="800" dirty="0">
                <a:solidFill>
                  <a:srgbClr val="000000"/>
                </a:solidFill>
              </a:rPr>
              <a:t>  Share with </a:t>
            </a:r>
            <a:r>
              <a:rPr lang="en-US" sz="800" dirty="0">
                <a:solidFill>
                  <a:srgbClr val="000000"/>
                </a:solidFill>
                <a:hlinkClick r:id="rId16"/>
              </a:rPr>
              <a:t>attribution</a:t>
            </a:r>
            <a:r>
              <a:rPr lang="en-US" sz="800" dirty="0">
                <a:solidFill>
                  <a:srgbClr val="000000"/>
                </a:solidFill>
              </a:rPr>
              <a:t>: </a:t>
            </a:r>
            <a:r>
              <a:rPr lang="en-US" sz="800" dirty="0" err="1">
                <a:solidFill>
                  <a:srgbClr val="000000"/>
                </a:solidFill>
              </a:rPr>
              <a:t>Houwink</a:t>
            </a:r>
            <a:r>
              <a:rPr lang="en-US" sz="800" dirty="0">
                <a:solidFill>
                  <a:srgbClr val="000000"/>
                </a:solidFill>
              </a:rPr>
              <a:t> et al., "Reenergizing Nuclear" (23 September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 name="Group 2"/>
          <p:cNvGrpSpPr/>
          <p:nvPr/>
        </p:nvGrpSpPr>
        <p:grpSpPr>
          <a:xfrm>
            <a:off x="7614497" y="1849092"/>
            <a:ext cx="4521787" cy="4409047"/>
            <a:chOff x="7389961" y="1530731"/>
            <a:chExt cx="4913518" cy="4791011"/>
          </a:xfrm>
        </p:grpSpPr>
        <p:cxnSp>
          <p:nvCxnSpPr>
            <p:cNvPr id="47" name="Straight Connector 46">
              <a:extLst>
                <a:ext uri="{FF2B5EF4-FFF2-40B4-BE49-F238E27FC236}">
                  <a16:creationId xmlns:a16="http://schemas.microsoft.com/office/drawing/2014/main" id="{550735B8-3066-26E2-62D3-8BCC3CFFD7F4}"/>
                </a:ext>
              </a:extLst>
            </p:cNvPr>
            <p:cNvCxnSpPr>
              <a:cxnSpLocks/>
            </p:cNvCxnSpPr>
            <p:nvPr/>
          </p:nvCxnSpPr>
          <p:spPr bwMode="gray">
            <a:xfrm>
              <a:off x="7941712" y="4065232"/>
              <a:ext cx="0" cy="105721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5772189F-4D45-649D-6A4B-691123A7DB99}"/>
                </a:ext>
              </a:extLst>
            </p:cNvPr>
            <p:cNvGrpSpPr/>
            <p:nvPr/>
          </p:nvGrpSpPr>
          <p:grpSpPr>
            <a:xfrm>
              <a:off x="7627171" y="1530731"/>
              <a:ext cx="4201193" cy="4725508"/>
              <a:chOff x="2239069" y="2908351"/>
              <a:chExt cx="8462739" cy="9606465"/>
            </a:xfrm>
            <a:solidFill>
              <a:schemeClr val="bg2"/>
            </a:solidFill>
          </p:grpSpPr>
          <p:sp>
            <p:nvSpPr>
              <p:cNvPr id="10" name="Freeform 131">
                <a:extLst>
                  <a:ext uri="{FF2B5EF4-FFF2-40B4-BE49-F238E27FC236}">
                    <a16:creationId xmlns:a16="http://schemas.microsoft.com/office/drawing/2014/main" id="{7CAAF3FF-EFF6-70CC-10DB-54386AA40FA9}"/>
                  </a:ext>
                </a:extLst>
              </p:cNvPr>
              <p:cNvSpPr>
                <a:spLocks noChangeArrowheads="1"/>
              </p:cNvSpPr>
              <p:nvPr/>
            </p:nvSpPr>
            <p:spPr bwMode="auto">
              <a:xfrm>
                <a:off x="2239069" y="9900760"/>
                <a:ext cx="1670829" cy="2614056"/>
              </a:xfrm>
              <a:custGeom>
                <a:avLst/>
                <a:gdLst>
                  <a:gd name="T0" fmla="*/ 2630 w 3868"/>
                  <a:gd name="T1" fmla="*/ 5613 h 6049"/>
                  <a:gd name="T2" fmla="*/ 2668 w 3868"/>
                  <a:gd name="T3" fmla="*/ 5838 h 6049"/>
                  <a:gd name="T4" fmla="*/ 2788 w 3868"/>
                  <a:gd name="T5" fmla="*/ 5351 h 6049"/>
                  <a:gd name="T6" fmla="*/ 2211 w 3868"/>
                  <a:gd name="T7" fmla="*/ 6040 h 6049"/>
                  <a:gd name="T8" fmla="*/ 2083 w 3868"/>
                  <a:gd name="T9" fmla="*/ 5778 h 6049"/>
                  <a:gd name="T10" fmla="*/ 1836 w 3868"/>
                  <a:gd name="T11" fmla="*/ 5771 h 6049"/>
                  <a:gd name="T12" fmla="*/ 1236 w 3868"/>
                  <a:gd name="T13" fmla="*/ 4174 h 6049"/>
                  <a:gd name="T14" fmla="*/ 1401 w 3868"/>
                  <a:gd name="T15" fmla="*/ 3905 h 6049"/>
                  <a:gd name="T16" fmla="*/ 1709 w 3868"/>
                  <a:gd name="T17" fmla="*/ 3402 h 6049"/>
                  <a:gd name="T18" fmla="*/ 2024 w 3868"/>
                  <a:gd name="T19" fmla="*/ 3013 h 6049"/>
                  <a:gd name="T20" fmla="*/ 1889 w 3868"/>
                  <a:gd name="T21" fmla="*/ 3140 h 6049"/>
                  <a:gd name="T22" fmla="*/ 1641 w 3868"/>
                  <a:gd name="T23" fmla="*/ 3395 h 6049"/>
                  <a:gd name="T24" fmla="*/ 1604 w 3868"/>
                  <a:gd name="T25" fmla="*/ 3283 h 6049"/>
                  <a:gd name="T26" fmla="*/ 1784 w 3868"/>
                  <a:gd name="T27" fmla="*/ 2953 h 6049"/>
                  <a:gd name="T28" fmla="*/ 1064 w 3868"/>
                  <a:gd name="T29" fmla="*/ 2031 h 6049"/>
                  <a:gd name="T30" fmla="*/ 1401 w 3868"/>
                  <a:gd name="T31" fmla="*/ 1814 h 6049"/>
                  <a:gd name="T32" fmla="*/ 1656 w 3868"/>
                  <a:gd name="T33" fmla="*/ 1664 h 6049"/>
                  <a:gd name="T34" fmla="*/ 2068 w 3868"/>
                  <a:gd name="T35" fmla="*/ 1379 h 6049"/>
                  <a:gd name="T36" fmla="*/ 2623 w 3868"/>
                  <a:gd name="T37" fmla="*/ 1094 h 6049"/>
                  <a:gd name="T38" fmla="*/ 3500 w 3868"/>
                  <a:gd name="T39" fmla="*/ 1477 h 6049"/>
                  <a:gd name="T40" fmla="*/ 3627 w 3868"/>
                  <a:gd name="T41" fmla="*/ 2024 h 6049"/>
                  <a:gd name="T42" fmla="*/ 3867 w 3868"/>
                  <a:gd name="T43" fmla="*/ 2428 h 6049"/>
                  <a:gd name="T44" fmla="*/ 3500 w 3868"/>
                  <a:gd name="T45" fmla="*/ 2938 h 6049"/>
                  <a:gd name="T46" fmla="*/ 3223 w 3868"/>
                  <a:gd name="T47" fmla="*/ 3867 h 6049"/>
                  <a:gd name="T48" fmla="*/ 2975 w 3868"/>
                  <a:gd name="T49" fmla="*/ 4504 h 6049"/>
                  <a:gd name="T50" fmla="*/ 2743 w 3868"/>
                  <a:gd name="T51" fmla="*/ 4714 h 6049"/>
                  <a:gd name="T52" fmla="*/ 2458 w 3868"/>
                  <a:gd name="T53" fmla="*/ 4534 h 6049"/>
                  <a:gd name="T54" fmla="*/ 2376 w 3868"/>
                  <a:gd name="T55" fmla="*/ 4294 h 6049"/>
                  <a:gd name="T56" fmla="*/ 2218 w 3868"/>
                  <a:gd name="T57" fmla="*/ 4279 h 6049"/>
                  <a:gd name="T58" fmla="*/ 2173 w 3868"/>
                  <a:gd name="T59" fmla="*/ 4811 h 6049"/>
                  <a:gd name="T60" fmla="*/ 1701 w 3868"/>
                  <a:gd name="T61" fmla="*/ 4496 h 6049"/>
                  <a:gd name="T62" fmla="*/ 1769 w 3868"/>
                  <a:gd name="T63" fmla="*/ 3935 h 6049"/>
                  <a:gd name="T64" fmla="*/ 1994 w 3868"/>
                  <a:gd name="T65" fmla="*/ 3432 h 6049"/>
                  <a:gd name="T66" fmla="*/ 2271 w 3868"/>
                  <a:gd name="T67" fmla="*/ 2870 h 6049"/>
                  <a:gd name="T68" fmla="*/ 2256 w 3868"/>
                  <a:gd name="T69" fmla="*/ 2706 h 6049"/>
                  <a:gd name="T70" fmla="*/ 1964 w 3868"/>
                  <a:gd name="T71" fmla="*/ 2166 h 6049"/>
                  <a:gd name="T72" fmla="*/ 1799 w 3868"/>
                  <a:gd name="T73" fmla="*/ 2541 h 6049"/>
                  <a:gd name="T74" fmla="*/ 1739 w 3868"/>
                  <a:gd name="T75" fmla="*/ 2773 h 6049"/>
                  <a:gd name="T76" fmla="*/ 1342 w 3868"/>
                  <a:gd name="T77" fmla="*/ 2780 h 6049"/>
                  <a:gd name="T78" fmla="*/ 1304 w 3868"/>
                  <a:gd name="T79" fmla="*/ 2278 h 6049"/>
                  <a:gd name="T80" fmla="*/ 1484 w 3868"/>
                  <a:gd name="T81" fmla="*/ 2451 h 6049"/>
                  <a:gd name="T82" fmla="*/ 1282 w 3868"/>
                  <a:gd name="T83" fmla="*/ 2166 h 6049"/>
                  <a:gd name="T84" fmla="*/ 1019 w 3868"/>
                  <a:gd name="T85" fmla="*/ 1746 h 6049"/>
                  <a:gd name="T86" fmla="*/ 884 w 3868"/>
                  <a:gd name="T87" fmla="*/ 1986 h 6049"/>
                  <a:gd name="T88" fmla="*/ 1027 w 3868"/>
                  <a:gd name="T89" fmla="*/ 1904 h 6049"/>
                  <a:gd name="T90" fmla="*/ 382 w 3868"/>
                  <a:gd name="T91" fmla="*/ 2511 h 6049"/>
                  <a:gd name="T92" fmla="*/ 525 w 3868"/>
                  <a:gd name="T93" fmla="*/ 2353 h 6049"/>
                  <a:gd name="T94" fmla="*/ 480 w 3868"/>
                  <a:gd name="T95" fmla="*/ 2533 h 6049"/>
                  <a:gd name="T96" fmla="*/ 247 w 3868"/>
                  <a:gd name="T97" fmla="*/ 2563 h 6049"/>
                  <a:gd name="T98" fmla="*/ 255 w 3868"/>
                  <a:gd name="T99" fmla="*/ 2683 h 6049"/>
                  <a:gd name="T100" fmla="*/ 165 w 3868"/>
                  <a:gd name="T101" fmla="*/ 2870 h 6049"/>
                  <a:gd name="T102" fmla="*/ 0 w 3868"/>
                  <a:gd name="T103" fmla="*/ 2818 h 6049"/>
                  <a:gd name="T104" fmla="*/ 1207 w 3868"/>
                  <a:gd name="T105" fmla="*/ 1169 h 6049"/>
                  <a:gd name="T106" fmla="*/ 1229 w 3868"/>
                  <a:gd name="T107" fmla="*/ 1372 h 6049"/>
                  <a:gd name="T108" fmla="*/ 832 w 3868"/>
                  <a:gd name="T109" fmla="*/ 83 h 6049"/>
                  <a:gd name="T110" fmla="*/ 742 w 3868"/>
                  <a:gd name="T111" fmla="*/ 465 h 6049"/>
                  <a:gd name="T112" fmla="*/ 712 w 3868"/>
                  <a:gd name="T113" fmla="*/ 555 h 6049"/>
                  <a:gd name="T114" fmla="*/ 712 w 3868"/>
                  <a:gd name="T115" fmla="*/ 825 h 6049"/>
                  <a:gd name="T116" fmla="*/ 862 w 3868"/>
                  <a:gd name="T117" fmla="*/ 442 h 6049"/>
                  <a:gd name="T118" fmla="*/ 974 w 3868"/>
                  <a:gd name="T119" fmla="*/ 105 h 6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68" h="6049">
                    <a:moveTo>
                      <a:pt x="2773" y="5261"/>
                    </a:moveTo>
                    <a:lnTo>
                      <a:pt x="2773" y="5261"/>
                    </a:lnTo>
                    <a:cubicBezTo>
                      <a:pt x="2758" y="5268"/>
                      <a:pt x="2758" y="5276"/>
                      <a:pt x="2743" y="5284"/>
                    </a:cubicBezTo>
                    <a:cubicBezTo>
                      <a:pt x="2736" y="5291"/>
                      <a:pt x="2720" y="5291"/>
                      <a:pt x="2720" y="5298"/>
                    </a:cubicBezTo>
                    <a:cubicBezTo>
                      <a:pt x="2720" y="5313"/>
                      <a:pt x="2728" y="5313"/>
                      <a:pt x="2728" y="5328"/>
                    </a:cubicBezTo>
                    <a:cubicBezTo>
                      <a:pt x="2728" y="5336"/>
                      <a:pt x="2720" y="5336"/>
                      <a:pt x="2720" y="5343"/>
                    </a:cubicBezTo>
                    <a:cubicBezTo>
                      <a:pt x="2713" y="5351"/>
                      <a:pt x="2713" y="5358"/>
                      <a:pt x="2706" y="5366"/>
                    </a:cubicBezTo>
                    <a:cubicBezTo>
                      <a:pt x="2698" y="5381"/>
                      <a:pt x="2698" y="5388"/>
                      <a:pt x="2690" y="5396"/>
                    </a:cubicBezTo>
                    <a:cubicBezTo>
                      <a:pt x="2690" y="5403"/>
                      <a:pt x="2676" y="5411"/>
                      <a:pt x="2676" y="5418"/>
                    </a:cubicBezTo>
                    <a:cubicBezTo>
                      <a:pt x="2660" y="5441"/>
                      <a:pt x="2653" y="5448"/>
                      <a:pt x="2653" y="5471"/>
                    </a:cubicBezTo>
                    <a:cubicBezTo>
                      <a:pt x="2653" y="5478"/>
                      <a:pt x="2646" y="5478"/>
                      <a:pt x="2646" y="5486"/>
                    </a:cubicBezTo>
                    <a:cubicBezTo>
                      <a:pt x="2646" y="5538"/>
                      <a:pt x="2646" y="5538"/>
                      <a:pt x="2646" y="5538"/>
                    </a:cubicBezTo>
                    <a:cubicBezTo>
                      <a:pt x="2646" y="5546"/>
                      <a:pt x="2646" y="5553"/>
                      <a:pt x="2646" y="5561"/>
                    </a:cubicBezTo>
                    <a:cubicBezTo>
                      <a:pt x="2646" y="5568"/>
                      <a:pt x="2646" y="5576"/>
                      <a:pt x="2638" y="5591"/>
                    </a:cubicBezTo>
                    <a:cubicBezTo>
                      <a:pt x="2638" y="5598"/>
                      <a:pt x="2630" y="5606"/>
                      <a:pt x="2630" y="5613"/>
                    </a:cubicBezTo>
                    <a:cubicBezTo>
                      <a:pt x="2623" y="5628"/>
                      <a:pt x="2623" y="5636"/>
                      <a:pt x="2616" y="5651"/>
                    </a:cubicBezTo>
                    <a:cubicBezTo>
                      <a:pt x="2608" y="5666"/>
                      <a:pt x="2601" y="5673"/>
                      <a:pt x="2586" y="5688"/>
                    </a:cubicBezTo>
                    <a:cubicBezTo>
                      <a:pt x="2578" y="5695"/>
                      <a:pt x="2578" y="5703"/>
                      <a:pt x="2563" y="5718"/>
                    </a:cubicBezTo>
                    <a:cubicBezTo>
                      <a:pt x="2556" y="5725"/>
                      <a:pt x="2548" y="5725"/>
                      <a:pt x="2548" y="5733"/>
                    </a:cubicBezTo>
                    <a:cubicBezTo>
                      <a:pt x="2541" y="5733"/>
                      <a:pt x="2541" y="5741"/>
                      <a:pt x="2541" y="5741"/>
                    </a:cubicBezTo>
                    <a:cubicBezTo>
                      <a:pt x="2556" y="5808"/>
                      <a:pt x="2556" y="5808"/>
                      <a:pt x="2556" y="5808"/>
                    </a:cubicBezTo>
                    <a:cubicBezTo>
                      <a:pt x="2556" y="5815"/>
                      <a:pt x="2556" y="5823"/>
                      <a:pt x="2556" y="5838"/>
                    </a:cubicBezTo>
                    <a:cubicBezTo>
                      <a:pt x="2548" y="5845"/>
                      <a:pt x="2548" y="5853"/>
                      <a:pt x="2548" y="5860"/>
                    </a:cubicBezTo>
                    <a:cubicBezTo>
                      <a:pt x="2548" y="5860"/>
                      <a:pt x="2548" y="5860"/>
                      <a:pt x="2548" y="5868"/>
                    </a:cubicBezTo>
                    <a:cubicBezTo>
                      <a:pt x="2556" y="5868"/>
                      <a:pt x="2556" y="5875"/>
                      <a:pt x="2563" y="5875"/>
                    </a:cubicBezTo>
                    <a:cubicBezTo>
                      <a:pt x="2563" y="5883"/>
                      <a:pt x="2563" y="5890"/>
                      <a:pt x="2571" y="5898"/>
                    </a:cubicBezTo>
                    <a:cubicBezTo>
                      <a:pt x="2578" y="5883"/>
                      <a:pt x="2578" y="5868"/>
                      <a:pt x="2593" y="5868"/>
                    </a:cubicBezTo>
                    <a:cubicBezTo>
                      <a:pt x="2616" y="5860"/>
                      <a:pt x="2630" y="5860"/>
                      <a:pt x="2646" y="5860"/>
                    </a:cubicBezTo>
                    <a:cubicBezTo>
                      <a:pt x="2668" y="5860"/>
                      <a:pt x="2668" y="5860"/>
                      <a:pt x="2668" y="5860"/>
                    </a:cubicBezTo>
                    <a:cubicBezTo>
                      <a:pt x="2668" y="5853"/>
                      <a:pt x="2668" y="5845"/>
                      <a:pt x="2668" y="5838"/>
                    </a:cubicBezTo>
                    <a:cubicBezTo>
                      <a:pt x="2676" y="5830"/>
                      <a:pt x="2668" y="5823"/>
                      <a:pt x="2676" y="5808"/>
                    </a:cubicBezTo>
                    <a:cubicBezTo>
                      <a:pt x="2676" y="5801"/>
                      <a:pt x="2683" y="5793"/>
                      <a:pt x="2683" y="5778"/>
                    </a:cubicBezTo>
                    <a:cubicBezTo>
                      <a:pt x="2683" y="5771"/>
                      <a:pt x="2676" y="5771"/>
                      <a:pt x="2668" y="5763"/>
                    </a:cubicBezTo>
                    <a:cubicBezTo>
                      <a:pt x="2668" y="5763"/>
                      <a:pt x="2668" y="5755"/>
                      <a:pt x="2668" y="5748"/>
                    </a:cubicBezTo>
                    <a:cubicBezTo>
                      <a:pt x="2668" y="5733"/>
                      <a:pt x="2676" y="5725"/>
                      <a:pt x="2683" y="5711"/>
                    </a:cubicBezTo>
                    <a:cubicBezTo>
                      <a:pt x="2690" y="5703"/>
                      <a:pt x="2690" y="5695"/>
                      <a:pt x="2690" y="5681"/>
                    </a:cubicBezTo>
                    <a:cubicBezTo>
                      <a:pt x="2698" y="5658"/>
                      <a:pt x="2698" y="5636"/>
                      <a:pt x="2720" y="5628"/>
                    </a:cubicBezTo>
                    <a:cubicBezTo>
                      <a:pt x="2728" y="5621"/>
                      <a:pt x="2736" y="5621"/>
                      <a:pt x="2743" y="5613"/>
                    </a:cubicBezTo>
                    <a:cubicBezTo>
                      <a:pt x="2750" y="5606"/>
                      <a:pt x="2743" y="5591"/>
                      <a:pt x="2750" y="5583"/>
                    </a:cubicBezTo>
                    <a:cubicBezTo>
                      <a:pt x="2750" y="5576"/>
                      <a:pt x="2758" y="5576"/>
                      <a:pt x="2766" y="5568"/>
                    </a:cubicBezTo>
                    <a:cubicBezTo>
                      <a:pt x="2773" y="5553"/>
                      <a:pt x="2773" y="5546"/>
                      <a:pt x="2773" y="5531"/>
                    </a:cubicBezTo>
                    <a:cubicBezTo>
                      <a:pt x="2773" y="5516"/>
                      <a:pt x="2773" y="5508"/>
                      <a:pt x="2773" y="5493"/>
                    </a:cubicBezTo>
                    <a:cubicBezTo>
                      <a:pt x="2773" y="5471"/>
                      <a:pt x="2780" y="5463"/>
                      <a:pt x="2780" y="5441"/>
                    </a:cubicBezTo>
                    <a:cubicBezTo>
                      <a:pt x="2788" y="5426"/>
                      <a:pt x="2788" y="5418"/>
                      <a:pt x="2788" y="5403"/>
                    </a:cubicBezTo>
                    <a:cubicBezTo>
                      <a:pt x="2788" y="5351"/>
                      <a:pt x="2788" y="5351"/>
                      <a:pt x="2788" y="5351"/>
                    </a:cubicBezTo>
                    <a:cubicBezTo>
                      <a:pt x="2788" y="5343"/>
                      <a:pt x="2788" y="5343"/>
                      <a:pt x="2795" y="5336"/>
                    </a:cubicBezTo>
                    <a:cubicBezTo>
                      <a:pt x="2795" y="5328"/>
                      <a:pt x="2795" y="5321"/>
                      <a:pt x="2795" y="5306"/>
                    </a:cubicBezTo>
                    <a:cubicBezTo>
                      <a:pt x="2795" y="5298"/>
                      <a:pt x="2795" y="5291"/>
                      <a:pt x="2788" y="5284"/>
                    </a:cubicBezTo>
                    <a:cubicBezTo>
                      <a:pt x="2788" y="5276"/>
                      <a:pt x="2780" y="5268"/>
                      <a:pt x="2773" y="5261"/>
                    </a:cubicBezTo>
                    <a:close/>
                    <a:moveTo>
                      <a:pt x="1994" y="5845"/>
                    </a:moveTo>
                    <a:lnTo>
                      <a:pt x="1994" y="5845"/>
                    </a:lnTo>
                    <a:cubicBezTo>
                      <a:pt x="1994" y="5853"/>
                      <a:pt x="2001" y="5853"/>
                      <a:pt x="2008" y="5860"/>
                    </a:cubicBezTo>
                    <a:cubicBezTo>
                      <a:pt x="2016" y="5868"/>
                      <a:pt x="2016" y="5875"/>
                      <a:pt x="2016" y="5890"/>
                    </a:cubicBezTo>
                    <a:cubicBezTo>
                      <a:pt x="2016" y="5905"/>
                      <a:pt x="2024" y="5913"/>
                      <a:pt x="2024" y="5928"/>
                    </a:cubicBezTo>
                    <a:cubicBezTo>
                      <a:pt x="2031" y="5958"/>
                      <a:pt x="2038" y="5973"/>
                      <a:pt x="2054" y="5995"/>
                    </a:cubicBezTo>
                    <a:cubicBezTo>
                      <a:pt x="2061" y="6010"/>
                      <a:pt x="2054" y="6025"/>
                      <a:pt x="2068" y="6033"/>
                    </a:cubicBezTo>
                    <a:cubicBezTo>
                      <a:pt x="2083" y="6040"/>
                      <a:pt x="2091" y="6033"/>
                      <a:pt x="2106" y="6040"/>
                    </a:cubicBezTo>
                    <a:cubicBezTo>
                      <a:pt x="2113" y="6040"/>
                      <a:pt x="2121" y="6040"/>
                      <a:pt x="2128" y="6040"/>
                    </a:cubicBezTo>
                    <a:cubicBezTo>
                      <a:pt x="2151" y="6048"/>
                      <a:pt x="2158" y="6048"/>
                      <a:pt x="2181" y="6048"/>
                    </a:cubicBezTo>
                    <a:cubicBezTo>
                      <a:pt x="2196" y="6048"/>
                      <a:pt x="2203" y="6040"/>
                      <a:pt x="2211" y="6040"/>
                    </a:cubicBezTo>
                    <a:cubicBezTo>
                      <a:pt x="2226" y="6040"/>
                      <a:pt x="2226" y="6033"/>
                      <a:pt x="2233" y="6033"/>
                    </a:cubicBezTo>
                    <a:cubicBezTo>
                      <a:pt x="2248" y="6025"/>
                      <a:pt x="2256" y="6018"/>
                      <a:pt x="2263" y="6010"/>
                    </a:cubicBezTo>
                    <a:cubicBezTo>
                      <a:pt x="2271" y="6003"/>
                      <a:pt x="2278" y="5988"/>
                      <a:pt x="2286" y="5980"/>
                    </a:cubicBezTo>
                    <a:cubicBezTo>
                      <a:pt x="2293" y="5965"/>
                      <a:pt x="2308" y="5950"/>
                      <a:pt x="2316" y="5935"/>
                    </a:cubicBezTo>
                    <a:cubicBezTo>
                      <a:pt x="2316" y="5920"/>
                      <a:pt x="2316" y="5905"/>
                      <a:pt x="2323" y="5890"/>
                    </a:cubicBezTo>
                    <a:cubicBezTo>
                      <a:pt x="2323" y="5883"/>
                      <a:pt x="2323" y="5875"/>
                      <a:pt x="2323" y="5868"/>
                    </a:cubicBezTo>
                    <a:cubicBezTo>
                      <a:pt x="2323" y="5838"/>
                      <a:pt x="2323" y="5838"/>
                      <a:pt x="2323" y="5838"/>
                    </a:cubicBezTo>
                    <a:cubicBezTo>
                      <a:pt x="2316" y="5838"/>
                      <a:pt x="2308" y="5838"/>
                      <a:pt x="2293" y="5838"/>
                    </a:cubicBezTo>
                    <a:cubicBezTo>
                      <a:pt x="2286" y="5838"/>
                      <a:pt x="2278" y="5830"/>
                      <a:pt x="2271" y="5823"/>
                    </a:cubicBezTo>
                    <a:cubicBezTo>
                      <a:pt x="2263" y="5815"/>
                      <a:pt x="2263" y="5815"/>
                      <a:pt x="2256" y="5808"/>
                    </a:cubicBezTo>
                    <a:cubicBezTo>
                      <a:pt x="2233" y="5801"/>
                      <a:pt x="2226" y="5793"/>
                      <a:pt x="2211" y="5778"/>
                    </a:cubicBezTo>
                    <a:cubicBezTo>
                      <a:pt x="2196" y="5771"/>
                      <a:pt x="2196" y="5763"/>
                      <a:pt x="2181" y="5755"/>
                    </a:cubicBezTo>
                    <a:cubicBezTo>
                      <a:pt x="2166" y="5755"/>
                      <a:pt x="2158" y="5755"/>
                      <a:pt x="2151" y="5755"/>
                    </a:cubicBezTo>
                    <a:cubicBezTo>
                      <a:pt x="2136" y="5755"/>
                      <a:pt x="2128" y="5748"/>
                      <a:pt x="2113" y="5748"/>
                    </a:cubicBezTo>
                    <a:cubicBezTo>
                      <a:pt x="2098" y="5748"/>
                      <a:pt x="2098" y="5763"/>
                      <a:pt x="2083" y="5778"/>
                    </a:cubicBezTo>
                    <a:cubicBezTo>
                      <a:pt x="2083" y="5785"/>
                      <a:pt x="2083" y="5785"/>
                      <a:pt x="2083" y="5785"/>
                    </a:cubicBezTo>
                    <a:cubicBezTo>
                      <a:pt x="2076" y="5793"/>
                      <a:pt x="2068" y="5801"/>
                      <a:pt x="2068" y="5808"/>
                    </a:cubicBezTo>
                    <a:cubicBezTo>
                      <a:pt x="2061" y="5823"/>
                      <a:pt x="2054" y="5823"/>
                      <a:pt x="2038" y="5823"/>
                    </a:cubicBezTo>
                    <a:cubicBezTo>
                      <a:pt x="2031" y="5830"/>
                      <a:pt x="2031" y="5830"/>
                      <a:pt x="2024" y="5830"/>
                    </a:cubicBezTo>
                    <a:cubicBezTo>
                      <a:pt x="2008" y="5838"/>
                      <a:pt x="1994" y="5838"/>
                      <a:pt x="1994" y="5845"/>
                    </a:cubicBezTo>
                    <a:close/>
                    <a:moveTo>
                      <a:pt x="1746" y="5703"/>
                    </a:moveTo>
                    <a:lnTo>
                      <a:pt x="1746" y="5703"/>
                    </a:lnTo>
                    <a:cubicBezTo>
                      <a:pt x="1739" y="5711"/>
                      <a:pt x="1739" y="5711"/>
                      <a:pt x="1739" y="5718"/>
                    </a:cubicBezTo>
                    <a:cubicBezTo>
                      <a:pt x="1739" y="5725"/>
                      <a:pt x="1746" y="5733"/>
                      <a:pt x="1754" y="5733"/>
                    </a:cubicBezTo>
                    <a:cubicBezTo>
                      <a:pt x="1761" y="5741"/>
                      <a:pt x="1769" y="5748"/>
                      <a:pt x="1776" y="5755"/>
                    </a:cubicBezTo>
                    <a:cubicBezTo>
                      <a:pt x="1776" y="5763"/>
                      <a:pt x="1776" y="5763"/>
                      <a:pt x="1784" y="5763"/>
                    </a:cubicBezTo>
                    <a:cubicBezTo>
                      <a:pt x="1784" y="5771"/>
                      <a:pt x="1791" y="5771"/>
                      <a:pt x="1799" y="5778"/>
                    </a:cubicBezTo>
                    <a:cubicBezTo>
                      <a:pt x="1806" y="5785"/>
                      <a:pt x="1806" y="5793"/>
                      <a:pt x="1814" y="5793"/>
                    </a:cubicBezTo>
                    <a:cubicBezTo>
                      <a:pt x="1814" y="5793"/>
                      <a:pt x="1814" y="5793"/>
                      <a:pt x="1821" y="5785"/>
                    </a:cubicBezTo>
                    <a:cubicBezTo>
                      <a:pt x="1829" y="5785"/>
                      <a:pt x="1829" y="5771"/>
                      <a:pt x="1836" y="5771"/>
                    </a:cubicBezTo>
                    <a:cubicBezTo>
                      <a:pt x="1844" y="5771"/>
                      <a:pt x="1851" y="5771"/>
                      <a:pt x="1859" y="5763"/>
                    </a:cubicBezTo>
                    <a:cubicBezTo>
                      <a:pt x="1851" y="5755"/>
                      <a:pt x="1844" y="5755"/>
                      <a:pt x="1836" y="5748"/>
                    </a:cubicBezTo>
                    <a:cubicBezTo>
                      <a:pt x="1821" y="5741"/>
                      <a:pt x="1821" y="5718"/>
                      <a:pt x="1806" y="5718"/>
                    </a:cubicBezTo>
                    <a:cubicBezTo>
                      <a:pt x="1799" y="5718"/>
                      <a:pt x="1791" y="5725"/>
                      <a:pt x="1784" y="5718"/>
                    </a:cubicBezTo>
                    <a:cubicBezTo>
                      <a:pt x="1769" y="5718"/>
                      <a:pt x="1761" y="5711"/>
                      <a:pt x="1746" y="5703"/>
                    </a:cubicBezTo>
                    <a:close/>
                    <a:moveTo>
                      <a:pt x="1319" y="4009"/>
                    </a:moveTo>
                    <a:lnTo>
                      <a:pt x="1319" y="4009"/>
                    </a:lnTo>
                    <a:cubicBezTo>
                      <a:pt x="1304" y="4039"/>
                      <a:pt x="1282" y="4039"/>
                      <a:pt x="1252" y="4054"/>
                    </a:cubicBezTo>
                    <a:cubicBezTo>
                      <a:pt x="1244" y="4054"/>
                      <a:pt x="1236" y="4054"/>
                      <a:pt x="1229" y="4069"/>
                    </a:cubicBezTo>
                    <a:cubicBezTo>
                      <a:pt x="1222" y="4084"/>
                      <a:pt x="1214" y="4092"/>
                      <a:pt x="1207" y="4114"/>
                    </a:cubicBezTo>
                    <a:cubicBezTo>
                      <a:pt x="1199" y="4122"/>
                      <a:pt x="1207" y="4137"/>
                      <a:pt x="1192" y="4144"/>
                    </a:cubicBezTo>
                    <a:cubicBezTo>
                      <a:pt x="1192" y="4152"/>
                      <a:pt x="1184" y="4159"/>
                      <a:pt x="1177" y="4159"/>
                    </a:cubicBezTo>
                    <a:cubicBezTo>
                      <a:pt x="1184" y="4167"/>
                      <a:pt x="1184" y="4174"/>
                      <a:pt x="1192" y="4182"/>
                    </a:cubicBezTo>
                    <a:cubicBezTo>
                      <a:pt x="1199" y="4189"/>
                      <a:pt x="1207" y="4197"/>
                      <a:pt x="1214" y="4197"/>
                    </a:cubicBezTo>
                    <a:cubicBezTo>
                      <a:pt x="1222" y="4197"/>
                      <a:pt x="1229" y="4189"/>
                      <a:pt x="1236" y="4174"/>
                    </a:cubicBezTo>
                    <a:cubicBezTo>
                      <a:pt x="1244" y="4167"/>
                      <a:pt x="1252" y="4159"/>
                      <a:pt x="1259" y="4152"/>
                    </a:cubicBezTo>
                    <a:cubicBezTo>
                      <a:pt x="1259" y="4144"/>
                      <a:pt x="1259" y="4137"/>
                      <a:pt x="1267" y="4122"/>
                    </a:cubicBezTo>
                    <a:cubicBezTo>
                      <a:pt x="1267" y="4114"/>
                      <a:pt x="1267" y="4107"/>
                      <a:pt x="1274" y="4099"/>
                    </a:cubicBezTo>
                    <a:cubicBezTo>
                      <a:pt x="1274" y="4092"/>
                      <a:pt x="1274" y="4084"/>
                      <a:pt x="1274" y="4077"/>
                    </a:cubicBezTo>
                    <a:cubicBezTo>
                      <a:pt x="1282" y="4077"/>
                      <a:pt x="1282" y="4077"/>
                      <a:pt x="1289" y="4077"/>
                    </a:cubicBezTo>
                    <a:cubicBezTo>
                      <a:pt x="1297" y="4077"/>
                      <a:pt x="1297" y="4069"/>
                      <a:pt x="1304" y="4062"/>
                    </a:cubicBezTo>
                    <a:lnTo>
                      <a:pt x="1304" y="4054"/>
                    </a:lnTo>
                    <a:cubicBezTo>
                      <a:pt x="1304" y="4039"/>
                      <a:pt x="1312" y="4039"/>
                      <a:pt x="1319" y="4032"/>
                    </a:cubicBezTo>
                    <a:cubicBezTo>
                      <a:pt x="1319" y="4025"/>
                      <a:pt x="1319" y="4025"/>
                      <a:pt x="1327" y="4017"/>
                    </a:cubicBezTo>
                    <a:cubicBezTo>
                      <a:pt x="1319" y="4009"/>
                      <a:pt x="1319" y="4009"/>
                      <a:pt x="1319" y="4009"/>
                    </a:cubicBezTo>
                    <a:close/>
                    <a:moveTo>
                      <a:pt x="1409" y="3845"/>
                    </a:moveTo>
                    <a:lnTo>
                      <a:pt x="1409" y="3845"/>
                    </a:lnTo>
                    <a:cubicBezTo>
                      <a:pt x="1409" y="3860"/>
                      <a:pt x="1409" y="3860"/>
                      <a:pt x="1401" y="3875"/>
                    </a:cubicBezTo>
                    <a:cubicBezTo>
                      <a:pt x="1401" y="3882"/>
                      <a:pt x="1394" y="3882"/>
                      <a:pt x="1394" y="3890"/>
                    </a:cubicBezTo>
                    <a:cubicBezTo>
                      <a:pt x="1394" y="3897"/>
                      <a:pt x="1401" y="3897"/>
                      <a:pt x="1401" y="3905"/>
                    </a:cubicBezTo>
                    <a:cubicBezTo>
                      <a:pt x="1409" y="3919"/>
                      <a:pt x="1417" y="3927"/>
                      <a:pt x="1417" y="3949"/>
                    </a:cubicBezTo>
                    <a:cubicBezTo>
                      <a:pt x="1417" y="3949"/>
                      <a:pt x="1417" y="3949"/>
                      <a:pt x="1424" y="3949"/>
                    </a:cubicBezTo>
                    <a:cubicBezTo>
                      <a:pt x="1431" y="3949"/>
                      <a:pt x="1431" y="3942"/>
                      <a:pt x="1439" y="3942"/>
                    </a:cubicBezTo>
                    <a:cubicBezTo>
                      <a:pt x="1454" y="3935"/>
                      <a:pt x="1461" y="3935"/>
                      <a:pt x="1484" y="3935"/>
                    </a:cubicBezTo>
                    <a:cubicBezTo>
                      <a:pt x="1484" y="3927"/>
                      <a:pt x="1484" y="3927"/>
                      <a:pt x="1484" y="3919"/>
                    </a:cubicBezTo>
                    <a:cubicBezTo>
                      <a:pt x="1469" y="3912"/>
                      <a:pt x="1454" y="3912"/>
                      <a:pt x="1439" y="3897"/>
                    </a:cubicBezTo>
                    <a:cubicBezTo>
                      <a:pt x="1424" y="3890"/>
                      <a:pt x="1431" y="3875"/>
                      <a:pt x="1417" y="3860"/>
                    </a:cubicBezTo>
                    <a:cubicBezTo>
                      <a:pt x="1417" y="3852"/>
                      <a:pt x="1417" y="3852"/>
                      <a:pt x="1409" y="3845"/>
                    </a:cubicBezTo>
                    <a:close/>
                    <a:moveTo>
                      <a:pt x="1776" y="3425"/>
                    </a:moveTo>
                    <a:lnTo>
                      <a:pt x="1776" y="3425"/>
                    </a:lnTo>
                    <a:cubicBezTo>
                      <a:pt x="1776" y="3417"/>
                      <a:pt x="1784" y="3410"/>
                      <a:pt x="1784" y="3402"/>
                    </a:cubicBezTo>
                    <a:cubicBezTo>
                      <a:pt x="1776" y="3402"/>
                      <a:pt x="1776" y="3402"/>
                      <a:pt x="1769" y="3402"/>
                    </a:cubicBezTo>
                    <a:lnTo>
                      <a:pt x="1769" y="3402"/>
                    </a:lnTo>
                    <a:cubicBezTo>
                      <a:pt x="1761" y="3410"/>
                      <a:pt x="1754" y="3410"/>
                      <a:pt x="1739" y="3410"/>
                    </a:cubicBezTo>
                    <a:cubicBezTo>
                      <a:pt x="1724" y="3410"/>
                      <a:pt x="1716" y="3402"/>
                      <a:pt x="1709" y="3402"/>
                    </a:cubicBezTo>
                    <a:cubicBezTo>
                      <a:pt x="1694" y="3402"/>
                      <a:pt x="1694" y="3402"/>
                      <a:pt x="1694" y="3402"/>
                    </a:cubicBezTo>
                    <a:cubicBezTo>
                      <a:pt x="1694" y="3410"/>
                      <a:pt x="1694" y="3417"/>
                      <a:pt x="1694" y="3425"/>
                    </a:cubicBezTo>
                    <a:cubicBezTo>
                      <a:pt x="1694" y="3440"/>
                      <a:pt x="1686" y="3440"/>
                      <a:pt x="1686" y="3455"/>
                    </a:cubicBezTo>
                    <a:cubicBezTo>
                      <a:pt x="1686" y="3477"/>
                      <a:pt x="1701" y="3492"/>
                      <a:pt x="1701" y="3515"/>
                    </a:cubicBezTo>
                    <a:cubicBezTo>
                      <a:pt x="1709" y="3522"/>
                      <a:pt x="1709" y="3530"/>
                      <a:pt x="1716" y="3537"/>
                    </a:cubicBezTo>
                    <a:cubicBezTo>
                      <a:pt x="1724" y="3545"/>
                      <a:pt x="1724" y="3552"/>
                      <a:pt x="1731" y="3552"/>
                    </a:cubicBezTo>
                    <a:cubicBezTo>
                      <a:pt x="1731" y="3560"/>
                      <a:pt x="1731" y="3560"/>
                      <a:pt x="1739" y="3560"/>
                    </a:cubicBezTo>
                    <a:cubicBezTo>
                      <a:pt x="1746" y="3545"/>
                      <a:pt x="1746" y="3537"/>
                      <a:pt x="1754" y="3522"/>
                    </a:cubicBezTo>
                    <a:cubicBezTo>
                      <a:pt x="1761" y="3515"/>
                      <a:pt x="1761" y="3515"/>
                      <a:pt x="1769" y="3507"/>
                    </a:cubicBezTo>
                    <a:cubicBezTo>
                      <a:pt x="1784" y="3492"/>
                      <a:pt x="1791" y="3485"/>
                      <a:pt x="1799" y="3477"/>
                    </a:cubicBezTo>
                    <a:lnTo>
                      <a:pt x="1799" y="3470"/>
                    </a:lnTo>
                    <a:cubicBezTo>
                      <a:pt x="1791" y="3470"/>
                      <a:pt x="1791" y="3470"/>
                      <a:pt x="1784" y="3462"/>
                    </a:cubicBezTo>
                    <a:cubicBezTo>
                      <a:pt x="1776" y="3455"/>
                      <a:pt x="1776" y="3440"/>
                      <a:pt x="1776" y="3425"/>
                    </a:cubicBezTo>
                    <a:close/>
                    <a:moveTo>
                      <a:pt x="2024" y="3013"/>
                    </a:moveTo>
                    <a:lnTo>
                      <a:pt x="2024" y="3013"/>
                    </a:lnTo>
                    <a:cubicBezTo>
                      <a:pt x="2038" y="3005"/>
                      <a:pt x="2046" y="2998"/>
                      <a:pt x="2061" y="2998"/>
                    </a:cubicBezTo>
                    <a:cubicBezTo>
                      <a:pt x="2068" y="2998"/>
                      <a:pt x="2068" y="2990"/>
                      <a:pt x="2076" y="2998"/>
                    </a:cubicBezTo>
                    <a:cubicBezTo>
                      <a:pt x="2076" y="2998"/>
                      <a:pt x="2076" y="2998"/>
                      <a:pt x="2076" y="3005"/>
                    </a:cubicBezTo>
                    <a:cubicBezTo>
                      <a:pt x="2083" y="3013"/>
                      <a:pt x="2083" y="3013"/>
                      <a:pt x="2083" y="3020"/>
                    </a:cubicBezTo>
                    <a:cubicBezTo>
                      <a:pt x="2083" y="3035"/>
                      <a:pt x="2076" y="3043"/>
                      <a:pt x="2068" y="3058"/>
                    </a:cubicBezTo>
                    <a:cubicBezTo>
                      <a:pt x="2068" y="3065"/>
                      <a:pt x="2061" y="3073"/>
                      <a:pt x="2046" y="3080"/>
                    </a:cubicBezTo>
                    <a:cubicBezTo>
                      <a:pt x="2046" y="3088"/>
                      <a:pt x="2038" y="3095"/>
                      <a:pt x="2038" y="3103"/>
                    </a:cubicBezTo>
                    <a:cubicBezTo>
                      <a:pt x="2031" y="3118"/>
                      <a:pt x="2031" y="3125"/>
                      <a:pt x="2024" y="3140"/>
                    </a:cubicBezTo>
                    <a:cubicBezTo>
                      <a:pt x="2016" y="3148"/>
                      <a:pt x="2008" y="3155"/>
                      <a:pt x="1994" y="3163"/>
                    </a:cubicBezTo>
                    <a:cubicBezTo>
                      <a:pt x="1986" y="3163"/>
                      <a:pt x="1986" y="3178"/>
                      <a:pt x="1978" y="3178"/>
                    </a:cubicBezTo>
                    <a:cubicBezTo>
                      <a:pt x="1964" y="3178"/>
                      <a:pt x="1964" y="3178"/>
                      <a:pt x="1964" y="3178"/>
                    </a:cubicBezTo>
                    <a:cubicBezTo>
                      <a:pt x="1964" y="3163"/>
                      <a:pt x="1964" y="3155"/>
                      <a:pt x="1964" y="3148"/>
                    </a:cubicBezTo>
                    <a:cubicBezTo>
                      <a:pt x="1956" y="3148"/>
                      <a:pt x="1948" y="3163"/>
                      <a:pt x="1941" y="3163"/>
                    </a:cubicBezTo>
                    <a:cubicBezTo>
                      <a:pt x="1934" y="3163"/>
                      <a:pt x="1926" y="3155"/>
                      <a:pt x="1918" y="3148"/>
                    </a:cubicBezTo>
                    <a:cubicBezTo>
                      <a:pt x="1911" y="3140"/>
                      <a:pt x="1904" y="3140"/>
                      <a:pt x="1889" y="3140"/>
                    </a:cubicBezTo>
                    <a:cubicBezTo>
                      <a:pt x="1874" y="3140"/>
                      <a:pt x="1866" y="3148"/>
                      <a:pt x="1851" y="3148"/>
                    </a:cubicBezTo>
                    <a:cubicBezTo>
                      <a:pt x="1844" y="3148"/>
                      <a:pt x="1844" y="3133"/>
                      <a:pt x="1844" y="3125"/>
                    </a:cubicBezTo>
                    <a:lnTo>
                      <a:pt x="1836" y="3118"/>
                    </a:lnTo>
                    <a:cubicBezTo>
                      <a:pt x="1806" y="3133"/>
                      <a:pt x="1806" y="3163"/>
                      <a:pt x="1806" y="3193"/>
                    </a:cubicBezTo>
                    <a:cubicBezTo>
                      <a:pt x="1806" y="3208"/>
                      <a:pt x="1806" y="3215"/>
                      <a:pt x="1799" y="3230"/>
                    </a:cubicBezTo>
                    <a:cubicBezTo>
                      <a:pt x="1791" y="3245"/>
                      <a:pt x="1791" y="3253"/>
                      <a:pt x="1776" y="3267"/>
                    </a:cubicBezTo>
                    <a:cubicBezTo>
                      <a:pt x="1769" y="3275"/>
                      <a:pt x="1769" y="3283"/>
                      <a:pt x="1761" y="3283"/>
                    </a:cubicBezTo>
                    <a:cubicBezTo>
                      <a:pt x="1754" y="3283"/>
                      <a:pt x="1754" y="3275"/>
                      <a:pt x="1746" y="3275"/>
                    </a:cubicBezTo>
                    <a:cubicBezTo>
                      <a:pt x="1739" y="3275"/>
                      <a:pt x="1746" y="3283"/>
                      <a:pt x="1739" y="3283"/>
                    </a:cubicBezTo>
                    <a:cubicBezTo>
                      <a:pt x="1746" y="3290"/>
                      <a:pt x="1746" y="3290"/>
                      <a:pt x="1746" y="3297"/>
                    </a:cubicBezTo>
                    <a:cubicBezTo>
                      <a:pt x="1746" y="3305"/>
                      <a:pt x="1739" y="3305"/>
                      <a:pt x="1731" y="3305"/>
                    </a:cubicBezTo>
                    <a:cubicBezTo>
                      <a:pt x="1724" y="3313"/>
                      <a:pt x="1716" y="3313"/>
                      <a:pt x="1709" y="3320"/>
                    </a:cubicBezTo>
                    <a:cubicBezTo>
                      <a:pt x="1701" y="3327"/>
                      <a:pt x="1694" y="3335"/>
                      <a:pt x="1686" y="3343"/>
                    </a:cubicBezTo>
                    <a:cubicBezTo>
                      <a:pt x="1679" y="3350"/>
                      <a:pt x="1671" y="3350"/>
                      <a:pt x="1664" y="3357"/>
                    </a:cubicBezTo>
                    <a:cubicBezTo>
                      <a:pt x="1649" y="3373"/>
                      <a:pt x="1649" y="3380"/>
                      <a:pt x="1641" y="3395"/>
                    </a:cubicBezTo>
                    <a:cubicBezTo>
                      <a:pt x="1634" y="3402"/>
                      <a:pt x="1634" y="3410"/>
                      <a:pt x="1626" y="3417"/>
                    </a:cubicBezTo>
                    <a:cubicBezTo>
                      <a:pt x="1619" y="3425"/>
                      <a:pt x="1604" y="3425"/>
                      <a:pt x="1589" y="3425"/>
                    </a:cubicBezTo>
                    <a:cubicBezTo>
                      <a:pt x="1581" y="3425"/>
                      <a:pt x="1581" y="3425"/>
                      <a:pt x="1574" y="3425"/>
                    </a:cubicBezTo>
                    <a:cubicBezTo>
                      <a:pt x="1574" y="3402"/>
                      <a:pt x="1574" y="3402"/>
                      <a:pt x="1574" y="3402"/>
                    </a:cubicBezTo>
                    <a:cubicBezTo>
                      <a:pt x="1574" y="3395"/>
                      <a:pt x="1574" y="3395"/>
                      <a:pt x="1574" y="3395"/>
                    </a:cubicBezTo>
                    <a:cubicBezTo>
                      <a:pt x="1574" y="3387"/>
                      <a:pt x="1581" y="3380"/>
                      <a:pt x="1581" y="3373"/>
                    </a:cubicBezTo>
                    <a:cubicBezTo>
                      <a:pt x="1581" y="3365"/>
                      <a:pt x="1566" y="3350"/>
                      <a:pt x="1559" y="3350"/>
                    </a:cubicBezTo>
                    <a:cubicBezTo>
                      <a:pt x="1551" y="3350"/>
                      <a:pt x="1551" y="3350"/>
                      <a:pt x="1544" y="3357"/>
                    </a:cubicBezTo>
                    <a:cubicBezTo>
                      <a:pt x="1544" y="3343"/>
                      <a:pt x="1551" y="3335"/>
                      <a:pt x="1559" y="3327"/>
                    </a:cubicBezTo>
                    <a:cubicBezTo>
                      <a:pt x="1566" y="3320"/>
                      <a:pt x="1566" y="3313"/>
                      <a:pt x="1574" y="3305"/>
                    </a:cubicBezTo>
                    <a:lnTo>
                      <a:pt x="1574" y="3297"/>
                    </a:lnTo>
                    <a:cubicBezTo>
                      <a:pt x="1574" y="3297"/>
                      <a:pt x="1574" y="3297"/>
                      <a:pt x="1581" y="3297"/>
                    </a:cubicBezTo>
                    <a:cubicBezTo>
                      <a:pt x="1581" y="3297"/>
                      <a:pt x="1589" y="3297"/>
                      <a:pt x="1596" y="3297"/>
                    </a:cubicBezTo>
                    <a:cubicBezTo>
                      <a:pt x="1596" y="3297"/>
                      <a:pt x="1604" y="3297"/>
                      <a:pt x="1611" y="3297"/>
                    </a:cubicBezTo>
                    <a:cubicBezTo>
                      <a:pt x="1611" y="3290"/>
                      <a:pt x="1611" y="3283"/>
                      <a:pt x="1604" y="3283"/>
                    </a:cubicBezTo>
                    <a:cubicBezTo>
                      <a:pt x="1596" y="3275"/>
                      <a:pt x="1589" y="3275"/>
                      <a:pt x="1581" y="3275"/>
                    </a:cubicBezTo>
                    <a:cubicBezTo>
                      <a:pt x="1574" y="3267"/>
                      <a:pt x="1574" y="3260"/>
                      <a:pt x="1566" y="3260"/>
                    </a:cubicBezTo>
                    <a:cubicBezTo>
                      <a:pt x="1559" y="3253"/>
                      <a:pt x="1544" y="3260"/>
                      <a:pt x="1544" y="3245"/>
                    </a:cubicBezTo>
                    <a:cubicBezTo>
                      <a:pt x="1544" y="3237"/>
                      <a:pt x="1544" y="3230"/>
                      <a:pt x="1544" y="3223"/>
                    </a:cubicBezTo>
                    <a:cubicBezTo>
                      <a:pt x="1544" y="3208"/>
                      <a:pt x="1544" y="3208"/>
                      <a:pt x="1544" y="3193"/>
                    </a:cubicBezTo>
                    <a:cubicBezTo>
                      <a:pt x="1544" y="3185"/>
                      <a:pt x="1544" y="3185"/>
                      <a:pt x="1551" y="3178"/>
                    </a:cubicBezTo>
                    <a:cubicBezTo>
                      <a:pt x="1559" y="3148"/>
                      <a:pt x="1566" y="3133"/>
                      <a:pt x="1574" y="3110"/>
                    </a:cubicBezTo>
                    <a:cubicBezTo>
                      <a:pt x="1589" y="3088"/>
                      <a:pt x="1596" y="3080"/>
                      <a:pt x="1604" y="3065"/>
                    </a:cubicBezTo>
                    <a:cubicBezTo>
                      <a:pt x="1604" y="3050"/>
                      <a:pt x="1604" y="3043"/>
                      <a:pt x="1611" y="3035"/>
                    </a:cubicBezTo>
                    <a:cubicBezTo>
                      <a:pt x="1611" y="3028"/>
                      <a:pt x="1626" y="3020"/>
                      <a:pt x="1626" y="3005"/>
                    </a:cubicBezTo>
                    <a:cubicBezTo>
                      <a:pt x="1626" y="3005"/>
                      <a:pt x="1619" y="2998"/>
                      <a:pt x="1619" y="2990"/>
                    </a:cubicBezTo>
                    <a:cubicBezTo>
                      <a:pt x="1641" y="2990"/>
                      <a:pt x="1656" y="2983"/>
                      <a:pt x="1679" y="2983"/>
                    </a:cubicBezTo>
                    <a:cubicBezTo>
                      <a:pt x="1686" y="2983"/>
                      <a:pt x="1694" y="2975"/>
                      <a:pt x="1701" y="2975"/>
                    </a:cubicBezTo>
                    <a:cubicBezTo>
                      <a:pt x="1731" y="2968"/>
                      <a:pt x="1746" y="2968"/>
                      <a:pt x="1769" y="2960"/>
                    </a:cubicBezTo>
                    <a:cubicBezTo>
                      <a:pt x="1776" y="2960"/>
                      <a:pt x="1776" y="2953"/>
                      <a:pt x="1784" y="2953"/>
                    </a:cubicBezTo>
                    <a:cubicBezTo>
                      <a:pt x="1799" y="2953"/>
                      <a:pt x="1791" y="2968"/>
                      <a:pt x="1799" y="2983"/>
                    </a:cubicBezTo>
                    <a:cubicBezTo>
                      <a:pt x="1799" y="2998"/>
                      <a:pt x="1799" y="3005"/>
                      <a:pt x="1799" y="3020"/>
                    </a:cubicBezTo>
                    <a:cubicBezTo>
                      <a:pt x="1799" y="3043"/>
                      <a:pt x="1799" y="3050"/>
                      <a:pt x="1799" y="3073"/>
                    </a:cubicBezTo>
                    <a:cubicBezTo>
                      <a:pt x="1836" y="3065"/>
                      <a:pt x="1851" y="3043"/>
                      <a:pt x="1889" y="3028"/>
                    </a:cubicBezTo>
                    <a:cubicBezTo>
                      <a:pt x="1904" y="3020"/>
                      <a:pt x="1918" y="3020"/>
                      <a:pt x="1934" y="3013"/>
                    </a:cubicBezTo>
                    <a:cubicBezTo>
                      <a:pt x="1941" y="3005"/>
                      <a:pt x="1948" y="2998"/>
                      <a:pt x="1956" y="2990"/>
                    </a:cubicBezTo>
                    <a:cubicBezTo>
                      <a:pt x="1971" y="2990"/>
                      <a:pt x="1978" y="2990"/>
                      <a:pt x="1986" y="2990"/>
                    </a:cubicBezTo>
                    <a:cubicBezTo>
                      <a:pt x="1994" y="2990"/>
                      <a:pt x="1994" y="2990"/>
                      <a:pt x="1994" y="2990"/>
                    </a:cubicBezTo>
                    <a:cubicBezTo>
                      <a:pt x="2001" y="2990"/>
                      <a:pt x="2001" y="2990"/>
                      <a:pt x="2008" y="2990"/>
                    </a:cubicBezTo>
                    <a:cubicBezTo>
                      <a:pt x="2016" y="2990"/>
                      <a:pt x="2024" y="3005"/>
                      <a:pt x="2024" y="3013"/>
                    </a:cubicBezTo>
                    <a:close/>
                    <a:moveTo>
                      <a:pt x="1162" y="2181"/>
                    </a:moveTo>
                    <a:lnTo>
                      <a:pt x="1162" y="2181"/>
                    </a:lnTo>
                    <a:cubicBezTo>
                      <a:pt x="1162" y="2166"/>
                      <a:pt x="1162" y="2158"/>
                      <a:pt x="1154" y="2144"/>
                    </a:cubicBezTo>
                    <a:cubicBezTo>
                      <a:pt x="1154" y="2106"/>
                      <a:pt x="1124" y="2098"/>
                      <a:pt x="1094" y="2068"/>
                    </a:cubicBezTo>
                    <a:cubicBezTo>
                      <a:pt x="1087" y="2054"/>
                      <a:pt x="1064" y="2054"/>
                      <a:pt x="1064" y="2031"/>
                    </a:cubicBezTo>
                    <a:cubicBezTo>
                      <a:pt x="1064" y="2008"/>
                      <a:pt x="1087" y="1994"/>
                      <a:pt x="1087" y="1964"/>
                    </a:cubicBezTo>
                    <a:cubicBezTo>
                      <a:pt x="1087" y="1889"/>
                      <a:pt x="1087" y="1889"/>
                      <a:pt x="1087" y="1889"/>
                    </a:cubicBezTo>
                    <a:cubicBezTo>
                      <a:pt x="1087" y="1874"/>
                      <a:pt x="1072" y="1874"/>
                      <a:pt x="1072" y="1866"/>
                    </a:cubicBezTo>
                    <a:cubicBezTo>
                      <a:pt x="1072" y="1859"/>
                      <a:pt x="1079" y="1851"/>
                      <a:pt x="1079" y="1851"/>
                    </a:cubicBezTo>
                    <a:cubicBezTo>
                      <a:pt x="1162" y="1851"/>
                      <a:pt x="1207" y="1851"/>
                      <a:pt x="1289" y="1851"/>
                    </a:cubicBezTo>
                    <a:cubicBezTo>
                      <a:pt x="1297" y="1851"/>
                      <a:pt x="1304" y="1844"/>
                      <a:pt x="1304" y="1844"/>
                    </a:cubicBezTo>
                    <a:cubicBezTo>
                      <a:pt x="1312" y="1859"/>
                      <a:pt x="1319" y="1859"/>
                      <a:pt x="1327" y="1874"/>
                    </a:cubicBezTo>
                    <a:cubicBezTo>
                      <a:pt x="1327" y="1881"/>
                      <a:pt x="1327" y="1889"/>
                      <a:pt x="1334" y="1896"/>
                    </a:cubicBezTo>
                    <a:cubicBezTo>
                      <a:pt x="1342" y="1904"/>
                      <a:pt x="1357" y="1911"/>
                      <a:pt x="1364" y="1919"/>
                    </a:cubicBezTo>
                    <a:cubicBezTo>
                      <a:pt x="1371" y="1934"/>
                      <a:pt x="1371" y="1941"/>
                      <a:pt x="1379" y="1949"/>
                    </a:cubicBezTo>
                    <a:cubicBezTo>
                      <a:pt x="1379" y="1941"/>
                      <a:pt x="1379" y="1941"/>
                      <a:pt x="1379" y="1941"/>
                    </a:cubicBezTo>
                    <a:cubicBezTo>
                      <a:pt x="1379" y="1911"/>
                      <a:pt x="1379" y="1911"/>
                      <a:pt x="1379" y="1911"/>
                    </a:cubicBezTo>
                    <a:cubicBezTo>
                      <a:pt x="1379" y="1896"/>
                      <a:pt x="1379" y="1889"/>
                      <a:pt x="1387" y="1874"/>
                    </a:cubicBezTo>
                    <a:cubicBezTo>
                      <a:pt x="1401" y="1859"/>
                      <a:pt x="1409" y="1851"/>
                      <a:pt x="1409" y="1836"/>
                    </a:cubicBezTo>
                    <a:cubicBezTo>
                      <a:pt x="1409" y="1829"/>
                      <a:pt x="1409" y="1821"/>
                      <a:pt x="1401" y="1814"/>
                    </a:cubicBezTo>
                    <a:cubicBezTo>
                      <a:pt x="1401" y="1814"/>
                      <a:pt x="1394" y="1814"/>
                      <a:pt x="1394" y="1806"/>
                    </a:cubicBezTo>
                    <a:cubicBezTo>
                      <a:pt x="1394" y="1799"/>
                      <a:pt x="1394" y="1806"/>
                      <a:pt x="1394" y="1799"/>
                    </a:cubicBezTo>
                    <a:cubicBezTo>
                      <a:pt x="1394" y="1799"/>
                      <a:pt x="1394" y="1799"/>
                      <a:pt x="1394" y="1791"/>
                    </a:cubicBezTo>
                    <a:cubicBezTo>
                      <a:pt x="1394" y="1746"/>
                      <a:pt x="1371" y="1724"/>
                      <a:pt x="1342" y="1694"/>
                    </a:cubicBezTo>
                    <a:cubicBezTo>
                      <a:pt x="1342" y="1686"/>
                      <a:pt x="1342" y="1679"/>
                      <a:pt x="1349" y="1679"/>
                    </a:cubicBezTo>
                    <a:cubicBezTo>
                      <a:pt x="1371" y="1671"/>
                      <a:pt x="1387" y="1686"/>
                      <a:pt x="1401" y="1679"/>
                    </a:cubicBezTo>
                    <a:cubicBezTo>
                      <a:pt x="1409" y="1679"/>
                      <a:pt x="1409" y="1671"/>
                      <a:pt x="1409" y="1664"/>
                    </a:cubicBezTo>
                    <a:cubicBezTo>
                      <a:pt x="1431" y="1641"/>
                      <a:pt x="1431" y="1619"/>
                      <a:pt x="1439" y="1589"/>
                    </a:cubicBezTo>
                    <a:cubicBezTo>
                      <a:pt x="1469" y="1604"/>
                      <a:pt x="1477" y="1619"/>
                      <a:pt x="1506" y="1634"/>
                    </a:cubicBezTo>
                    <a:cubicBezTo>
                      <a:pt x="1514" y="1641"/>
                      <a:pt x="1521" y="1641"/>
                      <a:pt x="1529" y="1649"/>
                    </a:cubicBezTo>
                    <a:cubicBezTo>
                      <a:pt x="1536" y="1656"/>
                      <a:pt x="1529" y="1671"/>
                      <a:pt x="1536" y="1686"/>
                    </a:cubicBezTo>
                    <a:cubicBezTo>
                      <a:pt x="1536" y="1694"/>
                      <a:pt x="1544" y="1701"/>
                      <a:pt x="1551" y="1709"/>
                    </a:cubicBezTo>
                    <a:cubicBezTo>
                      <a:pt x="1551" y="1716"/>
                      <a:pt x="1559" y="1731"/>
                      <a:pt x="1574" y="1731"/>
                    </a:cubicBezTo>
                    <a:cubicBezTo>
                      <a:pt x="1581" y="1731"/>
                      <a:pt x="1581" y="1716"/>
                      <a:pt x="1596" y="1709"/>
                    </a:cubicBezTo>
                    <a:cubicBezTo>
                      <a:pt x="1619" y="1694"/>
                      <a:pt x="1634" y="1679"/>
                      <a:pt x="1656" y="1664"/>
                    </a:cubicBezTo>
                    <a:cubicBezTo>
                      <a:pt x="1679" y="1656"/>
                      <a:pt x="1686" y="1641"/>
                      <a:pt x="1709" y="1634"/>
                    </a:cubicBezTo>
                    <a:cubicBezTo>
                      <a:pt x="1724" y="1626"/>
                      <a:pt x="1754" y="1626"/>
                      <a:pt x="1754" y="1604"/>
                    </a:cubicBezTo>
                    <a:cubicBezTo>
                      <a:pt x="1754" y="1581"/>
                      <a:pt x="1724" y="1574"/>
                      <a:pt x="1701" y="1559"/>
                    </a:cubicBezTo>
                    <a:cubicBezTo>
                      <a:pt x="1709" y="1537"/>
                      <a:pt x="1724" y="1529"/>
                      <a:pt x="1739" y="1514"/>
                    </a:cubicBezTo>
                    <a:cubicBezTo>
                      <a:pt x="1746" y="1507"/>
                      <a:pt x="1754" y="1499"/>
                      <a:pt x="1761" y="1499"/>
                    </a:cubicBezTo>
                    <a:cubicBezTo>
                      <a:pt x="1776" y="1491"/>
                      <a:pt x="1791" y="1491"/>
                      <a:pt x="1799" y="1484"/>
                    </a:cubicBezTo>
                    <a:cubicBezTo>
                      <a:pt x="1814" y="1477"/>
                      <a:pt x="1814" y="1469"/>
                      <a:pt x="1821" y="1461"/>
                    </a:cubicBezTo>
                    <a:cubicBezTo>
                      <a:pt x="1821" y="1461"/>
                      <a:pt x="1829" y="1461"/>
                      <a:pt x="1836" y="1461"/>
                    </a:cubicBezTo>
                    <a:cubicBezTo>
                      <a:pt x="1844" y="1484"/>
                      <a:pt x="1844" y="1499"/>
                      <a:pt x="1844" y="1521"/>
                    </a:cubicBezTo>
                    <a:cubicBezTo>
                      <a:pt x="1851" y="1544"/>
                      <a:pt x="1851" y="1551"/>
                      <a:pt x="1866" y="1559"/>
                    </a:cubicBezTo>
                    <a:cubicBezTo>
                      <a:pt x="1866" y="1567"/>
                      <a:pt x="1874" y="1559"/>
                      <a:pt x="1881" y="1559"/>
                    </a:cubicBezTo>
                    <a:cubicBezTo>
                      <a:pt x="1934" y="1559"/>
                      <a:pt x="1964" y="1559"/>
                      <a:pt x="2001" y="1521"/>
                    </a:cubicBezTo>
                    <a:cubicBezTo>
                      <a:pt x="2024" y="1499"/>
                      <a:pt x="2054" y="1491"/>
                      <a:pt x="2054" y="1454"/>
                    </a:cubicBezTo>
                    <a:cubicBezTo>
                      <a:pt x="2054" y="1447"/>
                      <a:pt x="2046" y="1439"/>
                      <a:pt x="2046" y="1424"/>
                    </a:cubicBezTo>
                    <a:cubicBezTo>
                      <a:pt x="2046" y="1409"/>
                      <a:pt x="2061" y="1394"/>
                      <a:pt x="2068" y="1379"/>
                    </a:cubicBezTo>
                    <a:cubicBezTo>
                      <a:pt x="2076" y="1364"/>
                      <a:pt x="2076" y="1357"/>
                      <a:pt x="2083" y="1342"/>
                    </a:cubicBezTo>
                    <a:cubicBezTo>
                      <a:pt x="2091" y="1334"/>
                      <a:pt x="2106" y="1334"/>
                      <a:pt x="2106" y="1319"/>
                    </a:cubicBezTo>
                    <a:cubicBezTo>
                      <a:pt x="2106" y="1289"/>
                      <a:pt x="2091" y="1282"/>
                      <a:pt x="2076" y="1259"/>
                    </a:cubicBezTo>
                    <a:cubicBezTo>
                      <a:pt x="2076" y="1252"/>
                      <a:pt x="2068" y="1252"/>
                      <a:pt x="2068" y="1244"/>
                    </a:cubicBezTo>
                    <a:cubicBezTo>
                      <a:pt x="2068" y="1207"/>
                      <a:pt x="2106" y="1192"/>
                      <a:pt x="2136" y="1169"/>
                    </a:cubicBezTo>
                    <a:cubicBezTo>
                      <a:pt x="2166" y="1147"/>
                      <a:pt x="2188" y="1139"/>
                      <a:pt x="2226" y="1139"/>
                    </a:cubicBezTo>
                    <a:cubicBezTo>
                      <a:pt x="2263" y="1132"/>
                      <a:pt x="2286" y="1132"/>
                      <a:pt x="2316" y="1117"/>
                    </a:cubicBezTo>
                    <a:cubicBezTo>
                      <a:pt x="2331" y="1102"/>
                      <a:pt x="2323" y="1079"/>
                      <a:pt x="2338" y="1064"/>
                    </a:cubicBezTo>
                    <a:cubicBezTo>
                      <a:pt x="2346" y="1057"/>
                      <a:pt x="2361" y="1064"/>
                      <a:pt x="2376" y="1064"/>
                    </a:cubicBezTo>
                    <a:cubicBezTo>
                      <a:pt x="2398" y="1064"/>
                      <a:pt x="2413" y="1064"/>
                      <a:pt x="2428" y="1064"/>
                    </a:cubicBezTo>
                    <a:cubicBezTo>
                      <a:pt x="2443" y="1072"/>
                      <a:pt x="2443" y="1079"/>
                      <a:pt x="2458" y="1079"/>
                    </a:cubicBezTo>
                    <a:cubicBezTo>
                      <a:pt x="2481" y="1079"/>
                      <a:pt x="2488" y="1049"/>
                      <a:pt x="2511" y="1049"/>
                    </a:cubicBezTo>
                    <a:cubicBezTo>
                      <a:pt x="2526" y="1049"/>
                      <a:pt x="2526" y="1064"/>
                      <a:pt x="2533" y="1072"/>
                    </a:cubicBezTo>
                    <a:cubicBezTo>
                      <a:pt x="2541" y="1102"/>
                      <a:pt x="2548" y="1132"/>
                      <a:pt x="2578" y="1132"/>
                    </a:cubicBezTo>
                    <a:cubicBezTo>
                      <a:pt x="2601" y="1132"/>
                      <a:pt x="2608" y="1117"/>
                      <a:pt x="2623" y="1094"/>
                    </a:cubicBezTo>
                    <a:cubicBezTo>
                      <a:pt x="2646" y="1102"/>
                      <a:pt x="2660" y="1102"/>
                      <a:pt x="2683" y="1102"/>
                    </a:cubicBezTo>
                    <a:cubicBezTo>
                      <a:pt x="2683" y="1109"/>
                      <a:pt x="2690" y="1117"/>
                      <a:pt x="2690" y="1124"/>
                    </a:cubicBezTo>
                    <a:cubicBezTo>
                      <a:pt x="2690" y="1162"/>
                      <a:pt x="2660" y="1177"/>
                      <a:pt x="2660" y="1214"/>
                    </a:cubicBezTo>
                    <a:cubicBezTo>
                      <a:pt x="2660" y="1237"/>
                      <a:pt x="2676" y="1244"/>
                      <a:pt x="2690" y="1267"/>
                    </a:cubicBezTo>
                    <a:cubicBezTo>
                      <a:pt x="2713" y="1304"/>
                      <a:pt x="2728" y="1327"/>
                      <a:pt x="2743" y="1372"/>
                    </a:cubicBezTo>
                    <a:cubicBezTo>
                      <a:pt x="2758" y="1402"/>
                      <a:pt x="2780" y="1417"/>
                      <a:pt x="2803" y="1447"/>
                    </a:cubicBezTo>
                    <a:cubicBezTo>
                      <a:pt x="2825" y="1469"/>
                      <a:pt x="2840" y="1484"/>
                      <a:pt x="2870" y="1499"/>
                    </a:cubicBezTo>
                    <a:cubicBezTo>
                      <a:pt x="2900" y="1514"/>
                      <a:pt x="2923" y="1521"/>
                      <a:pt x="2968" y="1529"/>
                    </a:cubicBezTo>
                    <a:cubicBezTo>
                      <a:pt x="3013" y="1537"/>
                      <a:pt x="3043" y="1544"/>
                      <a:pt x="3095" y="1551"/>
                    </a:cubicBezTo>
                    <a:cubicBezTo>
                      <a:pt x="3110" y="1551"/>
                      <a:pt x="3118" y="1559"/>
                      <a:pt x="3133" y="1559"/>
                    </a:cubicBezTo>
                    <a:cubicBezTo>
                      <a:pt x="3170" y="1559"/>
                      <a:pt x="3193" y="1544"/>
                      <a:pt x="3215" y="1521"/>
                    </a:cubicBezTo>
                    <a:cubicBezTo>
                      <a:pt x="3230" y="1514"/>
                      <a:pt x="3237" y="1507"/>
                      <a:pt x="3245" y="1499"/>
                    </a:cubicBezTo>
                    <a:cubicBezTo>
                      <a:pt x="3267" y="1477"/>
                      <a:pt x="3275" y="1454"/>
                      <a:pt x="3297" y="1424"/>
                    </a:cubicBezTo>
                    <a:cubicBezTo>
                      <a:pt x="3342" y="1424"/>
                      <a:pt x="3365" y="1424"/>
                      <a:pt x="3402" y="1424"/>
                    </a:cubicBezTo>
                    <a:cubicBezTo>
                      <a:pt x="3447" y="1424"/>
                      <a:pt x="3477" y="1439"/>
                      <a:pt x="3500" y="1477"/>
                    </a:cubicBezTo>
                    <a:cubicBezTo>
                      <a:pt x="3507" y="1491"/>
                      <a:pt x="3507" y="1499"/>
                      <a:pt x="3515" y="1514"/>
                    </a:cubicBezTo>
                    <a:cubicBezTo>
                      <a:pt x="3530" y="1551"/>
                      <a:pt x="3545" y="1581"/>
                      <a:pt x="3545" y="1626"/>
                    </a:cubicBezTo>
                    <a:cubicBezTo>
                      <a:pt x="3545" y="1656"/>
                      <a:pt x="3537" y="1671"/>
                      <a:pt x="3522" y="1694"/>
                    </a:cubicBezTo>
                    <a:cubicBezTo>
                      <a:pt x="3507" y="1724"/>
                      <a:pt x="3500" y="1746"/>
                      <a:pt x="3477" y="1769"/>
                    </a:cubicBezTo>
                    <a:cubicBezTo>
                      <a:pt x="3470" y="1791"/>
                      <a:pt x="3455" y="1799"/>
                      <a:pt x="3440" y="1821"/>
                    </a:cubicBezTo>
                    <a:cubicBezTo>
                      <a:pt x="3425" y="1851"/>
                      <a:pt x="3402" y="1874"/>
                      <a:pt x="3372" y="1874"/>
                    </a:cubicBezTo>
                    <a:cubicBezTo>
                      <a:pt x="3350" y="1874"/>
                      <a:pt x="3335" y="1859"/>
                      <a:pt x="3313" y="1859"/>
                    </a:cubicBezTo>
                    <a:cubicBezTo>
                      <a:pt x="3305" y="1859"/>
                      <a:pt x="3297" y="1866"/>
                      <a:pt x="3283" y="1866"/>
                    </a:cubicBezTo>
                    <a:cubicBezTo>
                      <a:pt x="3283" y="1889"/>
                      <a:pt x="3283" y="1889"/>
                      <a:pt x="3283" y="1889"/>
                    </a:cubicBezTo>
                    <a:cubicBezTo>
                      <a:pt x="3283" y="1896"/>
                      <a:pt x="3290" y="1904"/>
                      <a:pt x="3297" y="1911"/>
                    </a:cubicBezTo>
                    <a:cubicBezTo>
                      <a:pt x="3305" y="1941"/>
                      <a:pt x="3305" y="1956"/>
                      <a:pt x="3327" y="1979"/>
                    </a:cubicBezTo>
                    <a:cubicBezTo>
                      <a:pt x="3342" y="1994"/>
                      <a:pt x="3372" y="2001"/>
                      <a:pt x="3402" y="2001"/>
                    </a:cubicBezTo>
                    <a:cubicBezTo>
                      <a:pt x="3447" y="2001"/>
                      <a:pt x="3470" y="1986"/>
                      <a:pt x="3515" y="1986"/>
                    </a:cubicBezTo>
                    <a:cubicBezTo>
                      <a:pt x="3530" y="1986"/>
                      <a:pt x="3537" y="2001"/>
                      <a:pt x="3545" y="2001"/>
                    </a:cubicBezTo>
                    <a:cubicBezTo>
                      <a:pt x="3575" y="2008"/>
                      <a:pt x="3597" y="2024"/>
                      <a:pt x="3627" y="2024"/>
                    </a:cubicBezTo>
                    <a:cubicBezTo>
                      <a:pt x="3657" y="2024"/>
                      <a:pt x="3680" y="2008"/>
                      <a:pt x="3710" y="2001"/>
                    </a:cubicBezTo>
                    <a:cubicBezTo>
                      <a:pt x="3702" y="2024"/>
                      <a:pt x="3695" y="2031"/>
                      <a:pt x="3680" y="2054"/>
                    </a:cubicBezTo>
                    <a:cubicBezTo>
                      <a:pt x="3650" y="2084"/>
                      <a:pt x="3635" y="2114"/>
                      <a:pt x="3627" y="2151"/>
                    </a:cubicBezTo>
                    <a:cubicBezTo>
                      <a:pt x="3657" y="2166"/>
                      <a:pt x="3680" y="2173"/>
                      <a:pt x="3710" y="2166"/>
                    </a:cubicBezTo>
                    <a:cubicBezTo>
                      <a:pt x="3717" y="2181"/>
                      <a:pt x="3717" y="2181"/>
                      <a:pt x="3717" y="2181"/>
                    </a:cubicBezTo>
                    <a:cubicBezTo>
                      <a:pt x="3710" y="2196"/>
                      <a:pt x="3702" y="2203"/>
                      <a:pt x="3702" y="2218"/>
                    </a:cubicBezTo>
                    <a:cubicBezTo>
                      <a:pt x="3702" y="2233"/>
                      <a:pt x="3717" y="2241"/>
                      <a:pt x="3725" y="2241"/>
                    </a:cubicBezTo>
                    <a:cubicBezTo>
                      <a:pt x="3755" y="2248"/>
                      <a:pt x="3777" y="2248"/>
                      <a:pt x="3807" y="2248"/>
                    </a:cubicBezTo>
                    <a:cubicBezTo>
                      <a:pt x="3807" y="2263"/>
                      <a:pt x="3807" y="2263"/>
                      <a:pt x="3807" y="2263"/>
                    </a:cubicBezTo>
                    <a:cubicBezTo>
                      <a:pt x="3792" y="2271"/>
                      <a:pt x="3785" y="2278"/>
                      <a:pt x="3770" y="2286"/>
                    </a:cubicBezTo>
                    <a:cubicBezTo>
                      <a:pt x="3755" y="2301"/>
                      <a:pt x="3740" y="2308"/>
                      <a:pt x="3740" y="2331"/>
                    </a:cubicBezTo>
                    <a:cubicBezTo>
                      <a:pt x="3740" y="2338"/>
                      <a:pt x="3747" y="2346"/>
                      <a:pt x="3747" y="2353"/>
                    </a:cubicBezTo>
                    <a:cubicBezTo>
                      <a:pt x="3755" y="2368"/>
                      <a:pt x="3755" y="2383"/>
                      <a:pt x="3762" y="2391"/>
                    </a:cubicBezTo>
                    <a:cubicBezTo>
                      <a:pt x="3770" y="2398"/>
                      <a:pt x="3785" y="2398"/>
                      <a:pt x="3792" y="2398"/>
                    </a:cubicBezTo>
                    <a:cubicBezTo>
                      <a:pt x="3822" y="2413"/>
                      <a:pt x="3837" y="2413"/>
                      <a:pt x="3867" y="2428"/>
                    </a:cubicBezTo>
                    <a:cubicBezTo>
                      <a:pt x="3852" y="2451"/>
                      <a:pt x="3830" y="2458"/>
                      <a:pt x="3830" y="2481"/>
                    </a:cubicBezTo>
                    <a:cubicBezTo>
                      <a:pt x="3830" y="2496"/>
                      <a:pt x="3837" y="2503"/>
                      <a:pt x="3837" y="2526"/>
                    </a:cubicBezTo>
                    <a:cubicBezTo>
                      <a:pt x="3837" y="2541"/>
                      <a:pt x="3822" y="2548"/>
                      <a:pt x="3815" y="2556"/>
                    </a:cubicBezTo>
                    <a:cubicBezTo>
                      <a:pt x="3807" y="2578"/>
                      <a:pt x="3815" y="2593"/>
                      <a:pt x="3815" y="2608"/>
                    </a:cubicBezTo>
                    <a:cubicBezTo>
                      <a:pt x="3807" y="2616"/>
                      <a:pt x="3800" y="2616"/>
                      <a:pt x="3792" y="2616"/>
                    </a:cubicBezTo>
                    <a:cubicBezTo>
                      <a:pt x="3762" y="2616"/>
                      <a:pt x="3747" y="2608"/>
                      <a:pt x="3717" y="2608"/>
                    </a:cubicBezTo>
                    <a:cubicBezTo>
                      <a:pt x="3710" y="2631"/>
                      <a:pt x="3702" y="2646"/>
                      <a:pt x="3695" y="2668"/>
                    </a:cubicBezTo>
                    <a:cubicBezTo>
                      <a:pt x="3695" y="2676"/>
                      <a:pt x="3695" y="2683"/>
                      <a:pt x="3687" y="2690"/>
                    </a:cubicBezTo>
                    <a:cubicBezTo>
                      <a:pt x="3687" y="2698"/>
                      <a:pt x="3680" y="2698"/>
                      <a:pt x="3672" y="2698"/>
                    </a:cubicBezTo>
                    <a:cubicBezTo>
                      <a:pt x="3665" y="2713"/>
                      <a:pt x="3657" y="2720"/>
                      <a:pt x="3642" y="2736"/>
                    </a:cubicBezTo>
                    <a:cubicBezTo>
                      <a:pt x="3620" y="2758"/>
                      <a:pt x="3620" y="2780"/>
                      <a:pt x="3605" y="2810"/>
                    </a:cubicBezTo>
                    <a:cubicBezTo>
                      <a:pt x="3582" y="2848"/>
                      <a:pt x="3582" y="2870"/>
                      <a:pt x="3545" y="2900"/>
                    </a:cubicBezTo>
                    <a:cubicBezTo>
                      <a:pt x="3537" y="2900"/>
                      <a:pt x="3530" y="2908"/>
                      <a:pt x="3522" y="2908"/>
                    </a:cubicBezTo>
                    <a:cubicBezTo>
                      <a:pt x="3515" y="2908"/>
                      <a:pt x="3515" y="2908"/>
                      <a:pt x="3507" y="2908"/>
                    </a:cubicBezTo>
                    <a:cubicBezTo>
                      <a:pt x="3500" y="2915"/>
                      <a:pt x="3500" y="2930"/>
                      <a:pt x="3500" y="2938"/>
                    </a:cubicBezTo>
                    <a:cubicBezTo>
                      <a:pt x="3492" y="2953"/>
                      <a:pt x="3485" y="2960"/>
                      <a:pt x="3485" y="2983"/>
                    </a:cubicBezTo>
                    <a:cubicBezTo>
                      <a:pt x="3485" y="2990"/>
                      <a:pt x="3492" y="2990"/>
                      <a:pt x="3500" y="2998"/>
                    </a:cubicBezTo>
                    <a:cubicBezTo>
                      <a:pt x="3500" y="3005"/>
                      <a:pt x="3515" y="3013"/>
                      <a:pt x="3515" y="3028"/>
                    </a:cubicBezTo>
                    <a:cubicBezTo>
                      <a:pt x="3515" y="3043"/>
                      <a:pt x="3500" y="3058"/>
                      <a:pt x="3500" y="3073"/>
                    </a:cubicBezTo>
                    <a:cubicBezTo>
                      <a:pt x="3492" y="3095"/>
                      <a:pt x="3485" y="3110"/>
                      <a:pt x="3470" y="3125"/>
                    </a:cubicBezTo>
                    <a:cubicBezTo>
                      <a:pt x="3462" y="3125"/>
                      <a:pt x="3462" y="3133"/>
                      <a:pt x="3462" y="3133"/>
                    </a:cubicBezTo>
                    <a:cubicBezTo>
                      <a:pt x="3447" y="3148"/>
                      <a:pt x="3432" y="3148"/>
                      <a:pt x="3425" y="3163"/>
                    </a:cubicBezTo>
                    <a:cubicBezTo>
                      <a:pt x="3417" y="3185"/>
                      <a:pt x="3417" y="3200"/>
                      <a:pt x="3410" y="3223"/>
                    </a:cubicBezTo>
                    <a:cubicBezTo>
                      <a:pt x="3395" y="3253"/>
                      <a:pt x="3380" y="3267"/>
                      <a:pt x="3365" y="3297"/>
                    </a:cubicBezTo>
                    <a:cubicBezTo>
                      <a:pt x="3350" y="3343"/>
                      <a:pt x="3350" y="3365"/>
                      <a:pt x="3342" y="3410"/>
                    </a:cubicBezTo>
                    <a:cubicBezTo>
                      <a:pt x="3335" y="3432"/>
                      <a:pt x="3335" y="3447"/>
                      <a:pt x="3327" y="3470"/>
                    </a:cubicBezTo>
                    <a:cubicBezTo>
                      <a:pt x="3320" y="3515"/>
                      <a:pt x="3320" y="3545"/>
                      <a:pt x="3305" y="3582"/>
                    </a:cubicBezTo>
                    <a:cubicBezTo>
                      <a:pt x="3297" y="3612"/>
                      <a:pt x="3275" y="3620"/>
                      <a:pt x="3260" y="3642"/>
                    </a:cubicBezTo>
                    <a:cubicBezTo>
                      <a:pt x="3237" y="3695"/>
                      <a:pt x="3237" y="3725"/>
                      <a:pt x="3237" y="3777"/>
                    </a:cubicBezTo>
                    <a:cubicBezTo>
                      <a:pt x="3237" y="3815"/>
                      <a:pt x="3230" y="3837"/>
                      <a:pt x="3223" y="3867"/>
                    </a:cubicBezTo>
                    <a:cubicBezTo>
                      <a:pt x="3223" y="3882"/>
                      <a:pt x="3215" y="3897"/>
                      <a:pt x="3215" y="3912"/>
                    </a:cubicBezTo>
                    <a:cubicBezTo>
                      <a:pt x="3215" y="3935"/>
                      <a:pt x="3237" y="3935"/>
                      <a:pt x="3237" y="3957"/>
                    </a:cubicBezTo>
                    <a:cubicBezTo>
                      <a:pt x="3237" y="3995"/>
                      <a:pt x="3230" y="4017"/>
                      <a:pt x="3230" y="4062"/>
                    </a:cubicBezTo>
                    <a:cubicBezTo>
                      <a:pt x="3230" y="4122"/>
                      <a:pt x="3230" y="4122"/>
                      <a:pt x="3230" y="4122"/>
                    </a:cubicBezTo>
                    <a:cubicBezTo>
                      <a:pt x="3230" y="4144"/>
                      <a:pt x="3237" y="4152"/>
                      <a:pt x="3237" y="4174"/>
                    </a:cubicBezTo>
                    <a:cubicBezTo>
                      <a:pt x="3237" y="4182"/>
                      <a:pt x="3230" y="4189"/>
                      <a:pt x="3223" y="4197"/>
                    </a:cubicBezTo>
                    <a:cubicBezTo>
                      <a:pt x="3207" y="4212"/>
                      <a:pt x="3200" y="4219"/>
                      <a:pt x="3185" y="4227"/>
                    </a:cubicBezTo>
                    <a:cubicBezTo>
                      <a:pt x="3170" y="4242"/>
                      <a:pt x="3170" y="4257"/>
                      <a:pt x="3163" y="4279"/>
                    </a:cubicBezTo>
                    <a:cubicBezTo>
                      <a:pt x="3155" y="4309"/>
                      <a:pt x="3163" y="4324"/>
                      <a:pt x="3148" y="4354"/>
                    </a:cubicBezTo>
                    <a:cubicBezTo>
                      <a:pt x="3140" y="4377"/>
                      <a:pt x="3133" y="4384"/>
                      <a:pt x="3118" y="4407"/>
                    </a:cubicBezTo>
                    <a:cubicBezTo>
                      <a:pt x="3125" y="4429"/>
                      <a:pt x="3125" y="4429"/>
                      <a:pt x="3125" y="4429"/>
                    </a:cubicBezTo>
                    <a:cubicBezTo>
                      <a:pt x="3110" y="4459"/>
                      <a:pt x="3080" y="4466"/>
                      <a:pt x="3073" y="4504"/>
                    </a:cubicBezTo>
                    <a:cubicBezTo>
                      <a:pt x="3073" y="4519"/>
                      <a:pt x="3073" y="4526"/>
                      <a:pt x="3073" y="4542"/>
                    </a:cubicBezTo>
                    <a:cubicBezTo>
                      <a:pt x="3065" y="4534"/>
                      <a:pt x="3058" y="4526"/>
                      <a:pt x="3050" y="4519"/>
                    </a:cubicBezTo>
                    <a:cubicBezTo>
                      <a:pt x="3020" y="4519"/>
                      <a:pt x="2998" y="4519"/>
                      <a:pt x="2975" y="4504"/>
                    </a:cubicBezTo>
                    <a:cubicBezTo>
                      <a:pt x="2983" y="4466"/>
                      <a:pt x="2983" y="4466"/>
                      <a:pt x="2983" y="4466"/>
                    </a:cubicBezTo>
                    <a:cubicBezTo>
                      <a:pt x="2975" y="4444"/>
                      <a:pt x="2953" y="4437"/>
                      <a:pt x="2930" y="4429"/>
                    </a:cubicBezTo>
                    <a:cubicBezTo>
                      <a:pt x="2915" y="4422"/>
                      <a:pt x="2900" y="4422"/>
                      <a:pt x="2885" y="4414"/>
                    </a:cubicBezTo>
                    <a:cubicBezTo>
                      <a:pt x="2870" y="4414"/>
                      <a:pt x="2863" y="4399"/>
                      <a:pt x="2848" y="4399"/>
                    </a:cubicBezTo>
                    <a:cubicBezTo>
                      <a:pt x="2818" y="4399"/>
                      <a:pt x="2810" y="4422"/>
                      <a:pt x="2788" y="4444"/>
                    </a:cubicBezTo>
                    <a:cubicBezTo>
                      <a:pt x="2766" y="4459"/>
                      <a:pt x="2750" y="4474"/>
                      <a:pt x="2743" y="4504"/>
                    </a:cubicBezTo>
                    <a:cubicBezTo>
                      <a:pt x="2736" y="4512"/>
                      <a:pt x="2736" y="4512"/>
                      <a:pt x="2736" y="4526"/>
                    </a:cubicBezTo>
                    <a:cubicBezTo>
                      <a:pt x="2736" y="4534"/>
                      <a:pt x="2743" y="4542"/>
                      <a:pt x="2750" y="4542"/>
                    </a:cubicBezTo>
                    <a:cubicBezTo>
                      <a:pt x="2766" y="4556"/>
                      <a:pt x="2780" y="4564"/>
                      <a:pt x="2803" y="4572"/>
                    </a:cubicBezTo>
                    <a:cubicBezTo>
                      <a:pt x="2818" y="4572"/>
                      <a:pt x="2833" y="4579"/>
                      <a:pt x="2833" y="4594"/>
                    </a:cubicBezTo>
                    <a:cubicBezTo>
                      <a:pt x="2833" y="4624"/>
                      <a:pt x="2803" y="4631"/>
                      <a:pt x="2803" y="4654"/>
                    </a:cubicBezTo>
                    <a:cubicBezTo>
                      <a:pt x="2803" y="4669"/>
                      <a:pt x="2810" y="4669"/>
                      <a:pt x="2818" y="4676"/>
                    </a:cubicBezTo>
                    <a:cubicBezTo>
                      <a:pt x="2825" y="4676"/>
                      <a:pt x="2818" y="4684"/>
                      <a:pt x="2825" y="4691"/>
                    </a:cubicBezTo>
                    <a:cubicBezTo>
                      <a:pt x="2803" y="4699"/>
                      <a:pt x="2795" y="4721"/>
                      <a:pt x="2773" y="4721"/>
                    </a:cubicBezTo>
                    <a:cubicBezTo>
                      <a:pt x="2766" y="4721"/>
                      <a:pt x="2758" y="4714"/>
                      <a:pt x="2743" y="4714"/>
                    </a:cubicBezTo>
                    <a:cubicBezTo>
                      <a:pt x="2720" y="4714"/>
                      <a:pt x="2720" y="4736"/>
                      <a:pt x="2713" y="4759"/>
                    </a:cubicBezTo>
                    <a:cubicBezTo>
                      <a:pt x="2706" y="4789"/>
                      <a:pt x="2706" y="4804"/>
                      <a:pt x="2690" y="4826"/>
                    </a:cubicBezTo>
                    <a:cubicBezTo>
                      <a:pt x="2660" y="4871"/>
                      <a:pt x="2623" y="4879"/>
                      <a:pt x="2571" y="4894"/>
                    </a:cubicBezTo>
                    <a:cubicBezTo>
                      <a:pt x="2541" y="4901"/>
                      <a:pt x="2518" y="4909"/>
                      <a:pt x="2488" y="4924"/>
                    </a:cubicBezTo>
                    <a:cubicBezTo>
                      <a:pt x="2443" y="4939"/>
                      <a:pt x="2413" y="4946"/>
                      <a:pt x="2383" y="4976"/>
                    </a:cubicBezTo>
                    <a:cubicBezTo>
                      <a:pt x="2346" y="5014"/>
                      <a:pt x="2338" y="5059"/>
                      <a:pt x="2338" y="4991"/>
                    </a:cubicBezTo>
                    <a:cubicBezTo>
                      <a:pt x="2338" y="4961"/>
                      <a:pt x="2331" y="4946"/>
                      <a:pt x="2308" y="4939"/>
                    </a:cubicBezTo>
                    <a:cubicBezTo>
                      <a:pt x="2323" y="4916"/>
                      <a:pt x="2346" y="4909"/>
                      <a:pt x="2368" y="4894"/>
                    </a:cubicBezTo>
                    <a:cubicBezTo>
                      <a:pt x="2391" y="4879"/>
                      <a:pt x="2398" y="4864"/>
                      <a:pt x="2406" y="4834"/>
                    </a:cubicBezTo>
                    <a:cubicBezTo>
                      <a:pt x="2413" y="4819"/>
                      <a:pt x="2421" y="4804"/>
                      <a:pt x="2421" y="4789"/>
                    </a:cubicBezTo>
                    <a:cubicBezTo>
                      <a:pt x="2421" y="4766"/>
                      <a:pt x="2421" y="4759"/>
                      <a:pt x="2421" y="4744"/>
                    </a:cubicBezTo>
                    <a:cubicBezTo>
                      <a:pt x="2421" y="4721"/>
                      <a:pt x="2458" y="4721"/>
                      <a:pt x="2458" y="4699"/>
                    </a:cubicBezTo>
                    <a:cubicBezTo>
                      <a:pt x="2458" y="4676"/>
                      <a:pt x="2451" y="4661"/>
                      <a:pt x="2451" y="4631"/>
                    </a:cubicBezTo>
                    <a:cubicBezTo>
                      <a:pt x="2458" y="4616"/>
                      <a:pt x="2473" y="4609"/>
                      <a:pt x="2473" y="4594"/>
                    </a:cubicBezTo>
                    <a:cubicBezTo>
                      <a:pt x="2473" y="4572"/>
                      <a:pt x="2466" y="4556"/>
                      <a:pt x="2458" y="4534"/>
                    </a:cubicBezTo>
                    <a:cubicBezTo>
                      <a:pt x="2451" y="4512"/>
                      <a:pt x="2451" y="4504"/>
                      <a:pt x="2443" y="4482"/>
                    </a:cubicBezTo>
                    <a:cubicBezTo>
                      <a:pt x="2436" y="4474"/>
                      <a:pt x="2428" y="4474"/>
                      <a:pt x="2421" y="4459"/>
                    </a:cubicBezTo>
                    <a:cubicBezTo>
                      <a:pt x="2413" y="4452"/>
                      <a:pt x="2413" y="4444"/>
                      <a:pt x="2398" y="4437"/>
                    </a:cubicBezTo>
                    <a:cubicBezTo>
                      <a:pt x="2391" y="4429"/>
                      <a:pt x="2383" y="4429"/>
                      <a:pt x="2376" y="4422"/>
                    </a:cubicBezTo>
                    <a:cubicBezTo>
                      <a:pt x="2368" y="4422"/>
                      <a:pt x="2368" y="4407"/>
                      <a:pt x="2368" y="4399"/>
                    </a:cubicBezTo>
                    <a:cubicBezTo>
                      <a:pt x="2361" y="4392"/>
                      <a:pt x="2361" y="4384"/>
                      <a:pt x="2361" y="4377"/>
                    </a:cubicBezTo>
                    <a:cubicBezTo>
                      <a:pt x="2361" y="4309"/>
                      <a:pt x="2361" y="4309"/>
                      <a:pt x="2361" y="4309"/>
                    </a:cubicBezTo>
                    <a:cubicBezTo>
                      <a:pt x="2331" y="4309"/>
                      <a:pt x="2316" y="4317"/>
                      <a:pt x="2293" y="4302"/>
                    </a:cubicBezTo>
                    <a:cubicBezTo>
                      <a:pt x="2286" y="4302"/>
                      <a:pt x="2278" y="4302"/>
                      <a:pt x="2278" y="4302"/>
                    </a:cubicBezTo>
                    <a:cubicBezTo>
                      <a:pt x="2271" y="4294"/>
                      <a:pt x="2271" y="4287"/>
                      <a:pt x="2271" y="4272"/>
                    </a:cubicBezTo>
                    <a:cubicBezTo>
                      <a:pt x="2271" y="4249"/>
                      <a:pt x="2293" y="4234"/>
                      <a:pt x="2316" y="4227"/>
                    </a:cubicBezTo>
                    <a:cubicBezTo>
                      <a:pt x="2323" y="4219"/>
                      <a:pt x="2331" y="4204"/>
                      <a:pt x="2353" y="4204"/>
                    </a:cubicBezTo>
                    <a:cubicBezTo>
                      <a:pt x="2361" y="4204"/>
                      <a:pt x="2361" y="4219"/>
                      <a:pt x="2368" y="4227"/>
                    </a:cubicBezTo>
                    <a:cubicBezTo>
                      <a:pt x="2376" y="4242"/>
                      <a:pt x="2383" y="4249"/>
                      <a:pt x="2383" y="4257"/>
                    </a:cubicBezTo>
                    <a:cubicBezTo>
                      <a:pt x="2383" y="4272"/>
                      <a:pt x="2376" y="4279"/>
                      <a:pt x="2376" y="4294"/>
                    </a:cubicBezTo>
                    <a:cubicBezTo>
                      <a:pt x="2406" y="4279"/>
                      <a:pt x="2436" y="4287"/>
                      <a:pt x="2451" y="4257"/>
                    </a:cubicBezTo>
                    <a:cubicBezTo>
                      <a:pt x="2473" y="4227"/>
                      <a:pt x="2466" y="4204"/>
                      <a:pt x="2488" y="4174"/>
                    </a:cubicBezTo>
                    <a:cubicBezTo>
                      <a:pt x="2488" y="4159"/>
                      <a:pt x="2503" y="4159"/>
                      <a:pt x="2503" y="4152"/>
                    </a:cubicBezTo>
                    <a:cubicBezTo>
                      <a:pt x="2503" y="4137"/>
                      <a:pt x="2488" y="4122"/>
                      <a:pt x="2481" y="4114"/>
                    </a:cubicBezTo>
                    <a:cubicBezTo>
                      <a:pt x="2473" y="4107"/>
                      <a:pt x="2466" y="4092"/>
                      <a:pt x="2451" y="4092"/>
                    </a:cubicBezTo>
                    <a:cubicBezTo>
                      <a:pt x="2436" y="4084"/>
                      <a:pt x="2428" y="4092"/>
                      <a:pt x="2413" y="4084"/>
                    </a:cubicBezTo>
                    <a:cubicBezTo>
                      <a:pt x="2413" y="4084"/>
                      <a:pt x="2406" y="4077"/>
                      <a:pt x="2406" y="4069"/>
                    </a:cubicBezTo>
                    <a:cubicBezTo>
                      <a:pt x="2383" y="4062"/>
                      <a:pt x="2376" y="4054"/>
                      <a:pt x="2368" y="4032"/>
                    </a:cubicBezTo>
                    <a:cubicBezTo>
                      <a:pt x="2361" y="4032"/>
                      <a:pt x="2361" y="4032"/>
                      <a:pt x="2353" y="4032"/>
                    </a:cubicBezTo>
                    <a:cubicBezTo>
                      <a:pt x="2338" y="4039"/>
                      <a:pt x="2338" y="4047"/>
                      <a:pt x="2323" y="4054"/>
                    </a:cubicBezTo>
                    <a:cubicBezTo>
                      <a:pt x="2293" y="4069"/>
                      <a:pt x="2263" y="4077"/>
                      <a:pt x="2263" y="4114"/>
                    </a:cubicBezTo>
                    <a:cubicBezTo>
                      <a:pt x="2263" y="4129"/>
                      <a:pt x="2278" y="4137"/>
                      <a:pt x="2278" y="4152"/>
                    </a:cubicBezTo>
                    <a:cubicBezTo>
                      <a:pt x="2278" y="4167"/>
                      <a:pt x="2263" y="4174"/>
                      <a:pt x="2256" y="4197"/>
                    </a:cubicBezTo>
                    <a:cubicBezTo>
                      <a:pt x="2256" y="4204"/>
                      <a:pt x="2256" y="4212"/>
                      <a:pt x="2256" y="4219"/>
                    </a:cubicBezTo>
                    <a:cubicBezTo>
                      <a:pt x="2248" y="4242"/>
                      <a:pt x="2233" y="4257"/>
                      <a:pt x="2218" y="4279"/>
                    </a:cubicBezTo>
                    <a:cubicBezTo>
                      <a:pt x="2211" y="4302"/>
                      <a:pt x="2203" y="4309"/>
                      <a:pt x="2196" y="4332"/>
                    </a:cubicBezTo>
                    <a:cubicBezTo>
                      <a:pt x="2196" y="4339"/>
                      <a:pt x="2196" y="4354"/>
                      <a:pt x="2196" y="4369"/>
                    </a:cubicBezTo>
                    <a:cubicBezTo>
                      <a:pt x="2188" y="4392"/>
                      <a:pt x="2173" y="4414"/>
                      <a:pt x="2173" y="4444"/>
                    </a:cubicBezTo>
                    <a:cubicBezTo>
                      <a:pt x="2173" y="4459"/>
                      <a:pt x="2181" y="4474"/>
                      <a:pt x="2188" y="4489"/>
                    </a:cubicBezTo>
                    <a:cubicBezTo>
                      <a:pt x="2196" y="4526"/>
                      <a:pt x="2196" y="4549"/>
                      <a:pt x="2203" y="4594"/>
                    </a:cubicBezTo>
                    <a:cubicBezTo>
                      <a:pt x="2203" y="4616"/>
                      <a:pt x="2226" y="4631"/>
                      <a:pt x="2248" y="4646"/>
                    </a:cubicBezTo>
                    <a:cubicBezTo>
                      <a:pt x="2256" y="4654"/>
                      <a:pt x="2256" y="4669"/>
                      <a:pt x="2263" y="4669"/>
                    </a:cubicBezTo>
                    <a:cubicBezTo>
                      <a:pt x="2271" y="4676"/>
                      <a:pt x="2286" y="4676"/>
                      <a:pt x="2293" y="4684"/>
                    </a:cubicBezTo>
                    <a:cubicBezTo>
                      <a:pt x="2301" y="4691"/>
                      <a:pt x="2293" y="4699"/>
                      <a:pt x="2301" y="4706"/>
                    </a:cubicBezTo>
                    <a:cubicBezTo>
                      <a:pt x="2301" y="4714"/>
                      <a:pt x="2308" y="4721"/>
                      <a:pt x="2308" y="4729"/>
                    </a:cubicBezTo>
                    <a:cubicBezTo>
                      <a:pt x="2308" y="4751"/>
                      <a:pt x="2308" y="4766"/>
                      <a:pt x="2293" y="4774"/>
                    </a:cubicBezTo>
                    <a:cubicBezTo>
                      <a:pt x="2278" y="4781"/>
                      <a:pt x="2263" y="4789"/>
                      <a:pt x="2256" y="4796"/>
                    </a:cubicBezTo>
                    <a:cubicBezTo>
                      <a:pt x="2248" y="4804"/>
                      <a:pt x="2248" y="4811"/>
                      <a:pt x="2241" y="4811"/>
                    </a:cubicBezTo>
                    <a:cubicBezTo>
                      <a:pt x="2218" y="4811"/>
                      <a:pt x="2211" y="4796"/>
                      <a:pt x="2196" y="4796"/>
                    </a:cubicBezTo>
                    <a:cubicBezTo>
                      <a:pt x="2181" y="4796"/>
                      <a:pt x="2181" y="4804"/>
                      <a:pt x="2173" y="4811"/>
                    </a:cubicBezTo>
                    <a:lnTo>
                      <a:pt x="2166" y="4811"/>
                    </a:lnTo>
                    <a:cubicBezTo>
                      <a:pt x="2158" y="4804"/>
                      <a:pt x="2151" y="4796"/>
                      <a:pt x="2151" y="4789"/>
                    </a:cubicBezTo>
                    <a:cubicBezTo>
                      <a:pt x="2151" y="4774"/>
                      <a:pt x="2151" y="4759"/>
                      <a:pt x="2151" y="4751"/>
                    </a:cubicBezTo>
                    <a:cubicBezTo>
                      <a:pt x="2143" y="4729"/>
                      <a:pt x="2128" y="4706"/>
                      <a:pt x="2106" y="4706"/>
                    </a:cubicBezTo>
                    <a:cubicBezTo>
                      <a:pt x="2061" y="4691"/>
                      <a:pt x="2038" y="4699"/>
                      <a:pt x="1994" y="4691"/>
                    </a:cubicBezTo>
                    <a:cubicBezTo>
                      <a:pt x="1941" y="4691"/>
                      <a:pt x="1918" y="4691"/>
                      <a:pt x="1874" y="4691"/>
                    </a:cubicBezTo>
                    <a:cubicBezTo>
                      <a:pt x="1859" y="4691"/>
                      <a:pt x="1851" y="4691"/>
                      <a:pt x="1844" y="4691"/>
                    </a:cubicBezTo>
                    <a:cubicBezTo>
                      <a:pt x="1829" y="4684"/>
                      <a:pt x="1829" y="4669"/>
                      <a:pt x="1821" y="4654"/>
                    </a:cubicBezTo>
                    <a:cubicBezTo>
                      <a:pt x="1821" y="4654"/>
                      <a:pt x="1814" y="4654"/>
                      <a:pt x="1814" y="4646"/>
                    </a:cubicBezTo>
                    <a:cubicBezTo>
                      <a:pt x="1806" y="4631"/>
                      <a:pt x="1806" y="4624"/>
                      <a:pt x="1806" y="4609"/>
                    </a:cubicBezTo>
                    <a:cubicBezTo>
                      <a:pt x="1799" y="4609"/>
                      <a:pt x="1791" y="4601"/>
                      <a:pt x="1784" y="4601"/>
                    </a:cubicBezTo>
                    <a:cubicBezTo>
                      <a:pt x="1784" y="4601"/>
                      <a:pt x="1776" y="4594"/>
                      <a:pt x="1784" y="4594"/>
                    </a:cubicBezTo>
                    <a:cubicBezTo>
                      <a:pt x="1784" y="4586"/>
                      <a:pt x="1791" y="4586"/>
                      <a:pt x="1791" y="4579"/>
                    </a:cubicBezTo>
                    <a:cubicBezTo>
                      <a:pt x="1791" y="4556"/>
                      <a:pt x="1776" y="4549"/>
                      <a:pt x="1761" y="4542"/>
                    </a:cubicBezTo>
                    <a:cubicBezTo>
                      <a:pt x="1739" y="4526"/>
                      <a:pt x="1716" y="4519"/>
                      <a:pt x="1701" y="4496"/>
                    </a:cubicBezTo>
                    <a:cubicBezTo>
                      <a:pt x="1731" y="4482"/>
                      <a:pt x="1746" y="4474"/>
                      <a:pt x="1761" y="4452"/>
                    </a:cubicBezTo>
                    <a:cubicBezTo>
                      <a:pt x="1776" y="4466"/>
                      <a:pt x="1791" y="4474"/>
                      <a:pt x="1806" y="4482"/>
                    </a:cubicBezTo>
                    <a:cubicBezTo>
                      <a:pt x="1821" y="4489"/>
                      <a:pt x="1829" y="4504"/>
                      <a:pt x="1844" y="4504"/>
                    </a:cubicBezTo>
                    <a:cubicBezTo>
                      <a:pt x="1859" y="4504"/>
                      <a:pt x="1866" y="4482"/>
                      <a:pt x="1874" y="4466"/>
                    </a:cubicBezTo>
                    <a:cubicBezTo>
                      <a:pt x="1889" y="4444"/>
                      <a:pt x="1896" y="4429"/>
                      <a:pt x="1904" y="4407"/>
                    </a:cubicBezTo>
                    <a:cubicBezTo>
                      <a:pt x="1918" y="4377"/>
                      <a:pt x="1918" y="4362"/>
                      <a:pt x="1926" y="4332"/>
                    </a:cubicBezTo>
                    <a:cubicBezTo>
                      <a:pt x="1926" y="4317"/>
                      <a:pt x="1934" y="4309"/>
                      <a:pt x="1934" y="4294"/>
                    </a:cubicBezTo>
                    <a:cubicBezTo>
                      <a:pt x="1934" y="4219"/>
                      <a:pt x="1934" y="4219"/>
                      <a:pt x="1934" y="4219"/>
                    </a:cubicBezTo>
                    <a:cubicBezTo>
                      <a:pt x="1934" y="4189"/>
                      <a:pt x="1911" y="4174"/>
                      <a:pt x="1896" y="4144"/>
                    </a:cubicBezTo>
                    <a:cubicBezTo>
                      <a:pt x="1874" y="4122"/>
                      <a:pt x="1866" y="4099"/>
                      <a:pt x="1844" y="4069"/>
                    </a:cubicBezTo>
                    <a:cubicBezTo>
                      <a:pt x="1829" y="4062"/>
                      <a:pt x="1821" y="4054"/>
                      <a:pt x="1806" y="4047"/>
                    </a:cubicBezTo>
                    <a:cubicBezTo>
                      <a:pt x="1799" y="4047"/>
                      <a:pt x="1784" y="4047"/>
                      <a:pt x="1784" y="4039"/>
                    </a:cubicBezTo>
                    <a:cubicBezTo>
                      <a:pt x="1776" y="4032"/>
                      <a:pt x="1784" y="4017"/>
                      <a:pt x="1784" y="4009"/>
                    </a:cubicBezTo>
                    <a:cubicBezTo>
                      <a:pt x="1776" y="3995"/>
                      <a:pt x="1761" y="3987"/>
                      <a:pt x="1761" y="3965"/>
                    </a:cubicBezTo>
                    <a:cubicBezTo>
                      <a:pt x="1761" y="3957"/>
                      <a:pt x="1769" y="3949"/>
                      <a:pt x="1769" y="3935"/>
                    </a:cubicBezTo>
                    <a:cubicBezTo>
                      <a:pt x="1776" y="3912"/>
                      <a:pt x="1784" y="3897"/>
                      <a:pt x="1791" y="3875"/>
                    </a:cubicBezTo>
                    <a:cubicBezTo>
                      <a:pt x="1806" y="3845"/>
                      <a:pt x="1814" y="3830"/>
                      <a:pt x="1814" y="3800"/>
                    </a:cubicBezTo>
                    <a:cubicBezTo>
                      <a:pt x="1814" y="3770"/>
                      <a:pt x="1814" y="3755"/>
                      <a:pt x="1806" y="3725"/>
                    </a:cubicBezTo>
                    <a:cubicBezTo>
                      <a:pt x="1806" y="3710"/>
                      <a:pt x="1799" y="3710"/>
                      <a:pt x="1791" y="3702"/>
                    </a:cubicBezTo>
                    <a:cubicBezTo>
                      <a:pt x="1791" y="3695"/>
                      <a:pt x="1784" y="3695"/>
                      <a:pt x="1784" y="3687"/>
                    </a:cubicBezTo>
                    <a:cubicBezTo>
                      <a:pt x="1784" y="3657"/>
                      <a:pt x="1806" y="3650"/>
                      <a:pt x="1806" y="3620"/>
                    </a:cubicBezTo>
                    <a:cubicBezTo>
                      <a:pt x="1806" y="3605"/>
                      <a:pt x="1806" y="3597"/>
                      <a:pt x="1791" y="3582"/>
                    </a:cubicBezTo>
                    <a:cubicBezTo>
                      <a:pt x="1791" y="3582"/>
                      <a:pt x="1784" y="3590"/>
                      <a:pt x="1784" y="3582"/>
                    </a:cubicBezTo>
                    <a:cubicBezTo>
                      <a:pt x="1769" y="3582"/>
                      <a:pt x="1769" y="3575"/>
                      <a:pt x="1761" y="3567"/>
                    </a:cubicBezTo>
                    <a:cubicBezTo>
                      <a:pt x="1769" y="3552"/>
                      <a:pt x="1769" y="3552"/>
                      <a:pt x="1769" y="3552"/>
                    </a:cubicBezTo>
                    <a:cubicBezTo>
                      <a:pt x="1799" y="3545"/>
                      <a:pt x="1821" y="3537"/>
                      <a:pt x="1836" y="3507"/>
                    </a:cubicBezTo>
                    <a:cubicBezTo>
                      <a:pt x="1844" y="3507"/>
                      <a:pt x="1859" y="3515"/>
                      <a:pt x="1866" y="3515"/>
                    </a:cubicBezTo>
                    <a:cubicBezTo>
                      <a:pt x="1874" y="3522"/>
                      <a:pt x="1866" y="3530"/>
                      <a:pt x="1874" y="3530"/>
                    </a:cubicBezTo>
                    <a:cubicBezTo>
                      <a:pt x="1881" y="3537"/>
                      <a:pt x="1889" y="3545"/>
                      <a:pt x="1896" y="3552"/>
                    </a:cubicBezTo>
                    <a:cubicBezTo>
                      <a:pt x="1934" y="3507"/>
                      <a:pt x="1964" y="3492"/>
                      <a:pt x="1994" y="3432"/>
                    </a:cubicBezTo>
                    <a:cubicBezTo>
                      <a:pt x="1994" y="3417"/>
                      <a:pt x="2001" y="3410"/>
                      <a:pt x="2016" y="3395"/>
                    </a:cubicBezTo>
                    <a:cubicBezTo>
                      <a:pt x="2024" y="3395"/>
                      <a:pt x="2031" y="3395"/>
                      <a:pt x="2038" y="3387"/>
                    </a:cubicBezTo>
                    <a:cubicBezTo>
                      <a:pt x="2046" y="3380"/>
                      <a:pt x="2038" y="3373"/>
                      <a:pt x="2046" y="3365"/>
                    </a:cubicBezTo>
                    <a:cubicBezTo>
                      <a:pt x="2046" y="3350"/>
                      <a:pt x="2054" y="3335"/>
                      <a:pt x="2068" y="3327"/>
                    </a:cubicBezTo>
                    <a:cubicBezTo>
                      <a:pt x="2068" y="3320"/>
                      <a:pt x="2076" y="3327"/>
                      <a:pt x="2076" y="3327"/>
                    </a:cubicBezTo>
                    <a:cubicBezTo>
                      <a:pt x="2098" y="3305"/>
                      <a:pt x="2083" y="3283"/>
                      <a:pt x="2091" y="3253"/>
                    </a:cubicBezTo>
                    <a:cubicBezTo>
                      <a:pt x="2098" y="3230"/>
                      <a:pt x="2113" y="3230"/>
                      <a:pt x="2121" y="3215"/>
                    </a:cubicBezTo>
                    <a:cubicBezTo>
                      <a:pt x="2151" y="3185"/>
                      <a:pt x="2158" y="3163"/>
                      <a:pt x="2173" y="3125"/>
                    </a:cubicBezTo>
                    <a:cubicBezTo>
                      <a:pt x="2181" y="3118"/>
                      <a:pt x="2181" y="3110"/>
                      <a:pt x="2181" y="3103"/>
                    </a:cubicBezTo>
                    <a:cubicBezTo>
                      <a:pt x="2188" y="3088"/>
                      <a:pt x="2203" y="3088"/>
                      <a:pt x="2203" y="3073"/>
                    </a:cubicBezTo>
                    <a:cubicBezTo>
                      <a:pt x="2203" y="3065"/>
                      <a:pt x="2188" y="3058"/>
                      <a:pt x="2181" y="3050"/>
                    </a:cubicBezTo>
                    <a:cubicBezTo>
                      <a:pt x="2181" y="3035"/>
                      <a:pt x="2181" y="3028"/>
                      <a:pt x="2181" y="3013"/>
                    </a:cubicBezTo>
                    <a:cubicBezTo>
                      <a:pt x="2181" y="2990"/>
                      <a:pt x="2203" y="2975"/>
                      <a:pt x="2218" y="2953"/>
                    </a:cubicBezTo>
                    <a:lnTo>
                      <a:pt x="2218" y="2945"/>
                    </a:lnTo>
                    <a:cubicBezTo>
                      <a:pt x="2241" y="2915"/>
                      <a:pt x="2256" y="2900"/>
                      <a:pt x="2271" y="2870"/>
                    </a:cubicBezTo>
                    <a:cubicBezTo>
                      <a:pt x="2271" y="2863"/>
                      <a:pt x="2278" y="2855"/>
                      <a:pt x="2278" y="2848"/>
                    </a:cubicBezTo>
                    <a:cubicBezTo>
                      <a:pt x="2278" y="2840"/>
                      <a:pt x="2271" y="2840"/>
                      <a:pt x="2271" y="2833"/>
                    </a:cubicBezTo>
                    <a:cubicBezTo>
                      <a:pt x="2248" y="2840"/>
                      <a:pt x="2241" y="2848"/>
                      <a:pt x="2218" y="2855"/>
                    </a:cubicBezTo>
                    <a:cubicBezTo>
                      <a:pt x="2196" y="2863"/>
                      <a:pt x="2173" y="2855"/>
                      <a:pt x="2143" y="2870"/>
                    </a:cubicBezTo>
                    <a:cubicBezTo>
                      <a:pt x="2128" y="2885"/>
                      <a:pt x="2128" y="2893"/>
                      <a:pt x="2113" y="2908"/>
                    </a:cubicBezTo>
                    <a:cubicBezTo>
                      <a:pt x="2098" y="2930"/>
                      <a:pt x="2091" y="2945"/>
                      <a:pt x="2076" y="2975"/>
                    </a:cubicBezTo>
                    <a:cubicBezTo>
                      <a:pt x="2054" y="2968"/>
                      <a:pt x="2031" y="2960"/>
                      <a:pt x="2031" y="2938"/>
                    </a:cubicBezTo>
                    <a:cubicBezTo>
                      <a:pt x="2031" y="2923"/>
                      <a:pt x="2031" y="2915"/>
                      <a:pt x="2031" y="2900"/>
                    </a:cubicBezTo>
                    <a:cubicBezTo>
                      <a:pt x="2031" y="2885"/>
                      <a:pt x="2031" y="2885"/>
                      <a:pt x="2031" y="2885"/>
                    </a:cubicBezTo>
                    <a:cubicBezTo>
                      <a:pt x="2031" y="2900"/>
                      <a:pt x="2031" y="2900"/>
                      <a:pt x="2031" y="2900"/>
                    </a:cubicBezTo>
                    <a:cubicBezTo>
                      <a:pt x="2038" y="2885"/>
                      <a:pt x="2046" y="2870"/>
                      <a:pt x="2054" y="2863"/>
                    </a:cubicBezTo>
                    <a:cubicBezTo>
                      <a:pt x="2076" y="2848"/>
                      <a:pt x="2091" y="2840"/>
                      <a:pt x="2106" y="2826"/>
                    </a:cubicBezTo>
                    <a:cubicBezTo>
                      <a:pt x="2113" y="2810"/>
                      <a:pt x="2121" y="2803"/>
                      <a:pt x="2136" y="2796"/>
                    </a:cubicBezTo>
                    <a:cubicBezTo>
                      <a:pt x="2158" y="2780"/>
                      <a:pt x="2173" y="2766"/>
                      <a:pt x="2203" y="2750"/>
                    </a:cubicBezTo>
                    <a:cubicBezTo>
                      <a:pt x="2226" y="2736"/>
                      <a:pt x="2256" y="2728"/>
                      <a:pt x="2256" y="2706"/>
                    </a:cubicBezTo>
                    <a:cubicBezTo>
                      <a:pt x="2256" y="2683"/>
                      <a:pt x="2241" y="2676"/>
                      <a:pt x="2241" y="2661"/>
                    </a:cubicBezTo>
                    <a:cubicBezTo>
                      <a:pt x="2241" y="2646"/>
                      <a:pt x="2248" y="2638"/>
                      <a:pt x="2248" y="2631"/>
                    </a:cubicBezTo>
                    <a:cubicBezTo>
                      <a:pt x="2248" y="2608"/>
                      <a:pt x="2233" y="2601"/>
                      <a:pt x="2226" y="2586"/>
                    </a:cubicBezTo>
                    <a:cubicBezTo>
                      <a:pt x="2211" y="2556"/>
                      <a:pt x="2196" y="2541"/>
                      <a:pt x="2166" y="2533"/>
                    </a:cubicBezTo>
                    <a:cubicBezTo>
                      <a:pt x="2166" y="2518"/>
                      <a:pt x="2173" y="2518"/>
                      <a:pt x="2173" y="2503"/>
                    </a:cubicBezTo>
                    <a:cubicBezTo>
                      <a:pt x="2173" y="2496"/>
                      <a:pt x="2158" y="2496"/>
                      <a:pt x="2151" y="2488"/>
                    </a:cubicBezTo>
                    <a:cubicBezTo>
                      <a:pt x="2143" y="2488"/>
                      <a:pt x="2136" y="2481"/>
                      <a:pt x="2121" y="2481"/>
                    </a:cubicBezTo>
                    <a:cubicBezTo>
                      <a:pt x="2106" y="2473"/>
                      <a:pt x="2091" y="2458"/>
                      <a:pt x="2083" y="2443"/>
                    </a:cubicBezTo>
                    <a:cubicBezTo>
                      <a:pt x="2076" y="2421"/>
                      <a:pt x="2068" y="2413"/>
                      <a:pt x="2054" y="2391"/>
                    </a:cubicBezTo>
                    <a:cubicBezTo>
                      <a:pt x="2046" y="2383"/>
                      <a:pt x="2046" y="2376"/>
                      <a:pt x="2038" y="2368"/>
                    </a:cubicBezTo>
                    <a:cubicBezTo>
                      <a:pt x="2031" y="2361"/>
                      <a:pt x="2016" y="2353"/>
                      <a:pt x="2016" y="2346"/>
                    </a:cubicBezTo>
                    <a:cubicBezTo>
                      <a:pt x="2016" y="2316"/>
                      <a:pt x="2046" y="2308"/>
                      <a:pt x="2046" y="2286"/>
                    </a:cubicBezTo>
                    <a:cubicBezTo>
                      <a:pt x="2046" y="2256"/>
                      <a:pt x="2031" y="2241"/>
                      <a:pt x="2024" y="2218"/>
                    </a:cubicBezTo>
                    <a:cubicBezTo>
                      <a:pt x="2016" y="2218"/>
                      <a:pt x="2024" y="2211"/>
                      <a:pt x="2024" y="2211"/>
                    </a:cubicBezTo>
                    <a:cubicBezTo>
                      <a:pt x="2016" y="2181"/>
                      <a:pt x="1994" y="2173"/>
                      <a:pt x="1964" y="2166"/>
                    </a:cubicBezTo>
                    <a:cubicBezTo>
                      <a:pt x="1934" y="2158"/>
                      <a:pt x="1904" y="2166"/>
                      <a:pt x="1881" y="2136"/>
                    </a:cubicBezTo>
                    <a:cubicBezTo>
                      <a:pt x="1866" y="2121"/>
                      <a:pt x="1866" y="2098"/>
                      <a:pt x="1859" y="2076"/>
                    </a:cubicBezTo>
                    <a:cubicBezTo>
                      <a:pt x="1836" y="2091"/>
                      <a:pt x="1829" y="2106"/>
                      <a:pt x="1806" y="2128"/>
                    </a:cubicBezTo>
                    <a:cubicBezTo>
                      <a:pt x="1791" y="2144"/>
                      <a:pt x="1784" y="2151"/>
                      <a:pt x="1769" y="2166"/>
                    </a:cubicBezTo>
                    <a:cubicBezTo>
                      <a:pt x="1754" y="2173"/>
                      <a:pt x="1739" y="2173"/>
                      <a:pt x="1739" y="2188"/>
                    </a:cubicBezTo>
                    <a:cubicBezTo>
                      <a:pt x="1739" y="2203"/>
                      <a:pt x="1746" y="2211"/>
                      <a:pt x="1746" y="2218"/>
                    </a:cubicBezTo>
                    <a:cubicBezTo>
                      <a:pt x="1761" y="2248"/>
                      <a:pt x="1754" y="2263"/>
                      <a:pt x="1769" y="2293"/>
                    </a:cubicBezTo>
                    <a:cubicBezTo>
                      <a:pt x="1776" y="2316"/>
                      <a:pt x="1784" y="2331"/>
                      <a:pt x="1799" y="2353"/>
                    </a:cubicBezTo>
                    <a:cubicBezTo>
                      <a:pt x="1799" y="2368"/>
                      <a:pt x="1814" y="2368"/>
                      <a:pt x="1814" y="2383"/>
                    </a:cubicBezTo>
                    <a:cubicBezTo>
                      <a:pt x="1814" y="2413"/>
                      <a:pt x="1799" y="2428"/>
                      <a:pt x="1784" y="2443"/>
                    </a:cubicBezTo>
                    <a:cubicBezTo>
                      <a:pt x="1784" y="2451"/>
                      <a:pt x="1784" y="2458"/>
                      <a:pt x="1776" y="2458"/>
                    </a:cubicBezTo>
                    <a:cubicBezTo>
                      <a:pt x="1746" y="2473"/>
                      <a:pt x="1724" y="2481"/>
                      <a:pt x="1701" y="2496"/>
                    </a:cubicBezTo>
                    <a:cubicBezTo>
                      <a:pt x="1694" y="2503"/>
                      <a:pt x="1701" y="2511"/>
                      <a:pt x="1701" y="2511"/>
                    </a:cubicBezTo>
                    <a:cubicBezTo>
                      <a:pt x="1709" y="2518"/>
                      <a:pt x="1724" y="2518"/>
                      <a:pt x="1739" y="2518"/>
                    </a:cubicBezTo>
                    <a:cubicBezTo>
                      <a:pt x="1761" y="2526"/>
                      <a:pt x="1776" y="2541"/>
                      <a:pt x="1799" y="2541"/>
                    </a:cubicBezTo>
                    <a:cubicBezTo>
                      <a:pt x="1851" y="2541"/>
                      <a:pt x="1866" y="2503"/>
                      <a:pt x="1918" y="2503"/>
                    </a:cubicBezTo>
                    <a:cubicBezTo>
                      <a:pt x="1934" y="2503"/>
                      <a:pt x="1941" y="2518"/>
                      <a:pt x="1948" y="2526"/>
                    </a:cubicBezTo>
                    <a:cubicBezTo>
                      <a:pt x="1956" y="2541"/>
                      <a:pt x="1964" y="2548"/>
                      <a:pt x="1971" y="2563"/>
                    </a:cubicBezTo>
                    <a:cubicBezTo>
                      <a:pt x="1994" y="2593"/>
                      <a:pt x="2001" y="2616"/>
                      <a:pt x="2001" y="2646"/>
                    </a:cubicBezTo>
                    <a:cubicBezTo>
                      <a:pt x="2001" y="2683"/>
                      <a:pt x="1986" y="2698"/>
                      <a:pt x="1986" y="2728"/>
                    </a:cubicBezTo>
                    <a:cubicBezTo>
                      <a:pt x="1986" y="2743"/>
                      <a:pt x="1994" y="2750"/>
                      <a:pt x="1994" y="2766"/>
                    </a:cubicBezTo>
                    <a:cubicBezTo>
                      <a:pt x="1994" y="2788"/>
                      <a:pt x="1978" y="2796"/>
                      <a:pt x="1964" y="2796"/>
                    </a:cubicBezTo>
                    <a:cubicBezTo>
                      <a:pt x="1941" y="2803"/>
                      <a:pt x="1918" y="2796"/>
                      <a:pt x="1896" y="2803"/>
                    </a:cubicBezTo>
                    <a:cubicBezTo>
                      <a:pt x="1866" y="2810"/>
                      <a:pt x="1851" y="2826"/>
                      <a:pt x="1836" y="2848"/>
                    </a:cubicBezTo>
                    <a:cubicBezTo>
                      <a:pt x="1829" y="2863"/>
                      <a:pt x="1821" y="2878"/>
                      <a:pt x="1806" y="2878"/>
                    </a:cubicBezTo>
                    <a:cubicBezTo>
                      <a:pt x="1791" y="2878"/>
                      <a:pt x="1791" y="2863"/>
                      <a:pt x="1784" y="2855"/>
                    </a:cubicBezTo>
                    <a:cubicBezTo>
                      <a:pt x="1769" y="2848"/>
                      <a:pt x="1754" y="2848"/>
                      <a:pt x="1746" y="2840"/>
                    </a:cubicBezTo>
                    <a:cubicBezTo>
                      <a:pt x="1731" y="2833"/>
                      <a:pt x="1731" y="2810"/>
                      <a:pt x="1716" y="2803"/>
                    </a:cubicBezTo>
                    <a:cubicBezTo>
                      <a:pt x="1716" y="2796"/>
                      <a:pt x="1709" y="2796"/>
                      <a:pt x="1701" y="2796"/>
                    </a:cubicBezTo>
                    <a:cubicBezTo>
                      <a:pt x="1716" y="2788"/>
                      <a:pt x="1724" y="2780"/>
                      <a:pt x="1739" y="2773"/>
                    </a:cubicBezTo>
                    <a:cubicBezTo>
                      <a:pt x="1746" y="2766"/>
                      <a:pt x="1746" y="2758"/>
                      <a:pt x="1761" y="2743"/>
                    </a:cubicBezTo>
                    <a:cubicBezTo>
                      <a:pt x="1776" y="2736"/>
                      <a:pt x="1784" y="2720"/>
                      <a:pt x="1784" y="2698"/>
                    </a:cubicBezTo>
                    <a:cubicBezTo>
                      <a:pt x="1784" y="2690"/>
                      <a:pt x="1784" y="2683"/>
                      <a:pt x="1784" y="2676"/>
                    </a:cubicBezTo>
                    <a:cubicBezTo>
                      <a:pt x="1776" y="2668"/>
                      <a:pt x="1784" y="2661"/>
                      <a:pt x="1784" y="2653"/>
                    </a:cubicBezTo>
                    <a:cubicBezTo>
                      <a:pt x="1776" y="2646"/>
                      <a:pt x="1761" y="2638"/>
                      <a:pt x="1754" y="2638"/>
                    </a:cubicBezTo>
                    <a:cubicBezTo>
                      <a:pt x="1746" y="2631"/>
                      <a:pt x="1739" y="2631"/>
                      <a:pt x="1731" y="2631"/>
                    </a:cubicBezTo>
                    <a:cubicBezTo>
                      <a:pt x="1694" y="2631"/>
                      <a:pt x="1679" y="2638"/>
                      <a:pt x="1641" y="2653"/>
                    </a:cubicBezTo>
                    <a:cubicBezTo>
                      <a:pt x="1589" y="2661"/>
                      <a:pt x="1559" y="2676"/>
                      <a:pt x="1514" y="2713"/>
                    </a:cubicBezTo>
                    <a:cubicBezTo>
                      <a:pt x="1477" y="2750"/>
                      <a:pt x="1447" y="2766"/>
                      <a:pt x="1409" y="2818"/>
                    </a:cubicBezTo>
                    <a:cubicBezTo>
                      <a:pt x="1394" y="2833"/>
                      <a:pt x="1387" y="2855"/>
                      <a:pt x="1364" y="2870"/>
                    </a:cubicBezTo>
                    <a:cubicBezTo>
                      <a:pt x="1349" y="2878"/>
                      <a:pt x="1342" y="2893"/>
                      <a:pt x="1334" y="2908"/>
                    </a:cubicBezTo>
                    <a:cubicBezTo>
                      <a:pt x="1327" y="2915"/>
                      <a:pt x="1319" y="2930"/>
                      <a:pt x="1304" y="2930"/>
                    </a:cubicBezTo>
                    <a:lnTo>
                      <a:pt x="1297" y="2923"/>
                    </a:lnTo>
                    <a:cubicBezTo>
                      <a:pt x="1312" y="2893"/>
                      <a:pt x="1319" y="2870"/>
                      <a:pt x="1327" y="2840"/>
                    </a:cubicBezTo>
                    <a:cubicBezTo>
                      <a:pt x="1334" y="2818"/>
                      <a:pt x="1334" y="2803"/>
                      <a:pt x="1342" y="2780"/>
                    </a:cubicBezTo>
                    <a:cubicBezTo>
                      <a:pt x="1364" y="2766"/>
                      <a:pt x="1394" y="2766"/>
                      <a:pt x="1394" y="2743"/>
                    </a:cubicBezTo>
                    <a:cubicBezTo>
                      <a:pt x="1394" y="2720"/>
                      <a:pt x="1379" y="2713"/>
                      <a:pt x="1364" y="2698"/>
                    </a:cubicBezTo>
                    <a:cubicBezTo>
                      <a:pt x="1349" y="2690"/>
                      <a:pt x="1342" y="2676"/>
                      <a:pt x="1334" y="2668"/>
                    </a:cubicBezTo>
                    <a:cubicBezTo>
                      <a:pt x="1297" y="2631"/>
                      <a:pt x="1267" y="2623"/>
                      <a:pt x="1236" y="2586"/>
                    </a:cubicBezTo>
                    <a:cubicBezTo>
                      <a:pt x="1199" y="2548"/>
                      <a:pt x="1192" y="2518"/>
                      <a:pt x="1169" y="2481"/>
                    </a:cubicBezTo>
                    <a:cubicBezTo>
                      <a:pt x="1154" y="2443"/>
                      <a:pt x="1132" y="2428"/>
                      <a:pt x="1132" y="2398"/>
                    </a:cubicBezTo>
                    <a:cubicBezTo>
                      <a:pt x="1132" y="2376"/>
                      <a:pt x="1139" y="2361"/>
                      <a:pt x="1154" y="2338"/>
                    </a:cubicBezTo>
                    <a:cubicBezTo>
                      <a:pt x="1154" y="2323"/>
                      <a:pt x="1154" y="2316"/>
                      <a:pt x="1162" y="2301"/>
                    </a:cubicBezTo>
                    <a:cubicBezTo>
                      <a:pt x="1162" y="2278"/>
                      <a:pt x="1169" y="2263"/>
                      <a:pt x="1169" y="2241"/>
                    </a:cubicBezTo>
                    <a:cubicBezTo>
                      <a:pt x="1169" y="2233"/>
                      <a:pt x="1169" y="2226"/>
                      <a:pt x="1169" y="2218"/>
                    </a:cubicBezTo>
                    <a:cubicBezTo>
                      <a:pt x="1184" y="2218"/>
                      <a:pt x="1192" y="2218"/>
                      <a:pt x="1207" y="2218"/>
                    </a:cubicBezTo>
                    <a:cubicBezTo>
                      <a:pt x="1214" y="2218"/>
                      <a:pt x="1222" y="2211"/>
                      <a:pt x="1229" y="2211"/>
                    </a:cubicBezTo>
                    <a:cubicBezTo>
                      <a:pt x="1236" y="2211"/>
                      <a:pt x="1244" y="2218"/>
                      <a:pt x="1244" y="2226"/>
                    </a:cubicBezTo>
                    <a:cubicBezTo>
                      <a:pt x="1252" y="2233"/>
                      <a:pt x="1252" y="2241"/>
                      <a:pt x="1259" y="2248"/>
                    </a:cubicBezTo>
                    <a:cubicBezTo>
                      <a:pt x="1274" y="2263"/>
                      <a:pt x="1297" y="2256"/>
                      <a:pt x="1304" y="2278"/>
                    </a:cubicBezTo>
                    <a:cubicBezTo>
                      <a:pt x="1304" y="2293"/>
                      <a:pt x="1297" y="2308"/>
                      <a:pt x="1312" y="2316"/>
                    </a:cubicBezTo>
                    <a:cubicBezTo>
                      <a:pt x="1319" y="2323"/>
                      <a:pt x="1327" y="2331"/>
                      <a:pt x="1342" y="2331"/>
                    </a:cubicBezTo>
                    <a:cubicBezTo>
                      <a:pt x="1349" y="2338"/>
                      <a:pt x="1364" y="2338"/>
                      <a:pt x="1364" y="2353"/>
                    </a:cubicBezTo>
                    <a:cubicBezTo>
                      <a:pt x="1364" y="2368"/>
                      <a:pt x="1349" y="2376"/>
                      <a:pt x="1349" y="2391"/>
                    </a:cubicBezTo>
                    <a:cubicBezTo>
                      <a:pt x="1349" y="2398"/>
                      <a:pt x="1357" y="2406"/>
                      <a:pt x="1357" y="2413"/>
                    </a:cubicBezTo>
                    <a:cubicBezTo>
                      <a:pt x="1364" y="2428"/>
                      <a:pt x="1364" y="2443"/>
                      <a:pt x="1364" y="2458"/>
                    </a:cubicBezTo>
                    <a:cubicBezTo>
                      <a:pt x="1364" y="2473"/>
                      <a:pt x="1364" y="2481"/>
                      <a:pt x="1364" y="2496"/>
                    </a:cubicBezTo>
                    <a:cubicBezTo>
                      <a:pt x="1364" y="2503"/>
                      <a:pt x="1371" y="2511"/>
                      <a:pt x="1371" y="2518"/>
                    </a:cubicBezTo>
                    <a:cubicBezTo>
                      <a:pt x="1371" y="2526"/>
                      <a:pt x="1364" y="2533"/>
                      <a:pt x="1371" y="2533"/>
                    </a:cubicBezTo>
                    <a:cubicBezTo>
                      <a:pt x="1379" y="2533"/>
                      <a:pt x="1387" y="2533"/>
                      <a:pt x="1394" y="2526"/>
                    </a:cubicBezTo>
                    <a:cubicBezTo>
                      <a:pt x="1409" y="2518"/>
                      <a:pt x="1417" y="2511"/>
                      <a:pt x="1431" y="2496"/>
                    </a:cubicBezTo>
                    <a:cubicBezTo>
                      <a:pt x="1439" y="2488"/>
                      <a:pt x="1447" y="2488"/>
                      <a:pt x="1454" y="2481"/>
                    </a:cubicBezTo>
                    <a:cubicBezTo>
                      <a:pt x="1454" y="2481"/>
                      <a:pt x="1461" y="2473"/>
                      <a:pt x="1469" y="2473"/>
                    </a:cubicBezTo>
                    <a:cubicBezTo>
                      <a:pt x="1477" y="2473"/>
                      <a:pt x="1477" y="2473"/>
                      <a:pt x="1484" y="2473"/>
                    </a:cubicBezTo>
                    <a:cubicBezTo>
                      <a:pt x="1484" y="2451"/>
                      <a:pt x="1484" y="2451"/>
                      <a:pt x="1484" y="2451"/>
                    </a:cubicBezTo>
                    <a:cubicBezTo>
                      <a:pt x="1484" y="2443"/>
                      <a:pt x="1484" y="2443"/>
                      <a:pt x="1484" y="2436"/>
                    </a:cubicBezTo>
                    <a:cubicBezTo>
                      <a:pt x="1477" y="2421"/>
                      <a:pt x="1477" y="2413"/>
                      <a:pt x="1477" y="2398"/>
                    </a:cubicBezTo>
                    <a:cubicBezTo>
                      <a:pt x="1477" y="2383"/>
                      <a:pt x="1484" y="2368"/>
                      <a:pt x="1484" y="2353"/>
                    </a:cubicBezTo>
                    <a:cubicBezTo>
                      <a:pt x="1484" y="2338"/>
                      <a:pt x="1477" y="2331"/>
                      <a:pt x="1469" y="2316"/>
                    </a:cubicBezTo>
                    <a:cubicBezTo>
                      <a:pt x="1461" y="2308"/>
                      <a:pt x="1469" y="2293"/>
                      <a:pt x="1461" y="2278"/>
                    </a:cubicBezTo>
                    <a:cubicBezTo>
                      <a:pt x="1454" y="2263"/>
                      <a:pt x="1439" y="2271"/>
                      <a:pt x="1424" y="2271"/>
                    </a:cubicBezTo>
                    <a:cubicBezTo>
                      <a:pt x="1409" y="2263"/>
                      <a:pt x="1401" y="2263"/>
                      <a:pt x="1387" y="2263"/>
                    </a:cubicBezTo>
                    <a:cubicBezTo>
                      <a:pt x="1379" y="2263"/>
                      <a:pt x="1371" y="2256"/>
                      <a:pt x="1364" y="2256"/>
                    </a:cubicBezTo>
                    <a:cubicBezTo>
                      <a:pt x="1357" y="2256"/>
                      <a:pt x="1357" y="2256"/>
                      <a:pt x="1349" y="2256"/>
                    </a:cubicBezTo>
                    <a:cubicBezTo>
                      <a:pt x="1334" y="2248"/>
                      <a:pt x="1327" y="2248"/>
                      <a:pt x="1312" y="2248"/>
                    </a:cubicBezTo>
                    <a:cubicBezTo>
                      <a:pt x="1297" y="2248"/>
                      <a:pt x="1289" y="2248"/>
                      <a:pt x="1282" y="2241"/>
                    </a:cubicBezTo>
                    <a:cubicBezTo>
                      <a:pt x="1282" y="2241"/>
                      <a:pt x="1282" y="2233"/>
                      <a:pt x="1282" y="2226"/>
                    </a:cubicBezTo>
                    <a:cubicBezTo>
                      <a:pt x="1282" y="2218"/>
                      <a:pt x="1282" y="2203"/>
                      <a:pt x="1274" y="2196"/>
                    </a:cubicBezTo>
                    <a:cubicBezTo>
                      <a:pt x="1274" y="2196"/>
                      <a:pt x="1267" y="2196"/>
                      <a:pt x="1267" y="2188"/>
                    </a:cubicBezTo>
                    <a:cubicBezTo>
                      <a:pt x="1267" y="2181"/>
                      <a:pt x="1282" y="2173"/>
                      <a:pt x="1282" y="2166"/>
                    </a:cubicBezTo>
                    <a:cubicBezTo>
                      <a:pt x="1282" y="2158"/>
                      <a:pt x="1282" y="2158"/>
                      <a:pt x="1282" y="2151"/>
                    </a:cubicBezTo>
                    <a:cubicBezTo>
                      <a:pt x="1274" y="2151"/>
                      <a:pt x="1267" y="2151"/>
                      <a:pt x="1259" y="2151"/>
                    </a:cubicBezTo>
                    <a:cubicBezTo>
                      <a:pt x="1252" y="2151"/>
                      <a:pt x="1244" y="2158"/>
                      <a:pt x="1236" y="2158"/>
                    </a:cubicBezTo>
                    <a:cubicBezTo>
                      <a:pt x="1222" y="2166"/>
                      <a:pt x="1214" y="2166"/>
                      <a:pt x="1192" y="2173"/>
                    </a:cubicBezTo>
                    <a:cubicBezTo>
                      <a:pt x="1184" y="2181"/>
                      <a:pt x="1184" y="2188"/>
                      <a:pt x="1177" y="2188"/>
                    </a:cubicBezTo>
                    <a:cubicBezTo>
                      <a:pt x="1169" y="2188"/>
                      <a:pt x="1169" y="2181"/>
                      <a:pt x="1162" y="2181"/>
                    </a:cubicBezTo>
                    <a:close/>
                    <a:moveTo>
                      <a:pt x="1027" y="1904"/>
                    </a:moveTo>
                    <a:lnTo>
                      <a:pt x="1027" y="1904"/>
                    </a:lnTo>
                    <a:cubicBezTo>
                      <a:pt x="1034" y="1904"/>
                      <a:pt x="1034" y="1896"/>
                      <a:pt x="1034" y="1889"/>
                    </a:cubicBezTo>
                    <a:cubicBezTo>
                      <a:pt x="1049" y="1874"/>
                      <a:pt x="1057" y="1859"/>
                      <a:pt x="1064" y="1836"/>
                    </a:cubicBezTo>
                    <a:cubicBezTo>
                      <a:pt x="1064" y="1821"/>
                      <a:pt x="1064" y="1821"/>
                      <a:pt x="1064" y="1806"/>
                    </a:cubicBezTo>
                    <a:cubicBezTo>
                      <a:pt x="1064" y="1799"/>
                      <a:pt x="1072" y="1791"/>
                      <a:pt x="1064" y="1784"/>
                    </a:cubicBezTo>
                    <a:cubicBezTo>
                      <a:pt x="1057" y="1776"/>
                      <a:pt x="1057" y="1776"/>
                      <a:pt x="1049" y="1776"/>
                    </a:cubicBezTo>
                    <a:cubicBezTo>
                      <a:pt x="1042" y="1769"/>
                      <a:pt x="1042" y="1761"/>
                      <a:pt x="1034" y="1761"/>
                    </a:cubicBezTo>
                    <a:cubicBezTo>
                      <a:pt x="1027" y="1754"/>
                      <a:pt x="1019" y="1754"/>
                      <a:pt x="1019" y="1746"/>
                    </a:cubicBezTo>
                    <a:cubicBezTo>
                      <a:pt x="1019" y="1761"/>
                      <a:pt x="1019" y="1769"/>
                      <a:pt x="1019" y="1784"/>
                    </a:cubicBezTo>
                    <a:cubicBezTo>
                      <a:pt x="1012" y="1791"/>
                      <a:pt x="1012" y="1799"/>
                      <a:pt x="1012" y="1814"/>
                    </a:cubicBezTo>
                    <a:cubicBezTo>
                      <a:pt x="1004" y="1829"/>
                      <a:pt x="1004" y="1844"/>
                      <a:pt x="989" y="1851"/>
                    </a:cubicBezTo>
                    <a:cubicBezTo>
                      <a:pt x="982" y="1859"/>
                      <a:pt x="982" y="1859"/>
                      <a:pt x="974" y="1859"/>
                    </a:cubicBezTo>
                    <a:cubicBezTo>
                      <a:pt x="967" y="1859"/>
                      <a:pt x="967" y="1851"/>
                      <a:pt x="959" y="1844"/>
                    </a:cubicBezTo>
                    <a:cubicBezTo>
                      <a:pt x="959" y="1836"/>
                      <a:pt x="952" y="1829"/>
                      <a:pt x="944" y="1821"/>
                    </a:cubicBezTo>
                    <a:cubicBezTo>
                      <a:pt x="944" y="1814"/>
                      <a:pt x="937" y="1814"/>
                      <a:pt x="937" y="1806"/>
                    </a:cubicBezTo>
                    <a:cubicBezTo>
                      <a:pt x="929" y="1799"/>
                      <a:pt x="922" y="1791"/>
                      <a:pt x="922" y="1776"/>
                    </a:cubicBezTo>
                    <a:cubicBezTo>
                      <a:pt x="914" y="1791"/>
                      <a:pt x="914" y="1799"/>
                      <a:pt x="907" y="1814"/>
                    </a:cubicBezTo>
                    <a:cubicBezTo>
                      <a:pt x="899" y="1829"/>
                      <a:pt x="892" y="1829"/>
                      <a:pt x="892" y="1844"/>
                    </a:cubicBezTo>
                    <a:cubicBezTo>
                      <a:pt x="907" y="1851"/>
                      <a:pt x="914" y="1859"/>
                      <a:pt x="922" y="1866"/>
                    </a:cubicBezTo>
                    <a:cubicBezTo>
                      <a:pt x="922" y="1874"/>
                      <a:pt x="929" y="1881"/>
                      <a:pt x="929" y="1889"/>
                    </a:cubicBezTo>
                    <a:cubicBezTo>
                      <a:pt x="929" y="1896"/>
                      <a:pt x="922" y="1896"/>
                      <a:pt x="922" y="1904"/>
                    </a:cubicBezTo>
                    <a:cubicBezTo>
                      <a:pt x="914" y="1919"/>
                      <a:pt x="914" y="1926"/>
                      <a:pt x="907" y="1941"/>
                    </a:cubicBezTo>
                    <a:cubicBezTo>
                      <a:pt x="899" y="1956"/>
                      <a:pt x="892" y="1971"/>
                      <a:pt x="884" y="1986"/>
                    </a:cubicBezTo>
                    <a:cubicBezTo>
                      <a:pt x="877" y="1994"/>
                      <a:pt x="877" y="2001"/>
                      <a:pt x="869" y="2008"/>
                    </a:cubicBezTo>
                    <a:cubicBezTo>
                      <a:pt x="869" y="2016"/>
                      <a:pt x="869" y="2016"/>
                      <a:pt x="869" y="2024"/>
                    </a:cubicBezTo>
                    <a:cubicBezTo>
                      <a:pt x="862" y="2024"/>
                      <a:pt x="862" y="2024"/>
                      <a:pt x="854" y="2031"/>
                    </a:cubicBezTo>
                    <a:cubicBezTo>
                      <a:pt x="847" y="2031"/>
                      <a:pt x="839" y="2038"/>
                      <a:pt x="839" y="2046"/>
                    </a:cubicBezTo>
                    <a:cubicBezTo>
                      <a:pt x="832" y="2061"/>
                      <a:pt x="824" y="2061"/>
                      <a:pt x="824" y="2076"/>
                    </a:cubicBezTo>
                    <a:cubicBezTo>
                      <a:pt x="832" y="2076"/>
                      <a:pt x="847" y="2076"/>
                      <a:pt x="854" y="2076"/>
                    </a:cubicBezTo>
                    <a:cubicBezTo>
                      <a:pt x="862" y="2084"/>
                      <a:pt x="862" y="2084"/>
                      <a:pt x="862" y="2091"/>
                    </a:cubicBezTo>
                    <a:cubicBezTo>
                      <a:pt x="869" y="2098"/>
                      <a:pt x="877" y="2098"/>
                      <a:pt x="884" y="2098"/>
                    </a:cubicBezTo>
                    <a:cubicBezTo>
                      <a:pt x="892" y="2098"/>
                      <a:pt x="899" y="2091"/>
                      <a:pt x="907" y="2091"/>
                    </a:cubicBezTo>
                    <a:cubicBezTo>
                      <a:pt x="907" y="2091"/>
                      <a:pt x="914" y="2091"/>
                      <a:pt x="922" y="2091"/>
                    </a:cubicBezTo>
                    <a:cubicBezTo>
                      <a:pt x="929" y="2084"/>
                      <a:pt x="929" y="2068"/>
                      <a:pt x="937" y="2061"/>
                    </a:cubicBezTo>
                    <a:cubicBezTo>
                      <a:pt x="944" y="2038"/>
                      <a:pt x="959" y="2031"/>
                      <a:pt x="967" y="2016"/>
                    </a:cubicBezTo>
                    <a:cubicBezTo>
                      <a:pt x="974" y="2001"/>
                      <a:pt x="982" y="1994"/>
                      <a:pt x="989" y="1979"/>
                    </a:cubicBezTo>
                    <a:cubicBezTo>
                      <a:pt x="997" y="1971"/>
                      <a:pt x="997" y="1964"/>
                      <a:pt x="1004" y="1949"/>
                    </a:cubicBezTo>
                    <a:cubicBezTo>
                      <a:pt x="1012" y="1934"/>
                      <a:pt x="1019" y="1926"/>
                      <a:pt x="1027" y="1904"/>
                    </a:cubicBezTo>
                    <a:close/>
                    <a:moveTo>
                      <a:pt x="577" y="1941"/>
                    </a:moveTo>
                    <a:lnTo>
                      <a:pt x="577" y="1941"/>
                    </a:lnTo>
                    <a:cubicBezTo>
                      <a:pt x="570" y="1941"/>
                      <a:pt x="570" y="1941"/>
                      <a:pt x="562" y="1941"/>
                    </a:cubicBezTo>
                    <a:cubicBezTo>
                      <a:pt x="547" y="1949"/>
                      <a:pt x="547" y="1956"/>
                      <a:pt x="540" y="1956"/>
                    </a:cubicBezTo>
                    <a:cubicBezTo>
                      <a:pt x="525" y="1956"/>
                      <a:pt x="517" y="1964"/>
                      <a:pt x="510" y="1971"/>
                    </a:cubicBezTo>
                    <a:cubicBezTo>
                      <a:pt x="517" y="1979"/>
                      <a:pt x="525" y="1979"/>
                      <a:pt x="540" y="1986"/>
                    </a:cubicBezTo>
                    <a:cubicBezTo>
                      <a:pt x="547" y="1994"/>
                      <a:pt x="547" y="1994"/>
                      <a:pt x="555" y="1994"/>
                    </a:cubicBezTo>
                    <a:cubicBezTo>
                      <a:pt x="570" y="1994"/>
                      <a:pt x="577" y="1994"/>
                      <a:pt x="592" y="1979"/>
                    </a:cubicBezTo>
                    <a:lnTo>
                      <a:pt x="592" y="1979"/>
                    </a:lnTo>
                    <a:cubicBezTo>
                      <a:pt x="592" y="1964"/>
                      <a:pt x="585" y="1956"/>
                      <a:pt x="577" y="1941"/>
                    </a:cubicBezTo>
                    <a:close/>
                    <a:moveTo>
                      <a:pt x="397" y="2443"/>
                    </a:moveTo>
                    <a:lnTo>
                      <a:pt x="397" y="2443"/>
                    </a:lnTo>
                    <a:cubicBezTo>
                      <a:pt x="390" y="2443"/>
                      <a:pt x="390" y="2458"/>
                      <a:pt x="390" y="2466"/>
                    </a:cubicBezTo>
                    <a:cubicBezTo>
                      <a:pt x="390" y="2496"/>
                      <a:pt x="390" y="2496"/>
                      <a:pt x="390" y="2496"/>
                    </a:cubicBezTo>
                    <a:cubicBezTo>
                      <a:pt x="390" y="2503"/>
                      <a:pt x="382" y="2503"/>
                      <a:pt x="382" y="2511"/>
                    </a:cubicBezTo>
                    <a:cubicBezTo>
                      <a:pt x="390" y="2511"/>
                      <a:pt x="390" y="2511"/>
                      <a:pt x="397" y="2511"/>
                    </a:cubicBezTo>
                    <a:cubicBezTo>
                      <a:pt x="397" y="2511"/>
                      <a:pt x="405" y="2511"/>
                      <a:pt x="412" y="2511"/>
                    </a:cubicBezTo>
                    <a:cubicBezTo>
                      <a:pt x="420" y="2511"/>
                      <a:pt x="420" y="2518"/>
                      <a:pt x="427" y="2526"/>
                    </a:cubicBezTo>
                    <a:cubicBezTo>
                      <a:pt x="442" y="2518"/>
                      <a:pt x="442" y="2503"/>
                      <a:pt x="442" y="2488"/>
                    </a:cubicBezTo>
                    <a:cubicBezTo>
                      <a:pt x="442" y="2481"/>
                      <a:pt x="442" y="2481"/>
                      <a:pt x="442" y="2473"/>
                    </a:cubicBezTo>
                    <a:cubicBezTo>
                      <a:pt x="442" y="2466"/>
                      <a:pt x="442" y="2466"/>
                      <a:pt x="435" y="2466"/>
                    </a:cubicBezTo>
                    <a:cubicBezTo>
                      <a:pt x="427" y="2458"/>
                      <a:pt x="420" y="2458"/>
                      <a:pt x="412" y="2458"/>
                    </a:cubicBezTo>
                    <a:cubicBezTo>
                      <a:pt x="405" y="2451"/>
                      <a:pt x="405" y="2443"/>
                      <a:pt x="397" y="2443"/>
                    </a:cubicBezTo>
                    <a:close/>
                    <a:moveTo>
                      <a:pt x="555" y="2211"/>
                    </a:moveTo>
                    <a:lnTo>
                      <a:pt x="555" y="2211"/>
                    </a:lnTo>
                    <a:cubicBezTo>
                      <a:pt x="555" y="2218"/>
                      <a:pt x="562" y="2218"/>
                      <a:pt x="562" y="2218"/>
                    </a:cubicBezTo>
                    <a:cubicBezTo>
                      <a:pt x="562" y="2226"/>
                      <a:pt x="555" y="2233"/>
                      <a:pt x="555" y="2233"/>
                    </a:cubicBezTo>
                    <a:cubicBezTo>
                      <a:pt x="555" y="2256"/>
                      <a:pt x="555" y="2263"/>
                      <a:pt x="547" y="2286"/>
                    </a:cubicBezTo>
                    <a:cubicBezTo>
                      <a:pt x="547" y="2301"/>
                      <a:pt x="540" y="2308"/>
                      <a:pt x="540" y="2316"/>
                    </a:cubicBezTo>
                    <a:cubicBezTo>
                      <a:pt x="540" y="2331"/>
                      <a:pt x="525" y="2338"/>
                      <a:pt x="525" y="2353"/>
                    </a:cubicBezTo>
                    <a:cubicBezTo>
                      <a:pt x="525" y="2361"/>
                      <a:pt x="525" y="2361"/>
                      <a:pt x="525" y="2361"/>
                    </a:cubicBezTo>
                    <a:cubicBezTo>
                      <a:pt x="532" y="2368"/>
                      <a:pt x="540" y="2368"/>
                      <a:pt x="540" y="2368"/>
                    </a:cubicBezTo>
                    <a:cubicBezTo>
                      <a:pt x="562" y="2368"/>
                      <a:pt x="570" y="2361"/>
                      <a:pt x="592" y="2353"/>
                    </a:cubicBezTo>
                    <a:cubicBezTo>
                      <a:pt x="592" y="2353"/>
                      <a:pt x="600" y="2346"/>
                      <a:pt x="607" y="2346"/>
                    </a:cubicBezTo>
                    <a:cubicBezTo>
                      <a:pt x="615" y="2346"/>
                      <a:pt x="615" y="2346"/>
                      <a:pt x="615" y="2346"/>
                    </a:cubicBezTo>
                    <a:cubicBezTo>
                      <a:pt x="615" y="2353"/>
                      <a:pt x="615" y="2361"/>
                      <a:pt x="615" y="2361"/>
                    </a:cubicBezTo>
                    <a:cubicBezTo>
                      <a:pt x="615" y="2376"/>
                      <a:pt x="615" y="2391"/>
                      <a:pt x="600" y="2398"/>
                    </a:cubicBezTo>
                    <a:cubicBezTo>
                      <a:pt x="592" y="2406"/>
                      <a:pt x="592" y="2413"/>
                      <a:pt x="585" y="2413"/>
                    </a:cubicBezTo>
                    <a:cubicBezTo>
                      <a:pt x="570" y="2421"/>
                      <a:pt x="570" y="2421"/>
                      <a:pt x="555" y="2428"/>
                    </a:cubicBezTo>
                    <a:cubicBezTo>
                      <a:pt x="547" y="2436"/>
                      <a:pt x="540" y="2436"/>
                      <a:pt x="540" y="2443"/>
                    </a:cubicBezTo>
                    <a:cubicBezTo>
                      <a:pt x="532" y="2443"/>
                      <a:pt x="532" y="2451"/>
                      <a:pt x="532" y="2458"/>
                    </a:cubicBezTo>
                    <a:cubicBezTo>
                      <a:pt x="525" y="2473"/>
                      <a:pt x="517" y="2481"/>
                      <a:pt x="517" y="2496"/>
                    </a:cubicBezTo>
                    <a:cubicBezTo>
                      <a:pt x="517" y="2511"/>
                      <a:pt x="517" y="2518"/>
                      <a:pt x="517" y="2526"/>
                    </a:cubicBezTo>
                    <a:cubicBezTo>
                      <a:pt x="510" y="2533"/>
                      <a:pt x="502" y="2533"/>
                      <a:pt x="495" y="2533"/>
                    </a:cubicBezTo>
                    <a:cubicBezTo>
                      <a:pt x="487" y="2533"/>
                      <a:pt x="480" y="2533"/>
                      <a:pt x="480" y="2533"/>
                    </a:cubicBezTo>
                    <a:cubicBezTo>
                      <a:pt x="472" y="2526"/>
                      <a:pt x="472" y="2518"/>
                      <a:pt x="472" y="2511"/>
                    </a:cubicBezTo>
                    <a:cubicBezTo>
                      <a:pt x="472" y="2496"/>
                      <a:pt x="487" y="2488"/>
                      <a:pt x="487" y="2466"/>
                    </a:cubicBezTo>
                    <a:cubicBezTo>
                      <a:pt x="487" y="2451"/>
                      <a:pt x="472" y="2436"/>
                      <a:pt x="457" y="2428"/>
                    </a:cubicBezTo>
                    <a:cubicBezTo>
                      <a:pt x="457" y="2421"/>
                      <a:pt x="450" y="2413"/>
                      <a:pt x="450" y="2413"/>
                    </a:cubicBezTo>
                    <a:cubicBezTo>
                      <a:pt x="435" y="2413"/>
                      <a:pt x="427" y="2413"/>
                      <a:pt x="420" y="2406"/>
                    </a:cubicBezTo>
                    <a:cubicBezTo>
                      <a:pt x="427" y="2398"/>
                      <a:pt x="435" y="2391"/>
                      <a:pt x="442" y="2391"/>
                    </a:cubicBezTo>
                    <a:cubicBezTo>
                      <a:pt x="442" y="2383"/>
                      <a:pt x="450" y="2383"/>
                      <a:pt x="457" y="2383"/>
                    </a:cubicBezTo>
                    <a:cubicBezTo>
                      <a:pt x="465" y="2376"/>
                      <a:pt x="480" y="2368"/>
                      <a:pt x="480" y="2353"/>
                    </a:cubicBezTo>
                    <a:cubicBezTo>
                      <a:pt x="487" y="2331"/>
                      <a:pt x="480" y="2308"/>
                      <a:pt x="495" y="2286"/>
                    </a:cubicBezTo>
                    <a:cubicBezTo>
                      <a:pt x="502" y="2293"/>
                      <a:pt x="502" y="2301"/>
                      <a:pt x="510" y="2308"/>
                    </a:cubicBezTo>
                    <a:cubicBezTo>
                      <a:pt x="510" y="2301"/>
                      <a:pt x="510" y="2293"/>
                      <a:pt x="510" y="2278"/>
                    </a:cubicBezTo>
                    <a:cubicBezTo>
                      <a:pt x="517" y="2248"/>
                      <a:pt x="532" y="2241"/>
                      <a:pt x="555" y="2211"/>
                    </a:cubicBezTo>
                    <a:close/>
                    <a:moveTo>
                      <a:pt x="262" y="2556"/>
                    </a:moveTo>
                    <a:lnTo>
                      <a:pt x="262" y="2556"/>
                    </a:lnTo>
                    <a:cubicBezTo>
                      <a:pt x="255" y="2556"/>
                      <a:pt x="255" y="2563"/>
                      <a:pt x="247" y="2563"/>
                    </a:cubicBezTo>
                    <a:lnTo>
                      <a:pt x="247" y="2571"/>
                    </a:lnTo>
                    <a:cubicBezTo>
                      <a:pt x="247" y="2586"/>
                      <a:pt x="262" y="2593"/>
                      <a:pt x="262" y="2608"/>
                    </a:cubicBezTo>
                    <a:cubicBezTo>
                      <a:pt x="262" y="2616"/>
                      <a:pt x="255" y="2616"/>
                      <a:pt x="255" y="2623"/>
                    </a:cubicBezTo>
                    <a:cubicBezTo>
                      <a:pt x="255" y="2638"/>
                      <a:pt x="270" y="2638"/>
                      <a:pt x="285" y="2638"/>
                    </a:cubicBezTo>
                    <a:cubicBezTo>
                      <a:pt x="292" y="2638"/>
                      <a:pt x="292" y="2638"/>
                      <a:pt x="300" y="2638"/>
                    </a:cubicBezTo>
                    <a:cubicBezTo>
                      <a:pt x="300" y="2631"/>
                      <a:pt x="307" y="2623"/>
                      <a:pt x="307" y="2616"/>
                    </a:cubicBezTo>
                    <a:cubicBezTo>
                      <a:pt x="307" y="2608"/>
                      <a:pt x="307" y="2601"/>
                      <a:pt x="300" y="2586"/>
                    </a:cubicBezTo>
                    <a:cubicBezTo>
                      <a:pt x="300" y="2578"/>
                      <a:pt x="300" y="2571"/>
                      <a:pt x="300" y="2571"/>
                    </a:cubicBezTo>
                    <a:cubicBezTo>
                      <a:pt x="300" y="2563"/>
                      <a:pt x="292" y="2563"/>
                      <a:pt x="285" y="2563"/>
                    </a:cubicBezTo>
                    <a:cubicBezTo>
                      <a:pt x="277" y="2556"/>
                      <a:pt x="270" y="2556"/>
                      <a:pt x="262" y="2556"/>
                    </a:cubicBezTo>
                    <a:close/>
                    <a:moveTo>
                      <a:pt x="202" y="2623"/>
                    </a:moveTo>
                    <a:lnTo>
                      <a:pt x="202" y="2623"/>
                    </a:lnTo>
                    <a:cubicBezTo>
                      <a:pt x="202" y="2638"/>
                      <a:pt x="210" y="2646"/>
                      <a:pt x="218" y="2653"/>
                    </a:cubicBezTo>
                    <a:cubicBezTo>
                      <a:pt x="225" y="2668"/>
                      <a:pt x="232" y="2668"/>
                      <a:pt x="247" y="2676"/>
                    </a:cubicBezTo>
                    <a:cubicBezTo>
                      <a:pt x="255" y="2676"/>
                      <a:pt x="255" y="2676"/>
                      <a:pt x="255" y="2683"/>
                    </a:cubicBezTo>
                    <a:cubicBezTo>
                      <a:pt x="262" y="2690"/>
                      <a:pt x="255" y="2690"/>
                      <a:pt x="255" y="2698"/>
                    </a:cubicBezTo>
                    <a:cubicBezTo>
                      <a:pt x="255" y="2720"/>
                      <a:pt x="262" y="2736"/>
                      <a:pt x="262" y="2750"/>
                    </a:cubicBezTo>
                    <a:cubicBezTo>
                      <a:pt x="270" y="2758"/>
                      <a:pt x="270" y="2758"/>
                      <a:pt x="277" y="2766"/>
                    </a:cubicBezTo>
                    <a:cubicBezTo>
                      <a:pt x="285" y="2780"/>
                      <a:pt x="285" y="2788"/>
                      <a:pt x="292" y="2796"/>
                    </a:cubicBezTo>
                    <a:cubicBezTo>
                      <a:pt x="300" y="2803"/>
                      <a:pt x="307" y="2803"/>
                      <a:pt x="307" y="2810"/>
                    </a:cubicBezTo>
                    <a:cubicBezTo>
                      <a:pt x="307" y="2818"/>
                      <a:pt x="300" y="2818"/>
                      <a:pt x="292" y="2826"/>
                    </a:cubicBezTo>
                    <a:cubicBezTo>
                      <a:pt x="285" y="2826"/>
                      <a:pt x="285" y="2833"/>
                      <a:pt x="277" y="2833"/>
                    </a:cubicBezTo>
                    <a:cubicBezTo>
                      <a:pt x="255" y="2833"/>
                      <a:pt x="247" y="2833"/>
                      <a:pt x="232" y="2833"/>
                    </a:cubicBezTo>
                    <a:cubicBezTo>
                      <a:pt x="232" y="2833"/>
                      <a:pt x="225" y="2840"/>
                      <a:pt x="218" y="2840"/>
                    </a:cubicBezTo>
                    <a:cubicBezTo>
                      <a:pt x="210" y="2840"/>
                      <a:pt x="210" y="2840"/>
                      <a:pt x="210" y="2840"/>
                    </a:cubicBezTo>
                    <a:cubicBezTo>
                      <a:pt x="210" y="2826"/>
                      <a:pt x="210" y="2826"/>
                      <a:pt x="210" y="2810"/>
                    </a:cubicBezTo>
                    <a:cubicBezTo>
                      <a:pt x="195" y="2818"/>
                      <a:pt x="188" y="2818"/>
                      <a:pt x="180" y="2826"/>
                    </a:cubicBezTo>
                    <a:cubicBezTo>
                      <a:pt x="172" y="2833"/>
                      <a:pt x="172" y="2833"/>
                      <a:pt x="165" y="2833"/>
                    </a:cubicBezTo>
                    <a:cubicBezTo>
                      <a:pt x="165" y="2840"/>
                      <a:pt x="150" y="2840"/>
                      <a:pt x="150" y="2840"/>
                    </a:cubicBezTo>
                    <a:cubicBezTo>
                      <a:pt x="150" y="2855"/>
                      <a:pt x="158" y="2863"/>
                      <a:pt x="165" y="2870"/>
                    </a:cubicBezTo>
                    <a:cubicBezTo>
                      <a:pt x="172" y="2878"/>
                      <a:pt x="172" y="2885"/>
                      <a:pt x="180" y="2893"/>
                    </a:cubicBezTo>
                    <a:cubicBezTo>
                      <a:pt x="188" y="2893"/>
                      <a:pt x="188" y="2893"/>
                      <a:pt x="195" y="2900"/>
                    </a:cubicBezTo>
                    <a:cubicBezTo>
                      <a:pt x="188" y="2908"/>
                      <a:pt x="180" y="2908"/>
                      <a:pt x="172" y="2908"/>
                    </a:cubicBezTo>
                    <a:cubicBezTo>
                      <a:pt x="165" y="2908"/>
                      <a:pt x="158" y="2908"/>
                      <a:pt x="150" y="2908"/>
                    </a:cubicBezTo>
                    <a:lnTo>
                      <a:pt x="142" y="2908"/>
                    </a:lnTo>
                    <a:cubicBezTo>
                      <a:pt x="135" y="2908"/>
                      <a:pt x="142" y="2900"/>
                      <a:pt x="135" y="2893"/>
                    </a:cubicBezTo>
                    <a:cubicBezTo>
                      <a:pt x="128" y="2878"/>
                      <a:pt x="120" y="2878"/>
                      <a:pt x="105" y="2878"/>
                    </a:cubicBezTo>
                    <a:cubicBezTo>
                      <a:pt x="90" y="2878"/>
                      <a:pt x="82" y="2878"/>
                      <a:pt x="75" y="2878"/>
                    </a:cubicBezTo>
                    <a:cubicBezTo>
                      <a:pt x="60" y="2878"/>
                      <a:pt x="53" y="2878"/>
                      <a:pt x="45" y="2870"/>
                    </a:cubicBezTo>
                    <a:lnTo>
                      <a:pt x="38" y="2863"/>
                    </a:lnTo>
                    <a:cubicBezTo>
                      <a:pt x="23" y="2863"/>
                      <a:pt x="23" y="2870"/>
                      <a:pt x="8" y="2878"/>
                    </a:cubicBezTo>
                    <a:cubicBezTo>
                      <a:pt x="8" y="2878"/>
                      <a:pt x="8" y="2878"/>
                      <a:pt x="0" y="2878"/>
                    </a:cubicBezTo>
                    <a:cubicBezTo>
                      <a:pt x="0" y="2855"/>
                      <a:pt x="0" y="2848"/>
                      <a:pt x="0" y="2833"/>
                    </a:cubicBezTo>
                    <a:cubicBezTo>
                      <a:pt x="0" y="2826"/>
                      <a:pt x="0" y="2826"/>
                      <a:pt x="0" y="2826"/>
                    </a:cubicBezTo>
                    <a:lnTo>
                      <a:pt x="0" y="2818"/>
                    </a:lnTo>
                    <a:lnTo>
                      <a:pt x="0" y="2810"/>
                    </a:lnTo>
                    <a:cubicBezTo>
                      <a:pt x="8" y="2818"/>
                      <a:pt x="8" y="2818"/>
                      <a:pt x="15" y="2826"/>
                    </a:cubicBezTo>
                    <a:cubicBezTo>
                      <a:pt x="15" y="2818"/>
                      <a:pt x="15" y="2818"/>
                      <a:pt x="15" y="2810"/>
                    </a:cubicBezTo>
                    <a:cubicBezTo>
                      <a:pt x="23" y="2803"/>
                      <a:pt x="30" y="2803"/>
                      <a:pt x="38" y="2796"/>
                    </a:cubicBezTo>
                    <a:cubicBezTo>
                      <a:pt x="38" y="2788"/>
                      <a:pt x="38" y="2788"/>
                      <a:pt x="38" y="2780"/>
                    </a:cubicBezTo>
                    <a:cubicBezTo>
                      <a:pt x="38" y="2758"/>
                      <a:pt x="30" y="2743"/>
                      <a:pt x="30" y="2728"/>
                    </a:cubicBezTo>
                    <a:cubicBezTo>
                      <a:pt x="30" y="2706"/>
                      <a:pt x="38" y="2690"/>
                      <a:pt x="38" y="2668"/>
                    </a:cubicBezTo>
                    <a:cubicBezTo>
                      <a:pt x="38" y="2653"/>
                      <a:pt x="38" y="2646"/>
                      <a:pt x="45" y="2638"/>
                    </a:cubicBezTo>
                    <a:cubicBezTo>
                      <a:pt x="45" y="2638"/>
                      <a:pt x="45" y="2638"/>
                      <a:pt x="45" y="2631"/>
                    </a:cubicBezTo>
                    <a:cubicBezTo>
                      <a:pt x="53" y="2646"/>
                      <a:pt x="60" y="2646"/>
                      <a:pt x="60" y="2661"/>
                    </a:cubicBezTo>
                    <a:cubicBezTo>
                      <a:pt x="68" y="2668"/>
                      <a:pt x="75" y="2676"/>
                      <a:pt x="82" y="2683"/>
                    </a:cubicBezTo>
                    <a:cubicBezTo>
                      <a:pt x="98" y="2676"/>
                      <a:pt x="105" y="2668"/>
                      <a:pt x="128" y="2661"/>
                    </a:cubicBezTo>
                    <a:cubicBezTo>
                      <a:pt x="142" y="2661"/>
                      <a:pt x="150" y="2661"/>
                      <a:pt x="165" y="2653"/>
                    </a:cubicBezTo>
                    <a:cubicBezTo>
                      <a:pt x="180" y="2646"/>
                      <a:pt x="188" y="2638"/>
                      <a:pt x="202" y="2623"/>
                    </a:cubicBezTo>
                    <a:close/>
                    <a:moveTo>
                      <a:pt x="1207" y="1169"/>
                    </a:moveTo>
                    <a:lnTo>
                      <a:pt x="1207" y="1169"/>
                    </a:lnTo>
                    <a:cubicBezTo>
                      <a:pt x="1199" y="1177"/>
                      <a:pt x="1192" y="1177"/>
                      <a:pt x="1192" y="1192"/>
                    </a:cubicBezTo>
                    <a:cubicBezTo>
                      <a:pt x="1192" y="1199"/>
                      <a:pt x="1199" y="1207"/>
                      <a:pt x="1199" y="1222"/>
                    </a:cubicBezTo>
                    <a:cubicBezTo>
                      <a:pt x="1199" y="1229"/>
                      <a:pt x="1199" y="1229"/>
                      <a:pt x="1199" y="1237"/>
                    </a:cubicBezTo>
                    <a:lnTo>
                      <a:pt x="1199" y="1237"/>
                    </a:lnTo>
                    <a:cubicBezTo>
                      <a:pt x="1184" y="1237"/>
                      <a:pt x="1184" y="1229"/>
                      <a:pt x="1169" y="1229"/>
                    </a:cubicBezTo>
                    <a:cubicBezTo>
                      <a:pt x="1169" y="1229"/>
                      <a:pt x="1169" y="1229"/>
                      <a:pt x="1169" y="1237"/>
                    </a:cubicBezTo>
                    <a:cubicBezTo>
                      <a:pt x="1169" y="1244"/>
                      <a:pt x="1169" y="1244"/>
                      <a:pt x="1169" y="1252"/>
                    </a:cubicBezTo>
                    <a:cubicBezTo>
                      <a:pt x="1169" y="1259"/>
                      <a:pt x="1162" y="1259"/>
                      <a:pt x="1162" y="1267"/>
                    </a:cubicBezTo>
                    <a:cubicBezTo>
                      <a:pt x="1162" y="1274"/>
                      <a:pt x="1169" y="1274"/>
                      <a:pt x="1177" y="1274"/>
                    </a:cubicBezTo>
                    <a:cubicBezTo>
                      <a:pt x="1177" y="1282"/>
                      <a:pt x="1184" y="1289"/>
                      <a:pt x="1184" y="1297"/>
                    </a:cubicBezTo>
                    <a:cubicBezTo>
                      <a:pt x="1184" y="1304"/>
                      <a:pt x="1177" y="1304"/>
                      <a:pt x="1184" y="1312"/>
                    </a:cubicBezTo>
                    <a:cubicBezTo>
                      <a:pt x="1184" y="1312"/>
                      <a:pt x="1192" y="1312"/>
                      <a:pt x="1199" y="1319"/>
                    </a:cubicBezTo>
                    <a:cubicBezTo>
                      <a:pt x="1207" y="1319"/>
                      <a:pt x="1207" y="1327"/>
                      <a:pt x="1207" y="1327"/>
                    </a:cubicBezTo>
                    <a:cubicBezTo>
                      <a:pt x="1214" y="1349"/>
                      <a:pt x="1214" y="1357"/>
                      <a:pt x="1229" y="1372"/>
                    </a:cubicBezTo>
                    <a:cubicBezTo>
                      <a:pt x="1244" y="1357"/>
                      <a:pt x="1252" y="1334"/>
                      <a:pt x="1274" y="1327"/>
                    </a:cubicBezTo>
                    <a:cubicBezTo>
                      <a:pt x="1289" y="1327"/>
                      <a:pt x="1312" y="1327"/>
                      <a:pt x="1327" y="1304"/>
                    </a:cubicBezTo>
                    <a:cubicBezTo>
                      <a:pt x="1312" y="1304"/>
                      <a:pt x="1304" y="1297"/>
                      <a:pt x="1297" y="1289"/>
                    </a:cubicBezTo>
                    <a:cubicBezTo>
                      <a:pt x="1297" y="1282"/>
                      <a:pt x="1289" y="1274"/>
                      <a:pt x="1289" y="1267"/>
                    </a:cubicBezTo>
                    <a:cubicBezTo>
                      <a:pt x="1289" y="1252"/>
                      <a:pt x="1297" y="1252"/>
                      <a:pt x="1297" y="1237"/>
                    </a:cubicBezTo>
                    <a:cubicBezTo>
                      <a:pt x="1297" y="1237"/>
                      <a:pt x="1297" y="1229"/>
                      <a:pt x="1297" y="1222"/>
                    </a:cubicBezTo>
                    <a:cubicBezTo>
                      <a:pt x="1297" y="1214"/>
                      <a:pt x="1297" y="1207"/>
                      <a:pt x="1297" y="1199"/>
                    </a:cubicBezTo>
                    <a:cubicBezTo>
                      <a:pt x="1297" y="1192"/>
                      <a:pt x="1297" y="1192"/>
                      <a:pt x="1289" y="1192"/>
                    </a:cubicBezTo>
                    <a:cubicBezTo>
                      <a:pt x="1289" y="1192"/>
                      <a:pt x="1282" y="1192"/>
                      <a:pt x="1274" y="1192"/>
                    </a:cubicBezTo>
                    <a:cubicBezTo>
                      <a:pt x="1259" y="1184"/>
                      <a:pt x="1259" y="1184"/>
                      <a:pt x="1244" y="1177"/>
                    </a:cubicBezTo>
                    <a:lnTo>
                      <a:pt x="1236" y="1169"/>
                    </a:lnTo>
                    <a:cubicBezTo>
                      <a:pt x="1229" y="1169"/>
                      <a:pt x="1229" y="1169"/>
                      <a:pt x="1222" y="1169"/>
                    </a:cubicBezTo>
                    <a:cubicBezTo>
                      <a:pt x="1214" y="1169"/>
                      <a:pt x="1214" y="1169"/>
                      <a:pt x="1207" y="1169"/>
                    </a:cubicBezTo>
                    <a:close/>
                    <a:moveTo>
                      <a:pt x="832" y="83"/>
                    </a:moveTo>
                    <a:lnTo>
                      <a:pt x="832" y="83"/>
                    </a:lnTo>
                    <a:cubicBezTo>
                      <a:pt x="817" y="83"/>
                      <a:pt x="817" y="75"/>
                      <a:pt x="802" y="75"/>
                    </a:cubicBezTo>
                    <a:cubicBezTo>
                      <a:pt x="794" y="90"/>
                      <a:pt x="794" y="98"/>
                      <a:pt x="787" y="105"/>
                    </a:cubicBezTo>
                    <a:cubicBezTo>
                      <a:pt x="779" y="128"/>
                      <a:pt x="779" y="143"/>
                      <a:pt x="772" y="173"/>
                    </a:cubicBezTo>
                    <a:cubicBezTo>
                      <a:pt x="772" y="180"/>
                      <a:pt x="765" y="180"/>
                      <a:pt x="765" y="188"/>
                    </a:cubicBezTo>
                    <a:cubicBezTo>
                      <a:pt x="779" y="195"/>
                      <a:pt x="794" y="195"/>
                      <a:pt x="794" y="210"/>
                    </a:cubicBezTo>
                    <a:cubicBezTo>
                      <a:pt x="794" y="233"/>
                      <a:pt x="787" y="248"/>
                      <a:pt x="772" y="262"/>
                    </a:cubicBezTo>
                    <a:cubicBezTo>
                      <a:pt x="765" y="278"/>
                      <a:pt x="765" y="285"/>
                      <a:pt x="757" y="300"/>
                    </a:cubicBezTo>
                    <a:cubicBezTo>
                      <a:pt x="749" y="315"/>
                      <a:pt x="742" y="322"/>
                      <a:pt x="742" y="345"/>
                    </a:cubicBezTo>
                    <a:lnTo>
                      <a:pt x="749" y="345"/>
                    </a:lnTo>
                    <a:cubicBezTo>
                      <a:pt x="749" y="352"/>
                      <a:pt x="742" y="360"/>
                      <a:pt x="742" y="368"/>
                    </a:cubicBezTo>
                    <a:cubicBezTo>
                      <a:pt x="735" y="368"/>
                      <a:pt x="742" y="375"/>
                      <a:pt x="742" y="375"/>
                    </a:cubicBezTo>
                    <a:cubicBezTo>
                      <a:pt x="742" y="435"/>
                      <a:pt x="742" y="435"/>
                      <a:pt x="742" y="435"/>
                    </a:cubicBezTo>
                    <a:cubicBezTo>
                      <a:pt x="742" y="442"/>
                      <a:pt x="735" y="442"/>
                      <a:pt x="735" y="450"/>
                    </a:cubicBezTo>
                    <a:cubicBezTo>
                      <a:pt x="735" y="465"/>
                      <a:pt x="735" y="465"/>
                      <a:pt x="735" y="465"/>
                    </a:cubicBezTo>
                    <a:cubicBezTo>
                      <a:pt x="742" y="465"/>
                      <a:pt x="742" y="465"/>
                      <a:pt x="742" y="465"/>
                    </a:cubicBezTo>
                    <a:cubicBezTo>
                      <a:pt x="749" y="457"/>
                      <a:pt x="757" y="457"/>
                      <a:pt x="772" y="457"/>
                    </a:cubicBezTo>
                    <a:cubicBezTo>
                      <a:pt x="772" y="465"/>
                      <a:pt x="772" y="472"/>
                      <a:pt x="772" y="480"/>
                    </a:cubicBezTo>
                    <a:cubicBezTo>
                      <a:pt x="772" y="487"/>
                      <a:pt x="772" y="487"/>
                      <a:pt x="779" y="487"/>
                    </a:cubicBezTo>
                    <a:cubicBezTo>
                      <a:pt x="787" y="487"/>
                      <a:pt x="787" y="480"/>
                      <a:pt x="787" y="472"/>
                    </a:cubicBezTo>
                    <a:cubicBezTo>
                      <a:pt x="794" y="472"/>
                      <a:pt x="802" y="465"/>
                      <a:pt x="809" y="465"/>
                    </a:cubicBezTo>
                    <a:cubicBezTo>
                      <a:pt x="817" y="472"/>
                      <a:pt x="817" y="472"/>
                      <a:pt x="817" y="472"/>
                    </a:cubicBezTo>
                    <a:cubicBezTo>
                      <a:pt x="817" y="547"/>
                      <a:pt x="817" y="547"/>
                      <a:pt x="817" y="547"/>
                    </a:cubicBezTo>
                    <a:cubicBezTo>
                      <a:pt x="802" y="540"/>
                      <a:pt x="794" y="540"/>
                      <a:pt x="787" y="525"/>
                    </a:cubicBezTo>
                    <a:cubicBezTo>
                      <a:pt x="787" y="532"/>
                      <a:pt x="779" y="532"/>
                      <a:pt x="779" y="532"/>
                    </a:cubicBezTo>
                    <a:cubicBezTo>
                      <a:pt x="779" y="540"/>
                      <a:pt x="787" y="547"/>
                      <a:pt x="787" y="547"/>
                    </a:cubicBezTo>
                    <a:cubicBezTo>
                      <a:pt x="787" y="562"/>
                      <a:pt x="779" y="562"/>
                      <a:pt x="772" y="570"/>
                    </a:cubicBezTo>
                    <a:cubicBezTo>
                      <a:pt x="765" y="555"/>
                      <a:pt x="765" y="555"/>
                      <a:pt x="757" y="547"/>
                    </a:cubicBezTo>
                    <a:cubicBezTo>
                      <a:pt x="757" y="540"/>
                      <a:pt x="757" y="540"/>
                      <a:pt x="749" y="540"/>
                    </a:cubicBezTo>
                    <a:cubicBezTo>
                      <a:pt x="742" y="540"/>
                      <a:pt x="742" y="547"/>
                      <a:pt x="735" y="547"/>
                    </a:cubicBezTo>
                    <a:cubicBezTo>
                      <a:pt x="727" y="547"/>
                      <a:pt x="719" y="555"/>
                      <a:pt x="712" y="555"/>
                    </a:cubicBezTo>
                    <a:cubicBezTo>
                      <a:pt x="705" y="555"/>
                      <a:pt x="705" y="555"/>
                      <a:pt x="697" y="555"/>
                    </a:cubicBezTo>
                    <a:cubicBezTo>
                      <a:pt x="697" y="555"/>
                      <a:pt x="689" y="555"/>
                      <a:pt x="682" y="555"/>
                    </a:cubicBezTo>
                    <a:cubicBezTo>
                      <a:pt x="675" y="547"/>
                      <a:pt x="675" y="532"/>
                      <a:pt x="667" y="532"/>
                    </a:cubicBezTo>
                    <a:cubicBezTo>
                      <a:pt x="659" y="532"/>
                      <a:pt x="652" y="540"/>
                      <a:pt x="652" y="547"/>
                    </a:cubicBezTo>
                    <a:cubicBezTo>
                      <a:pt x="652" y="555"/>
                      <a:pt x="652" y="555"/>
                      <a:pt x="659" y="562"/>
                    </a:cubicBezTo>
                    <a:cubicBezTo>
                      <a:pt x="659" y="570"/>
                      <a:pt x="667" y="577"/>
                      <a:pt x="667" y="592"/>
                    </a:cubicBezTo>
                    <a:cubicBezTo>
                      <a:pt x="667" y="615"/>
                      <a:pt x="652" y="622"/>
                      <a:pt x="645" y="645"/>
                    </a:cubicBezTo>
                    <a:cubicBezTo>
                      <a:pt x="637" y="667"/>
                      <a:pt x="637" y="675"/>
                      <a:pt x="630" y="697"/>
                    </a:cubicBezTo>
                    <a:cubicBezTo>
                      <a:pt x="630" y="705"/>
                      <a:pt x="622" y="712"/>
                      <a:pt x="622" y="720"/>
                    </a:cubicBezTo>
                    <a:cubicBezTo>
                      <a:pt x="622" y="742"/>
                      <a:pt x="622" y="750"/>
                      <a:pt x="622" y="772"/>
                    </a:cubicBezTo>
                    <a:cubicBezTo>
                      <a:pt x="615" y="779"/>
                      <a:pt x="615" y="787"/>
                      <a:pt x="615" y="802"/>
                    </a:cubicBezTo>
                    <a:lnTo>
                      <a:pt x="622" y="809"/>
                    </a:lnTo>
                    <a:cubicBezTo>
                      <a:pt x="652" y="825"/>
                      <a:pt x="652" y="825"/>
                      <a:pt x="652" y="825"/>
                    </a:cubicBezTo>
                    <a:cubicBezTo>
                      <a:pt x="659" y="832"/>
                      <a:pt x="667" y="839"/>
                      <a:pt x="675" y="839"/>
                    </a:cubicBezTo>
                    <a:cubicBezTo>
                      <a:pt x="689" y="839"/>
                      <a:pt x="697" y="832"/>
                      <a:pt x="712" y="825"/>
                    </a:cubicBezTo>
                    <a:cubicBezTo>
                      <a:pt x="719" y="817"/>
                      <a:pt x="735" y="817"/>
                      <a:pt x="735" y="809"/>
                    </a:cubicBezTo>
                    <a:cubicBezTo>
                      <a:pt x="742" y="795"/>
                      <a:pt x="735" y="787"/>
                      <a:pt x="742" y="779"/>
                    </a:cubicBezTo>
                    <a:cubicBezTo>
                      <a:pt x="749" y="765"/>
                      <a:pt x="757" y="757"/>
                      <a:pt x="765" y="735"/>
                    </a:cubicBezTo>
                    <a:cubicBezTo>
                      <a:pt x="772" y="720"/>
                      <a:pt x="772" y="712"/>
                      <a:pt x="772" y="697"/>
                    </a:cubicBezTo>
                    <a:cubicBezTo>
                      <a:pt x="772" y="690"/>
                      <a:pt x="779" y="690"/>
                      <a:pt x="787" y="682"/>
                    </a:cubicBezTo>
                    <a:cubicBezTo>
                      <a:pt x="787" y="675"/>
                      <a:pt x="794" y="660"/>
                      <a:pt x="794" y="652"/>
                    </a:cubicBezTo>
                    <a:cubicBezTo>
                      <a:pt x="794" y="637"/>
                      <a:pt x="794" y="630"/>
                      <a:pt x="802" y="615"/>
                    </a:cubicBezTo>
                    <a:cubicBezTo>
                      <a:pt x="802" y="607"/>
                      <a:pt x="809" y="600"/>
                      <a:pt x="817" y="592"/>
                    </a:cubicBezTo>
                    <a:cubicBezTo>
                      <a:pt x="832" y="592"/>
                      <a:pt x="839" y="592"/>
                      <a:pt x="847" y="585"/>
                    </a:cubicBezTo>
                    <a:cubicBezTo>
                      <a:pt x="862" y="585"/>
                      <a:pt x="862" y="577"/>
                      <a:pt x="862" y="562"/>
                    </a:cubicBezTo>
                    <a:cubicBezTo>
                      <a:pt x="862" y="555"/>
                      <a:pt x="862" y="555"/>
                      <a:pt x="854" y="555"/>
                    </a:cubicBezTo>
                    <a:cubicBezTo>
                      <a:pt x="847" y="555"/>
                      <a:pt x="847" y="547"/>
                      <a:pt x="847" y="547"/>
                    </a:cubicBezTo>
                    <a:cubicBezTo>
                      <a:pt x="854" y="532"/>
                      <a:pt x="854" y="517"/>
                      <a:pt x="869" y="510"/>
                    </a:cubicBezTo>
                    <a:cubicBezTo>
                      <a:pt x="869" y="502"/>
                      <a:pt x="884" y="502"/>
                      <a:pt x="884" y="495"/>
                    </a:cubicBezTo>
                    <a:cubicBezTo>
                      <a:pt x="869" y="480"/>
                      <a:pt x="862" y="465"/>
                      <a:pt x="862" y="442"/>
                    </a:cubicBezTo>
                    <a:cubicBezTo>
                      <a:pt x="862" y="435"/>
                      <a:pt x="862" y="435"/>
                      <a:pt x="862" y="427"/>
                    </a:cubicBezTo>
                    <a:cubicBezTo>
                      <a:pt x="862" y="420"/>
                      <a:pt x="862" y="420"/>
                      <a:pt x="854" y="420"/>
                    </a:cubicBezTo>
                    <a:cubicBezTo>
                      <a:pt x="847" y="412"/>
                      <a:pt x="847" y="405"/>
                      <a:pt x="847" y="397"/>
                    </a:cubicBezTo>
                    <a:cubicBezTo>
                      <a:pt x="847" y="382"/>
                      <a:pt x="847" y="375"/>
                      <a:pt x="854" y="368"/>
                    </a:cubicBezTo>
                    <a:cubicBezTo>
                      <a:pt x="854" y="360"/>
                      <a:pt x="854" y="352"/>
                      <a:pt x="854" y="345"/>
                    </a:cubicBezTo>
                    <a:cubicBezTo>
                      <a:pt x="862" y="345"/>
                      <a:pt x="862" y="345"/>
                      <a:pt x="862" y="345"/>
                    </a:cubicBezTo>
                    <a:cubicBezTo>
                      <a:pt x="869" y="338"/>
                      <a:pt x="869" y="338"/>
                      <a:pt x="877" y="330"/>
                    </a:cubicBezTo>
                    <a:cubicBezTo>
                      <a:pt x="892" y="308"/>
                      <a:pt x="907" y="300"/>
                      <a:pt x="922" y="278"/>
                    </a:cubicBezTo>
                    <a:cubicBezTo>
                      <a:pt x="944" y="255"/>
                      <a:pt x="944" y="240"/>
                      <a:pt x="952" y="210"/>
                    </a:cubicBezTo>
                    <a:cubicBezTo>
                      <a:pt x="959" y="195"/>
                      <a:pt x="967" y="180"/>
                      <a:pt x="967" y="165"/>
                    </a:cubicBezTo>
                    <a:cubicBezTo>
                      <a:pt x="967" y="158"/>
                      <a:pt x="974" y="150"/>
                      <a:pt x="974" y="143"/>
                    </a:cubicBezTo>
                    <a:cubicBezTo>
                      <a:pt x="974" y="135"/>
                      <a:pt x="959" y="135"/>
                      <a:pt x="952" y="128"/>
                    </a:cubicBezTo>
                    <a:cubicBezTo>
                      <a:pt x="944" y="128"/>
                      <a:pt x="944" y="120"/>
                      <a:pt x="944" y="120"/>
                    </a:cubicBezTo>
                    <a:cubicBezTo>
                      <a:pt x="952" y="113"/>
                      <a:pt x="952" y="113"/>
                      <a:pt x="959" y="113"/>
                    </a:cubicBezTo>
                    <a:cubicBezTo>
                      <a:pt x="967" y="105"/>
                      <a:pt x="974" y="105"/>
                      <a:pt x="974" y="105"/>
                    </a:cubicBezTo>
                    <a:cubicBezTo>
                      <a:pt x="974" y="98"/>
                      <a:pt x="974" y="90"/>
                      <a:pt x="974" y="90"/>
                    </a:cubicBezTo>
                    <a:cubicBezTo>
                      <a:pt x="974" y="75"/>
                      <a:pt x="967" y="68"/>
                      <a:pt x="967" y="60"/>
                    </a:cubicBezTo>
                    <a:cubicBezTo>
                      <a:pt x="967" y="45"/>
                      <a:pt x="967" y="38"/>
                      <a:pt x="967" y="30"/>
                    </a:cubicBezTo>
                    <a:cubicBezTo>
                      <a:pt x="967" y="15"/>
                      <a:pt x="967" y="0"/>
                      <a:pt x="952" y="0"/>
                    </a:cubicBezTo>
                    <a:cubicBezTo>
                      <a:pt x="944" y="0"/>
                      <a:pt x="944" y="8"/>
                      <a:pt x="937" y="8"/>
                    </a:cubicBezTo>
                    <a:cubicBezTo>
                      <a:pt x="929" y="8"/>
                      <a:pt x="922" y="15"/>
                      <a:pt x="914" y="23"/>
                    </a:cubicBezTo>
                    <a:cubicBezTo>
                      <a:pt x="914" y="23"/>
                      <a:pt x="907" y="30"/>
                      <a:pt x="899" y="30"/>
                    </a:cubicBezTo>
                    <a:cubicBezTo>
                      <a:pt x="884" y="45"/>
                      <a:pt x="884" y="53"/>
                      <a:pt x="869" y="68"/>
                    </a:cubicBezTo>
                    <a:cubicBezTo>
                      <a:pt x="854" y="75"/>
                      <a:pt x="847" y="83"/>
                      <a:pt x="832" y="83"/>
                    </a:cubicBezTo>
                    <a:close/>
                  </a:path>
                </a:pathLst>
              </a:custGeom>
              <a:grpFill/>
              <a:ln w="6350"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a:latin typeface="Calibri" panose="020F0502020204030204" pitchFamily="34" charset="0"/>
                </a:endParaRPr>
              </a:p>
            </p:txBody>
          </p:sp>
          <p:sp>
            <p:nvSpPr>
              <p:cNvPr id="12" name="Freeform 132">
                <a:extLst>
                  <a:ext uri="{FF2B5EF4-FFF2-40B4-BE49-F238E27FC236}">
                    <a16:creationId xmlns:a16="http://schemas.microsoft.com/office/drawing/2014/main" id="{63446F2E-0B49-CFD5-EFF4-0167B4630CBE}"/>
                  </a:ext>
                </a:extLst>
              </p:cNvPr>
              <p:cNvSpPr>
                <a:spLocks noChangeArrowheads="1"/>
              </p:cNvSpPr>
              <p:nvPr/>
            </p:nvSpPr>
            <p:spPr bwMode="auto">
              <a:xfrm>
                <a:off x="3345969" y="8910011"/>
                <a:ext cx="1790855" cy="1507084"/>
              </a:xfrm>
              <a:custGeom>
                <a:avLst/>
                <a:gdLst>
                  <a:gd name="T0" fmla="*/ 2615 w 4145"/>
                  <a:gd name="T1" fmla="*/ 2848 h 3486"/>
                  <a:gd name="T2" fmla="*/ 2586 w 4145"/>
                  <a:gd name="T3" fmla="*/ 2825 h 3486"/>
                  <a:gd name="T4" fmla="*/ 2556 w 4145"/>
                  <a:gd name="T5" fmla="*/ 2885 h 3486"/>
                  <a:gd name="T6" fmla="*/ 2428 w 4145"/>
                  <a:gd name="T7" fmla="*/ 2908 h 3486"/>
                  <a:gd name="T8" fmla="*/ 2473 w 4145"/>
                  <a:gd name="T9" fmla="*/ 2975 h 3486"/>
                  <a:gd name="T10" fmla="*/ 2301 w 4145"/>
                  <a:gd name="T11" fmla="*/ 2923 h 3486"/>
                  <a:gd name="T12" fmla="*/ 2331 w 4145"/>
                  <a:gd name="T13" fmla="*/ 2945 h 3486"/>
                  <a:gd name="T14" fmla="*/ 2211 w 4145"/>
                  <a:gd name="T15" fmla="*/ 3028 h 3486"/>
                  <a:gd name="T16" fmla="*/ 2083 w 4145"/>
                  <a:gd name="T17" fmla="*/ 2983 h 3486"/>
                  <a:gd name="T18" fmla="*/ 2121 w 4145"/>
                  <a:gd name="T19" fmla="*/ 2998 h 3486"/>
                  <a:gd name="T20" fmla="*/ 1851 w 4145"/>
                  <a:gd name="T21" fmla="*/ 3088 h 3486"/>
                  <a:gd name="T22" fmla="*/ 1926 w 4145"/>
                  <a:gd name="T23" fmla="*/ 3125 h 3486"/>
                  <a:gd name="T24" fmla="*/ 1836 w 4145"/>
                  <a:gd name="T25" fmla="*/ 2975 h 3486"/>
                  <a:gd name="T26" fmla="*/ 1754 w 4145"/>
                  <a:gd name="T27" fmla="*/ 2975 h 3486"/>
                  <a:gd name="T28" fmla="*/ 1791 w 4145"/>
                  <a:gd name="T29" fmla="*/ 2863 h 3486"/>
                  <a:gd name="T30" fmla="*/ 1514 w 4145"/>
                  <a:gd name="T31" fmla="*/ 3425 h 3486"/>
                  <a:gd name="T32" fmla="*/ 1709 w 4145"/>
                  <a:gd name="T33" fmla="*/ 3387 h 3486"/>
                  <a:gd name="T34" fmla="*/ 1626 w 4145"/>
                  <a:gd name="T35" fmla="*/ 3372 h 3486"/>
                  <a:gd name="T36" fmla="*/ 2503 w 4145"/>
                  <a:gd name="T37" fmla="*/ 390 h 3486"/>
                  <a:gd name="T38" fmla="*/ 2428 w 4145"/>
                  <a:gd name="T39" fmla="*/ 337 h 3486"/>
                  <a:gd name="T40" fmla="*/ 2466 w 4145"/>
                  <a:gd name="T41" fmla="*/ 375 h 3486"/>
                  <a:gd name="T42" fmla="*/ 2743 w 4145"/>
                  <a:gd name="T43" fmla="*/ 0 h 3486"/>
                  <a:gd name="T44" fmla="*/ 2735 w 4145"/>
                  <a:gd name="T45" fmla="*/ 247 h 3486"/>
                  <a:gd name="T46" fmla="*/ 2810 w 4145"/>
                  <a:gd name="T47" fmla="*/ 68 h 3486"/>
                  <a:gd name="T48" fmla="*/ 4002 w 4145"/>
                  <a:gd name="T49" fmla="*/ 1611 h 3486"/>
                  <a:gd name="T50" fmla="*/ 3882 w 4145"/>
                  <a:gd name="T51" fmla="*/ 1836 h 3486"/>
                  <a:gd name="T52" fmla="*/ 3875 w 4145"/>
                  <a:gd name="T53" fmla="*/ 2121 h 3486"/>
                  <a:gd name="T54" fmla="*/ 3927 w 4145"/>
                  <a:gd name="T55" fmla="*/ 2278 h 3486"/>
                  <a:gd name="T56" fmla="*/ 3650 w 4145"/>
                  <a:gd name="T57" fmla="*/ 2451 h 3486"/>
                  <a:gd name="T58" fmla="*/ 3575 w 4145"/>
                  <a:gd name="T59" fmla="*/ 2488 h 3486"/>
                  <a:gd name="T60" fmla="*/ 3305 w 4145"/>
                  <a:gd name="T61" fmla="*/ 2615 h 3486"/>
                  <a:gd name="T62" fmla="*/ 3065 w 4145"/>
                  <a:gd name="T63" fmla="*/ 2623 h 3486"/>
                  <a:gd name="T64" fmla="*/ 2855 w 4145"/>
                  <a:gd name="T65" fmla="*/ 2735 h 3486"/>
                  <a:gd name="T66" fmla="*/ 2593 w 4145"/>
                  <a:gd name="T67" fmla="*/ 2750 h 3486"/>
                  <a:gd name="T68" fmla="*/ 2316 w 4145"/>
                  <a:gd name="T69" fmla="*/ 2818 h 3486"/>
                  <a:gd name="T70" fmla="*/ 2023 w 4145"/>
                  <a:gd name="T71" fmla="*/ 2975 h 3486"/>
                  <a:gd name="T72" fmla="*/ 1851 w 4145"/>
                  <a:gd name="T73" fmla="*/ 2788 h 3486"/>
                  <a:gd name="T74" fmla="*/ 1656 w 4145"/>
                  <a:gd name="T75" fmla="*/ 2885 h 3486"/>
                  <a:gd name="T76" fmla="*/ 1544 w 4145"/>
                  <a:gd name="T77" fmla="*/ 3013 h 3486"/>
                  <a:gd name="T78" fmla="*/ 1439 w 4145"/>
                  <a:gd name="T79" fmla="*/ 3432 h 3486"/>
                  <a:gd name="T80" fmla="*/ 1042 w 4145"/>
                  <a:gd name="T81" fmla="*/ 3200 h 3486"/>
                  <a:gd name="T82" fmla="*/ 652 w 4145"/>
                  <a:gd name="T83" fmla="*/ 3282 h 3486"/>
                  <a:gd name="T84" fmla="*/ 277 w 4145"/>
                  <a:gd name="T85" fmla="*/ 3237 h 3486"/>
                  <a:gd name="T86" fmla="*/ 38 w 4145"/>
                  <a:gd name="T87" fmla="*/ 3208 h 3486"/>
                  <a:gd name="T88" fmla="*/ 15 w 4145"/>
                  <a:gd name="T89" fmla="*/ 2878 h 3486"/>
                  <a:gd name="T90" fmla="*/ 180 w 4145"/>
                  <a:gd name="T91" fmla="*/ 2735 h 3486"/>
                  <a:gd name="T92" fmla="*/ 307 w 4145"/>
                  <a:gd name="T93" fmla="*/ 2735 h 3486"/>
                  <a:gd name="T94" fmla="*/ 375 w 4145"/>
                  <a:gd name="T95" fmla="*/ 2720 h 3486"/>
                  <a:gd name="T96" fmla="*/ 667 w 4145"/>
                  <a:gd name="T97" fmla="*/ 2548 h 3486"/>
                  <a:gd name="T98" fmla="*/ 1049 w 4145"/>
                  <a:gd name="T99" fmla="*/ 2323 h 3486"/>
                  <a:gd name="T100" fmla="*/ 1304 w 4145"/>
                  <a:gd name="T101" fmla="*/ 2076 h 3486"/>
                  <a:gd name="T102" fmla="*/ 1626 w 4145"/>
                  <a:gd name="T103" fmla="*/ 1814 h 3486"/>
                  <a:gd name="T104" fmla="*/ 2023 w 4145"/>
                  <a:gd name="T105" fmla="*/ 1432 h 3486"/>
                  <a:gd name="T106" fmla="*/ 2128 w 4145"/>
                  <a:gd name="T107" fmla="*/ 1229 h 3486"/>
                  <a:gd name="T108" fmla="*/ 2526 w 4145"/>
                  <a:gd name="T109" fmla="*/ 1064 h 3486"/>
                  <a:gd name="T110" fmla="*/ 2818 w 4145"/>
                  <a:gd name="T111" fmla="*/ 1259 h 3486"/>
                  <a:gd name="T112" fmla="*/ 3148 w 4145"/>
                  <a:gd name="T113" fmla="*/ 1162 h 3486"/>
                  <a:gd name="T114" fmla="*/ 3740 w 4145"/>
                  <a:gd name="T115" fmla="*/ 1124 h 3486"/>
                  <a:gd name="T116" fmla="*/ 4010 w 4145"/>
                  <a:gd name="T117" fmla="*/ 1049 h 3486"/>
                  <a:gd name="T118" fmla="*/ 4099 w 4145"/>
                  <a:gd name="T119" fmla="*/ 1289 h 3486"/>
                  <a:gd name="T120" fmla="*/ 4099 w 4145"/>
                  <a:gd name="T121" fmla="*/ 1536 h 3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5" h="3486">
                    <a:moveTo>
                      <a:pt x="2631" y="2795"/>
                    </a:moveTo>
                    <a:lnTo>
                      <a:pt x="2631" y="2795"/>
                    </a:lnTo>
                    <a:cubicBezTo>
                      <a:pt x="2623" y="2795"/>
                      <a:pt x="2623" y="2795"/>
                      <a:pt x="2623" y="2795"/>
                    </a:cubicBezTo>
                    <a:cubicBezTo>
                      <a:pt x="2600" y="2795"/>
                      <a:pt x="2600" y="2795"/>
                      <a:pt x="2600" y="2795"/>
                    </a:cubicBezTo>
                    <a:cubicBezTo>
                      <a:pt x="2600" y="2795"/>
                      <a:pt x="2600" y="2795"/>
                      <a:pt x="2600" y="2803"/>
                    </a:cubicBezTo>
                    <a:cubicBezTo>
                      <a:pt x="2600" y="2810"/>
                      <a:pt x="2600" y="2818"/>
                      <a:pt x="2608" y="2825"/>
                    </a:cubicBezTo>
                    <a:cubicBezTo>
                      <a:pt x="2608" y="2833"/>
                      <a:pt x="2608" y="2840"/>
                      <a:pt x="2615" y="2848"/>
                    </a:cubicBezTo>
                    <a:cubicBezTo>
                      <a:pt x="2623" y="2855"/>
                      <a:pt x="2631" y="2855"/>
                      <a:pt x="2631" y="2855"/>
                    </a:cubicBezTo>
                    <a:cubicBezTo>
                      <a:pt x="2645" y="2878"/>
                      <a:pt x="2638" y="2863"/>
                      <a:pt x="2645" y="2840"/>
                    </a:cubicBezTo>
                    <a:cubicBezTo>
                      <a:pt x="2653" y="2840"/>
                      <a:pt x="2661" y="2840"/>
                      <a:pt x="2661" y="2833"/>
                    </a:cubicBezTo>
                    <a:cubicBezTo>
                      <a:pt x="2661" y="2825"/>
                      <a:pt x="2653" y="2825"/>
                      <a:pt x="2653" y="2825"/>
                    </a:cubicBezTo>
                    <a:cubicBezTo>
                      <a:pt x="2645" y="2818"/>
                      <a:pt x="2645" y="2818"/>
                      <a:pt x="2645" y="2810"/>
                    </a:cubicBezTo>
                    <a:cubicBezTo>
                      <a:pt x="2645" y="2803"/>
                      <a:pt x="2638" y="2803"/>
                      <a:pt x="2631" y="2795"/>
                    </a:cubicBezTo>
                    <a:close/>
                    <a:moveTo>
                      <a:pt x="2586" y="2825"/>
                    </a:moveTo>
                    <a:lnTo>
                      <a:pt x="2586" y="2825"/>
                    </a:lnTo>
                    <a:cubicBezTo>
                      <a:pt x="2563" y="2840"/>
                      <a:pt x="2548" y="2840"/>
                      <a:pt x="2526" y="2840"/>
                    </a:cubicBezTo>
                    <a:cubicBezTo>
                      <a:pt x="2526" y="2855"/>
                      <a:pt x="2518" y="2855"/>
                      <a:pt x="2518" y="2870"/>
                    </a:cubicBezTo>
                    <a:cubicBezTo>
                      <a:pt x="2518" y="2885"/>
                      <a:pt x="2518" y="2893"/>
                      <a:pt x="2518" y="2908"/>
                    </a:cubicBezTo>
                    <a:cubicBezTo>
                      <a:pt x="2526" y="2908"/>
                      <a:pt x="2526" y="2908"/>
                      <a:pt x="2526" y="2908"/>
                    </a:cubicBezTo>
                    <a:cubicBezTo>
                      <a:pt x="2533" y="2900"/>
                      <a:pt x="2541" y="2900"/>
                      <a:pt x="2548" y="2893"/>
                    </a:cubicBezTo>
                    <a:cubicBezTo>
                      <a:pt x="2556" y="2893"/>
                      <a:pt x="2556" y="2885"/>
                      <a:pt x="2556" y="2885"/>
                    </a:cubicBezTo>
                    <a:cubicBezTo>
                      <a:pt x="2571" y="2878"/>
                      <a:pt x="2593" y="2870"/>
                      <a:pt x="2593" y="2855"/>
                    </a:cubicBezTo>
                    <a:cubicBezTo>
                      <a:pt x="2593" y="2848"/>
                      <a:pt x="2586" y="2840"/>
                      <a:pt x="2586" y="2825"/>
                    </a:cubicBezTo>
                    <a:close/>
                    <a:moveTo>
                      <a:pt x="2458" y="2863"/>
                    </a:moveTo>
                    <a:lnTo>
                      <a:pt x="2458" y="2863"/>
                    </a:lnTo>
                    <a:cubicBezTo>
                      <a:pt x="2451" y="2863"/>
                      <a:pt x="2451" y="2863"/>
                      <a:pt x="2451" y="2863"/>
                    </a:cubicBezTo>
                    <a:cubicBezTo>
                      <a:pt x="2436" y="2863"/>
                      <a:pt x="2421" y="2863"/>
                      <a:pt x="2421" y="2878"/>
                    </a:cubicBezTo>
                    <a:cubicBezTo>
                      <a:pt x="2421" y="2885"/>
                      <a:pt x="2428" y="2893"/>
                      <a:pt x="2428" y="2908"/>
                    </a:cubicBezTo>
                    <a:cubicBezTo>
                      <a:pt x="2428" y="2915"/>
                      <a:pt x="2428" y="2923"/>
                      <a:pt x="2421" y="2930"/>
                    </a:cubicBezTo>
                    <a:cubicBezTo>
                      <a:pt x="2421" y="2938"/>
                      <a:pt x="2413" y="2945"/>
                      <a:pt x="2406" y="2945"/>
                    </a:cubicBezTo>
                    <a:cubicBezTo>
                      <a:pt x="2391" y="2960"/>
                      <a:pt x="2376" y="2968"/>
                      <a:pt x="2376" y="2990"/>
                    </a:cubicBezTo>
                    <a:cubicBezTo>
                      <a:pt x="2376" y="2998"/>
                      <a:pt x="2383" y="2998"/>
                      <a:pt x="2383" y="2998"/>
                    </a:cubicBezTo>
                    <a:cubicBezTo>
                      <a:pt x="2391" y="2998"/>
                      <a:pt x="2391" y="2998"/>
                      <a:pt x="2398" y="2990"/>
                    </a:cubicBezTo>
                    <a:cubicBezTo>
                      <a:pt x="2406" y="2983"/>
                      <a:pt x="2413" y="2983"/>
                      <a:pt x="2428" y="2983"/>
                    </a:cubicBezTo>
                    <a:cubicBezTo>
                      <a:pt x="2451" y="2975"/>
                      <a:pt x="2458" y="2983"/>
                      <a:pt x="2473" y="2975"/>
                    </a:cubicBezTo>
                    <a:cubicBezTo>
                      <a:pt x="2473" y="2930"/>
                      <a:pt x="2473" y="2930"/>
                      <a:pt x="2473" y="2930"/>
                    </a:cubicBezTo>
                    <a:lnTo>
                      <a:pt x="2481" y="2923"/>
                    </a:lnTo>
                    <a:cubicBezTo>
                      <a:pt x="2481" y="2908"/>
                      <a:pt x="2473" y="2908"/>
                      <a:pt x="2473" y="2893"/>
                    </a:cubicBezTo>
                    <a:cubicBezTo>
                      <a:pt x="2466" y="2885"/>
                      <a:pt x="2458" y="2870"/>
                      <a:pt x="2458" y="2863"/>
                    </a:cubicBezTo>
                    <a:close/>
                    <a:moveTo>
                      <a:pt x="2353" y="2885"/>
                    </a:moveTo>
                    <a:lnTo>
                      <a:pt x="2353" y="2885"/>
                    </a:lnTo>
                    <a:cubicBezTo>
                      <a:pt x="2331" y="2900"/>
                      <a:pt x="2323" y="2915"/>
                      <a:pt x="2301" y="2923"/>
                    </a:cubicBezTo>
                    <a:cubicBezTo>
                      <a:pt x="2293" y="2923"/>
                      <a:pt x="2278" y="2923"/>
                      <a:pt x="2263" y="2930"/>
                    </a:cubicBezTo>
                    <a:cubicBezTo>
                      <a:pt x="2263" y="2938"/>
                      <a:pt x="2263" y="2945"/>
                      <a:pt x="2263" y="2953"/>
                    </a:cubicBezTo>
                    <a:cubicBezTo>
                      <a:pt x="2263" y="2960"/>
                      <a:pt x="2263" y="2960"/>
                      <a:pt x="2263" y="2968"/>
                    </a:cubicBezTo>
                    <a:cubicBezTo>
                      <a:pt x="2263" y="2975"/>
                      <a:pt x="2263" y="2975"/>
                      <a:pt x="2263" y="2975"/>
                    </a:cubicBezTo>
                    <a:cubicBezTo>
                      <a:pt x="2278" y="2975"/>
                      <a:pt x="2278" y="2975"/>
                      <a:pt x="2278" y="2975"/>
                    </a:cubicBezTo>
                    <a:cubicBezTo>
                      <a:pt x="2293" y="2975"/>
                      <a:pt x="2301" y="2975"/>
                      <a:pt x="2316" y="2968"/>
                    </a:cubicBezTo>
                    <a:cubicBezTo>
                      <a:pt x="2323" y="2968"/>
                      <a:pt x="2323" y="2960"/>
                      <a:pt x="2331" y="2945"/>
                    </a:cubicBezTo>
                    <a:cubicBezTo>
                      <a:pt x="2338" y="2945"/>
                      <a:pt x="2338" y="2938"/>
                      <a:pt x="2338" y="2938"/>
                    </a:cubicBezTo>
                    <a:cubicBezTo>
                      <a:pt x="2346" y="2915"/>
                      <a:pt x="2353" y="2908"/>
                      <a:pt x="2353" y="2885"/>
                    </a:cubicBezTo>
                    <a:close/>
                    <a:moveTo>
                      <a:pt x="2256" y="3005"/>
                    </a:moveTo>
                    <a:lnTo>
                      <a:pt x="2256" y="3005"/>
                    </a:lnTo>
                    <a:cubicBezTo>
                      <a:pt x="2248" y="3005"/>
                      <a:pt x="2241" y="3013"/>
                      <a:pt x="2233" y="3013"/>
                    </a:cubicBezTo>
                    <a:cubicBezTo>
                      <a:pt x="2226" y="3013"/>
                      <a:pt x="2218" y="3013"/>
                      <a:pt x="2218" y="3013"/>
                    </a:cubicBezTo>
                    <a:cubicBezTo>
                      <a:pt x="2211" y="3020"/>
                      <a:pt x="2211" y="3028"/>
                      <a:pt x="2211" y="3028"/>
                    </a:cubicBezTo>
                    <a:cubicBezTo>
                      <a:pt x="2211" y="3043"/>
                      <a:pt x="2211" y="3043"/>
                      <a:pt x="2211" y="3058"/>
                    </a:cubicBezTo>
                    <a:cubicBezTo>
                      <a:pt x="2233" y="3050"/>
                      <a:pt x="2241" y="3035"/>
                      <a:pt x="2263" y="3035"/>
                    </a:cubicBezTo>
                    <a:cubicBezTo>
                      <a:pt x="2263" y="3028"/>
                      <a:pt x="2263" y="3028"/>
                      <a:pt x="2263" y="3028"/>
                    </a:cubicBezTo>
                    <a:cubicBezTo>
                      <a:pt x="2263" y="3020"/>
                      <a:pt x="2256" y="3013"/>
                      <a:pt x="2256" y="3005"/>
                    </a:cubicBezTo>
                    <a:close/>
                    <a:moveTo>
                      <a:pt x="2091" y="2983"/>
                    </a:moveTo>
                    <a:lnTo>
                      <a:pt x="2091" y="2983"/>
                    </a:lnTo>
                    <a:lnTo>
                      <a:pt x="2083" y="2983"/>
                    </a:lnTo>
                    <a:cubicBezTo>
                      <a:pt x="2083" y="2990"/>
                      <a:pt x="2076" y="2998"/>
                      <a:pt x="2076" y="3005"/>
                    </a:cubicBezTo>
                    <a:cubicBezTo>
                      <a:pt x="2076" y="3013"/>
                      <a:pt x="2083" y="3013"/>
                      <a:pt x="2091" y="3013"/>
                    </a:cubicBezTo>
                    <a:cubicBezTo>
                      <a:pt x="2098" y="3020"/>
                      <a:pt x="2098" y="3020"/>
                      <a:pt x="2106" y="3028"/>
                    </a:cubicBezTo>
                    <a:cubicBezTo>
                      <a:pt x="2121" y="3028"/>
                      <a:pt x="2121" y="3035"/>
                      <a:pt x="2136" y="3035"/>
                    </a:cubicBezTo>
                    <a:cubicBezTo>
                      <a:pt x="2143" y="3035"/>
                      <a:pt x="2151" y="3028"/>
                      <a:pt x="2151" y="3013"/>
                    </a:cubicBezTo>
                    <a:cubicBezTo>
                      <a:pt x="2151" y="3005"/>
                      <a:pt x="2143" y="3005"/>
                      <a:pt x="2136" y="3005"/>
                    </a:cubicBezTo>
                    <a:cubicBezTo>
                      <a:pt x="2136" y="2998"/>
                      <a:pt x="2128" y="2998"/>
                      <a:pt x="2121" y="2998"/>
                    </a:cubicBezTo>
                    <a:cubicBezTo>
                      <a:pt x="2113" y="2990"/>
                      <a:pt x="2106" y="2990"/>
                      <a:pt x="2098" y="2983"/>
                    </a:cubicBezTo>
                    <a:cubicBezTo>
                      <a:pt x="2091" y="2983"/>
                      <a:pt x="2091" y="2983"/>
                      <a:pt x="2091" y="2983"/>
                    </a:cubicBezTo>
                    <a:close/>
                    <a:moveTo>
                      <a:pt x="1889" y="3005"/>
                    </a:moveTo>
                    <a:lnTo>
                      <a:pt x="1889" y="3005"/>
                    </a:lnTo>
                    <a:cubicBezTo>
                      <a:pt x="1874" y="3005"/>
                      <a:pt x="1866" y="3005"/>
                      <a:pt x="1859" y="3013"/>
                    </a:cubicBezTo>
                    <a:cubicBezTo>
                      <a:pt x="1851" y="3035"/>
                      <a:pt x="1859" y="3043"/>
                      <a:pt x="1859" y="3065"/>
                    </a:cubicBezTo>
                    <a:cubicBezTo>
                      <a:pt x="1859" y="3072"/>
                      <a:pt x="1859" y="3080"/>
                      <a:pt x="1851" y="3088"/>
                    </a:cubicBezTo>
                    <a:cubicBezTo>
                      <a:pt x="1851" y="3088"/>
                      <a:pt x="1844" y="3080"/>
                      <a:pt x="1844" y="3088"/>
                    </a:cubicBezTo>
                    <a:cubicBezTo>
                      <a:pt x="1829" y="3095"/>
                      <a:pt x="1821" y="3102"/>
                      <a:pt x="1821" y="3118"/>
                    </a:cubicBezTo>
                    <a:cubicBezTo>
                      <a:pt x="1821" y="3125"/>
                      <a:pt x="1829" y="3132"/>
                      <a:pt x="1829" y="3140"/>
                    </a:cubicBezTo>
                    <a:cubicBezTo>
                      <a:pt x="1836" y="3132"/>
                      <a:pt x="1844" y="3132"/>
                      <a:pt x="1851" y="3132"/>
                    </a:cubicBezTo>
                    <a:cubicBezTo>
                      <a:pt x="1874" y="3132"/>
                      <a:pt x="1889" y="3132"/>
                      <a:pt x="1911" y="3148"/>
                    </a:cubicBezTo>
                    <a:cubicBezTo>
                      <a:pt x="1919" y="3140"/>
                      <a:pt x="1919" y="3140"/>
                      <a:pt x="1919" y="3140"/>
                    </a:cubicBezTo>
                    <a:cubicBezTo>
                      <a:pt x="1919" y="3132"/>
                      <a:pt x="1926" y="3132"/>
                      <a:pt x="1926" y="3125"/>
                    </a:cubicBezTo>
                    <a:cubicBezTo>
                      <a:pt x="1926" y="3102"/>
                      <a:pt x="1889" y="3095"/>
                      <a:pt x="1889" y="3072"/>
                    </a:cubicBezTo>
                    <a:cubicBezTo>
                      <a:pt x="1889" y="3065"/>
                      <a:pt x="1896" y="3058"/>
                      <a:pt x="1896" y="3043"/>
                    </a:cubicBezTo>
                    <a:cubicBezTo>
                      <a:pt x="1896" y="3028"/>
                      <a:pt x="1889" y="3020"/>
                      <a:pt x="1889" y="3005"/>
                    </a:cubicBezTo>
                    <a:close/>
                    <a:moveTo>
                      <a:pt x="1844" y="2863"/>
                    </a:moveTo>
                    <a:lnTo>
                      <a:pt x="1844" y="2863"/>
                    </a:lnTo>
                    <a:cubicBezTo>
                      <a:pt x="1844" y="2878"/>
                      <a:pt x="1844" y="2893"/>
                      <a:pt x="1844" y="2900"/>
                    </a:cubicBezTo>
                    <a:cubicBezTo>
                      <a:pt x="1844" y="2930"/>
                      <a:pt x="1851" y="2953"/>
                      <a:pt x="1836" y="2975"/>
                    </a:cubicBezTo>
                    <a:cubicBezTo>
                      <a:pt x="1829" y="2990"/>
                      <a:pt x="1821" y="2998"/>
                      <a:pt x="1821" y="3013"/>
                    </a:cubicBezTo>
                    <a:cubicBezTo>
                      <a:pt x="1821" y="3035"/>
                      <a:pt x="1829" y="3050"/>
                      <a:pt x="1829" y="3065"/>
                    </a:cubicBezTo>
                    <a:cubicBezTo>
                      <a:pt x="1821" y="3072"/>
                      <a:pt x="1821" y="3072"/>
                      <a:pt x="1821" y="3072"/>
                    </a:cubicBezTo>
                    <a:cubicBezTo>
                      <a:pt x="1814" y="3065"/>
                      <a:pt x="1806" y="3065"/>
                      <a:pt x="1791" y="3058"/>
                    </a:cubicBezTo>
                    <a:cubicBezTo>
                      <a:pt x="1799" y="3035"/>
                      <a:pt x="1799" y="3035"/>
                      <a:pt x="1799" y="3035"/>
                    </a:cubicBezTo>
                    <a:cubicBezTo>
                      <a:pt x="1799" y="3013"/>
                      <a:pt x="1799" y="3005"/>
                      <a:pt x="1799" y="2983"/>
                    </a:cubicBezTo>
                    <a:cubicBezTo>
                      <a:pt x="1784" y="2983"/>
                      <a:pt x="1769" y="2990"/>
                      <a:pt x="1754" y="2975"/>
                    </a:cubicBezTo>
                    <a:cubicBezTo>
                      <a:pt x="1731" y="2960"/>
                      <a:pt x="1731" y="2938"/>
                      <a:pt x="1724" y="2908"/>
                    </a:cubicBezTo>
                    <a:cubicBezTo>
                      <a:pt x="1739" y="2915"/>
                      <a:pt x="1739" y="2915"/>
                      <a:pt x="1739" y="2915"/>
                    </a:cubicBezTo>
                    <a:cubicBezTo>
                      <a:pt x="1754" y="2923"/>
                      <a:pt x="1761" y="2923"/>
                      <a:pt x="1776" y="2930"/>
                    </a:cubicBezTo>
                    <a:cubicBezTo>
                      <a:pt x="1776" y="2938"/>
                      <a:pt x="1776" y="2938"/>
                      <a:pt x="1784" y="2945"/>
                    </a:cubicBezTo>
                    <a:cubicBezTo>
                      <a:pt x="1791" y="2953"/>
                      <a:pt x="1806" y="2960"/>
                      <a:pt x="1814" y="2968"/>
                    </a:cubicBezTo>
                    <a:cubicBezTo>
                      <a:pt x="1814" y="2945"/>
                      <a:pt x="1814" y="2938"/>
                      <a:pt x="1814" y="2915"/>
                    </a:cubicBezTo>
                    <a:cubicBezTo>
                      <a:pt x="1806" y="2900"/>
                      <a:pt x="1791" y="2885"/>
                      <a:pt x="1791" y="2863"/>
                    </a:cubicBezTo>
                    <a:cubicBezTo>
                      <a:pt x="1814" y="2870"/>
                      <a:pt x="1821" y="2870"/>
                      <a:pt x="1844" y="2863"/>
                    </a:cubicBezTo>
                    <a:close/>
                    <a:moveTo>
                      <a:pt x="1544" y="3320"/>
                    </a:moveTo>
                    <a:lnTo>
                      <a:pt x="1544" y="3320"/>
                    </a:lnTo>
                    <a:cubicBezTo>
                      <a:pt x="1536" y="3320"/>
                      <a:pt x="1529" y="3327"/>
                      <a:pt x="1521" y="3335"/>
                    </a:cubicBezTo>
                    <a:cubicBezTo>
                      <a:pt x="1514" y="3335"/>
                      <a:pt x="1506" y="3335"/>
                      <a:pt x="1499" y="3335"/>
                    </a:cubicBezTo>
                    <a:cubicBezTo>
                      <a:pt x="1499" y="3342"/>
                      <a:pt x="1492" y="3350"/>
                      <a:pt x="1492" y="3357"/>
                    </a:cubicBezTo>
                    <a:cubicBezTo>
                      <a:pt x="1492" y="3380"/>
                      <a:pt x="1506" y="3395"/>
                      <a:pt x="1514" y="3425"/>
                    </a:cubicBezTo>
                    <a:cubicBezTo>
                      <a:pt x="1521" y="3432"/>
                      <a:pt x="1521" y="3455"/>
                      <a:pt x="1536" y="3455"/>
                    </a:cubicBezTo>
                    <a:cubicBezTo>
                      <a:pt x="1574" y="3455"/>
                      <a:pt x="1581" y="3402"/>
                      <a:pt x="1619" y="3402"/>
                    </a:cubicBezTo>
                    <a:cubicBezTo>
                      <a:pt x="1641" y="3402"/>
                      <a:pt x="1649" y="3425"/>
                      <a:pt x="1664" y="3447"/>
                    </a:cubicBezTo>
                    <a:cubicBezTo>
                      <a:pt x="1679" y="3440"/>
                      <a:pt x="1679" y="3440"/>
                      <a:pt x="1679" y="3440"/>
                    </a:cubicBezTo>
                    <a:cubicBezTo>
                      <a:pt x="1679" y="3432"/>
                      <a:pt x="1679" y="3425"/>
                      <a:pt x="1679" y="3417"/>
                    </a:cubicBezTo>
                    <a:cubicBezTo>
                      <a:pt x="1679" y="3402"/>
                      <a:pt x="1694" y="3402"/>
                      <a:pt x="1701" y="3395"/>
                    </a:cubicBezTo>
                    <a:cubicBezTo>
                      <a:pt x="1709" y="3395"/>
                      <a:pt x="1701" y="3387"/>
                      <a:pt x="1709" y="3387"/>
                    </a:cubicBezTo>
                    <a:cubicBezTo>
                      <a:pt x="1716" y="3387"/>
                      <a:pt x="1716" y="3387"/>
                      <a:pt x="1724" y="3387"/>
                    </a:cubicBezTo>
                    <a:cubicBezTo>
                      <a:pt x="1746" y="3380"/>
                      <a:pt x="1761" y="3365"/>
                      <a:pt x="1776" y="3350"/>
                    </a:cubicBezTo>
                    <a:cubicBezTo>
                      <a:pt x="1769" y="3350"/>
                      <a:pt x="1769" y="3342"/>
                      <a:pt x="1761" y="3342"/>
                    </a:cubicBezTo>
                    <a:cubicBezTo>
                      <a:pt x="1731" y="3342"/>
                      <a:pt x="1716" y="3357"/>
                      <a:pt x="1701" y="3372"/>
                    </a:cubicBezTo>
                    <a:cubicBezTo>
                      <a:pt x="1686" y="3380"/>
                      <a:pt x="1686" y="3395"/>
                      <a:pt x="1671" y="3395"/>
                    </a:cubicBezTo>
                    <a:cubicBezTo>
                      <a:pt x="1664" y="3395"/>
                      <a:pt x="1664" y="3380"/>
                      <a:pt x="1656" y="3380"/>
                    </a:cubicBezTo>
                    <a:cubicBezTo>
                      <a:pt x="1649" y="3380"/>
                      <a:pt x="1634" y="3380"/>
                      <a:pt x="1626" y="3372"/>
                    </a:cubicBezTo>
                    <a:cubicBezTo>
                      <a:pt x="1619" y="3365"/>
                      <a:pt x="1619" y="3357"/>
                      <a:pt x="1611" y="3350"/>
                    </a:cubicBezTo>
                    <a:cubicBezTo>
                      <a:pt x="1596" y="3327"/>
                      <a:pt x="1574" y="3320"/>
                      <a:pt x="1544" y="3320"/>
                    </a:cubicBezTo>
                    <a:close/>
                    <a:moveTo>
                      <a:pt x="2563" y="330"/>
                    </a:moveTo>
                    <a:lnTo>
                      <a:pt x="2563" y="330"/>
                    </a:lnTo>
                    <a:cubicBezTo>
                      <a:pt x="2556" y="322"/>
                      <a:pt x="2548" y="322"/>
                      <a:pt x="2541" y="322"/>
                    </a:cubicBezTo>
                    <a:cubicBezTo>
                      <a:pt x="2518" y="322"/>
                      <a:pt x="2518" y="352"/>
                      <a:pt x="2518" y="382"/>
                    </a:cubicBezTo>
                    <a:cubicBezTo>
                      <a:pt x="2511" y="382"/>
                      <a:pt x="2511" y="390"/>
                      <a:pt x="2503" y="390"/>
                    </a:cubicBezTo>
                    <a:cubicBezTo>
                      <a:pt x="2503" y="405"/>
                      <a:pt x="2503" y="412"/>
                      <a:pt x="2503" y="420"/>
                    </a:cubicBezTo>
                    <a:cubicBezTo>
                      <a:pt x="2503" y="420"/>
                      <a:pt x="2503" y="427"/>
                      <a:pt x="2511" y="427"/>
                    </a:cubicBezTo>
                    <a:cubicBezTo>
                      <a:pt x="2526" y="427"/>
                      <a:pt x="2526" y="412"/>
                      <a:pt x="2533" y="405"/>
                    </a:cubicBezTo>
                    <a:cubicBezTo>
                      <a:pt x="2541" y="397"/>
                      <a:pt x="2548" y="382"/>
                      <a:pt x="2556" y="382"/>
                    </a:cubicBezTo>
                    <a:cubicBezTo>
                      <a:pt x="2563" y="382"/>
                      <a:pt x="2571" y="382"/>
                      <a:pt x="2578" y="382"/>
                    </a:cubicBezTo>
                    <a:cubicBezTo>
                      <a:pt x="2578" y="367"/>
                      <a:pt x="2563" y="352"/>
                      <a:pt x="2563" y="330"/>
                    </a:cubicBezTo>
                    <a:close/>
                    <a:moveTo>
                      <a:pt x="2428" y="337"/>
                    </a:moveTo>
                    <a:lnTo>
                      <a:pt x="2428" y="337"/>
                    </a:lnTo>
                    <a:cubicBezTo>
                      <a:pt x="2428" y="330"/>
                      <a:pt x="2436" y="330"/>
                      <a:pt x="2443" y="330"/>
                    </a:cubicBezTo>
                    <a:cubicBezTo>
                      <a:pt x="2443" y="322"/>
                      <a:pt x="2443" y="315"/>
                      <a:pt x="2451" y="307"/>
                    </a:cubicBezTo>
                    <a:cubicBezTo>
                      <a:pt x="2473" y="285"/>
                      <a:pt x="2496" y="292"/>
                      <a:pt x="2518" y="292"/>
                    </a:cubicBezTo>
                    <a:cubicBezTo>
                      <a:pt x="2503" y="307"/>
                      <a:pt x="2488" y="315"/>
                      <a:pt x="2481" y="337"/>
                    </a:cubicBezTo>
                    <a:cubicBezTo>
                      <a:pt x="2473" y="345"/>
                      <a:pt x="2481" y="352"/>
                      <a:pt x="2481" y="367"/>
                    </a:cubicBezTo>
                    <a:cubicBezTo>
                      <a:pt x="2473" y="367"/>
                      <a:pt x="2473" y="367"/>
                      <a:pt x="2466" y="375"/>
                    </a:cubicBezTo>
                    <a:cubicBezTo>
                      <a:pt x="2458" y="375"/>
                      <a:pt x="2458" y="367"/>
                      <a:pt x="2451" y="367"/>
                    </a:cubicBezTo>
                    <a:cubicBezTo>
                      <a:pt x="2428" y="367"/>
                      <a:pt x="2421" y="375"/>
                      <a:pt x="2406" y="390"/>
                    </a:cubicBezTo>
                    <a:cubicBezTo>
                      <a:pt x="2406" y="390"/>
                      <a:pt x="2406" y="397"/>
                      <a:pt x="2406" y="405"/>
                    </a:cubicBezTo>
                    <a:cubicBezTo>
                      <a:pt x="2398" y="405"/>
                      <a:pt x="2391" y="405"/>
                      <a:pt x="2391" y="405"/>
                    </a:cubicBezTo>
                    <a:cubicBezTo>
                      <a:pt x="2391" y="375"/>
                      <a:pt x="2391" y="360"/>
                      <a:pt x="2406" y="330"/>
                    </a:cubicBezTo>
                    <a:cubicBezTo>
                      <a:pt x="2428" y="337"/>
                      <a:pt x="2428" y="337"/>
                      <a:pt x="2428" y="337"/>
                    </a:cubicBezTo>
                    <a:close/>
                    <a:moveTo>
                      <a:pt x="2743" y="0"/>
                    </a:moveTo>
                    <a:lnTo>
                      <a:pt x="2743" y="0"/>
                    </a:lnTo>
                    <a:cubicBezTo>
                      <a:pt x="2728" y="8"/>
                      <a:pt x="2713" y="8"/>
                      <a:pt x="2691" y="23"/>
                    </a:cubicBezTo>
                    <a:cubicBezTo>
                      <a:pt x="2675" y="30"/>
                      <a:pt x="2668" y="45"/>
                      <a:pt x="2653" y="68"/>
                    </a:cubicBezTo>
                    <a:cubicBezTo>
                      <a:pt x="2645" y="90"/>
                      <a:pt x="2631" y="97"/>
                      <a:pt x="2631" y="120"/>
                    </a:cubicBezTo>
                    <a:cubicBezTo>
                      <a:pt x="2631" y="135"/>
                      <a:pt x="2638" y="143"/>
                      <a:pt x="2645" y="157"/>
                    </a:cubicBezTo>
                    <a:cubicBezTo>
                      <a:pt x="2653" y="173"/>
                      <a:pt x="2661" y="180"/>
                      <a:pt x="2675" y="195"/>
                    </a:cubicBezTo>
                    <a:cubicBezTo>
                      <a:pt x="2698" y="217"/>
                      <a:pt x="2705" y="247"/>
                      <a:pt x="2735" y="247"/>
                    </a:cubicBezTo>
                    <a:cubicBezTo>
                      <a:pt x="2743" y="247"/>
                      <a:pt x="2743" y="240"/>
                      <a:pt x="2751" y="240"/>
                    </a:cubicBezTo>
                    <a:cubicBezTo>
                      <a:pt x="2773" y="232"/>
                      <a:pt x="2788" y="240"/>
                      <a:pt x="2803" y="225"/>
                    </a:cubicBezTo>
                    <a:cubicBezTo>
                      <a:pt x="2810" y="217"/>
                      <a:pt x="2810" y="210"/>
                      <a:pt x="2818" y="203"/>
                    </a:cubicBezTo>
                    <a:cubicBezTo>
                      <a:pt x="2833" y="195"/>
                      <a:pt x="2848" y="187"/>
                      <a:pt x="2848" y="173"/>
                    </a:cubicBezTo>
                    <a:cubicBezTo>
                      <a:pt x="2848" y="165"/>
                      <a:pt x="2848" y="157"/>
                      <a:pt x="2840" y="150"/>
                    </a:cubicBezTo>
                    <a:cubicBezTo>
                      <a:pt x="2840" y="120"/>
                      <a:pt x="2848" y="105"/>
                      <a:pt x="2833" y="83"/>
                    </a:cubicBezTo>
                    <a:cubicBezTo>
                      <a:pt x="2833" y="75"/>
                      <a:pt x="2818" y="75"/>
                      <a:pt x="2810" y="68"/>
                    </a:cubicBezTo>
                    <a:cubicBezTo>
                      <a:pt x="2803" y="60"/>
                      <a:pt x="2795" y="53"/>
                      <a:pt x="2788" y="45"/>
                    </a:cubicBezTo>
                    <a:cubicBezTo>
                      <a:pt x="2773" y="30"/>
                      <a:pt x="2765" y="8"/>
                      <a:pt x="2743" y="0"/>
                    </a:cubicBezTo>
                    <a:close/>
                    <a:moveTo>
                      <a:pt x="4040" y="1544"/>
                    </a:moveTo>
                    <a:lnTo>
                      <a:pt x="4040" y="1544"/>
                    </a:lnTo>
                    <a:cubicBezTo>
                      <a:pt x="4032" y="1551"/>
                      <a:pt x="4024" y="1559"/>
                      <a:pt x="4017" y="1566"/>
                    </a:cubicBezTo>
                    <a:cubicBezTo>
                      <a:pt x="4010" y="1574"/>
                      <a:pt x="3994" y="1574"/>
                      <a:pt x="3994" y="1589"/>
                    </a:cubicBezTo>
                    <a:cubicBezTo>
                      <a:pt x="3994" y="1596"/>
                      <a:pt x="4002" y="1604"/>
                      <a:pt x="4002" y="1611"/>
                    </a:cubicBezTo>
                    <a:cubicBezTo>
                      <a:pt x="4032" y="1611"/>
                      <a:pt x="4032" y="1611"/>
                      <a:pt x="4032" y="1611"/>
                    </a:cubicBezTo>
                    <a:cubicBezTo>
                      <a:pt x="4032" y="1649"/>
                      <a:pt x="4032" y="1649"/>
                      <a:pt x="4032" y="1649"/>
                    </a:cubicBezTo>
                    <a:cubicBezTo>
                      <a:pt x="4017" y="1656"/>
                      <a:pt x="4010" y="1664"/>
                      <a:pt x="3994" y="1671"/>
                    </a:cubicBezTo>
                    <a:cubicBezTo>
                      <a:pt x="3972" y="1686"/>
                      <a:pt x="3972" y="1709"/>
                      <a:pt x="3957" y="1739"/>
                    </a:cubicBezTo>
                    <a:cubicBezTo>
                      <a:pt x="3950" y="1754"/>
                      <a:pt x="3934" y="1754"/>
                      <a:pt x="3920" y="1761"/>
                    </a:cubicBezTo>
                    <a:cubicBezTo>
                      <a:pt x="3904" y="1776"/>
                      <a:pt x="3890" y="1791"/>
                      <a:pt x="3882" y="1814"/>
                    </a:cubicBezTo>
                    <a:cubicBezTo>
                      <a:pt x="3882" y="1821"/>
                      <a:pt x="3882" y="1829"/>
                      <a:pt x="3882" y="1836"/>
                    </a:cubicBezTo>
                    <a:cubicBezTo>
                      <a:pt x="3882" y="1851"/>
                      <a:pt x="3875" y="1851"/>
                      <a:pt x="3875" y="1866"/>
                    </a:cubicBezTo>
                    <a:cubicBezTo>
                      <a:pt x="3875" y="1881"/>
                      <a:pt x="3875" y="1889"/>
                      <a:pt x="3875" y="1903"/>
                    </a:cubicBezTo>
                    <a:cubicBezTo>
                      <a:pt x="3875" y="1919"/>
                      <a:pt x="3867" y="1933"/>
                      <a:pt x="3867" y="1949"/>
                    </a:cubicBezTo>
                    <a:cubicBezTo>
                      <a:pt x="3867" y="1971"/>
                      <a:pt x="3890" y="1979"/>
                      <a:pt x="3890" y="2001"/>
                    </a:cubicBezTo>
                    <a:cubicBezTo>
                      <a:pt x="3890" y="2016"/>
                      <a:pt x="3875" y="2023"/>
                      <a:pt x="3875" y="2038"/>
                    </a:cubicBezTo>
                    <a:cubicBezTo>
                      <a:pt x="3860" y="2068"/>
                      <a:pt x="3860" y="2083"/>
                      <a:pt x="3860" y="2113"/>
                    </a:cubicBezTo>
                    <a:cubicBezTo>
                      <a:pt x="3860" y="2121"/>
                      <a:pt x="3867" y="2121"/>
                      <a:pt x="3875" y="2121"/>
                    </a:cubicBezTo>
                    <a:cubicBezTo>
                      <a:pt x="3890" y="2136"/>
                      <a:pt x="3897" y="2136"/>
                      <a:pt x="3912" y="2151"/>
                    </a:cubicBezTo>
                    <a:cubicBezTo>
                      <a:pt x="3912" y="2158"/>
                      <a:pt x="3920" y="2166"/>
                      <a:pt x="3927" y="2173"/>
                    </a:cubicBezTo>
                    <a:cubicBezTo>
                      <a:pt x="3927" y="2181"/>
                      <a:pt x="3942" y="2188"/>
                      <a:pt x="3942" y="2196"/>
                    </a:cubicBezTo>
                    <a:cubicBezTo>
                      <a:pt x="3942" y="2211"/>
                      <a:pt x="3934" y="2218"/>
                      <a:pt x="3934" y="2233"/>
                    </a:cubicBezTo>
                    <a:cubicBezTo>
                      <a:pt x="3934" y="2248"/>
                      <a:pt x="3934" y="2256"/>
                      <a:pt x="3942" y="2271"/>
                    </a:cubicBezTo>
                    <a:lnTo>
                      <a:pt x="3942" y="2271"/>
                    </a:lnTo>
                    <a:cubicBezTo>
                      <a:pt x="3934" y="2271"/>
                      <a:pt x="3927" y="2278"/>
                      <a:pt x="3927" y="2278"/>
                    </a:cubicBezTo>
                    <a:cubicBezTo>
                      <a:pt x="3920" y="2278"/>
                      <a:pt x="3920" y="2263"/>
                      <a:pt x="3912" y="2263"/>
                    </a:cubicBezTo>
                    <a:cubicBezTo>
                      <a:pt x="3882" y="2263"/>
                      <a:pt x="3875" y="2293"/>
                      <a:pt x="3845" y="2293"/>
                    </a:cubicBezTo>
                    <a:cubicBezTo>
                      <a:pt x="3822" y="2286"/>
                      <a:pt x="3830" y="2271"/>
                      <a:pt x="3830" y="2308"/>
                    </a:cubicBezTo>
                    <a:cubicBezTo>
                      <a:pt x="3830" y="2331"/>
                      <a:pt x="3807" y="2338"/>
                      <a:pt x="3792" y="2346"/>
                    </a:cubicBezTo>
                    <a:cubicBezTo>
                      <a:pt x="3770" y="2368"/>
                      <a:pt x="3762" y="2383"/>
                      <a:pt x="3747" y="2406"/>
                    </a:cubicBezTo>
                    <a:cubicBezTo>
                      <a:pt x="3717" y="2428"/>
                      <a:pt x="3702" y="2436"/>
                      <a:pt x="3665" y="2443"/>
                    </a:cubicBezTo>
                    <a:cubicBezTo>
                      <a:pt x="3657" y="2451"/>
                      <a:pt x="3657" y="2451"/>
                      <a:pt x="3650" y="2451"/>
                    </a:cubicBezTo>
                    <a:cubicBezTo>
                      <a:pt x="3635" y="2451"/>
                      <a:pt x="3620" y="2451"/>
                      <a:pt x="3605" y="2443"/>
                    </a:cubicBezTo>
                    <a:cubicBezTo>
                      <a:pt x="3590" y="2436"/>
                      <a:pt x="3582" y="2421"/>
                      <a:pt x="3567" y="2421"/>
                    </a:cubicBezTo>
                    <a:cubicBezTo>
                      <a:pt x="3522" y="2421"/>
                      <a:pt x="3470" y="2443"/>
                      <a:pt x="3470" y="2488"/>
                    </a:cubicBezTo>
                    <a:cubicBezTo>
                      <a:pt x="3470" y="2503"/>
                      <a:pt x="3470" y="2511"/>
                      <a:pt x="3477" y="2518"/>
                    </a:cubicBezTo>
                    <a:cubicBezTo>
                      <a:pt x="3500" y="2503"/>
                      <a:pt x="3515" y="2496"/>
                      <a:pt x="3530" y="2481"/>
                    </a:cubicBezTo>
                    <a:cubicBezTo>
                      <a:pt x="3537" y="2466"/>
                      <a:pt x="3537" y="2458"/>
                      <a:pt x="3545" y="2451"/>
                    </a:cubicBezTo>
                    <a:cubicBezTo>
                      <a:pt x="3560" y="2466"/>
                      <a:pt x="3575" y="2473"/>
                      <a:pt x="3575" y="2488"/>
                    </a:cubicBezTo>
                    <a:cubicBezTo>
                      <a:pt x="3575" y="2511"/>
                      <a:pt x="3567" y="2526"/>
                      <a:pt x="3560" y="2533"/>
                    </a:cubicBezTo>
                    <a:cubicBezTo>
                      <a:pt x="3545" y="2548"/>
                      <a:pt x="3530" y="2548"/>
                      <a:pt x="3522" y="2563"/>
                    </a:cubicBezTo>
                    <a:cubicBezTo>
                      <a:pt x="3507" y="2585"/>
                      <a:pt x="3515" y="2608"/>
                      <a:pt x="3492" y="2623"/>
                    </a:cubicBezTo>
                    <a:cubicBezTo>
                      <a:pt x="3485" y="2631"/>
                      <a:pt x="3477" y="2631"/>
                      <a:pt x="3470" y="2631"/>
                    </a:cubicBezTo>
                    <a:cubicBezTo>
                      <a:pt x="3447" y="2631"/>
                      <a:pt x="3440" y="2623"/>
                      <a:pt x="3417" y="2615"/>
                    </a:cubicBezTo>
                    <a:cubicBezTo>
                      <a:pt x="3395" y="2608"/>
                      <a:pt x="3372" y="2615"/>
                      <a:pt x="3342" y="2615"/>
                    </a:cubicBezTo>
                    <a:cubicBezTo>
                      <a:pt x="3328" y="2615"/>
                      <a:pt x="3320" y="2615"/>
                      <a:pt x="3305" y="2615"/>
                    </a:cubicBezTo>
                    <a:cubicBezTo>
                      <a:pt x="3298" y="2615"/>
                      <a:pt x="3298" y="2601"/>
                      <a:pt x="3290" y="2593"/>
                    </a:cubicBezTo>
                    <a:cubicBezTo>
                      <a:pt x="3290" y="2585"/>
                      <a:pt x="3282" y="2578"/>
                      <a:pt x="3275" y="2571"/>
                    </a:cubicBezTo>
                    <a:cubicBezTo>
                      <a:pt x="3260" y="2548"/>
                      <a:pt x="3238" y="2533"/>
                      <a:pt x="3208" y="2533"/>
                    </a:cubicBezTo>
                    <a:cubicBezTo>
                      <a:pt x="3178" y="2533"/>
                      <a:pt x="3163" y="2548"/>
                      <a:pt x="3148" y="2571"/>
                    </a:cubicBezTo>
                    <a:cubicBezTo>
                      <a:pt x="3133" y="2578"/>
                      <a:pt x="3118" y="2585"/>
                      <a:pt x="3110" y="2593"/>
                    </a:cubicBezTo>
                    <a:cubicBezTo>
                      <a:pt x="3103" y="2601"/>
                      <a:pt x="3095" y="2608"/>
                      <a:pt x="3088" y="2615"/>
                    </a:cubicBezTo>
                    <a:cubicBezTo>
                      <a:pt x="3080" y="2623"/>
                      <a:pt x="3073" y="2615"/>
                      <a:pt x="3065" y="2623"/>
                    </a:cubicBezTo>
                    <a:cubicBezTo>
                      <a:pt x="3035" y="2631"/>
                      <a:pt x="3020" y="2638"/>
                      <a:pt x="2990" y="2645"/>
                    </a:cubicBezTo>
                    <a:cubicBezTo>
                      <a:pt x="2975" y="2645"/>
                      <a:pt x="2975" y="2653"/>
                      <a:pt x="2960" y="2653"/>
                    </a:cubicBezTo>
                    <a:cubicBezTo>
                      <a:pt x="2945" y="2653"/>
                      <a:pt x="2945" y="2638"/>
                      <a:pt x="2938" y="2631"/>
                    </a:cubicBezTo>
                    <a:cubicBezTo>
                      <a:pt x="2938" y="2623"/>
                      <a:pt x="2930" y="2623"/>
                      <a:pt x="2923" y="2623"/>
                    </a:cubicBezTo>
                    <a:cubicBezTo>
                      <a:pt x="2915" y="2638"/>
                      <a:pt x="2908" y="2653"/>
                      <a:pt x="2893" y="2668"/>
                    </a:cubicBezTo>
                    <a:cubicBezTo>
                      <a:pt x="2878" y="2675"/>
                      <a:pt x="2870" y="2683"/>
                      <a:pt x="2863" y="2698"/>
                    </a:cubicBezTo>
                    <a:cubicBezTo>
                      <a:pt x="2855" y="2713"/>
                      <a:pt x="2855" y="2728"/>
                      <a:pt x="2855" y="2735"/>
                    </a:cubicBezTo>
                    <a:cubicBezTo>
                      <a:pt x="2848" y="2750"/>
                      <a:pt x="2833" y="2758"/>
                      <a:pt x="2818" y="2758"/>
                    </a:cubicBezTo>
                    <a:cubicBezTo>
                      <a:pt x="2788" y="2758"/>
                      <a:pt x="2773" y="2750"/>
                      <a:pt x="2743" y="2750"/>
                    </a:cubicBezTo>
                    <a:cubicBezTo>
                      <a:pt x="2728" y="2750"/>
                      <a:pt x="2713" y="2750"/>
                      <a:pt x="2705" y="2750"/>
                    </a:cubicBezTo>
                    <a:cubicBezTo>
                      <a:pt x="2691" y="2743"/>
                      <a:pt x="2683" y="2728"/>
                      <a:pt x="2668" y="2720"/>
                    </a:cubicBezTo>
                    <a:cubicBezTo>
                      <a:pt x="2668" y="2735"/>
                      <a:pt x="2661" y="2743"/>
                      <a:pt x="2653" y="2758"/>
                    </a:cubicBezTo>
                    <a:cubicBezTo>
                      <a:pt x="2653" y="2765"/>
                      <a:pt x="2653" y="2780"/>
                      <a:pt x="2638" y="2780"/>
                    </a:cubicBezTo>
                    <a:cubicBezTo>
                      <a:pt x="2615" y="2780"/>
                      <a:pt x="2600" y="2765"/>
                      <a:pt x="2593" y="2750"/>
                    </a:cubicBezTo>
                    <a:cubicBezTo>
                      <a:pt x="2578" y="2750"/>
                      <a:pt x="2578" y="2758"/>
                      <a:pt x="2563" y="2758"/>
                    </a:cubicBezTo>
                    <a:cubicBezTo>
                      <a:pt x="2556" y="2758"/>
                      <a:pt x="2548" y="2758"/>
                      <a:pt x="2541" y="2750"/>
                    </a:cubicBezTo>
                    <a:cubicBezTo>
                      <a:pt x="2533" y="2750"/>
                      <a:pt x="2533" y="2743"/>
                      <a:pt x="2526" y="2743"/>
                    </a:cubicBezTo>
                    <a:cubicBezTo>
                      <a:pt x="2503" y="2743"/>
                      <a:pt x="2503" y="2773"/>
                      <a:pt x="2496" y="2788"/>
                    </a:cubicBezTo>
                    <a:cubicBezTo>
                      <a:pt x="2481" y="2803"/>
                      <a:pt x="2466" y="2810"/>
                      <a:pt x="2443" y="2810"/>
                    </a:cubicBezTo>
                    <a:cubicBezTo>
                      <a:pt x="2421" y="2810"/>
                      <a:pt x="2406" y="2803"/>
                      <a:pt x="2383" y="2795"/>
                    </a:cubicBezTo>
                    <a:cubicBezTo>
                      <a:pt x="2361" y="2803"/>
                      <a:pt x="2346" y="2810"/>
                      <a:pt x="2316" y="2818"/>
                    </a:cubicBezTo>
                    <a:cubicBezTo>
                      <a:pt x="2301" y="2818"/>
                      <a:pt x="2293" y="2825"/>
                      <a:pt x="2278" y="2833"/>
                    </a:cubicBezTo>
                    <a:cubicBezTo>
                      <a:pt x="2263" y="2848"/>
                      <a:pt x="2256" y="2863"/>
                      <a:pt x="2233" y="2863"/>
                    </a:cubicBezTo>
                    <a:cubicBezTo>
                      <a:pt x="2218" y="2863"/>
                      <a:pt x="2218" y="2848"/>
                      <a:pt x="2203" y="2848"/>
                    </a:cubicBezTo>
                    <a:cubicBezTo>
                      <a:pt x="2196" y="2848"/>
                      <a:pt x="2196" y="2855"/>
                      <a:pt x="2196" y="2855"/>
                    </a:cubicBezTo>
                    <a:cubicBezTo>
                      <a:pt x="2158" y="2870"/>
                      <a:pt x="2158" y="2893"/>
                      <a:pt x="2136" y="2915"/>
                    </a:cubicBezTo>
                    <a:cubicBezTo>
                      <a:pt x="2106" y="2938"/>
                      <a:pt x="2091" y="2953"/>
                      <a:pt x="2061" y="2960"/>
                    </a:cubicBezTo>
                    <a:cubicBezTo>
                      <a:pt x="2046" y="2968"/>
                      <a:pt x="2039" y="2975"/>
                      <a:pt x="2023" y="2975"/>
                    </a:cubicBezTo>
                    <a:cubicBezTo>
                      <a:pt x="2009" y="2975"/>
                      <a:pt x="2001" y="2968"/>
                      <a:pt x="1986" y="2968"/>
                    </a:cubicBezTo>
                    <a:cubicBezTo>
                      <a:pt x="1963" y="2968"/>
                      <a:pt x="1956" y="2975"/>
                      <a:pt x="1933" y="2975"/>
                    </a:cubicBezTo>
                    <a:cubicBezTo>
                      <a:pt x="1911" y="2975"/>
                      <a:pt x="1911" y="2975"/>
                      <a:pt x="1911" y="2975"/>
                    </a:cubicBezTo>
                    <a:cubicBezTo>
                      <a:pt x="1911" y="2945"/>
                      <a:pt x="1911" y="2945"/>
                      <a:pt x="1911" y="2945"/>
                    </a:cubicBezTo>
                    <a:cubicBezTo>
                      <a:pt x="1926" y="2923"/>
                      <a:pt x="1926" y="2923"/>
                      <a:pt x="1926" y="2923"/>
                    </a:cubicBezTo>
                    <a:cubicBezTo>
                      <a:pt x="1903" y="2900"/>
                      <a:pt x="1881" y="2893"/>
                      <a:pt x="1874" y="2863"/>
                    </a:cubicBezTo>
                    <a:cubicBezTo>
                      <a:pt x="1859" y="2840"/>
                      <a:pt x="1866" y="2810"/>
                      <a:pt x="1851" y="2788"/>
                    </a:cubicBezTo>
                    <a:cubicBezTo>
                      <a:pt x="1829" y="2773"/>
                      <a:pt x="1814" y="2780"/>
                      <a:pt x="1784" y="2780"/>
                    </a:cubicBezTo>
                    <a:cubicBezTo>
                      <a:pt x="1761" y="2780"/>
                      <a:pt x="1746" y="2780"/>
                      <a:pt x="1724" y="2773"/>
                    </a:cubicBezTo>
                    <a:cubicBezTo>
                      <a:pt x="1716" y="2773"/>
                      <a:pt x="1716" y="2765"/>
                      <a:pt x="1709" y="2765"/>
                    </a:cubicBezTo>
                    <a:cubicBezTo>
                      <a:pt x="1686" y="2765"/>
                      <a:pt x="1671" y="2788"/>
                      <a:pt x="1656" y="2810"/>
                    </a:cubicBezTo>
                    <a:cubicBezTo>
                      <a:pt x="1634" y="2833"/>
                      <a:pt x="1619" y="2848"/>
                      <a:pt x="1604" y="2870"/>
                    </a:cubicBezTo>
                    <a:cubicBezTo>
                      <a:pt x="1619" y="2878"/>
                      <a:pt x="1626" y="2878"/>
                      <a:pt x="1641" y="2878"/>
                    </a:cubicBezTo>
                    <a:cubicBezTo>
                      <a:pt x="1649" y="2878"/>
                      <a:pt x="1649" y="2885"/>
                      <a:pt x="1656" y="2885"/>
                    </a:cubicBezTo>
                    <a:cubicBezTo>
                      <a:pt x="1641" y="2900"/>
                      <a:pt x="1626" y="2908"/>
                      <a:pt x="1611" y="2923"/>
                    </a:cubicBezTo>
                    <a:cubicBezTo>
                      <a:pt x="1604" y="2930"/>
                      <a:pt x="1604" y="2938"/>
                      <a:pt x="1596" y="2938"/>
                    </a:cubicBezTo>
                    <a:cubicBezTo>
                      <a:pt x="1596" y="2945"/>
                      <a:pt x="1589" y="2938"/>
                      <a:pt x="1581" y="2938"/>
                    </a:cubicBezTo>
                    <a:cubicBezTo>
                      <a:pt x="1581" y="2923"/>
                      <a:pt x="1581" y="2908"/>
                      <a:pt x="1581" y="2893"/>
                    </a:cubicBezTo>
                    <a:cubicBezTo>
                      <a:pt x="1574" y="2915"/>
                      <a:pt x="1566" y="2930"/>
                      <a:pt x="1559" y="2953"/>
                    </a:cubicBezTo>
                    <a:cubicBezTo>
                      <a:pt x="1551" y="2968"/>
                      <a:pt x="1536" y="2968"/>
                      <a:pt x="1536" y="2975"/>
                    </a:cubicBezTo>
                    <a:cubicBezTo>
                      <a:pt x="1536" y="2990"/>
                      <a:pt x="1544" y="2998"/>
                      <a:pt x="1544" y="3013"/>
                    </a:cubicBezTo>
                    <a:cubicBezTo>
                      <a:pt x="1544" y="3020"/>
                      <a:pt x="1559" y="3028"/>
                      <a:pt x="1559" y="3035"/>
                    </a:cubicBezTo>
                    <a:cubicBezTo>
                      <a:pt x="1559" y="3072"/>
                      <a:pt x="1514" y="3088"/>
                      <a:pt x="1514" y="3132"/>
                    </a:cubicBezTo>
                    <a:cubicBezTo>
                      <a:pt x="1514" y="3178"/>
                      <a:pt x="1529" y="3200"/>
                      <a:pt x="1529" y="3245"/>
                    </a:cubicBezTo>
                    <a:cubicBezTo>
                      <a:pt x="1529" y="3275"/>
                      <a:pt x="1506" y="3282"/>
                      <a:pt x="1492" y="3297"/>
                    </a:cubicBezTo>
                    <a:cubicBezTo>
                      <a:pt x="1476" y="3305"/>
                      <a:pt x="1476" y="3312"/>
                      <a:pt x="1469" y="3312"/>
                    </a:cubicBezTo>
                    <a:cubicBezTo>
                      <a:pt x="1454" y="3320"/>
                      <a:pt x="1446" y="3312"/>
                      <a:pt x="1439" y="3312"/>
                    </a:cubicBezTo>
                    <a:cubicBezTo>
                      <a:pt x="1439" y="3432"/>
                      <a:pt x="1439" y="3432"/>
                      <a:pt x="1439" y="3432"/>
                    </a:cubicBezTo>
                    <a:cubicBezTo>
                      <a:pt x="1439" y="3447"/>
                      <a:pt x="1446" y="3462"/>
                      <a:pt x="1446" y="3485"/>
                    </a:cubicBezTo>
                    <a:cubicBezTo>
                      <a:pt x="1409" y="3455"/>
                      <a:pt x="1402" y="3417"/>
                      <a:pt x="1364" y="3395"/>
                    </a:cubicBezTo>
                    <a:cubicBezTo>
                      <a:pt x="1342" y="3387"/>
                      <a:pt x="1319" y="3380"/>
                      <a:pt x="1297" y="3372"/>
                    </a:cubicBezTo>
                    <a:cubicBezTo>
                      <a:pt x="1274" y="3357"/>
                      <a:pt x="1274" y="3335"/>
                      <a:pt x="1252" y="3320"/>
                    </a:cubicBezTo>
                    <a:cubicBezTo>
                      <a:pt x="1214" y="3290"/>
                      <a:pt x="1184" y="3275"/>
                      <a:pt x="1139" y="3252"/>
                    </a:cubicBezTo>
                    <a:cubicBezTo>
                      <a:pt x="1109" y="3237"/>
                      <a:pt x="1094" y="3230"/>
                      <a:pt x="1064" y="3215"/>
                    </a:cubicBezTo>
                    <a:cubicBezTo>
                      <a:pt x="1057" y="3208"/>
                      <a:pt x="1049" y="3200"/>
                      <a:pt x="1042" y="3200"/>
                    </a:cubicBezTo>
                    <a:cubicBezTo>
                      <a:pt x="1034" y="3192"/>
                      <a:pt x="1034" y="3185"/>
                      <a:pt x="1027" y="3185"/>
                    </a:cubicBezTo>
                    <a:cubicBezTo>
                      <a:pt x="967" y="3185"/>
                      <a:pt x="967" y="3185"/>
                      <a:pt x="967" y="3185"/>
                    </a:cubicBezTo>
                    <a:cubicBezTo>
                      <a:pt x="952" y="3185"/>
                      <a:pt x="944" y="3192"/>
                      <a:pt x="937" y="3200"/>
                    </a:cubicBezTo>
                    <a:cubicBezTo>
                      <a:pt x="914" y="3200"/>
                      <a:pt x="899" y="3200"/>
                      <a:pt x="877" y="3215"/>
                    </a:cubicBezTo>
                    <a:cubicBezTo>
                      <a:pt x="839" y="3230"/>
                      <a:pt x="832" y="3275"/>
                      <a:pt x="794" y="3275"/>
                    </a:cubicBezTo>
                    <a:cubicBezTo>
                      <a:pt x="764" y="3275"/>
                      <a:pt x="750" y="3245"/>
                      <a:pt x="712" y="3245"/>
                    </a:cubicBezTo>
                    <a:cubicBezTo>
                      <a:pt x="690" y="3245"/>
                      <a:pt x="682" y="3282"/>
                      <a:pt x="652" y="3282"/>
                    </a:cubicBezTo>
                    <a:cubicBezTo>
                      <a:pt x="644" y="3282"/>
                      <a:pt x="637" y="3275"/>
                      <a:pt x="630" y="3267"/>
                    </a:cubicBezTo>
                    <a:cubicBezTo>
                      <a:pt x="615" y="3252"/>
                      <a:pt x="600" y="3252"/>
                      <a:pt x="592" y="3237"/>
                    </a:cubicBezTo>
                    <a:cubicBezTo>
                      <a:pt x="570" y="3252"/>
                      <a:pt x="562" y="3267"/>
                      <a:pt x="547" y="3290"/>
                    </a:cubicBezTo>
                    <a:cubicBezTo>
                      <a:pt x="517" y="3335"/>
                      <a:pt x="487" y="3365"/>
                      <a:pt x="435" y="3365"/>
                    </a:cubicBezTo>
                    <a:cubicBezTo>
                      <a:pt x="412" y="3365"/>
                      <a:pt x="397" y="3357"/>
                      <a:pt x="375" y="3350"/>
                    </a:cubicBezTo>
                    <a:cubicBezTo>
                      <a:pt x="352" y="3342"/>
                      <a:pt x="330" y="3320"/>
                      <a:pt x="330" y="3290"/>
                    </a:cubicBezTo>
                    <a:cubicBezTo>
                      <a:pt x="330" y="3260"/>
                      <a:pt x="307" y="3237"/>
                      <a:pt x="277" y="3237"/>
                    </a:cubicBezTo>
                    <a:cubicBezTo>
                      <a:pt x="255" y="3230"/>
                      <a:pt x="247" y="3230"/>
                      <a:pt x="232" y="3215"/>
                    </a:cubicBezTo>
                    <a:cubicBezTo>
                      <a:pt x="217" y="3208"/>
                      <a:pt x="217" y="3192"/>
                      <a:pt x="203" y="3192"/>
                    </a:cubicBezTo>
                    <a:cubicBezTo>
                      <a:pt x="173" y="3192"/>
                      <a:pt x="165" y="3230"/>
                      <a:pt x="143" y="3260"/>
                    </a:cubicBezTo>
                    <a:cubicBezTo>
                      <a:pt x="143" y="3260"/>
                      <a:pt x="135" y="3260"/>
                      <a:pt x="135" y="3267"/>
                    </a:cubicBezTo>
                    <a:cubicBezTo>
                      <a:pt x="105" y="3305"/>
                      <a:pt x="90" y="3327"/>
                      <a:pt x="60" y="3357"/>
                    </a:cubicBezTo>
                    <a:cubicBezTo>
                      <a:pt x="45" y="3327"/>
                      <a:pt x="38" y="3312"/>
                      <a:pt x="38" y="3282"/>
                    </a:cubicBezTo>
                    <a:cubicBezTo>
                      <a:pt x="38" y="3208"/>
                      <a:pt x="38" y="3208"/>
                      <a:pt x="38" y="3208"/>
                    </a:cubicBezTo>
                    <a:cubicBezTo>
                      <a:pt x="38" y="3170"/>
                      <a:pt x="38" y="3148"/>
                      <a:pt x="15" y="3118"/>
                    </a:cubicBezTo>
                    <a:cubicBezTo>
                      <a:pt x="8" y="3110"/>
                      <a:pt x="0" y="3110"/>
                      <a:pt x="0" y="3095"/>
                    </a:cubicBezTo>
                    <a:cubicBezTo>
                      <a:pt x="0" y="3072"/>
                      <a:pt x="15" y="3065"/>
                      <a:pt x="30" y="3050"/>
                    </a:cubicBezTo>
                    <a:cubicBezTo>
                      <a:pt x="45" y="3028"/>
                      <a:pt x="45" y="3013"/>
                      <a:pt x="60" y="2983"/>
                    </a:cubicBezTo>
                    <a:cubicBezTo>
                      <a:pt x="60" y="2975"/>
                      <a:pt x="75" y="2968"/>
                      <a:pt x="75" y="2953"/>
                    </a:cubicBezTo>
                    <a:cubicBezTo>
                      <a:pt x="75" y="2930"/>
                      <a:pt x="53" y="2915"/>
                      <a:pt x="38" y="2900"/>
                    </a:cubicBezTo>
                    <a:cubicBezTo>
                      <a:pt x="23" y="2893"/>
                      <a:pt x="15" y="2885"/>
                      <a:pt x="15" y="2878"/>
                    </a:cubicBezTo>
                    <a:cubicBezTo>
                      <a:pt x="15" y="2863"/>
                      <a:pt x="23" y="2863"/>
                      <a:pt x="23" y="2848"/>
                    </a:cubicBezTo>
                    <a:cubicBezTo>
                      <a:pt x="23" y="2833"/>
                      <a:pt x="8" y="2825"/>
                      <a:pt x="8" y="2810"/>
                    </a:cubicBezTo>
                    <a:cubicBezTo>
                      <a:pt x="8" y="2803"/>
                      <a:pt x="8" y="2795"/>
                      <a:pt x="8" y="2788"/>
                    </a:cubicBezTo>
                    <a:cubicBezTo>
                      <a:pt x="38" y="2788"/>
                      <a:pt x="60" y="2788"/>
                      <a:pt x="83" y="2773"/>
                    </a:cubicBezTo>
                    <a:cubicBezTo>
                      <a:pt x="90" y="2773"/>
                      <a:pt x="90" y="2765"/>
                      <a:pt x="97" y="2765"/>
                    </a:cubicBezTo>
                    <a:cubicBezTo>
                      <a:pt x="105" y="2758"/>
                      <a:pt x="113" y="2750"/>
                      <a:pt x="120" y="2750"/>
                    </a:cubicBezTo>
                    <a:cubicBezTo>
                      <a:pt x="143" y="2735"/>
                      <a:pt x="165" y="2750"/>
                      <a:pt x="180" y="2735"/>
                    </a:cubicBezTo>
                    <a:cubicBezTo>
                      <a:pt x="187" y="2735"/>
                      <a:pt x="180" y="2728"/>
                      <a:pt x="187" y="2720"/>
                    </a:cubicBezTo>
                    <a:cubicBezTo>
                      <a:pt x="165" y="2705"/>
                      <a:pt x="143" y="2705"/>
                      <a:pt x="120" y="2690"/>
                    </a:cubicBezTo>
                    <a:cubicBezTo>
                      <a:pt x="113" y="2690"/>
                      <a:pt x="165" y="2705"/>
                      <a:pt x="195" y="2705"/>
                    </a:cubicBezTo>
                    <a:cubicBezTo>
                      <a:pt x="210" y="2705"/>
                      <a:pt x="217" y="2698"/>
                      <a:pt x="232" y="2698"/>
                    </a:cubicBezTo>
                    <a:cubicBezTo>
                      <a:pt x="247" y="2698"/>
                      <a:pt x="255" y="2698"/>
                      <a:pt x="270" y="2713"/>
                    </a:cubicBezTo>
                    <a:cubicBezTo>
                      <a:pt x="270" y="2720"/>
                      <a:pt x="270" y="2728"/>
                      <a:pt x="277" y="2735"/>
                    </a:cubicBezTo>
                    <a:cubicBezTo>
                      <a:pt x="285" y="2735"/>
                      <a:pt x="292" y="2735"/>
                      <a:pt x="307" y="2735"/>
                    </a:cubicBezTo>
                    <a:cubicBezTo>
                      <a:pt x="315" y="2743"/>
                      <a:pt x="322" y="2750"/>
                      <a:pt x="330" y="2750"/>
                    </a:cubicBezTo>
                    <a:cubicBezTo>
                      <a:pt x="337" y="2750"/>
                      <a:pt x="345" y="2735"/>
                      <a:pt x="352" y="2728"/>
                    </a:cubicBezTo>
                    <a:cubicBezTo>
                      <a:pt x="352" y="2720"/>
                      <a:pt x="352" y="2713"/>
                      <a:pt x="352" y="2705"/>
                    </a:cubicBezTo>
                    <a:cubicBezTo>
                      <a:pt x="360" y="2698"/>
                      <a:pt x="360" y="2705"/>
                      <a:pt x="367" y="2698"/>
                    </a:cubicBezTo>
                    <a:cubicBezTo>
                      <a:pt x="382" y="2690"/>
                      <a:pt x="390" y="2690"/>
                      <a:pt x="405" y="2683"/>
                    </a:cubicBezTo>
                    <a:cubicBezTo>
                      <a:pt x="405" y="2698"/>
                      <a:pt x="405" y="2698"/>
                      <a:pt x="405" y="2698"/>
                    </a:cubicBezTo>
                    <a:cubicBezTo>
                      <a:pt x="390" y="2705"/>
                      <a:pt x="390" y="2713"/>
                      <a:pt x="375" y="2720"/>
                    </a:cubicBezTo>
                    <a:cubicBezTo>
                      <a:pt x="390" y="2735"/>
                      <a:pt x="412" y="2735"/>
                      <a:pt x="435" y="2735"/>
                    </a:cubicBezTo>
                    <a:cubicBezTo>
                      <a:pt x="472" y="2735"/>
                      <a:pt x="495" y="2720"/>
                      <a:pt x="525" y="2705"/>
                    </a:cubicBezTo>
                    <a:cubicBezTo>
                      <a:pt x="547" y="2698"/>
                      <a:pt x="562" y="2698"/>
                      <a:pt x="577" y="2690"/>
                    </a:cubicBezTo>
                    <a:cubicBezTo>
                      <a:pt x="592" y="2675"/>
                      <a:pt x="600" y="2668"/>
                      <a:pt x="615" y="2653"/>
                    </a:cubicBezTo>
                    <a:cubicBezTo>
                      <a:pt x="630" y="2638"/>
                      <a:pt x="644" y="2631"/>
                      <a:pt x="652" y="2615"/>
                    </a:cubicBezTo>
                    <a:cubicBezTo>
                      <a:pt x="667" y="2593"/>
                      <a:pt x="667" y="2578"/>
                      <a:pt x="667" y="2563"/>
                    </a:cubicBezTo>
                    <a:cubicBezTo>
                      <a:pt x="674" y="2555"/>
                      <a:pt x="667" y="2555"/>
                      <a:pt x="667" y="2548"/>
                    </a:cubicBezTo>
                    <a:cubicBezTo>
                      <a:pt x="682" y="2526"/>
                      <a:pt x="712" y="2533"/>
                      <a:pt x="734" y="2518"/>
                    </a:cubicBezTo>
                    <a:cubicBezTo>
                      <a:pt x="757" y="2496"/>
                      <a:pt x="764" y="2473"/>
                      <a:pt x="772" y="2443"/>
                    </a:cubicBezTo>
                    <a:cubicBezTo>
                      <a:pt x="779" y="2406"/>
                      <a:pt x="802" y="2383"/>
                      <a:pt x="839" y="2368"/>
                    </a:cubicBezTo>
                    <a:cubicBezTo>
                      <a:pt x="847" y="2368"/>
                      <a:pt x="854" y="2368"/>
                      <a:pt x="862" y="2368"/>
                    </a:cubicBezTo>
                    <a:cubicBezTo>
                      <a:pt x="877" y="2361"/>
                      <a:pt x="884" y="2346"/>
                      <a:pt x="899" y="2346"/>
                    </a:cubicBezTo>
                    <a:cubicBezTo>
                      <a:pt x="907" y="2346"/>
                      <a:pt x="914" y="2346"/>
                      <a:pt x="922" y="2346"/>
                    </a:cubicBezTo>
                    <a:cubicBezTo>
                      <a:pt x="967" y="2346"/>
                      <a:pt x="1004" y="2346"/>
                      <a:pt x="1049" y="2323"/>
                    </a:cubicBezTo>
                    <a:cubicBezTo>
                      <a:pt x="1064" y="2316"/>
                      <a:pt x="1072" y="2308"/>
                      <a:pt x="1087" y="2293"/>
                    </a:cubicBezTo>
                    <a:cubicBezTo>
                      <a:pt x="1102" y="2278"/>
                      <a:pt x="1117" y="2271"/>
                      <a:pt x="1124" y="2248"/>
                    </a:cubicBezTo>
                    <a:cubicBezTo>
                      <a:pt x="1132" y="2241"/>
                      <a:pt x="1124" y="2233"/>
                      <a:pt x="1132" y="2218"/>
                    </a:cubicBezTo>
                    <a:cubicBezTo>
                      <a:pt x="1139" y="2203"/>
                      <a:pt x="1147" y="2203"/>
                      <a:pt x="1162" y="2196"/>
                    </a:cubicBezTo>
                    <a:cubicBezTo>
                      <a:pt x="1177" y="2188"/>
                      <a:pt x="1192" y="2188"/>
                      <a:pt x="1199" y="2181"/>
                    </a:cubicBezTo>
                    <a:cubicBezTo>
                      <a:pt x="1214" y="2173"/>
                      <a:pt x="1214" y="2166"/>
                      <a:pt x="1222" y="2158"/>
                    </a:cubicBezTo>
                    <a:cubicBezTo>
                      <a:pt x="1244" y="2121"/>
                      <a:pt x="1267" y="2106"/>
                      <a:pt x="1304" y="2076"/>
                    </a:cubicBezTo>
                    <a:cubicBezTo>
                      <a:pt x="1327" y="2061"/>
                      <a:pt x="1334" y="2038"/>
                      <a:pt x="1356" y="2016"/>
                    </a:cubicBezTo>
                    <a:cubicBezTo>
                      <a:pt x="1379" y="1979"/>
                      <a:pt x="1409" y="1979"/>
                      <a:pt x="1432" y="1941"/>
                    </a:cubicBezTo>
                    <a:cubicBezTo>
                      <a:pt x="1439" y="1926"/>
                      <a:pt x="1454" y="1911"/>
                      <a:pt x="1462" y="1896"/>
                    </a:cubicBezTo>
                    <a:cubicBezTo>
                      <a:pt x="1476" y="1881"/>
                      <a:pt x="1492" y="1873"/>
                      <a:pt x="1514" y="1866"/>
                    </a:cubicBezTo>
                    <a:cubicBezTo>
                      <a:pt x="1536" y="1843"/>
                      <a:pt x="1559" y="1829"/>
                      <a:pt x="1589" y="1829"/>
                    </a:cubicBezTo>
                    <a:cubicBezTo>
                      <a:pt x="1596" y="1829"/>
                      <a:pt x="1596" y="1836"/>
                      <a:pt x="1604" y="1836"/>
                    </a:cubicBezTo>
                    <a:cubicBezTo>
                      <a:pt x="1619" y="1836"/>
                      <a:pt x="1626" y="1821"/>
                      <a:pt x="1626" y="1814"/>
                    </a:cubicBezTo>
                    <a:cubicBezTo>
                      <a:pt x="1634" y="1791"/>
                      <a:pt x="1641" y="1776"/>
                      <a:pt x="1649" y="1761"/>
                    </a:cubicBezTo>
                    <a:cubicBezTo>
                      <a:pt x="1656" y="1754"/>
                      <a:pt x="1664" y="1746"/>
                      <a:pt x="1679" y="1739"/>
                    </a:cubicBezTo>
                    <a:cubicBezTo>
                      <a:pt x="1694" y="1724"/>
                      <a:pt x="1701" y="1709"/>
                      <a:pt x="1716" y="1694"/>
                    </a:cubicBezTo>
                    <a:cubicBezTo>
                      <a:pt x="1739" y="1664"/>
                      <a:pt x="1746" y="1641"/>
                      <a:pt x="1769" y="1619"/>
                    </a:cubicBezTo>
                    <a:cubicBezTo>
                      <a:pt x="1784" y="1589"/>
                      <a:pt x="1806" y="1581"/>
                      <a:pt x="1829" y="1566"/>
                    </a:cubicBezTo>
                    <a:cubicBezTo>
                      <a:pt x="1889" y="1536"/>
                      <a:pt x="1919" y="1506"/>
                      <a:pt x="1971" y="1476"/>
                    </a:cubicBezTo>
                    <a:cubicBezTo>
                      <a:pt x="1993" y="1461"/>
                      <a:pt x="2009" y="1454"/>
                      <a:pt x="2023" y="1432"/>
                    </a:cubicBezTo>
                    <a:cubicBezTo>
                      <a:pt x="2046" y="1402"/>
                      <a:pt x="2061" y="1386"/>
                      <a:pt x="2061" y="1349"/>
                    </a:cubicBezTo>
                    <a:cubicBezTo>
                      <a:pt x="2061" y="1334"/>
                      <a:pt x="2061" y="1326"/>
                      <a:pt x="2053" y="1319"/>
                    </a:cubicBezTo>
                    <a:cubicBezTo>
                      <a:pt x="2039" y="1304"/>
                      <a:pt x="2023" y="1297"/>
                      <a:pt x="2009" y="1282"/>
                    </a:cubicBezTo>
                    <a:cubicBezTo>
                      <a:pt x="2016" y="1282"/>
                      <a:pt x="2016" y="1274"/>
                      <a:pt x="2023" y="1274"/>
                    </a:cubicBezTo>
                    <a:cubicBezTo>
                      <a:pt x="2031" y="1274"/>
                      <a:pt x="2039" y="1282"/>
                      <a:pt x="2053" y="1282"/>
                    </a:cubicBezTo>
                    <a:cubicBezTo>
                      <a:pt x="2076" y="1282"/>
                      <a:pt x="2091" y="1282"/>
                      <a:pt x="2106" y="1267"/>
                    </a:cubicBezTo>
                    <a:cubicBezTo>
                      <a:pt x="2121" y="1259"/>
                      <a:pt x="2121" y="1244"/>
                      <a:pt x="2128" y="1229"/>
                    </a:cubicBezTo>
                    <a:cubicBezTo>
                      <a:pt x="2136" y="1214"/>
                      <a:pt x="2143" y="1207"/>
                      <a:pt x="2158" y="1199"/>
                    </a:cubicBezTo>
                    <a:cubicBezTo>
                      <a:pt x="2196" y="1184"/>
                      <a:pt x="2218" y="1177"/>
                      <a:pt x="2248" y="1169"/>
                    </a:cubicBezTo>
                    <a:cubicBezTo>
                      <a:pt x="2263" y="1169"/>
                      <a:pt x="2271" y="1162"/>
                      <a:pt x="2278" y="1162"/>
                    </a:cubicBezTo>
                    <a:cubicBezTo>
                      <a:pt x="2353" y="1162"/>
                      <a:pt x="2353" y="1162"/>
                      <a:pt x="2353" y="1162"/>
                    </a:cubicBezTo>
                    <a:cubicBezTo>
                      <a:pt x="2361" y="1162"/>
                      <a:pt x="2368" y="1162"/>
                      <a:pt x="2376" y="1154"/>
                    </a:cubicBezTo>
                    <a:cubicBezTo>
                      <a:pt x="2391" y="1154"/>
                      <a:pt x="2398" y="1147"/>
                      <a:pt x="2413" y="1147"/>
                    </a:cubicBezTo>
                    <a:cubicBezTo>
                      <a:pt x="2466" y="1124"/>
                      <a:pt x="2488" y="1094"/>
                      <a:pt x="2526" y="1064"/>
                    </a:cubicBezTo>
                    <a:cubicBezTo>
                      <a:pt x="2548" y="1087"/>
                      <a:pt x="2578" y="1087"/>
                      <a:pt x="2615" y="1087"/>
                    </a:cubicBezTo>
                    <a:cubicBezTo>
                      <a:pt x="2645" y="1087"/>
                      <a:pt x="2661" y="1079"/>
                      <a:pt x="2691" y="1079"/>
                    </a:cubicBezTo>
                    <a:cubicBezTo>
                      <a:pt x="2713" y="1079"/>
                      <a:pt x="2728" y="1079"/>
                      <a:pt x="2758" y="1072"/>
                    </a:cubicBezTo>
                    <a:cubicBezTo>
                      <a:pt x="2735" y="1102"/>
                      <a:pt x="2713" y="1117"/>
                      <a:pt x="2713" y="1154"/>
                    </a:cubicBezTo>
                    <a:cubicBezTo>
                      <a:pt x="2713" y="1177"/>
                      <a:pt x="2720" y="1192"/>
                      <a:pt x="2735" y="1214"/>
                    </a:cubicBezTo>
                    <a:cubicBezTo>
                      <a:pt x="2751" y="1229"/>
                      <a:pt x="2758" y="1229"/>
                      <a:pt x="2765" y="1244"/>
                    </a:cubicBezTo>
                    <a:cubicBezTo>
                      <a:pt x="2788" y="1252"/>
                      <a:pt x="2795" y="1259"/>
                      <a:pt x="2818" y="1259"/>
                    </a:cubicBezTo>
                    <a:cubicBezTo>
                      <a:pt x="2833" y="1259"/>
                      <a:pt x="2840" y="1252"/>
                      <a:pt x="2855" y="1244"/>
                    </a:cubicBezTo>
                    <a:cubicBezTo>
                      <a:pt x="2878" y="1229"/>
                      <a:pt x="2893" y="1214"/>
                      <a:pt x="2915" y="1192"/>
                    </a:cubicBezTo>
                    <a:cubicBezTo>
                      <a:pt x="2938" y="1169"/>
                      <a:pt x="2945" y="1162"/>
                      <a:pt x="2960" y="1139"/>
                    </a:cubicBezTo>
                    <a:cubicBezTo>
                      <a:pt x="2975" y="1124"/>
                      <a:pt x="2983" y="1109"/>
                      <a:pt x="2998" y="1109"/>
                    </a:cubicBezTo>
                    <a:cubicBezTo>
                      <a:pt x="3013" y="1109"/>
                      <a:pt x="3013" y="1117"/>
                      <a:pt x="3020" y="1117"/>
                    </a:cubicBezTo>
                    <a:cubicBezTo>
                      <a:pt x="3028" y="1124"/>
                      <a:pt x="3035" y="1124"/>
                      <a:pt x="3043" y="1132"/>
                    </a:cubicBezTo>
                    <a:cubicBezTo>
                      <a:pt x="3080" y="1147"/>
                      <a:pt x="3103" y="1147"/>
                      <a:pt x="3148" y="1162"/>
                    </a:cubicBezTo>
                    <a:cubicBezTo>
                      <a:pt x="3170" y="1162"/>
                      <a:pt x="3185" y="1169"/>
                      <a:pt x="3208" y="1169"/>
                    </a:cubicBezTo>
                    <a:cubicBezTo>
                      <a:pt x="3238" y="1177"/>
                      <a:pt x="3260" y="1184"/>
                      <a:pt x="3290" y="1184"/>
                    </a:cubicBezTo>
                    <a:cubicBezTo>
                      <a:pt x="3335" y="1184"/>
                      <a:pt x="3365" y="1184"/>
                      <a:pt x="3410" y="1177"/>
                    </a:cubicBezTo>
                    <a:cubicBezTo>
                      <a:pt x="3440" y="1169"/>
                      <a:pt x="3455" y="1154"/>
                      <a:pt x="3485" y="1147"/>
                    </a:cubicBezTo>
                    <a:cubicBezTo>
                      <a:pt x="3507" y="1147"/>
                      <a:pt x="3522" y="1147"/>
                      <a:pt x="3552" y="1147"/>
                    </a:cubicBezTo>
                    <a:cubicBezTo>
                      <a:pt x="3605" y="1147"/>
                      <a:pt x="3635" y="1139"/>
                      <a:pt x="3687" y="1132"/>
                    </a:cubicBezTo>
                    <a:cubicBezTo>
                      <a:pt x="3710" y="1132"/>
                      <a:pt x="3725" y="1124"/>
                      <a:pt x="3740" y="1124"/>
                    </a:cubicBezTo>
                    <a:cubicBezTo>
                      <a:pt x="3792" y="1109"/>
                      <a:pt x="3822" y="1109"/>
                      <a:pt x="3867" y="1087"/>
                    </a:cubicBezTo>
                    <a:cubicBezTo>
                      <a:pt x="3875" y="1087"/>
                      <a:pt x="3882" y="1079"/>
                      <a:pt x="3890" y="1072"/>
                    </a:cubicBezTo>
                    <a:cubicBezTo>
                      <a:pt x="3920" y="1057"/>
                      <a:pt x="3934" y="1057"/>
                      <a:pt x="3957" y="1042"/>
                    </a:cubicBezTo>
                    <a:cubicBezTo>
                      <a:pt x="3972" y="1034"/>
                      <a:pt x="3972" y="1027"/>
                      <a:pt x="3987" y="1019"/>
                    </a:cubicBezTo>
                    <a:lnTo>
                      <a:pt x="3987" y="1019"/>
                    </a:lnTo>
                    <a:lnTo>
                      <a:pt x="3987" y="1019"/>
                    </a:lnTo>
                    <a:cubicBezTo>
                      <a:pt x="3994" y="1034"/>
                      <a:pt x="4002" y="1042"/>
                      <a:pt x="4010" y="1049"/>
                    </a:cubicBezTo>
                    <a:cubicBezTo>
                      <a:pt x="4024" y="1064"/>
                      <a:pt x="4032" y="1057"/>
                      <a:pt x="4040" y="1072"/>
                    </a:cubicBezTo>
                    <a:cubicBezTo>
                      <a:pt x="4047" y="1087"/>
                      <a:pt x="4040" y="1102"/>
                      <a:pt x="4047" y="1124"/>
                    </a:cubicBezTo>
                    <a:cubicBezTo>
                      <a:pt x="4032" y="1162"/>
                      <a:pt x="4032" y="1162"/>
                      <a:pt x="4032" y="1162"/>
                    </a:cubicBezTo>
                    <a:cubicBezTo>
                      <a:pt x="4047" y="1192"/>
                      <a:pt x="4054" y="1207"/>
                      <a:pt x="4062" y="1237"/>
                    </a:cubicBezTo>
                    <a:cubicBezTo>
                      <a:pt x="4062" y="1244"/>
                      <a:pt x="4062" y="1252"/>
                      <a:pt x="4069" y="1259"/>
                    </a:cubicBezTo>
                    <a:cubicBezTo>
                      <a:pt x="4077" y="1267"/>
                      <a:pt x="4099" y="1259"/>
                      <a:pt x="4107" y="1274"/>
                    </a:cubicBezTo>
                    <a:cubicBezTo>
                      <a:pt x="4107" y="1282"/>
                      <a:pt x="4099" y="1282"/>
                      <a:pt x="4099" y="1289"/>
                    </a:cubicBezTo>
                    <a:cubicBezTo>
                      <a:pt x="4099" y="1334"/>
                      <a:pt x="4099" y="1334"/>
                      <a:pt x="4099" y="1334"/>
                    </a:cubicBezTo>
                    <a:cubicBezTo>
                      <a:pt x="4099" y="1349"/>
                      <a:pt x="4114" y="1356"/>
                      <a:pt x="4122" y="1372"/>
                    </a:cubicBezTo>
                    <a:cubicBezTo>
                      <a:pt x="4129" y="1379"/>
                      <a:pt x="4129" y="1394"/>
                      <a:pt x="4129" y="1409"/>
                    </a:cubicBezTo>
                    <a:cubicBezTo>
                      <a:pt x="4129" y="1439"/>
                      <a:pt x="4144" y="1454"/>
                      <a:pt x="4144" y="1484"/>
                    </a:cubicBezTo>
                    <a:lnTo>
                      <a:pt x="4137" y="1491"/>
                    </a:lnTo>
                    <a:cubicBezTo>
                      <a:pt x="4129" y="1506"/>
                      <a:pt x="4122" y="1521"/>
                      <a:pt x="4107" y="1529"/>
                    </a:cubicBezTo>
                    <a:cubicBezTo>
                      <a:pt x="4107" y="1536"/>
                      <a:pt x="4099" y="1536"/>
                      <a:pt x="4099" y="1536"/>
                    </a:cubicBezTo>
                    <a:cubicBezTo>
                      <a:pt x="4084" y="1544"/>
                      <a:pt x="4077" y="1559"/>
                      <a:pt x="4062" y="1566"/>
                    </a:cubicBezTo>
                    <a:cubicBezTo>
                      <a:pt x="4047" y="1559"/>
                      <a:pt x="4047" y="1551"/>
                      <a:pt x="4040" y="1544"/>
                    </a:cubicBezTo>
                    <a:close/>
                  </a:path>
                </a:pathLst>
              </a:custGeom>
              <a:grpFill/>
              <a:ln w="6350"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a:latin typeface="Calibri" panose="020F0502020204030204" pitchFamily="34" charset="0"/>
                </a:endParaRPr>
              </a:p>
            </p:txBody>
          </p:sp>
          <p:sp>
            <p:nvSpPr>
              <p:cNvPr id="19" name="Freeform 133">
                <a:extLst>
                  <a:ext uri="{FF2B5EF4-FFF2-40B4-BE49-F238E27FC236}">
                    <a16:creationId xmlns:a16="http://schemas.microsoft.com/office/drawing/2014/main" id="{639AFB42-4A51-0FAE-AEF5-1112A1811228}"/>
                  </a:ext>
                </a:extLst>
              </p:cNvPr>
              <p:cNvSpPr>
                <a:spLocks noChangeArrowheads="1"/>
              </p:cNvSpPr>
              <p:nvPr/>
            </p:nvSpPr>
            <p:spPr bwMode="auto">
              <a:xfrm>
                <a:off x="3909898" y="9988403"/>
                <a:ext cx="1341235" cy="1084110"/>
              </a:xfrm>
              <a:custGeom>
                <a:avLst/>
                <a:gdLst>
                  <a:gd name="T0" fmla="*/ 1207 w 3104"/>
                  <a:gd name="T1" fmla="*/ 472 h 2511"/>
                  <a:gd name="T2" fmla="*/ 1259 w 3104"/>
                  <a:gd name="T3" fmla="*/ 479 h 2511"/>
                  <a:gd name="T4" fmla="*/ 1207 w 3104"/>
                  <a:gd name="T5" fmla="*/ 524 h 2511"/>
                  <a:gd name="T6" fmla="*/ 1169 w 3104"/>
                  <a:gd name="T7" fmla="*/ 554 h 2511"/>
                  <a:gd name="T8" fmla="*/ 1237 w 3104"/>
                  <a:gd name="T9" fmla="*/ 539 h 2511"/>
                  <a:gd name="T10" fmla="*/ 675 w 3104"/>
                  <a:gd name="T11" fmla="*/ 779 h 2511"/>
                  <a:gd name="T12" fmla="*/ 757 w 3104"/>
                  <a:gd name="T13" fmla="*/ 966 h 2511"/>
                  <a:gd name="T14" fmla="*/ 929 w 3104"/>
                  <a:gd name="T15" fmla="*/ 734 h 2511"/>
                  <a:gd name="T16" fmla="*/ 1079 w 3104"/>
                  <a:gd name="T17" fmla="*/ 614 h 2511"/>
                  <a:gd name="T18" fmla="*/ 1222 w 3104"/>
                  <a:gd name="T19" fmla="*/ 824 h 2511"/>
                  <a:gd name="T20" fmla="*/ 1521 w 3104"/>
                  <a:gd name="T21" fmla="*/ 786 h 2511"/>
                  <a:gd name="T22" fmla="*/ 1769 w 3104"/>
                  <a:gd name="T23" fmla="*/ 786 h 2511"/>
                  <a:gd name="T24" fmla="*/ 1844 w 3104"/>
                  <a:gd name="T25" fmla="*/ 532 h 2511"/>
                  <a:gd name="T26" fmla="*/ 2001 w 3104"/>
                  <a:gd name="T27" fmla="*/ 382 h 2511"/>
                  <a:gd name="T28" fmla="*/ 2256 w 3104"/>
                  <a:gd name="T29" fmla="*/ 254 h 2511"/>
                  <a:gd name="T30" fmla="*/ 2436 w 3104"/>
                  <a:gd name="T31" fmla="*/ 232 h 2511"/>
                  <a:gd name="T32" fmla="*/ 2533 w 3104"/>
                  <a:gd name="T33" fmla="*/ 292 h 2511"/>
                  <a:gd name="T34" fmla="*/ 2646 w 3104"/>
                  <a:gd name="T35" fmla="*/ 389 h 2511"/>
                  <a:gd name="T36" fmla="*/ 2855 w 3104"/>
                  <a:gd name="T37" fmla="*/ 457 h 2511"/>
                  <a:gd name="T38" fmla="*/ 2960 w 3104"/>
                  <a:gd name="T39" fmla="*/ 569 h 2511"/>
                  <a:gd name="T40" fmla="*/ 2945 w 3104"/>
                  <a:gd name="T41" fmla="*/ 756 h 2511"/>
                  <a:gd name="T42" fmla="*/ 3043 w 3104"/>
                  <a:gd name="T43" fmla="*/ 846 h 2511"/>
                  <a:gd name="T44" fmla="*/ 3103 w 3104"/>
                  <a:gd name="T45" fmla="*/ 1011 h 2511"/>
                  <a:gd name="T46" fmla="*/ 2878 w 3104"/>
                  <a:gd name="T47" fmla="*/ 1161 h 2511"/>
                  <a:gd name="T48" fmla="*/ 2586 w 3104"/>
                  <a:gd name="T49" fmla="*/ 1461 h 2511"/>
                  <a:gd name="T50" fmla="*/ 2428 w 3104"/>
                  <a:gd name="T51" fmla="*/ 1761 h 2511"/>
                  <a:gd name="T52" fmla="*/ 2361 w 3104"/>
                  <a:gd name="T53" fmla="*/ 1701 h 2511"/>
                  <a:gd name="T54" fmla="*/ 2226 w 3104"/>
                  <a:gd name="T55" fmla="*/ 1536 h 2511"/>
                  <a:gd name="T56" fmla="*/ 2083 w 3104"/>
                  <a:gd name="T57" fmla="*/ 1446 h 2511"/>
                  <a:gd name="T58" fmla="*/ 1694 w 3104"/>
                  <a:gd name="T59" fmla="*/ 1491 h 2511"/>
                  <a:gd name="T60" fmla="*/ 1514 w 3104"/>
                  <a:gd name="T61" fmla="*/ 1596 h 2511"/>
                  <a:gd name="T62" fmla="*/ 1401 w 3104"/>
                  <a:gd name="T63" fmla="*/ 1746 h 2511"/>
                  <a:gd name="T64" fmla="*/ 1357 w 3104"/>
                  <a:gd name="T65" fmla="*/ 1918 h 2511"/>
                  <a:gd name="T66" fmla="*/ 1274 w 3104"/>
                  <a:gd name="T67" fmla="*/ 2038 h 2511"/>
                  <a:gd name="T68" fmla="*/ 1139 w 3104"/>
                  <a:gd name="T69" fmla="*/ 2165 h 2511"/>
                  <a:gd name="T70" fmla="*/ 1132 w 3104"/>
                  <a:gd name="T71" fmla="*/ 2315 h 2511"/>
                  <a:gd name="T72" fmla="*/ 1124 w 3104"/>
                  <a:gd name="T73" fmla="*/ 2473 h 2511"/>
                  <a:gd name="T74" fmla="*/ 1064 w 3104"/>
                  <a:gd name="T75" fmla="*/ 2450 h 2511"/>
                  <a:gd name="T76" fmla="*/ 862 w 3104"/>
                  <a:gd name="T77" fmla="*/ 2487 h 2511"/>
                  <a:gd name="T78" fmla="*/ 712 w 3104"/>
                  <a:gd name="T79" fmla="*/ 2450 h 2511"/>
                  <a:gd name="T80" fmla="*/ 645 w 3104"/>
                  <a:gd name="T81" fmla="*/ 2255 h 2511"/>
                  <a:gd name="T82" fmla="*/ 547 w 3104"/>
                  <a:gd name="T83" fmla="*/ 2203 h 2511"/>
                  <a:gd name="T84" fmla="*/ 502 w 3104"/>
                  <a:gd name="T85" fmla="*/ 2068 h 2511"/>
                  <a:gd name="T86" fmla="*/ 525 w 3104"/>
                  <a:gd name="T87" fmla="*/ 1985 h 2511"/>
                  <a:gd name="T88" fmla="*/ 502 w 3104"/>
                  <a:gd name="T89" fmla="*/ 1911 h 2511"/>
                  <a:gd name="T90" fmla="*/ 585 w 3104"/>
                  <a:gd name="T91" fmla="*/ 1821 h 2511"/>
                  <a:gd name="T92" fmla="*/ 532 w 3104"/>
                  <a:gd name="T93" fmla="*/ 1761 h 2511"/>
                  <a:gd name="T94" fmla="*/ 427 w 3104"/>
                  <a:gd name="T95" fmla="*/ 1716 h 2511"/>
                  <a:gd name="T96" fmla="*/ 427 w 3104"/>
                  <a:gd name="T97" fmla="*/ 1566 h 2511"/>
                  <a:gd name="T98" fmla="*/ 240 w 3104"/>
                  <a:gd name="T99" fmla="*/ 1558 h 2511"/>
                  <a:gd name="T100" fmla="*/ 105 w 3104"/>
                  <a:gd name="T101" fmla="*/ 1618 h 2511"/>
                  <a:gd name="T102" fmla="*/ 225 w 3104"/>
                  <a:gd name="T103" fmla="*/ 1521 h 2511"/>
                  <a:gd name="T104" fmla="*/ 450 w 3104"/>
                  <a:gd name="T105" fmla="*/ 1386 h 2511"/>
                  <a:gd name="T106" fmla="*/ 712 w 3104"/>
                  <a:gd name="T107" fmla="*/ 1191 h 2511"/>
                  <a:gd name="T108" fmla="*/ 757 w 3104"/>
                  <a:gd name="T109" fmla="*/ 966 h 2511"/>
                  <a:gd name="T110" fmla="*/ 2443 w 3104"/>
                  <a:gd name="T111" fmla="*/ 105 h 2511"/>
                  <a:gd name="T112" fmla="*/ 2526 w 3104"/>
                  <a:gd name="T113" fmla="*/ 187 h 2511"/>
                  <a:gd name="T114" fmla="*/ 2608 w 3104"/>
                  <a:gd name="T115" fmla="*/ 157 h 2511"/>
                  <a:gd name="T116" fmla="*/ 2660 w 3104"/>
                  <a:gd name="T117" fmla="*/ 45 h 2511"/>
                  <a:gd name="T118" fmla="*/ 2593 w 3104"/>
                  <a:gd name="T119" fmla="*/ 7 h 2511"/>
                  <a:gd name="T120" fmla="*/ 2458 w 3104"/>
                  <a:gd name="T121" fmla="*/ 52 h 2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04" h="2511">
                    <a:moveTo>
                      <a:pt x="1237" y="449"/>
                    </a:moveTo>
                    <a:lnTo>
                      <a:pt x="1237" y="449"/>
                    </a:lnTo>
                    <a:cubicBezTo>
                      <a:pt x="1207" y="449"/>
                      <a:pt x="1207" y="449"/>
                      <a:pt x="1207" y="449"/>
                    </a:cubicBezTo>
                    <a:cubicBezTo>
                      <a:pt x="1207" y="457"/>
                      <a:pt x="1207" y="464"/>
                      <a:pt x="1207" y="472"/>
                    </a:cubicBezTo>
                    <a:cubicBezTo>
                      <a:pt x="1207" y="479"/>
                      <a:pt x="1207" y="487"/>
                      <a:pt x="1214" y="487"/>
                    </a:cubicBezTo>
                    <a:cubicBezTo>
                      <a:pt x="1222" y="494"/>
                      <a:pt x="1222" y="502"/>
                      <a:pt x="1229" y="502"/>
                    </a:cubicBezTo>
                    <a:cubicBezTo>
                      <a:pt x="1259" y="502"/>
                      <a:pt x="1259" y="502"/>
                      <a:pt x="1259" y="502"/>
                    </a:cubicBezTo>
                    <a:cubicBezTo>
                      <a:pt x="1259" y="494"/>
                      <a:pt x="1259" y="487"/>
                      <a:pt x="1259" y="479"/>
                    </a:cubicBezTo>
                    <a:cubicBezTo>
                      <a:pt x="1259" y="472"/>
                      <a:pt x="1252" y="472"/>
                      <a:pt x="1252" y="464"/>
                    </a:cubicBezTo>
                    <a:cubicBezTo>
                      <a:pt x="1244" y="457"/>
                      <a:pt x="1244" y="457"/>
                      <a:pt x="1237" y="449"/>
                    </a:cubicBezTo>
                    <a:close/>
                    <a:moveTo>
                      <a:pt x="1207" y="524"/>
                    </a:moveTo>
                    <a:lnTo>
                      <a:pt x="1207" y="524"/>
                    </a:lnTo>
                    <a:cubicBezTo>
                      <a:pt x="1207" y="517"/>
                      <a:pt x="1207" y="509"/>
                      <a:pt x="1199" y="502"/>
                    </a:cubicBezTo>
                    <a:cubicBezTo>
                      <a:pt x="1192" y="509"/>
                      <a:pt x="1184" y="509"/>
                      <a:pt x="1177" y="509"/>
                    </a:cubicBezTo>
                    <a:cubicBezTo>
                      <a:pt x="1169" y="517"/>
                      <a:pt x="1154" y="517"/>
                      <a:pt x="1154" y="524"/>
                    </a:cubicBezTo>
                    <a:cubicBezTo>
                      <a:pt x="1154" y="532"/>
                      <a:pt x="1169" y="539"/>
                      <a:pt x="1169" y="554"/>
                    </a:cubicBezTo>
                    <a:cubicBezTo>
                      <a:pt x="1169" y="562"/>
                      <a:pt x="1154" y="562"/>
                      <a:pt x="1154" y="576"/>
                    </a:cubicBezTo>
                    <a:cubicBezTo>
                      <a:pt x="1154" y="592"/>
                      <a:pt x="1154" y="592"/>
                      <a:pt x="1162" y="606"/>
                    </a:cubicBezTo>
                    <a:cubicBezTo>
                      <a:pt x="1177" y="599"/>
                      <a:pt x="1192" y="592"/>
                      <a:pt x="1207" y="569"/>
                    </a:cubicBezTo>
                    <a:cubicBezTo>
                      <a:pt x="1214" y="562"/>
                      <a:pt x="1229" y="554"/>
                      <a:pt x="1237" y="539"/>
                    </a:cubicBezTo>
                    <a:cubicBezTo>
                      <a:pt x="1222" y="539"/>
                      <a:pt x="1214" y="532"/>
                      <a:pt x="1207" y="524"/>
                    </a:cubicBezTo>
                    <a:close/>
                    <a:moveTo>
                      <a:pt x="705" y="771"/>
                    </a:moveTo>
                    <a:lnTo>
                      <a:pt x="705" y="771"/>
                    </a:lnTo>
                    <a:cubicBezTo>
                      <a:pt x="697" y="771"/>
                      <a:pt x="682" y="771"/>
                      <a:pt x="675" y="779"/>
                    </a:cubicBezTo>
                    <a:cubicBezTo>
                      <a:pt x="659" y="794"/>
                      <a:pt x="659" y="809"/>
                      <a:pt x="645" y="824"/>
                    </a:cubicBezTo>
                    <a:cubicBezTo>
                      <a:pt x="667" y="831"/>
                      <a:pt x="682" y="831"/>
                      <a:pt x="705" y="824"/>
                    </a:cubicBezTo>
                    <a:cubicBezTo>
                      <a:pt x="705" y="809"/>
                      <a:pt x="705" y="794"/>
                      <a:pt x="705" y="771"/>
                    </a:cubicBezTo>
                    <a:close/>
                    <a:moveTo>
                      <a:pt x="757" y="966"/>
                    </a:moveTo>
                    <a:lnTo>
                      <a:pt x="757" y="966"/>
                    </a:lnTo>
                    <a:cubicBezTo>
                      <a:pt x="757" y="936"/>
                      <a:pt x="787" y="944"/>
                      <a:pt x="809" y="921"/>
                    </a:cubicBezTo>
                    <a:cubicBezTo>
                      <a:pt x="824" y="906"/>
                      <a:pt x="824" y="884"/>
                      <a:pt x="832" y="861"/>
                    </a:cubicBezTo>
                    <a:cubicBezTo>
                      <a:pt x="847" y="794"/>
                      <a:pt x="892" y="779"/>
                      <a:pt x="929" y="734"/>
                    </a:cubicBezTo>
                    <a:cubicBezTo>
                      <a:pt x="967" y="696"/>
                      <a:pt x="1027" y="712"/>
                      <a:pt x="1049" y="666"/>
                    </a:cubicBezTo>
                    <a:cubicBezTo>
                      <a:pt x="1057" y="644"/>
                      <a:pt x="1049" y="629"/>
                      <a:pt x="1064" y="614"/>
                    </a:cubicBezTo>
                    <a:cubicBezTo>
                      <a:pt x="1064" y="614"/>
                      <a:pt x="1064" y="606"/>
                      <a:pt x="1064" y="599"/>
                    </a:cubicBezTo>
                    <a:cubicBezTo>
                      <a:pt x="1072" y="599"/>
                      <a:pt x="1079" y="606"/>
                      <a:pt x="1079" y="614"/>
                    </a:cubicBezTo>
                    <a:cubicBezTo>
                      <a:pt x="1094" y="622"/>
                      <a:pt x="1109" y="622"/>
                      <a:pt x="1117" y="636"/>
                    </a:cubicBezTo>
                    <a:cubicBezTo>
                      <a:pt x="1132" y="644"/>
                      <a:pt x="1132" y="659"/>
                      <a:pt x="1139" y="674"/>
                    </a:cubicBezTo>
                    <a:cubicBezTo>
                      <a:pt x="1162" y="712"/>
                      <a:pt x="1162" y="734"/>
                      <a:pt x="1177" y="771"/>
                    </a:cubicBezTo>
                    <a:cubicBezTo>
                      <a:pt x="1192" y="794"/>
                      <a:pt x="1207" y="809"/>
                      <a:pt x="1222" y="824"/>
                    </a:cubicBezTo>
                    <a:cubicBezTo>
                      <a:pt x="1237" y="831"/>
                      <a:pt x="1252" y="846"/>
                      <a:pt x="1267" y="846"/>
                    </a:cubicBezTo>
                    <a:cubicBezTo>
                      <a:pt x="1311" y="861"/>
                      <a:pt x="1349" y="861"/>
                      <a:pt x="1394" y="839"/>
                    </a:cubicBezTo>
                    <a:cubicBezTo>
                      <a:pt x="1416" y="824"/>
                      <a:pt x="1431" y="809"/>
                      <a:pt x="1454" y="801"/>
                    </a:cubicBezTo>
                    <a:cubicBezTo>
                      <a:pt x="1476" y="794"/>
                      <a:pt x="1491" y="786"/>
                      <a:pt x="1521" y="786"/>
                    </a:cubicBezTo>
                    <a:cubicBezTo>
                      <a:pt x="1581" y="786"/>
                      <a:pt x="1581" y="786"/>
                      <a:pt x="1581" y="786"/>
                    </a:cubicBezTo>
                    <a:cubicBezTo>
                      <a:pt x="1619" y="786"/>
                      <a:pt x="1634" y="809"/>
                      <a:pt x="1671" y="809"/>
                    </a:cubicBezTo>
                    <a:cubicBezTo>
                      <a:pt x="1686" y="809"/>
                      <a:pt x="1701" y="794"/>
                      <a:pt x="1716" y="794"/>
                    </a:cubicBezTo>
                    <a:cubicBezTo>
                      <a:pt x="1739" y="786"/>
                      <a:pt x="1746" y="794"/>
                      <a:pt x="1769" y="786"/>
                    </a:cubicBezTo>
                    <a:cubicBezTo>
                      <a:pt x="1784" y="786"/>
                      <a:pt x="1784" y="771"/>
                      <a:pt x="1791" y="771"/>
                    </a:cubicBezTo>
                    <a:cubicBezTo>
                      <a:pt x="1806" y="764"/>
                      <a:pt x="1814" y="756"/>
                      <a:pt x="1821" y="749"/>
                    </a:cubicBezTo>
                    <a:cubicBezTo>
                      <a:pt x="1844" y="704"/>
                      <a:pt x="1851" y="674"/>
                      <a:pt x="1851" y="622"/>
                    </a:cubicBezTo>
                    <a:cubicBezTo>
                      <a:pt x="1851" y="584"/>
                      <a:pt x="1844" y="569"/>
                      <a:pt x="1844" y="532"/>
                    </a:cubicBezTo>
                    <a:cubicBezTo>
                      <a:pt x="1844" y="509"/>
                      <a:pt x="1851" y="502"/>
                      <a:pt x="1859" y="479"/>
                    </a:cubicBezTo>
                    <a:cubicBezTo>
                      <a:pt x="1874" y="457"/>
                      <a:pt x="1888" y="442"/>
                      <a:pt x="1911" y="427"/>
                    </a:cubicBezTo>
                    <a:cubicBezTo>
                      <a:pt x="1926" y="419"/>
                      <a:pt x="1941" y="419"/>
                      <a:pt x="1964" y="404"/>
                    </a:cubicBezTo>
                    <a:cubicBezTo>
                      <a:pt x="1978" y="397"/>
                      <a:pt x="1986" y="389"/>
                      <a:pt x="2001" y="382"/>
                    </a:cubicBezTo>
                    <a:cubicBezTo>
                      <a:pt x="2016" y="374"/>
                      <a:pt x="2024" y="359"/>
                      <a:pt x="2038" y="352"/>
                    </a:cubicBezTo>
                    <a:cubicBezTo>
                      <a:pt x="2076" y="337"/>
                      <a:pt x="2106" y="337"/>
                      <a:pt x="2143" y="322"/>
                    </a:cubicBezTo>
                    <a:cubicBezTo>
                      <a:pt x="2166" y="314"/>
                      <a:pt x="2158" y="284"/>
                      <a:pt x="2158" y="254"/>
                    </a:cubicBezTo>
                    <a:cubicBezTo>
                      <a:pt x="2256" y="254"/>
                      <a:pt x="2256" y="254"/>
                      <a:pt x="2256" y="254"/>
                    </a:cubicBezTo>
                    <a:cubicBezTo>
                      <a:pt x="2286" y="254"/>
                      <a:pt x="2301" y="269"/>
                      <a:pt x="2331" y="269"/>
                    </a:cubicBezTo>
                    <a:cubicBezTo>
                      <a:pt x="2353" y="269"/>
                      <a:pt x="2368" y="262"/>
                      <a:pt x="2391" y="254"/>
                    </a:cubicBezTo>
                    <a:cubicBezTo>
                      <a:pt x="2398" y="247"/>
                      <a:pt x="2406" y="232"/>
                      <a:pt x="2413" y="232"/>
                    </a:cubicBezTo>
                    <a:cubicBezTo>
                      <a:pt x="2436" y="232"/>
                      <a:pt x="2436" y="232"/>
                      <a:pt x="2436" y="232"/>
                    </a:cubicBezTo>
                    <a:cubicBezTo>
                      <a:pt x="2436" y="262"/>
                      <a:pt x="2436" y="277"/>
                      <a:pt x="2436" y="299"/>
                    </a:cubicBezTo>
                    <a:cubicBezTo>
                      <a:pt x="2458" y="299"/>
                      <a:pt x="2473" y="307"/>
                      <a:pt x="2496" y="307"/>
                    </a:cubicBezTo>
                    <a:cubicBezTo>
                      <a:pt x="2511" y="307"/>
                      <a:pt x="2511" y="292"/>
                      <a:pt x="2518" y="292"/>
                    </a:cubicBezTo>
                    <a:cubicBezTo>
                      <a:pt x="2518" y="284"/>
                      <a:pt x="2526" y="292"/>
                      <a:pt x="2533" y="292"/>
                    </a:cubicBezTo>
                    <a:cubicBezTo>
                      <a:pt x="2533" y="299"/>
                      <a:pt x="2533" y="307"/>
                      <a:pt x="2541" y="314"/>
                    </a:cubicBezTo>
                    <a:cubicBezTo>
                      <a:pt x="2541" y="322"/>
                      <a:pt x="2541" y="329"/>
                      <a:pt x="2548" y="337"/>
                    </a:cubicBezTo>
                    <a:cubicBezTo>
                      <a:pt x="2548" y="344"/>
                      <a:pt x="2563" y="344"/>
                      <a:pt x="2571" y="344"/>
                    </a:cubicBezTo>
                    <a:cubicBezTo>
                      <a:pt x="2600" y="352"/>
                      <a:pt x="2623" y="367"/>
                      <a:pt x="2646" y="389"/>
                    </a:cubicBezTo>
                    <a:cubicBezTo>
                      <a:pt x="2668" y="412"/>
                      <a:pt x="2690" y="419"/>
                      <a:pt x="2720" y="427"/>
                    </a:cubicBezTo>
                    <a:cubicBezTo>
                      <a:pt x="2758" y="427"/>
                      <a:pt x="2765" y="472"/>
                      <a:pt x="2803" y="472"/>
                    </a:cubicBezTo>
                    <a:cubicBezTo>
                      <a:pt x="2818" y="472"/>
                      <a:pt x="2825" y="472"/>
                      <a:pt x="2840" y="464"/>
                    </a:cubicBezTo>
                    <a:cubicBezTo>
                      <a:pt x="2848" y="464"/>
                      <a:pt x="2848" y="457"/>
                      <a:pt x="2855" y="457"/>
                    </a:cubicBezTo>
                    <a:cubicBezTo>
                      <a:pt x="2953" y="457"/>
                      <a:pt x="2953" y="457"/>
                      <a:pt x="2953" y="457"/>
                    </a:cubicBezTo>
                    <a:cubicBezTo>
                      <a:pt x="2960" y="464"/>
                      <a:pt x="2960" y="472"/>
                      <a:pt x="2960" y="479"/>
                    </a:cubicBezTo>
                    <a:cubicBezTo>
                      <a:pt x="2960" y="494"/>
                      <a:pt x="2953" y="502"/>
                      <a:pt x="2953" y="517"/>
                    </a:cubicBezTo>
                    <a:cubicBezTo>
                      <a:pt x="2953" y="539"/>
                      <a:pt x="2953" y="547"/>
                      <a:pt x="2960" y="569"/>
                    </a:cubicBezTo>
                    <a:cubicBezTo>
                      <a:pt x="2960" y="576"/>
                      <a:pt x="2968" y="584"/>
                      <a:pt x="2968" y="599"/>
                    </a:cubicBezTo>
                    <a:cubicBezTo>
                      <a:pt x="2968" y="614"/>
                      <a:pt x="2960" y="629"/>
                      <a:pt x="2953" y="644"/>
                    </a:cubicBezTo>
                    <a:cubicBezTo>
                      <a:pt x="2953" y="666"/>
                      <a:pt x="2960" y="674"/>
                      <a:pt x="2953" y="696"/>
                    </a:cubicBezTo>
                    <a:cubicBezTo>
                      <a:pt x="2953" y="719"/>
                      <a:pt x="2945" y="734"/>
                      <a:pt x="2945" y="756"/>
                    </a:cubicBezTo>
                    <a:cubicBezTo>
                      <a:pt x="2945" y="771"/>
                      <a:pt x="2945" y="801"/>
                      <a:pt x="2968" y="801"/>
                    </a:cubicBezTo>
                    <a:cubicBezTo>
                      <a:pt x="2983" y="801"/>
                      <a:pt x="2983" y="779"/>
                      <a:pt x="3005" y="779"/>
                    </a:cubicBezTo>
                    <a:cubicBezTo>
                      <a:pt x="3020" y="779"/>
                      <a:pt x="3020" y="809"/>
                      <a:pt x="3028" y="824"/>
                    </a:cubicBezTo>
                    <a:cubicBezTo>
                      <a:pt x="3028" y="831"/>
                      <a:pt x="3035" y="839"/>
                      <a:pt x="3043" y="846"/>
                    </a:cubicBezTo>
                    <a:cubicBezTo>
                      <a:pt x="3043" y="854"/>
                      <a:pt x="3058" y="861"/>
                      <a:pt x="3058" y="869"/>
                    </a:cubicBezTo>
                    <a:cubicBezTo>
                      <a:pt x="3058" y="914"/>
                      <a:pt x="2998" y="929"/>
                      <a:pt x="2998" y="974"/>
                    </a:cubicBezTo>
                    <a:cubicBezTo>
                      <a:pt x="2998" y="989"/>
                      <a:pt x="3020" y="981"/>
                      <a:pt x="3043" y="989"/>
                    </a:cubicBezTo>
                    <a:cubicBezTo>
                      <a:pt x="3065" y="996"/>
                      <a:pt x="3080" y="1004"/>
                      <a:pt x="3103" y="1011"/>
                    </a:cubicBezTo>
                    <a:cubicBezTo>
                      <a:pt x="3080" y="1026"/>
                      <a:pt x="3065" y="1034"/>
                      <a:pt x="3043" y="1049"/>
                    </a:cubicBezTo>
                    <a:cubicBezTo>
                      <a:pt x="3035" y="1056"/>
                      <a:pt x="3035" y="1056"/>
                      <a:pt x="3028" y="1064"/>
                    </a:cubicBezTo>
                    <a:cubicBezTo>
                      <a:pt x="2990" y="1094"/>
                      <a:pt x="2960" y="1109"/>
                      <a:pt x="2915" y="1139"/>
                    </a:cubicBezTo>
                    <a:cubicBezTo>
                      <a:pt x="2908" y="1146"/>
                      <a:pt x="2893" y="1154"/>
                      <a:pt x="2878" y="1161"/>
                    </a:cubicBezTo>
                    <a:cubicBezTo>
                      <a:pt x="2863" y="1176"/>
                      <a:pt x="2855" y="1191"/>
                      <a:pt x="2833" y="1206"/>
                    </a:cubicBezTo>
                    <a:cubicBezTo>
                      <a:pt x="2803" y="1236"/>
                      <a:pt x="2773" y="1244"/>
                      <a:pt x="2743" y="1274"/>
                    </a:cubicBezTo>
                    <a:cubicBezTo>
                      <a:pt x="2713" y="1304"/>
                      <a:pt x="2698" y="1318"/>
                      <a:pt x="2668" y="1341"/>
                    </a:cubicBezTo>
                    <a:cubicBezTo>
                      <a:pt x="2616" y="1371"/>
                      <a:pt x="2608" y="1408"/>
                      <a:pt x="2586" y="1461"/>
                    </a:cubicBezTo>
                    <a:cubicBezTo>
                      <a:pt x="2563" y="1498"/>
                      <a:pt x="2541" y="1521"/>
                      <a:pt x="2533" y="1558"/>
                    </a:cubicBezTo>
                    <a:cubicBezTo>
                      <a:pt x="2526" y="1581"/>
                      <a:pt x="2518" y="1588"/>
                      <a:pt x="2511" y="1611"/>
                    </a:cubicBezTo>
                    <a:cubicBezTo>
                      <a:pt x="2488" y="1686"/>
                      <a:pt x="2473" y="1731"/>
                      <a:pt x="2458" y="1805"/>
                    </a:cubicBezTo>
                    <a:cubicBezTo>
                      <a:pt x="2443" y="1791"/>
                      <a:pt x="2443" y="1776"/>
                      <a:pt x="2428" y="1761"/>
                    </a:cubicBezTo>
                    <a:cubicBezTo>
                      <a:pt x="2421" y="1746"/>
                      <a:pt x="2413" y="1738"/>
                      <a:pt x="2406" y="1738"/>
                    </a:cubicBezTo>
                    <a:cubicBezTo>
                      <a:pt x="2398" y="1731"/>
                      <a:pt x="2383" y="1738"/>
                      <a:pt x="2376" y="1731"/>
                    </a:cubicBezTo>
                    <a:cubicBezTo>
                      <a:pt x="2368" y="1723"/>
                      <a:pt x="2376" y="1716"/>
                      <a:pt x="2368" y="1708"/>
                    </a:cubicBezTo>
                    <a:cubicBezTo>
                      <a:pt x="2368" y="1701"/>
                      <a:pt x="2361" y="1701"/>
                      <a:pt x="2361" y="1701"/>
                    </a:cubicBezTo>
                    <a:cubicBezTo>
                      <a:pt x="2353" y="1686"/>
                      <a:pt x="2353" y="1678"/>
                      <a:pt x="2346" y="1671"/>
                    </a:cubicBezTo>
                    <a:cubicBezTo>
                      <a:pt x="2323" y="1641"/>
                      <a:pt x="2301" y="1633"/>
                      <a:pt x="2286" y="1603"/>
                    </a:cubicBezTo>
                    <a:cubicBezTo>
                      <a:pt x="2286" y="1596"/>
                      <a:pt x="2286" y="1581"/>
                      <a:pt x="2286" y="1573"/>
                    </a:cubicBezTo>
                    <a:cubicBezTo>
                      <a:pt x="2271" y="1551"/>
                      <a:pt x="2248" y="1543"/>
                      <a:pt x="2226" y="1536"/>
                    </a:cubicBezTo>
                    <a:cubicBezTo>
                      <a:pt x="2211" y="1528"/>
                      <a:pt x="2196" y="1528"/>
                      <a:pt x="2188" y="1521"/>
                    </a:cubicBezTo>
                    <a:cubicBezTo>
                      <a:pt x="2181" y="1506"/>
                      <a:pt x="2181" y="1491"/>
                      <a:pt x="2173" y="1483"/>
                    </a:cubicBezTo>
                    <a:cubicBezTo>
                      <a:pt x="2158" y="1461"/>
                      <a:pt x="2136" y="1468"/>
                      <a:pt x="2113" y="1453"/>
                    </a:cubicBezTo>
                    <a:cubicBezTo>
                      <a:pt x="2098" y="1453"/>
                      <a:pt x="2091" y="1446"/>
                      <a:pt x="2083" y="1446"/>
                    </a:cubicBezTo>
                    <a:cubicBezTo>
                      <a:pt x="2068" y="1438"/>
                      <a:pt x="2053" y="1431"/>
                      <a:pt x="2038" y="1431"/>
                    </a:cubicBezTo>
                    <a:cubicBezTo>
                      <a:pt x="1986" y="1416"/>
                      <a:pt x="1956" y="1416"/>
                      <a:pt x="1904" y="1416"/>
                    </a:cubicBezTo>
                    <a:cubicBezTo>
                      <a:pt x="1859" y="1416"/>
                      <a:pt x="1836" y="1408"/>
                      <a:pt x="1799" y="1423"/>
                    </a:cubicBezTo>
                    <a:cubicBezTo>
                      <a:pt x="1754" y="1446"/>
                      <a:pt x="1739" y="1476"/>
                      <a:pt x="1694" y="1491"/>
                    </a:cubicBezTo>
                    <a:cubicBezTo>
                      <a:pt x="1679" y="1498"/>
                      <a:pt x="1664" y="1506"/>
                      <a:pt x="1649" y="1513"/>
                    </a:cubicBezTo>
                    <a:cubicBezTo>
                      <a:pt x="1626" y="1521"/>
                      <a:pt x="1611" y="1521"/>
                      <a:pt x="1596" y="1528"/>
                    </a:cubicBezTo>
                    <a:cubicBezTo>
                      <a:pt x="1574" y="1536"/>
                      <a:pt x="1559" y="1543"/>
                      <a:pt x="1544" y="1558"/>
                    </a:cubicBezTo>
                    <a:cubicBezTo>
                      <a:pt x="1529" y="1573"/>
                      <a:pt x="1521" y="1581"/>
                      <a:pt x="1514" y="1596"/>
                    </a:cubicBezTo>
                    <a:cubicBezTo>
                      <a:pt x="1506" y="1611"/>
                      <a:pt x="1506" y="1626"/>
                      <a:pt x="1499" y="1626"/>
                    </a:cubicBezTo>
                    <a:cubicBezTo>
                      <a:pt x="1484" y="1626"/>
                      <a:pt x="1476" y="1611"/>
                      <a:pt x="1461" y="1611"/>
                    </a:cubicBezTo>
                    <a:cubicBezTo>
                      <a:pt x="1454" y="1611"/>
                      <a:pt x="1447" y="1611"/>
                      <a:pt x="1439" y="1611"/>
                    </a:cubicBezTo>
                    <a:cubicBezTo>
                      <a:pt x="1439" y="1663"/>
                      <a:pt x="1401" y="1693"/>
                      <a:pt x="1401" y="1746"/>
                    </a:cubicBezTo>
                    <a:cubicBezTo>
                      <a:pt x="1401" y="1776"/>
                      <a:pt x="1416" y="1791"/>
                      <a:pt x="1416" y="1828"/>
                    </a:cubicBezTo>
                    <a:cubicBezTo>
                      <a:pt x="1416" y="1851"/>
                      <a:pt x="1401" y="1858"/>
                      <a:pt x="1387" y="1873"/>
                    </a:cubicBezTo>
                    <a:cubicBezTo>
                      <a:pt x="1379" y="1888"/>
                      <a:pt x="1387" y="1903"/>
                      <a:pt x="1379" y="1911"/>
                    </a:cubicBezTo>
                    <a:cubicBezTo>
                      <a:pt x="1371" y="1918"/>
                      <a:pt x="1364" y="1918"/>
                      <a:pt x="1357" y="1918"/>
                    </a:cubicBezTo>
                    <a:cubicBezTo>
                      <a:pt x="1349" y="1918"/>
                      <a:pt x="1349" y="1911"/>
                      <a:pt x="1341" y="1903"/>
                    </a:cubicBezTo>
                    <a:cubicBezTo>
                      <a:pt x="1334" y="1948"/>
                      <a:pt x="1319" y="1970"/>
                      <a:pt x="1296" y="2008"/>
                    </a:cubicBezTo>
                    <a:cubicBezTo>
                      <a:pt x="1296" y="2015"/>
                      <a:pt x="1289" y="2023"/>
                      <a:pt x="1289" y="2030"/>
                    </a:cubicBezTo>
                    <a:cubicBezTo>
                      <a:pt x="1282" y="2038"/>
                      <a:pt x="1274" y="2038"/>
                      <a:pt x="1274" y="2038"/>
                    </a:cubicBezTo>
                    <a:cubicBezTo>
                      <a:pt x="1252" y="2068"/>
                      <a:pt x="1237" y="2083"/>
                      <a:pt x="1214" y="2113"/>
                    </a:cubicBezTo>
                    <a:cubicBezTo>
                      <a:pt x="1207" y="2105"/>
                      <a:pt x="1199" y="2098"/>
                      <a:pt x="1177" y="2098"/>
                    </a:cubicBezTo>
                    <a:cubicBezTo>
                      <a:pt x="1169" y="2098"/>
                      <a:pt x="1169" y="2105"/>
                      <a:pt x="1162" y="2113"/>
                    </a:cubicBezTo>
                    <a:cubicBezTo>
                      <a:pt x="1147" y="2135"/>
                      <a:pt x="1147" y="2143"/>
                      <a:pt x="1139" y="2165"/>
                    </a:cubicBezTo>
                    <a:cubicBezTo>
                      <a:pt x="1132" y="2180"/>
                      <a:pt x="1132" y="2188"/>
                      <a:pt x="1132" y="2203"/>
                    </a:cubicBezTo>
                    <a:cubicBezTo>
                      <a:pt x="1132" y="2218"/>
                      <a:pt x="1124" y="2225"/>
                      <a:pt x="1124" y="2240"/>
                    </a:cubicBezTo>
                    <a:cubicBezTo>
                      <a:pt x="1124" y="2263"/>
                      <a:pt x="1139" y="2270"/>
                      <a:pt x="1139" y="2293"/>
                    </a:cubicBezTo>
                    <a:cubicBezTo>
                      <a:pt x="1139" y="2300"/>
                      <a:pt x="1132" y="2308"/>
                      <a:pt x="1132" y="2315"/>
                    </a:cubicBezTo>
                    <a:cubicBezTo>
                      <a:pt x="1117" y="2315"/>
                      <a:pt x="1102" y="2323"/>
                      <a:pt x="1087" y="2315"/>
                    </a:cubicBezTo>
                    <a:cubicBezTo>
                      <a:pt x="1087" y="2345"/>
                      <a:pt x="1079" y="2360"/>
                      <a:pt x="1079" y="2390"/>
                    </a:cubicBezTo>
                    <a:cubicBezTo>
                      <a:pt x="1079" y="2413"/>
                      <a:pt x="1109" y="2413"/>
                      <a:pt x="1117" y="2435"/>
                    </a:cubicBezTo>
                    <a:cubicBezTo>
                      <a:pt x="1124" y="2450"/>
                      <a:pt x="1124" y="2458"/>
                      <a:pt x="1124" y="2473"/>
                    </a:cubicBezTo>
                    <a:cubicBezTo>
                      <a:pt x="1132" y="2487"/>
                      <a:pt x="1139" y="2487"/>
                      <a:pt x="1139" y="2503"/>
                    </a:cubicBezTo>
                    <a:lnTo>
                      <a:pt x="1132" y="2510"/>
                    </a:lnTo>
                    <a:cubicBezTo>
                      <a:pt x="1117" y="2503"/>
                      <a:pt x="1102" y="2503"/>
                      <a:pt x="1094" y="2487"/>
                    </a:cubicBezTo>
                    <a:cubicBezTo>
                      <a:pt x="1079" y="2480"/>
                      <a:pt x="1079" y="2458"/>
                      <a:pt x="1064" y="2450"/>
                    </a:cubicBezTo>
                    <a:cubicBezTo>
                      <a:pt x="1049" y="2443"/>
                      <a:pt x="1034" y="2443"/>
                      <a:pt x="1012" y="2443"/>
                    </a:cubicBezTo>
                    <a:cubicBezTo>
                      <a:pt x="974" y="2443"/>
                      <a:pt x="944" y="2450"/>
                      <a:pt x="914" y="2473"/>
                    </a:cubicBezTo>
                    <a:cubicBezTo>
                      <a:pt x="899" y="2480"/>
                      <a:pt x="892" y="2487"/>
                      <a:pt x="877" y="2487"/>
                    </a:cubicBezTo>
                    <a:cubicBezTo>
                      <a:pt x="869" y="2487"/>
                      <a:pt x="869" y="2487"/>
                      <a:pt x="862" y="2487"/>
                    </a:cubicBezTo>
                    <a:cubicBezTo>
                      <a:pt x="839" y="2473"/>
                      <a:pt x="832" y="2465"/>
                      <a:pt x="817" y="2450"/>
                    </a:cubicBezTo>
                    <a:cubicBezTo>
                      <a:pt x="817" y="2450"/>
                      <a:pt x="809" y="2450"/>
                      <a:pt x="802" y="2450"/>
                    </a:cubicBezTo>
                    <a:cubicBezTo>
                      <a:pt x="794" y="2443"/>
                      <a:pt x="794" y="2420"/>
                      <a:pt x="787" y="2420"/>
                    </a:cubicBezTo>
                    <a:cubicBezTo>
                      <a:pt x="757" y="2420"/>
                      <a:pt x="742" y="2450"/>
                      <a:pt x="712" y="2450"/>
                    </a:cubicBezTo>
                    <a:cubicBezTo>
                      <a:pt x="705" y="2450"/>
                      <a:pt x="705" y="2443"/>
                      <a:pt x="697" y="2443"/>
                    </a:cubicBezTo>
                    <a:cubicBezTo>
                      <a:pt x="742" y="2383"/>
                      <a:pt x="742" y="2338"/>
                      <a:pt x="787" y="2278"/>
                    </a:cubicBezTo>
                    <a:cubicBezTo>
                      <a:pt x="772" y="2263"/>
                      <a:pt x="757" y="2255"/>
                      <a:pt x="742" y="2255"/>
                    </a:cubicBezTo>
                    <a:cubicBezTo>
                      <a:pt x="645" y="2255"/>
                      <a:pt x="645" y="2255"/>
                      <a:pt x="645" y="2255"/>
                    </a:cubicBezTo>
                    <a:cubicBezTo>
                      <a:pt x="629" y="2248"/>
                      <a:pt x="622" y="2233"/>
                      <a:pt x="607" y="2225"/>
                    </a:cubicBezTo>
                    <a:cubicBezTo>
                      <a:pt x="599" y="2225"/>
                      <a:pt x="599" y="2218"/>
                      <a:pt x="592" y="2218"/>
                    </a:cubicBezTo>
                    <a:cubicBezTo>
                      <a:pt x="577" y="2218"/>
                      <a:pt x="562" y="2225"/>
                      <a:pt x="555" y="2218"/>
                    </a:cubicBezTo>
                    <a:cubicBezTo>
                      <a:pt x="547" y="2218"/>
                      <a:pt x="555" y="2210"/>
                      <a:pt x="547" y="2203"/>
                    </a:cubicBezTo>
                    <a:cubicBezTo>
                      <a:pt x="547" y="2203"/>
                      <a:pt x="540" y="2203"/>
                      <a:pt x="540" y="2195"/>
                    </a:cubicBezTo>
                    <a:cubicBezTo>
                      <a:pt x="540" y="2188"/>
                      <a:pt x="547" y="2188"/>
                      <a:pt x="547" y="2180"/>
                    </a:cubicBezTo>
                    <a:cubicBezTo>
                      <a:pt x="570" y="2180"/>
                      <a:pt x="570" y="2180"/>
                      <a:pt x="570" y="2180"/>
                    </a:cubicBezTo>
                    <a:cubicBezTo>
                      <a:pt x="547" y="2135"/>
                      <a:pt x="532" y="2113"/>
                      <a:pt x="502" y="2068"/>
                    </a:cubicBezTo>
                    <a:cubicBezTo>
                      <a:pt x="510" y="2068"/>
                      <a:pt x="517" y="2060"/>
                      <a:pt x="525" y="2053"/>
                    </a:cubicBezTo>
                    <a:cubicBezTo>
                      <a:pt x="517" y="2053"/>
                      <a:pt x="510" y="2053"/>
                      <a:pt x="510" y="2045"/>
                    </a:cubicBezTo>
                    <a:cubicBezTo>
                      <a:pt x="510" y="2030"/>
                      <a:pt x="517" y="2023"/>
                      <a:pt x="525" y="2008"/>
                    </a:cubicBezTo>
                    <a:cubicBezTo>
                      <a:pt x="525" y="2000"/>
                      <a:pt x="525" y="1993"/>
                      <a:pt x="525" y="1985"/>
                    </a:cubicBezTo>
                    <a:cubicBezTo>
                      <a:pt x="525" y="1978"/>
                      <a:pt x="540" y="1978"/>
                      <a:pt x="540" y="1970"/>
                    </a:cubicBezTo>
                    <a:cubicBezTo>
                      <a:pt x="540" y="1955"/>
                      <a:pt x="510" y="1948"/>
                      <a:pt x="487" y="1948"/>
                    </a:cubicBezTo>
                    <a:cubicBezTo>
                      <a:pt x="495" y="1948"/>
                      <a:pt x="487" y="1941"/>
                      <a:pt x="487" y="1941"/>
                    </a:cubicBezTo>
                    <a:cubicBezTo>
                      <a:pt x="495" y="1933"/>
                      <a:pt x="502" y="1925"/>
                      <a:pt x="502" y="1911"/>
                    </a:cubicBezTo>
                    <a:cubicBezTo>
                      <a:pt x="502" y="1903"/>
                      <a:pt x="502" y="1895"/>
                      <a:pt x="495" y="1888"/>
                    </a:cubicBezTo>
                    <a:cubicBezTo>
                      <a:pt x="517" y="1895"/>
                      <a:pt x="532" y="1903"/>
                      <a:pt x="555" y="1911"/>
                    </a:cubicBezTo>
                    <a:cubicBezTo>
                      <a:pt x="562" y="1895"/>
                      <a:pt x="555" y="1881"/>
                      <a:pt x="555" y="1865"/>
                    </a:cubicBezTo>
                    <a:cubicBezTo>
                      <a:pt x="562" y="1843"/>
                      <a:pt x="585" y="1835"/>
                      <a:pt x="585" y="1821"/>
                    </a:cubicBezTo>
                    <a:cubicBezTo>
                      <a:pt x="585" y="1813"/>
                      <a:pt x="585" y="1805"/>
                      <a:pt x="585" y="1805"/>
                    </a:cubicBezTo>
                    <a:cubicBezTo>
                      <a:pt x="577" y="1798"/>
                      <a:pt x="570" y="1805"/>
                      <a:pt x="570" y="1798"/>
                    </a:cubicBezTo>
                    <a:cubicBezTo>
                      <a:pt x="562" y="1791"/>
                      <a:pt x="562" y="1783"/>
                      <a:pt x="555" y="1776"/>
                    </a:cubicBezTo>
                    <a:cubicBezTo>
                      <a:pt x="547" y="1768"/>
                      <a:pt x="540" y="1768"/>
                      <a:pt x="532" y="1761"/>
                    </a:cubicBezTo>
                    <a:cubicBezTo>
                      <a:pt x="540" y="1746"/>
                      <a:pt x="547" y="1738"/>
                      <a:pt x="547" y="1723"/>
                    </a:cubicBezTo>
                    <a:cubicBezTo>
                      <a:pt x="540" y="1723"/>
                      <a:pt x="532" y="1716"/>
                      <a:pt x="525" y="1716"/>
                    </a:cubicBezTo>
                    <a:cubicBezTo>
                      <a:pt x="510" y="1716"/>
                      <a:pt x="502" y="1723"/>
                      <a:pt x="487" y="1723"/>
                    </a:cubicBezTo>
                    <a:cubicBezTo>
                      <a:pt x="465" y="1723"/>
                      <a:pt x="450" y="1716"/>
                      <a:pt x="427" y="1716"/>
                    </a:cubicBezTo>
                    <a:cubicBezTo>
                      <a:pt x="427" y="1678"/>
                      <a:pt x="427" y="1678"/>
                      <a:pt x="427" y="1678"/>
                    </a:cubicBezTo>
                    <a:cubicBezTo>
                      <a:pt x="427" y="1663"/>
                      <a:pt x="435" y="1648"/>
                      <a:pt x="450" y="1633"/>
                    </a:cubicBezTo>
                    <a:cubicBezTo>
                      <a:pt x="435" y="1633"/>
                      <a:pt x="420" y="1626"/>
                      <a:pt x="420" y="1611"/>
                    </a:cubicBezTo>
                    <a:cubicBezTo>
                      <a:pt x="420" y="1596"/>
                      <a:pt x="427" y="1581"/>
                      <a:pt x="427" y="1566"/>
                    </a:cubicBezTo>
                    <a:cubicBezTo>
                      <a:pt x="427" y="1543"/>
                      <a:pt x="412" y="1536"/>
                      <a:pt x="412" y="1513"/>
                    </a:cubicBezTo>
                    <a:cubicBezTo>
                      <a:pt x="360" y="1513"/>
                      <a:pt x="360" y="1513"/>
                      <a:pt x="360" y="1513"/>
                    </a:cubicBezTo>
                    <a:cubicBezTo>
                      <a:pt x="345" y="1513"/>
                      <a:pt x="330" y="1521"/>
                      <a:pt x="307" y="1528"/>
                    </a:cubicBezTo>
                    <a:cubicBezTo>
                      <a:pt x="285" y="1536"/>
                      <a:pt x="262" y="1543"/>
                      <a:pt x="240" y="1558"/>
                    </a:cubicBezTo>
                    <a:cubicBezTo>
                      <a:pt x="225" y="1566"/>
                      <a:pt x="210" y="1573"/>
                      <a:pt x="195" y="1588"/>
                    </a:cubicBezTo>
                    <a:cubicBezTo>
                      <a:pt x="180" y="1596"/>
                      <a:pt x="172" y="1596"/>
                      <a:pt x="158" y="1611"/>
                    </a:cubicBezTo>
                    <a:cubicBezTo>
                      <a:pt x="142" y="1611"/>
                      <a:pt x="142" y="1626"/>
                      <a:pt x="128" y="1626"/>
                    </a:cubicBezTo>
                    <a:cubicBezTo>
                      <a:pt x="120" y="1626"/>
                      <a:pt x="120" y="1618"/>
                      <a:pt x="105" y="1618"/>
                    </a:cubicBezTo>
                    <a:cubicBezTo>
                      <a:pt x="90" y="1618"/>
                      <a:pt x="82" y="1626"/>
                      <a:pt x="68" y="1633"/>
                    </a:cubicBezTo>
                    <a:cubicBezTo>
                      <a:pt x="52" y="1641"/>
                      <a:pt x="0" y="1663"/>
                      <a:pt x="23" y="1633"/>
                    </a:cubicBezTo>
                    <a:cubicBezTo>
                      <a:pt x="45" y="1603"/>
                      <a:pt x="68" y="1596"/>
                      <a:pt x="105" y="1581"/>
                    </a:cubicBezTo>
                    <a:cubicBezTo>
                      <a:pt x="150" y="1551"/>
                      <a:pt x="180" y="1536"/>
                      <a:pt x="225" y="1521"/>
                    </a:cubicBezTo>
                    <a:cubicBezTo>
                      <a:pt x="262" y="1506"/>
                      <a:pt x="285" y="1491"/>
                      <a:pt x="315" y="1476"/>
                    </a:cubicBezTo>
                    <a:cubicBezTo>
                      <a:pt x="345" y="1461"/>
                      <a:pt x="367" y="1453"/>
                      <a:pt x="405" y="1438"/>
                    </a:cubicBezTo>
                    <a:cubicBezTo>
                      <a:pt x="405" y="1431"/>
                      <a:pt x="412" y="1423"/>
                      <a:pt x="412" y="1423"/>
                    </a:cubicBezTo>
                    <a:cubicBezTo>
                      <a:pt x="427" y="1408"/>
                      <a:pt x="435" y="1401"/>
                      <a:pt x="450" y="1386"/>
                    </a:cubicBezTo>
                    <a:cubicBezTo>
                      <a:pt x="465" y="1371"/>
                      <a:pt x="480" y="1364"/>
                      <a:pt x="495" y="1341"/>
                    </a:cubicBezTo>
                    <a:cubicBezTo>
                      <a:pt x="510" y="1318"/>
                      <a:pt x="517" y="1311"/>
                      <a:pt x="540" y="1296"/>
                    </a:cubicBezTo>
                    <a:cubicBezTo>
                      <a:pt x="585" y="1274"/>
                      <a:pt x="615" y="1266"/>
                      <a:pt x="652" y="1236"/>
                    </a:cubicBezTo>
                    <a:cubicBezTo>
                      <a:pt x="675" y="1221"/>
                      <a:pt x="689" y="1214"/>
                      <a:pt x="712" y="1191"/>
                    </a:cubicBezTo>
                    <a:cubicBezTo>
                      <a:pt x="727" y="1161"/>
                      <a:pt x="742" y="1154"/>
                      <a:pt x="757" y="1124"/>
                    </a:cubicBezTo>
                    <a:cubicBezTo>
                      <a:pt x="757" y="1109"/>
                      <a:pt x="757" y="1094"/>
                      <a:pt x="757" y="1071"/>
                    </a:cubicBezTo>
                    <a:cubicBezTo>
                      <a:pt x="764" y="1049"/>
                      <a:pt x="764" y="1041"/>
                      <a:pt x="764" y="1019"/>
                    </a:cubicBezTo>
                    <a:cubicBezTo>
                      <a:pt x="764" y="996"/>
                      <a:pt x="757" y="989"/>
                      <a:pt x="757" y="966"/>
                    </a:cubicBezTo>
                    <a:close/>
                    <a:moveTo>
                      <a:pt x="2458" y="52"/>
                    </a:moveTo>
                    <a:lnTo>
                      <a:pt x="2458" y="52"/>
                    </a:lnTo>
                    <a:cubicBezTo>
                      <a:pt x="2458" y="59"/>
                      <a:pt x="2466" y="59"/>
                      <a:pt x="2466" y="67"/>
                    </a:cubicBezTo>
                    <a:cubicBezTo>
                      <a:pt x="2466" y="82"/>
                      <a:pt x="2451" y="89"/>
                      <a:pt x="2443" y="105"/>
                    </a:cubicBezTo>
                    <a:cubicBezTo>
                      <a:pt x="2458" y="105"/>
                      <a:pt x="2466" y="97"/>
                      <a:pt x="2481" y="97"/>
                    </a:cubicBezTo>
                    <a:cubicBezTo>
                      <a:pt x="2496" y="97"/>
                      <a:pt x="2518" y="105"/>
                      <a:pt x="2518" y="119"/>
                    </a:cubicBezTo>
                    <a:cubicBezTo>
                      <a:pt x="2518" y="142"/>
                      <a:pt x="2518" y="157"/>
                      <a:pt x="2518" y="187"/>
                    </a:cubicBezTo>
                    <a:cubicBezTo>
                      <a:pt x="2526" y="187"/>
                      <a:pt x="2526" y="187"/>
                      <a:pt x="2526" y="187"/>
                    </a:cubicBezTo>
                    <a:cubicBezTo>
                      <a:pt x="2533" y="157"/>
                      <a:pt x="2541" y="142"/>
                      <a:pt x="2571" y="127"/>
                    </a:cubicBezTo>
                    <a:cubicBezTo>
                      <a:pt x="2578" y="127"/>
                      <a:pt x="2578" y="119"/>
                      <a:pt x="2586" y="119"/>
                    </a:cubicBezTo>
                    <a:cubicBezTo>
                      <a:pt x="2593" y="119"/>
                      <a:pt x="2600" y="127"/>
                      <a:pt x="2608" y="135"/>
                    </a:cubicBezTo>
                    <a:cubicBezTo>
                      <a:pt x="2608" y="142"/>
                      <a:pt x="2608" y="149"/>
                      <a:pt x="2608" y="157"/>
                    </a:cubicBezTo>
                    <a:cubicBezTo>
                      <a:pt x="2616" y="165"/>
                      <a:pt x="2616" y="172"/>
                      <a:pt x="2630" y="172"/>
                    </a:cubicBezTo>
                    <a:cubicBezTo>
                      <a:pt x="2630" y="172"/>
                      <a:pt x="2630" y="172"/>
                      <a:pt x="2638" y="172"/>
                    </a:cubicBezTo>
                    <a:cubicBezTo>
                      <a:pt x="2638" y="135"/>
                      <a:pt x="2646" y="119"/>
                      <a:pt x="2653" y="82"/>
                    </a:cubicBezTo>
                    <a:cubicBezTo>
                      <a:pt x="2653" y="67"/>
                      <a:pt x="2660" y="59"/>
                      <a:pt x="2660" y="45"/>
                    </a:cubicBezTo>
                    <a:cubicBezTo>
                      <a:pt x="2660" y="30"/>
                      <a:pt x="2660" y="30"/>
                      <a:pt x="2653" y="15"/>
                    </a:cubicBezTo>
                    <a:lnTo>
                      <a:pt x="2653" y="7"/>
                    </a:lnTo>
                    <a:cubicBezTo>
                      <a:pt x="2646" y="0"/>
                      <a:pt x="2646" y="0"/>
                      <a:pt x="2638" y="0"/>
                    </a:cubicBezTo>
                    <a:cubicBezTo>
                      <a:pt x="2616" y="0"/>
                      <a:pt x="2608" y="7"/>
                      <a:pt x="2593" y="7"/>
                    </a:cubicBezTo>
                    <a:cubicBezTo>
                      <a:pt x="2586" y="15"/>
                      <a:pt x="2578" y="15"/>
                      <a:pt x="2571" y="15"/>
                    </a:cubicBezTo>
                    <a:cubicBezTo>
                      <a:pt x="2548" y="22"/>
                      <a:pt x="2533" y="22"/>
                      <a:pt x="2518" y="30"/>
                    </a:cubicBezTo>
                    <a:cubicBezTo>
                      <a:pt x="2503" y="37"/>
                      <a:pt x="2496" y="45"/>
                      <a:pt x="2481" y="45"/>
                    </a:cubicBezTo>
                    <a:cubicBezTo>
                      <a:pt x="2473" y="45"/>
                      <a:pt x="2458" y="45"/>
                      <a:pt x="2458" y="52"/>
                    </a:cubicBezTo>
                    <a:close/>
                  </a:path>
                </a:pathLst>
              </a:custGeom>
              <a:grpFill/>
              <a:ln w="6350"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a:latin typeface="Calibri" panose="020F0502020204030204" pitchFamily="34" charset="0"/>
                </a:endParaRPr>
              </a:p>
            </p:txBody>
          </p:sp>
          <p:sp>
            <p:nvSpPr>
              <p:cNvPr id="20" name="Freeform 134">
                <a:extLst>
                  <a:ext uri="{FF2B5EF4-FFF2-40B4-BE49-F238E27FC236}">
                    <a16:creationId xmlns:a16="http://schemas.microsoft.com/office/drawing/2014/main" id="{8775BB05-C5FC-1E2C-B265-6C7FEEDAD9FC}"/>
                  </a:ext>
                </a:extLst>
              </p:cNvPr>
              <p:cNvSpPr>
                <a:spLocks noChangeArrowheads="1"/>
              </p:cNvSpPr>
              <p:nvPr/>
            </p:nvSpPr>
            <p:spPr bwMode="auto">
              <a:xfrm>
                <a:off x="5012988" y="9262490"/>
                <a:ext cx="1305038" cy="1375618"/>
              </a:xfrm>
              <a:custGeom>
                <a:avLst/>
                <a:gdLst>
                  <a:gd name="T0" fmla="*/ 472 w 3021"/>
                  <a:gd name="T1" fmla="*/ 2076 h 3186"/>
                  <a:gd name="T2" fmla="*/ 554 w 3021"/>
                  <a:gd name="T3" fmla="*/ 2188 h 3186"/>
                  <a:gd name="T4" fmla="*/ 786 w 3021"/>
                  <a:gd name="T5" fmla="*/ 2076 h 3186"/>
                  <a:gd name="T6" fmla="*/ 749 w 3021"/>
                  <a:gd name="T7" fmla="*/ 1896 h 3186"/>
                  <a:gd name="T8" fmla="*/ 846 w 3021"/>
                  <a:gd name="T9" fmla="*/ 1724 h 3186"/>
                  <a:gd name="T10" fmla="*/ 779 w 3021"/>
                  <a:gd name="T11" fmla="*/ 1686 h 3186"/>
                  <a:gd name="T12" fmla="*/ 621 w 3021"/>
                  <a:gd name="T13" fmla="*/ 1828 h 3186"/>
                  <a:gd name="T14" fmla="*/ 487 w 3021"/>
                  <a:gd name="T15" fmla="*/ 2001 h 3186"/>
                  <a:gd name="T16" fmla="*/ 292 w 3021"/>
                  <a:gd name="T17" fmla="*/ 157 h 3186"/>
                  <a:gd name="T18" fmla="*/ 584 w 3021"/>
                  <a:gd name="T19" fmla="*/ 127 h 3186"/>
                  <a:gd name="T20" fmla="*/ 824 w 3021"/>
                  <a:gd name="T21" fmla="*/ 120 h 3186"/>
                  <a:gd name="T22" fmla="*/ 1041 w 3021"/>
                  <a:gd name="T23" fmla="*/ 15 h 3186"/>
                  <a:gd name="T24" fmla="*/ 1056 w 3021"/>
                  <a:gd name="T25" fmla="*/ 307 h 3186"/>
                  <a:gd name="T26" fmla="*/ 1289 w 3021"/>
                  <a:gd name="T27" fmla="*/ 292 h 3186"/>
                  <a:gd name="T28" fmla="*/ 1378 w 3021"/>
                  <a:gd name="T29" fmla="*/ 427 h 3186"/>
                  <a:gd name="T30" fmla="*/ 1611 w 3021"/>
                  <a:gd name="T31" fmla="*/ 577 h 3186"/>
                  <a:gd name="T32" fmla="*/ 1806 w 3021"/>
                  <a:gd name="T33" fmla="*/ 480 h 3186"/>
                  <a:gd name="T34" fmla="*/ 1896 w 3021"/>
                  <a:gd name="T35" fmla="*/ 375 h 3186"/>
                  <a:gd name="T36" fmla="*/ 2038 w 3021"/>
                  <a:gd name="T37" fmla="*/ 330 h 3186"/>
                  <a:gd name="T38" fmla="*/ 2210 w 3021"/>
                  <a:gd name="T39" fmla="*/ 217 h 3186"/>
                  <a:gd name="T40" fmla="*/ 2263 w 3021"/>
                  <a:gd name="T41" fmla="*/ 127 h 3186"/>
                  <a:gd name="T42" fmla="*/ 2353 w 3021"/>
                  <a:gd name="T43" fmla="*/ 225 h 3186"/>
                  <a:gd name="T44" fmla="*/ 2458 w 3021"/>
                  <a:gd name="T45" fmla="*/ 465 h 3186"/>
                  <a:gd name="T46" fmla="*/ 2458 w 3021"/>
                  <a:gd name="T47" fmla="*/ 734 h 3186"/>
                  <a:gd name="T48" fmla="*/ 2668 w 3021"/>
                  <a:gd name="T49" fmla="*/ 817 h 3186"/>
                  <a:gd name="T50" fmla="*/ 2810 w 3021"/>
                  <a:gd name="T51" fmla="*/ 967 h 3186"/>
                  <a:gd name="T52" fmla="*/ 2757 w 3021"/>
                  <a:gd name="T53" fmla="*/ 1034 h 3186"/>
                  <a:gd name="T54" fmla="*/ 2570 w 3021"/>
                  <a:gd name="T55" fmla="*/ 1461 h 3186"/>
                  <a:gd name="T56" fmla="*/ 2765 w 3021"/>
                  <a:gd name="T57" fmla="*/ 1671 h 3186"/>
                  <a:gd name="T58" fmla="*/ 3012 w 3021"/>
                  <a:gd name="T59" fmla="*/ 1933 h 3186"/>
                  <a:gd name="T60" fmla="*/ 2922 w 3021"/>
                  <a:gd name="T61" fmla="*/ 2038 h 3186"/>
                  <a:gd name="T62" fmla="*/ 2585 w 3021"/>
                  <a:gd name="T63" fmla="*/ 2091 h 3186"/>
                  <a:gd name="T64" fmla="*/ 2360 w 3021"/>
                  <a:gd name="T65" fmla="*/ 2203 h 3186"/>
                  <a:gd name="T66" fmla="*/ 2240 w 3021"/>
                  <a:gd name="T67" fmla="*/ 2323 h 3186"/>
                  <a:gd name="T68" fmla="*/ 2210 w 3021"/>
                  <a:gd name="T69" fmla="*/ 2533 h 3186"/>
                  <a:gd name="T70" fmla="*/ 2023 w 3021"/>
                  <a:gd name="T71" fmla="*/ 2773 h 3186"/>
                  <a:gd name="T72" fmla="*/ 1806 w 3021"/>
                  <a:gd name="T73" fmla="*/ 3117 h 3186"/>
                  <a:gd name="T74" fmla="*/ 1349 w 3021"/>
                  <a:gd name="T75" fmla="*/ 3043 h 3186"/>
                  <a:gd name="T76" fmla="*/ 1311 w 3021"/>
                  <a:gd name="T77" fmla="*/ 2848 h 3186"/>
                  <a:gd name="T78" fmla="*/ 981 w 3021"/>
                  <a:gd name="T79" fmla="*/ 2600 h 3186"/>
                  <a:gd name="T80" fmla="*/ 959 w 3021"/>
                  <a:gd name="T81" fmla="*/ 2345 h 3186"/>
                  <a:gd name="T82" fmla="*/ 944 w 3021"/>
                  <a:gd name="T83" fmla="*/ 2083 h 3186"/>
                  <a:gd name="T84" fmla="*/ 1236 w 3021"/>
                  <a:gd name="T85" fmla="*/ 1821 h 3186"/>
                  <a:gd name="T86" fmla="*/ 1296 w 3021"/>
                  <a:gd name="T87" fmla="*/ 1521 h 3186"/>
                  <a:gd name="T88" fmla="*/ 959 w 3021"/>
                  <a:gd name="T89" fmla="*/ 1574 h 3186"/>
                  <a:gd name="T90" fmla="*/ 727 w 3021"/>
                  <a:gd name="T91" fmla="*/ 1506 h 3186"/>
                  <a:gd name="T92" fmla="*/ 329 w 3021"/>
                  <a:gd name="T93" fmla="*/ 1379 h 3186"/>
                  <a:gd name="T94" fmla="*/ 82 w 3021"/>
                  <a:gd name="T95" fmla="*/ 1454 h 3186"/>
                  <a:gd name="T96" fmla="*/ 15 w 3021"/>
                  <a:gd name="T97" fmla="*/ 1304 h 3186"/>
                  <a:gd name="T98" fmla="*/ 15 w 3021"/>
                  <a:gd name="T99" fmla="*/ 1049 h 3186"/>
                  <a:gd name="T100" fmla="*/ 172 w 3021"/>
                  <a:gd name="T101" fmla="*/ 832 h 3186"/>
                  <a:gd name="T102" fmla="*/ 180 w 3021"/>
                  <a:gd name="T103" fmla="*/ 727 h 3186"/>
                  <a:gd name="T104" fmla="*/ 269 w 3021"/>
                  <a:gd name="T105" fmla="*/ 592 h 3186"/>
                  <a:gd name="T106" fmla="*/ 202 w 3021"/>
                  <a:gd name="T107" fmla="*/ 420 h 3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21" h="3186">
                    <a:moveTo>
                      <a:pt x="472" y="2016"/>
                    </a:moveTo>
                    <a:lnTo>
                      <a:pt x="472" y="2016"/>
                    </a:lnTo>
                    <a:cubicBezTo>
                      <a:pt x="479" y="2023"/>
                      <a:pt x="479" y="2023"/>
                      <a:pt x="479" y="2023"/>
                    </a:cubicBezTo>
                    <a:cubicBezTo>
                      <a:pt x="472" y="2038"/>
                      <a:pt x="464" y="2046"/>
                      <a:pt x="464" y="2053"/>
                    </a:cubicBezTo>
                    <a:lnTo>
                      <a:pt x="464" y="2061"/>
                    </a:lnTo>
                    <a:cubicBezTo>
                      <a:pt x="464" y="2068"/>
                      <a:pt x="464" y="2068"/>
                      <a:pt x="472" y="2076"/>
                    </a:cubicBezTo>
                    <a:cubicBezTo>
                      <a:pt x="479" y="2083"/>
                      <a:pt x="479" y="2091"/>
                      <a:pt x="487" y="2106"/>
                    </a:cubicBezTo>
                    <a:cubicBezTo>
                      <a:pt x="494" y="2113"/>
                      <a:pt x="502" y="2121"/>
                      <a:pt x="509" y="2136"/>
                    </a:cubicBezTo>
                    <a:cubicBezTo>
                      <a:pt x="517" y="2143"/>
                      <a:pt x="517" y="2143"/>
                      <a:pt x="524" y="2151"/>
                    </a:cubicBezTo>
                    <a:cubicBezTo>
                      <a:pt x="524" y="2158"/>
                      <a:pt x="532" y="2166"/>
                      <a:pt x="539" y="2173"/>
                    </a:cubicBezTo>
                    <a:cubicBezTo>
                      <a:pt x="547" y="2173"/>
                      <a:pt x="547" y="2181"/>
                      <a:pt x="547" y="2188"/>
                    </a:cubicBezTo>
                    <a:cubicBezTo>
                      <a:pt x="554" y="2188"/>
                      <a:pt x="554" y="2188"/>
                      <a:pt x="554" y="2188"/>
                    </a:cubicBezTo>
                    <a:cubicBezTo>
                      <a:pt x="577" y="2188"/>
                      <a:pt x="592" y="2181"/>
                      <a:pt x="614" y="2173"/>
                    </a:cubicBezTo>
                    <a:cubicBezTo>
                      <a:pt x="629" y="2173"/>
                      <a:pt x="637" y="2166"/>
                      <a:pt x="651" y="2158"/>
                    </a:cubicBezTo>
                    <a:cubicBezTo>
                      <a:pt x="659" y="2151"/>
                      <a:pt x="667" y="2151"/>
                      <a:pt x="674" y="2143"/>
                    </a:cubicBezTo>
                    <a:cubicBezTo>
                      <a:pt x="689" y="2128"/>
                      <a:pt x="711" y="2121"/>
                      <a:pt x="734" y="2113"/>
                    </a:cubicBezTo>
                    <a:cubicBezTo>
                      <a:pt x="741" y="2106"/>
                      <a:pt x="741" y="2106"/>
                      <a:pt x="756" y="2098"/>
                    </a:cubicBezTo>
                    <a:cubicBezTo>
                      <a:pt x="771" y="2091"/>
                      <a:pt x="779" y="2091"/>
                      <a:pt x="786" y="2076"/>
                    </a:cubicBezTo>
                    <a:cubicBezTo>
                      <a:pt x="779" y="2076"/>
                      <a:pt x="771" y="2068"/>
                      <a:pt x="771" y="2053"/>
                    </a:cubicBezTo>
                    <a:cubicBezTo>
                      <a:pt x="764" y="2038"/>
                      <a:pt x="756" y="2031"/>
                      <a:pt x="756" y="2016"/>
                    </a:cubicBezTo>
                    <a:cubicBezTo>
                      <a:pt x="749" y="2001"/>
                      <a:pt x="749" y="1993"/>
                      <a:pt x="749" y="1978"/>
                    </a:cubicBezTo>
                    <a:cubicBezTo>
                      <a:pt x="741" y="1971"/>
                      <a:pt x="741" y="1963"/>
                      <a:pt x="741" y="1948"/>
                    </a:cubicBezTo>
                    <a:cubicBezTo>
                      <a:pt x="741" y="1918"/>
                      <a:pt x="741" y="1918"/>
                      <a:pt x="741" y="1918"/>
                    </a:cubicBezTo>
                    <a:cubicBezTo>
                      <a:pt x="741" y="1903"/>
                      <a:pt x="741" y="1903"/>
                      <a:pt x="749" y="1896"/>
                    </a:cubicBezTo>
                    <a:cubicBezTo>
                      <a:pt x="749" y="1888"/>
                      <a:pt x="749" y="1881"/>
                      <a:pt x="756" y="1881"/>
                    </a:cubicBezTo>
                    <a:cubicBezTo>
                      <a:pt x="756" y="1866"/>
                      <a:pt x="756" y="1858"/>
                      <a:pt x="764" y="1851"/>
                    </a:cubicBezTo>
                    <a:cubicBezTo>
                      <a:pt x="771" y="1844"/>
                      <a:pt x="779" y="1844"/>
                      <a:pt x="786" y="1836"/>
                    </a:cubicBezTo>
                    <a:cubicBezTo>
                      <a:pt x="801" y="1821"/>
                      <a:pt x="809" y="1806"/>
                      <a:pt x="816" y="1791"/>
                    </a:cubicBezTo>
                    <a:cubicBezTo>
                      <a:pt x="824" y="1776"/>
                      <a:pt x="831" y="1768"/>
                      <a:pt x="839" y="1754"/>
                    </a:cubicBezTo>
                    <a:cubicBezTo>
                      <a:pt x="846" y="1738"/>
                      <a:pt x="846" y="1731"/>
                      <a:pt x="846" y="1724"/>
                    </a:cubicBezTo>
                    <a:cubicBezTo>
                      <a:pt x="854" y="1701"/>
                      <a:pt x="861" y="1694"/>
                      <a:pt x="869" y="1679"/>
                    </a:cubicBezTo>
                    <a:cubicBezTo>
                      <a:pt x="876" y="1679"/>
                      <a:pt x="876" y="1671"/>
                      <a:pt x="876" y="1664"/>
                    </a:cubicBezTo>
                    <a:cubicBezTo>
                      <a:pt x="876" y="1656"/>
                      <a:pt x="869" y="1649"/>
                      <a:pt x="861" y="1634"/>
                    </a:cubicBezTo>
                    <a:cubicBezTo>
                      <a:pt x="854" y="1626"/>
                      <a:pt x="839" y="1619"/>
                      <a:pt x="831" y="1626"/>
                    </a:cubicBezTo>
                    <a:cubicBezTo>
                      <a:pt x="824" y="1634"/>
                      <a:pt x="824" y="1641"/>
                      <a:pt x="816" y="1649"/>
                    </a:cubicBezTo>
                    <a:cubicBezTo>
                      <a:pt x="801" y="1664"/>
                      <a:pt x="794" y="1671"/>
                      <a:pt x="779" y="1686"/>
                    </a:cubicBezTo>
                    <a:cubicBezTo>
                      <a:pt x="771" y="1694"/>
                      <a:pt x="764" y="1701"/>
                      <a:pt x="756" y="1709"/>
                    </a:cubicBezTo>
                    <a:cubicBezTo>
                      <a:pt x="741" y="1724"/>
                      <a:pt x="734" y="1731"/>
                      <a:pt x="711" y="1746"/>
                    </a:cubicBezTo>
                    <a:lnTo>
                      <a:pt x="704" y="1754"/>
                    </a:lnTo>
                    <a:cubicBezTo>
                      <a:pt x="681" y="1768"/>
                      <a:pt x="681" y="1784"/>
                      <a:pt x="659" y="1798"/>
                    </a:cubicBezTo>
                    <a:cubicBezTo>
                      <a:pt x="651" y="1806"/>
                      <a:pt x="644" y="1806"/>
                      <a:pt x="629" y="1814"/>
                    </a:cubicBezTo>
                    <a:cubicBezTo>
                      <a:pt x="621" y="1814"/>
                      <a:pt x="621" y="1821"/>
                      <a:pt x="621" y="1828"/>
                    </a:cubicBezTo>
                    <a:cubicBezTo>
                      <a:pt x="614" y="1844"/>
                      <a:pt x="607" y="1851"/>
                      <a:pt x="599" y="1866"/>
                    </a:cubicBezTo>
                    <a:cubicBezTo>
                      <a:pt x="584" y="1888"/>
                      <a:pt x="577" y="1896"/>
                      <a:pt x="569" y="1911"/>
                    </a:cubicBezTo>
                    <a:cubicBezTo>
                      <a:pt x="554" y="1941"/>
                      <a:pt x="554" y="1956"/>
                      <a:pt x="532" y="1978"/>
                    </a:cubicBezTo>
                    <a:cubicBezTo>
                      <a:pt x="532" y="1986"/>
                      <a:pt x="524" y="1993"/>
                      <a:pt x="517" y="1993"/>
                    </a:cubicBezTo>
                    <a:cubicBezTo>
                      <a:pt x="509" y="2001"/>
                      <a:pt x="509" y="2008"/>
                      <a:pt x="502" y="2008"/>
                    </a:cubicBezTo>
                    <a:cubicBezTo>
                      <a:pt x="494" y="2008"/>
                      <a:pt x="494" y="2001"/>
                      <a:pt x="487" y="2001"/>
                    </a:cubicBezTo>
                    <a:cubicBezTo>
                      <a:pt x="479" y="2008"/>
                      <a:pt x="479" y="2008"/>
                      <a:pt x="472" y="2016"/>
                    </a:cubicBezTo>
                    <a:close/>
                    <a:moveTo>
                      <a:pt x="127" y="202"/>
                    </a:moveTo>
                    <a:lnTo>
                      <a:pt x="127" y="202"/>
                    </a:lnTo>
                    <a:cubicBezTo>
                      <a:pt x="157" y="195"/>
                      <a:pt x="180" y="187"/>
                      <a:pt x="209" y="187"/>
                    </a:cubicBezTo>
                    <a:cubicBezTo>
                      <a:pt x="232" y="180"/>
                      <a:pt x="239" y="172"/>
                      <a:pt x="262" y="165"/>
                    </a:cubicBezTo>
                    <a:cubicBezTo>
                      <a:pt x="277" y="165"/>
                      <a:pt x="284" y="157"/>
                      <a:pt x="292" y="157"/>
                    </a:cubicBezTo>
                    <a:cubicBezTo>
                      <a:pt x="307" y="157"/>
                      <a:pt x="322" y="165"/>
                      <a:pt x="337" y="165"/>
                    </a:cubicBezTo>
                    <a:cubicBezTo>
                      <a:pt x="352" y="165"/>
                      <a:pt x="359" y="165"/>
                      <a:pt x="374" y="165"/>
                    </a:cubicBezTo>
                    <a:cubicBezTo>
                      <a:pt x="389" y="165"/>
                      <a:pt x="397" y="172"/>
                      <a:pt x="412" y="172"/>
                    </a:cubicBezTo>
                    <a:cubicBezTo>
                      <a:pt x="419" y="172"/>
                      <a:pt x="419" y="165"/>
                      <a:pt x="427" y="165"/>
                    </a:cubicBezTo>
                    <a:cubicBezTo>
                      <a:pt x="442" y="157"/>
                      <a:pt x="457" y="157"/>
                      <a:pt x="472" y="150"/>
                    </a:cubicBezTo>
                    <a:cubicBezTo>
                      <a:pt x="517" y="135"/>
                      <a:pt x="539" y="127"/>
                      <a:pt x="584" y="127"/>
                    </a:cubicBezTo>
                    <a:cubicBezTo>
                      <a:pt x="621" y="127"/>
                      <a:pt x="637" y="150"/>
                      <a:pt x="667" y="165"/>
                    </a:cubicBezTo>
                    <a:cubicBezTo>
                      <a:pt x="697" y="180"/>
                      <a:pt x="719" y="180"/>
                      <a:pt x="741" y="202"/>
                    </a:cubicBezTo>
                    <a:cubicBezTo>
                      <a:pt x="749" y="195"/>
                      <a:pt x="749" y="195"/>
                      <a:pt x="756" y="187"/>
                    </a:cubicBezTo>
                    <a:cubicBezTo>
                      <a:pt x="756" y="187"/>
                      <a:pt x="749" y="180"/>
                      <a:pt x="756" y="180"/>
                    </a:cubicBezTo>
                    <a:cubicBezTo>
                      <a:pt x="756" y="165"/>
                      <a:pt x="771" y="165"/>
                      <a:pt x="779" y="157"/>
                    </a:cubicBezTo>
                    <a:cubicBezTo>
                      <a:pt x="794" y="142"/>
                      <a:pt x="809" y="135"/>
                      <a:pt x="824" y="120"/>
                    </a:cubicBezTo>
                    <a:cubicBezTo>
                      <a:pt x="839" y="105"/>
                      <a:pt x="839" y="97"/>
                      <a:pt x="854" y="90"/>
                    </a:cubicBezTo>
                    <a:cubicBezTo>
                      <a:pt x="861" y="90"/>
                      <a:pt x="876" y="97"/>
                      <a:pt x="891" y="97"/>
                    </a:cubicBezTo>
                    <a:cubicBezTo>
                      <a:pt x="906" y="97"/>
                      <a:pt x="906" y="75"/>
                      <a:pt x="921" y="60"/>
                    </a:cubicBezTo>
                    <a:cubicBezTo>
                      <a:pt x="929" y="60"/>
                      <a:pt x="936" y="52"/>
                      <a:pt x="944" y="45"/>
                    </a:cubicBezTo>
                    <a:cubicBezTo>
                      <a:pt x="951" y="37"/>
                      <a:pt x="959" y="30"/>
                      <a:pt x="966" y="22"/>
                    </a:cubicBezTo>
                    <a:cubicBezTo>
                      <a:pt x="989" y="15"/>
                      <a:pt x="1011" y="22"/>
                      <a:pt x="1041" y="15"/>
                    </a:cubicBezTo>
                    <a:cubicBezTo>
                      <a:pt x="1071" y="15"/>
                      <a:pt x="1086" y="0"/>
                      <a:pt x="1109" y="0"/>
                    </a:cubicBezTo>
                    <a:cubicBezTo>
                      <a:pt x="1131" y="0"/>
                      <a:pt x="1139" y="15"/>
                      <a:pt x="1146" y="30"/>
                    </a:cubicBezTo>
                    <a:cubicBezTo>
                      <a:pt x="1161" y="52"/>
                      <a:pt x="1176" y="67"/>
                      <a:pt x="1176" y="97"/>
                    </a:cubicBezTo>
                    <a:cubicBezTo>
                      <a:pt x="1176" y="120"/>
                      <a:pt x="1154" y="135"/>
                      <a:pt x="1146" y="157"/>
                    </a:cubicBezTo>
                    <a:cubicBezTo>
                      <a:pt x="1116" y="217"/>
                      <a:pt x="1086" y="247"/>
                      <a:pt x="1041" y="307"/>
                    </a:cubicBezTo>
                    <a:cubicBezTo>
                      <a:pt x="1049" y="307"/>
                      <a:pt x="1049" y="307"/>
                      <a:pt x="1056" y="307"/>
                    </a:cubicBezTo>
                    <a:cubicBezTo>
                      <a:pt x="1079" y="307"/>
                      <a:pt x="1079" y="285"/>
                      <a:pt x="1101" y="270"/>
                    </a:cubicBezTo>
                    <a:cubicBezTo>
                      <a:pt x="1109" y="262"/>
                      <a:pt x="1124" y="270"/>
                      <a:pt x="1139" y="270"/>
                    </a:cubicBezTo>
                    <a:cubicBezTo>
                      <a:pt x="1139" y="292"/>
                      <a:pt x="1124" y="337"/>
                      <a:pt x="1154" y="337"/>
                    </a:cubicBezTo>
                    <a:cubicBezTo>
                      <a:pt x="1214" y="337"/>
                      <a:pt x="1214" y="337"/>
                      <a:pt x="1214" y="337"/>
                    </a:cubicBezTo>
                    <a:cubicBezTo>
                      <a:pt x="1229" y="337"/>
                      <a:pt x="1236" y="330"/>
                      <a:pt x="1244" y="322"/>
                    </a:cubicBezTo>
                    <a:cubicBezTo>
                      <a:pt x="1259" y="307"/>
                      <a:pt x="1274" y="300"/>
                      <a:pt x="1289" y="292"/>
                    </a:cubicBezTo>
                    <a:cubicBezTo>
                      <a:pt x="1319" y="285"/>
                      <a:pt x="1333" y="277"/>
                      <a:pt x="1356" y="262"/>
                    </a:cubicBezTo>
                    <a:cubicBezTo>
                      <a:pt x="1356" y="262"/>
                      <a:pt x="1356" y="270"/>
                      <a:pt x="1363" y="277"/>
                    </a:cubicBezTo>
                    <a:lnTo>
                      <a:pt x="1363" y="277"/>
                    </a:lnTo>
                    <a:cubicBezTo>
                      <a:pt x="1356" y="300"/>
                      <a:pt x="1349" y="315"/>
                      <a:pt x="1349" y="337"/>
                    </a:cubicBezTo>
                    <a:cubicBezTo>
                      <a:pt x="1349" y="360"/>
                      <a:pt x="1363" y="367"/>
                      <a:pt x="1371" y="390"/>
                    </a:cubicBezTo>
                    <a:cubicBezTo>
                      <a:pt x="1371" y="405"/>
                      <a:pt x="1371" y="412"/>
                      <a:pt x="1378" y="427"/>
                    </a:cubicBezTo>
                    <a:cubicBezTo>
                      <a:pt x="1386" y="442"/>
                      <a:pt x="1401" y="442"/>
                      <a:pt x="1401" y="457"/>
                    </a:cubicBezTo>
                    <a:cubicBezTo>
                      <a:pt x="1401" y="480"/>
                      <a:pt x="1393" y="502"/>
                      <a:pt x="1386" y="525"/>
                    </a:cubicBezTo>
                    <a:cubicBezTo>
                      <a:pt x="1386" y="547"/>
                      <a:pt x="1386" y="547"/>
                      <a:pt x="1386" y="547"/>
                    </a:cubicBezTo>
                    <a:cubicBezTo>
                      <a:pt x="1416" y="547"/>
                      <a:pt x="1431" y="539"/>
                      <a:pt x="1461" y="539"/>
                    </a:cubicBezTo>
                    <a:cubicBezTo>
                      <a:pt x="1498" y="539"/>
                      <a:pt x="1528" y="539"/>
                      <a:pt x="1558" y="555"/>
                    </a:cubicBezTo>
                    <a:cubicBezTo>
                      <a:pt x="1581" y="562"/>
                      <a:pt x="1588" y="577"/>
                      <a:pt x="1611" y="577"/>
                    </a:cubicBezTo>
                    <a:cubicBezTo>
                      <a:pt x="1648" y="585"/>
                      <a:pt x="1686" y="569"/>
                      <a:pt x="1723" y="569"/>
                    </a:cubicBezTo>
                    <a:lnTo>
                      <a:pt x="1723" y="569"/>
                    </a:lnTo>
                    <a:cubicBezTo>
                      <a:pt x="1731" y="555"/>
                      <a:pt x="1738" y="539"/>
                      <a:pt x="1753" y="517"/>
                    </a:cubicBezTo>
                    <a:cubicBezTo>
                      <a:pt x="1753" y="502"/>
                      <a:pt x="1753" y="495"/>
                      <a:pt x="1768" y="480"/>
                    </a:cubicBezTo>
                    <a:cubicBezTo>
                      <a:pt x="1776" y="480"/>
                      <a:pt x="1776" y="487"/>
                      <a:pt x="1783" y="480"/>
                    </a:cubicBezTo>
                    <a:cubicBezTo>
                      <a:pt x="1791" y="480"/>
                      <a:pt x="1798" y="480"/>
                      <a:pt x="1806" y="480"/>
                    </a:cubicBezTo>
                    <a:cubicBezTo>
                      <a:pt x="1813" y="480"/>
                      <a:pt x="1813" y="495"/>
                      <a:pt x="1821" y="502"/>
                    </a:cubicBezTo>
                    <a:cubicBezTo>
                      <a:pt x="1828" y="509"/>
                      <a:pt x="1836" y="509"/>
                      <a:pt x="1843" y="509"/>
                    </a:cubicBezTo>
                    <a:cubicBezTo>
                      <a:pt x="1851" y="509"/>
                      <a:pt x="1851" y="502"/>
                      <a:pt x="1858" y="502"/>
                    </a:cubicBezTo>
                    <a:cubicBezTo>
                      <a:pt x="1866" y="487"/>
                      <a:pt x="1873" y="472"/>
                      <a:pt x="1880" y="465"/>
                    </a:cubicBezTo>
                    <a:cubicBezTo>
                      <a:pt x="1880" y="397"/>
                      <a:pt x="1880" y="397"/>
                      <a:pt x="1880" y="397"/>
                    </a:cubicBezTo>
                    <a:cubicBezTo>
                      <a:pt x="1880" y="390"/>
                      <a:pt x="1896" y="382"/>
                      <a:pt x="1896" y="375"/>
                    </a:cubicBezTo>
                    <a:cubicBezTo>
                      <a:pt x="1903" y="360"/>
                      <a:pt x="1903" y="352"/>
                      <a:pt x="1903" y="337"/>
                    </a:cubicBezTo>
                    <a:cubicBezTo>
                      <a:pt x="1910" y="352"/>
                      <a:pt x="1918" y="360"/>
                      <a:pt x="1933" y="367"/>
                    </a:cubicBezTo>
                    <a:cubicBezTo>
                      <a:pt x="1940" y="375"/>
                      <a:pt x="1948" y="390"/>
                      <a:pt x="1956" y="390"/>
                    </a:cubicBezTo>
                    <a:cubicBezTo>
                      <a:pt x="1978" y="390"/>
                      <a:pt x="1993" y="367"/>
                      <a:pt x="2008" y="352"/>
                    </a:cubicBezTo>
                    <a:cubicBezTo>
                      <a:pt x="2008" y="345"/>
                      <a:pt x="2008" y="345"/>
                      <a:pt x="2016" y="337"/>
                    </a:cubicBezTo>
                    <a:cubicBezTo>
                      <a:pt x="2023" y="337"/>
                      <a:pt x="2030" y="337"/>
                      <a:pt x="2038" y="330"/>
                    </a:cubicBezTo>
                    <a:cubicBezTo>
                      <a:pt x="2045" y="330"/>
                      <a:pt x="2053" y="330"/>
                      <a:pt x="2060" y="322"/>
                    </a:cubicBezTo>
                    <a:cubicBezTo>
                      <a:pt x="2075" y="322"/>
                      <a:pt x="2083" y="322"/>
                      <a:pt x="2090" y="315"/>
                    </a:cubicBezTo>
                    <a:cubicBezTo>
                      <a:pt x="2098" y="307"/>
                      <a:pt x="2090" y="292"/>
                      <a:pt x="2090" y="285"/>
                    </a:cubicBezTo>
                    <a:cubicBezTo>
                      <a:pt x="2113" y="285"/>
                      <a:pt x="2120" y="277"/>
                      <a:pt x="2143" y="270"/>
                    </a:cubicBezTo>
                    <a:cubicBezTo>
                      <a:pt x="2173" y="255"/>
                      <a:pt x="2195" y="255"/>
                      <a:pt x="2210" y="232"/>
                    </a:cubicBezTo>
                    <a:cubicBezTo>
                      <a:pt x="2210" y="232"/>
                      <a:pt x="2210" y="225"/>
                      <a:pt x="2210" y="217"/>
                    </a:cubicBezTo>
                    <a:cubicBezTo>
                      <a:pt x="2195" y="210"/>
                      <a:pt x="2180" y="210"/>
                      <a:pt x="2173" y="195"/>
                    </a:cubicBezTo>
                    <a:cubicBezTo>
                      <a:pt x="2165" y="180"/>
                      <a:pt x="2165" y="172"/>
                      <a:pt x="2158" y="157"/>
                    </a:cubicBezTo>
                    <a:cubicBezTo>
                      <a:pt x="2158" y="142"/>
                      <a:pt x="2150" y="135"/>
                      <a:pt x="2150" y="120"/>
                    </a:cubicBezTo>
                    <a:cubicBezTo>
                      <a:pt x="2150" y="112"/>
                      <a:pt x="2158" y="112"/>
                      <a:pt x="2158" y="112"/>
                    </a:cubicBezTo>
                    <a:cubicBezTo>
                      <a:pt x="2173" y="105"/>
                      <a:pt x="2180" y="97"/>
                      <a:pt x="2188" y="97"/>
                    </a:cubicBezTo>
                    <a:cubicBezTo>
                      <a:pt x="2218" y="97"/>
                      <a:pt x="2233" y="127"/>
                      <a:pt x="2263" y="127"/>
                    </a:cubicBezTo>
                    <a:cubicBezTo>
                      <a:pt x="2278" y="127"/>
                      <a:pt x="2285" y="120"/>
                      <a:pt x="2300" y="120"/>
                    </a:cubicBezTo>
                    <a:lnTo>
                      <a:pt x="2308" y="135"/>
                    </a:lnTo>
                    <a:lnTo>
                      <a:pt x="2308" y="135"/>
                    </a:lnTo>
                    <a:cubicBezTo>
                      <a:pt x="2308" y="157"/>
                      <a:pt x="2308" y="172"/>
                      <a:pt x="2315" y="195"/>
                    </a:cubicBezTo>
                    <a:cubicBezTo>
                      <a:pt x="2330" y="195"/>
                      <a:pt x="2338" y="195"/>
                      <a:pt x="2360" y="195"/>
                    </a:cubicBezTo>
                    <a:cubicBezTo>
                      <a:pt x="2353" y="202"/>
                      <a:pt x="2353" y="210"/>
                      <a:pt x="2353" y="225"/>
                    </a:cubicBezTo>
                    <a:cubicBezTo>
                      <a:pt x="2353" y="255"/>
                      <a:pt x="2360" y="285"/>
                      <a:pt x="2383" y="307"/>
                    </a:cubicBezTo>
                    <a:cubicBezTo>
                      <a:pt x="2390" y="300"/>
                      <a:pt x="2398" y="292"/>
                      <a:pt x="2398" y="285"/>
                    </a:cubicBezTo>
                    <a:cubicBezTo>
                      <a:pt x="2413" y="300"/>
                      <a:pt x="2435" y="307"/>
                      <a:pt x="2435" y="330"/>
                    </a:cubicBezTo>
                    <a:cubicBezTo>
                      <a:pt x="2435" y="345"/>
                      <a:pt x="2420" y="352"/>
                      <a:pt x="2420" y="367"/>
                    </a:cubicBezTo>
                    <a:cubicBezTo>
                      <a:pt x="2420" y="397"/>
                      <a:pt x="2465" y="405"/>
                      <a:pt x="2465" y="435"/>
                    </a:cubicBezTo>
                    <a:cubicBezTo>
                      <a:pt x="2465" y="442"/>
                      <a:pt x="2458" y="450"/>
                      <a:pt x="2458" y="465"/>
                    </a:cubicBezTo>
                    <a:cubicBezTo>
                      <a:pt x="2458" y="480"/>
                      <a:pt x="2465" y="487"/>
                      <a:pt x="2465" y="509"/>
                    </a:cubicBezTo>
                    <a:cubicBezTo>
                      <a:pt x="2465" y="525"/>
                      <a:pt x="2458" y="539"/>
                      <a:pt x="2458" y="555"/>
                    </a:cubicBezTo>
                    <a:cubicBezTo>
                      <a:pt x="2450" y="585"/>
                      <a:pt x="2465" y="599"/>
                      <a:pt x="2458" y="622"/>
                    </a:cubicBezTo>
                    <a:cubicBezTo>
                      <a:pt x="2450" y="637"/>
                      <a:pt x="2435" y="644"/>
                      <a:pt x="2428" y="652"/>
                    </a:cubicBezTo>
                    <a:cubicBezTo>
                      <a:pt x="2443" y="682"/>
                      <a:pt x="2458" y="704"/>
                      <a:pt x="2458" y="734"/>
                    </a:cubicBezTo>
                    <a:lnTo>
                      <a:pt x="2458" y="734"/>
                    </a:lnTo>
                    <a:cubicBezTo>
                      <a:pt x="2495" y="734"/>
                      <a:pt x="2518" y="734"/>
                      <a:pt x="2548" y="749"/>
                    </a:cubicBezTo>
                    <a:cubicBezTo>
                      <a:pt x="2555" y="742"/>
                      <a:pt x="2555" y="742"/>
                      <a:pt x="2563" y="742"/>
                    </a:cubicBezTo>
                    <a:cubicBezTo>
                      <a:pt x="2563" y="727"/>
                      <a:pt x="2563" y="719"/>
                      <a:pt x="2570" y="712"/>
                    </a:cubicBezTo>
                    <a:cubicBezTo>
                      <a:pt x="2585" y="712"/>
                      <a:pt x="2592" y="712"/>
                      <a:pt x="2600" y="712"/>
                    </a:cubicBezTo>
                    <a:cubicBezTo>
                      <a:pt x="2608" y="734"/>
                      <a:pt x="2615" y="749"/>
                      <a:pt x="2630" y="772"/>
                    </a:cubicBezTo>
                    <a:cubicBezTo>
                      <a:pt x="2638" y="794"/>
                      <a:pt x="2660" y="794"/>
                      <a:pt x="2668" y="817"/>
                    </a:cubicBezTo>
                    <a:cubicBezTo>
                      <a:pt x="2675" y="824"/>
                      <a:pt x="2675" y="839"/>
                      <a:pt x="2682" y="847"/>
                    </a:cubicBezTo>
                    <a:cubicBezTo>
                      <a:pt x="2682" y="847"/>
                      <a:pt x="2698" y="847"/>
                      <a:pt x="2705" y="847"/>
                    </a:cubicBezTo>
                    <a:cubicBezTo>
                      <a:pt x="2728" y="847"/>
                      <a:pt x="2742" y="862"/>
                      <a:pt x="2765" y="877"/>
                    </a:cubicBezTo>
                    <a:lnTo>
                      <a:pt x="2765" y="877"/>
                    </a:lnTo>
                    <a:cubicBezTo>
                      <a:pt x="2780" y="899"/>
                      <a:pt x="2787" y="907"/>
                      <a:pt x="2802" y="929"/>
                    </a:cubicBezTo>
                    <a:cubicBezTo>
                      <a:pt x="2802" y="944"/>
                      <a:pt x="2802" y="952"/>
                      <a:pt x="2810" y="967"/>
                    </a:cubicBezTo>
                    <a:cubicBezTo>
                      <a:pt x="2817" y="967"/>
                      <a:pt x="2817" y="967"/>
                      <a:pt x="2825" y="974"/>
                    </a:cubicBezTo>
                    <a:cubicBezTo>
                      <a:pt x="2832" y="989"/>
                      <a:pt x="2840" y="1012"/>
                      <a:pt x="2847" y="1019"/>
                    </a:cubicBezTo>
                    <a:lnTo>
                      <a:pt x="2847" y="1019"/>
                    </a:lnTo>
                    <a:cubicBezTo>
                      <a:pt x="2840" y="1026"/>
                      <a:pt x="2832" y="1026"/>
                      <a:pt x="2817" y="1034"/>
                    </a:cubicBezTo>
                    <a:cubicBezTo>
                      <a:pt x="2802" y="1042"/>
                      <a:pt x="2795" y="1049"/>
                      <a:pt x="2772" y="1049"/>
                    </a:cubicBezTo>
                    <a:cubicBezTo>
                      <a:pt x="2765" y="1049"/>
                      <a:pt x="2765" y="1042"/>
                      <a:pt x="2757" y="1034"/>
                    </a:cubicBezTo>
                    <a:cubicBezTo>
                      <a:pt x="2750" y="1072"/>
                      <a:pt x="2742" y="1094"/>
                      <a:pt x="2742" y="1132"/>
                    </a:cubicBezTo>
                    <a:cubicBezTo>
                      <a:pt x="2735" y="1162"/>
                      <a:pt x="2735" y="1176"/>
                      <a:pt x="2728" y="1199"/>
                    </a:cubicBezTo>
                    <a:cubicBezTo>
                      <a:pt x="2720" y="1214"/>
                      <a:pt x="2720" y="1229"/>
                      <a:pt x="2705" y="1251"/>
                    </a:cubicBezTo>
                    <a:cubicBezTo>
                      <a:pt x="2690" y="1296"/>
                      <a:pt x="2668" y="1311"/>
                      <a:pt x="2645" y="1356"/>
                    </a:cubicBezTo>
                    <a:cubicBezTo>
                      <a:pt x="2622" y="1379"/>
                      <a:pt x="2615" y="1394"/>
                      <a:pt x="2600" y="1416"/>
                    </a:cubicBezTo>
                    <a:cubicBezTo>
                      <a:pt x="2585" y="1431"/>
                      <a:pt x="2578" y="1439"/>
                      <a:pt x="2570" y="1461"/>
                    </a:cubicBezTo>
                    <a:cubicBezTo>
                      <a:pt x="2608" y="1566"/>
                      <a:pt x="2608" y="1566"/>
                      <a:pt x="2608" y="1566"/>
                    </a:cubicBezTo>
                    <a:cubicBezTo>
                      <a:pt x="2585" y="1604"/>
                      <a:pt x="2585" y="1604"/>
                      <a:pt x="2585" y="1604"/>
                    </a:cubicBezTo>
                    <a:cubicBezTo>
                      <a:pt x="2608" y="1611"/>
                      <a:pt x="2622" y="1619"/>
                      <a:pt x="2645" y="1619"/>
                    </a:cubicBezTo>
                    <a:cubicBezTo>
                      <a:pt x="2668" y="1619"/>
                      <a:pt x="2682" y="1619"/>
                      <a:pt x="2705" y="1626"/>
                    </a:cubicBezTo>
                    <a:cubicBezTo>
                      <a:pt x="2712" y="1634"/>
                      <a:pt x="2712" y="1649"/>
                      <a:pt x="2720" y="1649"/>
                    </a:cubicBezTo>
                    <a:cubicBezTo>
                      <a:pt x="2735" y="1656"/>
                      <a:pt x="2750" y="1664"/>
                      <a:pt x="2765" y="1671"/>
                    </a:cubicBezTo>
                    <a:cubicBezTo>
                      <a:pt x="2787" y="1686"/>
                      <a:pt x="2802" y="1701"/>
                      <a:pt x="2825" y="1709"/>
                    </a:cubicBezTo>
                    <a:cubicBezTo>
                      <a:pt x="2862" y="1724"/>
                      <a:pt x="2877" y="1731"/>
                      <a:pt x="2915" y="1738"/>
                    </a:cubicBezTo>
                    <a:cubicBezTo>
                      <a:pt x="2945" y="1754"/>
                      <a:pt x="2967" y="1754"/>
                      <a:pt x="2990" y="1776"/>
                    </a:cubicBezTo>
                    <a:cubicBezTo>
                      <a:pt x="2997" y="1791"/>
                      <a:pt x="2997" y="1798"/>
                      <a:pt x="3005" y="1806"/>
                    </a:cubicBezTo>
                    <a:cubicBezTo>
                      <a:pt x="3012" y="1828"/>
                      <a:pt x="3020" y="1844"/>
                      <a:pt x="3020" y="1866"/>
                    </a:cubicBezTo>
                    <a:cubicBezTo>
                      <a:pt x="3020" y="1896"/>
                      <a:pt x="3020" y="1911"/>
                      <a:pt x="3012" y="1933"/>
                    </a:cubicBezTo>
                    <a:cubicBezTo>
                      <a:pt x="3005" y="1948"/>
                      <a:pt x="2990" y="1948"/>
                      <a:pt x="2990" y="1956"/>
                    </a:cubicBezTo>
                    <a:cubicBezTo>
                      <a:pt x="2982" y="1963"/>
                      <a:pt x="2982" y="1971"/>
                      <a:pt x="2982" y="1986"/>
                    </a:cubicBezTo>
                    <a:cubicBezTo>
                      <a:pt x="2982" y="2016"/>
                      <a:pt x="2990" y="2031"/>
                      <a:pt x="3005" y="2061"/>
                    </a:cubicBezTo>
                    <a:cubicBezTo>
                      <a:pt x="2975" y="2076"/>
                      <a:pt x="2952" y="2083"/>
                      <a:pt x="2915" y="2083"/>
                    </a:cubicBezTo>
                    <a:cubicBezTo>
                      <a:pt x="2907" y="2083"/>
                      <a:pt x="2907" y="2083"/>
                      <a:pt x="2900" y="2076"/>
                    </a:cubicBezTo>
                    <a:cubicBezTo>
                      <a:pt x="2907" y="2061"/>
                      <a:pt x="2922" y="2053"/>
                      <a:pt x="2922" y="2038"/>
                    </a:cubicBezTo>
                    <a:cubicBezTo>
                      <a:pt x="2870" y="2031"/>
                      <a:pt x="2840" y="2023"/>
                      <a:pt x="2787" y="2023"/>
                    </a:cubicBezTo>
                    <a:cubicBezTo>
                      <a:pt x="2780" y="2023"/>
                      <a:pt x="2772" y="2031"/>
                      <a:pt x="2765" y="2031"/>
                    </a:cubicBezTo>
                    <a:cubicBezTo>
                      <a:pt x="2772" y="2016"/>
                      <a:pt x="2772" y="2008"/>
                      <a:pt x="2765" y="1993"/>
                    </a:cubicBezTo>
                    <a:cubicBezTo>
                      <a:pt x="2705" y="2016"/>
                      <a:pt x="2690" y="2076"/>
                      <a:pt x="2630" y="2091"/>
                    </a:cubicBezTo>
                    <a:cubicBezTo>
                      <a:pt x="2622" y="2068"/>
                      <a:pt x="2622" y="2068"/>
                      <a:pt x="2622" y="2068"/>
                    </a:cubicBezTo>
                    <a:cubicBezTo>
                      <a:pt x="2608" y="2076"/>
                      <a:pt x="2600" y="2076"/>
                      <a:pt x="2585" y="2091"/>
                    </a:cubicBezTo>
                    <a:cubicBezTo>
                      <a:pt x="2578" y="2098"/>
                      <a:pt x="2578" y="2113"/>
                      <a:pt x="2570" y="2113"/>
                    </a:cubicBezTo>
                    <a:cubicBezTo>
                      <a:pt x="2548" y="2121"/>
                      <a:pt x="2540" y="2113"/>
                      <a:pt x="2518" y="2113"/>
                    </a:cubicBezTo>
                    <a:cubicBezTo>
                      <a:pt x="2480" y="2113"/>
                      <a:pt x="2473" y="2136"/>
                      <a:pt x="2443" y="2151"/>
                    </a:cubicBezTo>
                    <a:cubicBezTo>
                      <a:pt x="2428" y="2158"/>
                      <a:pt x="2420" y="2166"/>
                      <a:pt x="2405" y="2173"/>
                    </a:cubicBezTo>
                    <a:cubicBezTo>
                      <a:pt x="2383" y="2166"/>
                      <a:pt x="2383" y="2166"/>
                      <a:pt x="2383" y="2166"/>
                    </a:cubicBezTo>
                    <a:cubicBezTo>
                      <a:pt x="2368" y="2181"/>
                      <a:pt x="2360" y="2188"/>
                      <a:pt x="2360" y="2203"/>
                    </a:cubicBezTo>
                    <a:cubicBezTo>
                      <a:pt x="2353" y="2218"/>
                      <a:pt x="2360" y="2233"/>
                      <a:pt x="2353" y="2241"/>
                    </a:cubicBezTo>
                    <a:cubicBezTo>
                      <a:pt x="2345" y="2263"/>
                      <a:pt x="2330" y="2271"/>
                      <a:pt x="2323" y="2293"/>
                    </a:cubicBezTo>
                    <a:cubicBezTo>
                      <a:pt x="2323" y="2301"/>
                      <a:pt x="2323" y="2315"/>
                      <a:pt x="2315" y="2315"/>
                    </a:cubicBezTo>
                    <a:cubicBezTo>
                      <a:pt x="2308" y="2323"/>
                      <a:pt x="2300" y="2331"/>
                      <a:pt x="2285" y="2331"/>
                    </a:cubicBezTo>
                    <a:cubicBezTo>
                      <a:pt x="2278" y="2331"/>
                      <a:pt x="2270" y="2315"/>
                      <a:pt x="2263" y="2315"/>
                    </a:cubicBezTo>
                    <a:cubicBezTo>
                      <a:pt x="2255" y="2315"/>
                      <a:pt x="2248" y="2323"/>
                      <a:pt x="2240" y="2323"/>
                    </a:cubicBezTo>
                    <a:cubicBezTo>
                      <a:pt x="2240" y="2345"/>
                      <a:pt x="2240" y="2345"/>
                      <a:pt x="2240" y="2345"/>
                    </a:cubicBezTo>
                    <a:cubicBezTo>
                      <a:pt x="2240" y="2361"/>
                      <a:pt x="2255" y="2368"/>
                      <a:pt x="2263" y="2383"/>
                    </a:cubicBezTo>
                    <a:cubicBezTo>
                      <a:pt x="2278" y="2420"/>
                      <a:pt x="2278" y="2435"/>
                      <a:pt x="2285" y="2473"/>
                    </a:cubicBezTo>
                    <a:cubicBezTo>
                      <a:pt x="2278" y="2473"/>
                      <a:pt x="2278" y="2480"/>
                      <a:pt x="2270" y="2480"/>
                    </a:cubicBezTo>
                    <a:cubicBezTo>
                      <a:pt x="2263" y="2480"/>
                      <a:pt x="2255" y="2473"/>
                      <a:pt x="2248" y="2473"/>
                    </a:cubicBezTo>
                    <a:cubicBezTo>
                      <a:pt x="2240" y="2495"/>
                      <a:pt x="2233" y="2510"/>
                      <a:pt x="2210" y="2533"/>
                    </a:cubicBezTo>
                    <a:cubicBezTo>
                      <a:pt x="2203" y="2540"/>
                      <a:pt x="2203" y="2555"/>
                      <a:pt x="2188" y="2563"/>
                    </a:cubicBezTo>
                    <a:cubicBezTo>
                      <a:pt x="2180" y="2563"/>
                      <a:pt x="2165" y="2555"/>
                      <a:pt x="2150" y="2563"/>
                    </a:cubicBezTo>
                    <a:cubicBezTo>
                      <a:pt x="2143" y="2570"/>
                      <a:pt x="2143" y="2578"/>
                      <a:pt x="2135" y="2585"/>
                    </a:cubicBezTo>
                    <a:cubicBezTo>
                      <a:pt x="2128" y="2593"/>
                      <a:pt x="2128" y="2593"/>
                      <a:pt x="2120" y="2593"/>
                    </a:cubicBezTo>
                    <a:cubicBezTo>
                      <a:pt x="2090" y="2615"/>
                      <a:pt x="2090" y="2645"/>
                      <a:pt x="2075" y="2675"/>
                    </a:cubicBezTo>
                    <a:cubicBezTo>
                      <a:pt x="2045" y="2705"/>
                      <a:pt x="2038" y="2728"/>
                      <a:pt x="2023" y="2773"/>
                    </a:cubicBezTo>
                    <a:cubicBezTo>
                      <a:pt x="2016" y="2795"/>
                      <a:pt x="2000" y="2810"/>
                      <a:pt x="1993" y="2833"/>
                    </a:cubicBezTo>
                    <a:cubicBezTo>
                      <a:pt x="1978" y="2855"/>
                      <a:pt x="1978" y="2870"/>
                      <a:pt x="1970" y="2893"/>
                    </a:cubicBezTo>
                    <a:cubicBezTo>
                      <a:pt x="1963" y="2908"/>
                      <a:pt x="1956" y="2915"/>
                      <a:pt x="1948" y="2930"/>
                    </a:cubicBezTo>
                    <a:cubicBezTo>
                      <a:pt x="1933" y="2967"/>
                      <a:pt x="1926" y="2990"/>
                      <a:pt x="1918" y="3020"/>
                    </a:cubicBezTo>
                    <a:cubicBezTo>
                      <a:pt x="1903" y="3057"/>
                      <a:pt x="1880" y="3080"/>
                      <a:pt x="1843" y="3095"/>
                    </a:cubicBezTo>
                    <a:cubicBezTo>
                      <a:pt x="1836" y="3102"/>
                      <a:pt x="1821" y="3110"/>
                      <a:pt x="1806" y="3117"/>
                    </a:cubicBezTo>
                    <a:cubicBezTo>
                      <a:pt x="1798" y="3125"/>
                      <a:pt x="1783" y="3132"/>
                      <a:pt x="1776" y="3140"/>
                    </a:cubicBezTo>
                    <a:cubicBezTo>
                      <a:pt x="1768" y="3147"/>
                      <a:pt x="1768" y="3162"/>
                      <a:pt x="1761" y="3170"/>
                    </a:cubicBezTo>
                    <a:cubicBezTo>
                      <a:pt x="1738" y="3185"/>
                      <a:pt x="1723" y="3155"/>
                      <a:pt x="1701" y="3147"/>
                    </a:cubicBezTo>
                    <a:cubicBezTo>
                      <a:pt x="1678" y="3140"/>
                      <a:pt x="1671" y="3140"/>
                      <a:pt x="1648" y="3132"/>
                    </a:cubicBezTo>
                    <a:cubicBezTo>
                      <a:pt x="1596" y="3117"/>
                      <a:pt x="1566" y="3117"/>
                      <a:pt x="1513" y="3102"/>
                    </a:cubicBezTo>
                    <a:cubicBezTo>
                      <a:pt x="1446" y="3087"/>
                      <a:pt x="1416" y="3073"/>
                      <a:pt x="1349" y="3043"/>
                    </a:cubicBezTo>
                    <a:cubicBezTo>
                      <a:pt x="1319" y="3035"/>
                      <a:pt x="1289" y="3020"/>
                      <a:pt x="1281" y="2990"/>
                    </a:cubicBezTo>
                    <a:cubicBezTo>
                      <a:pt x="1281" y="2967"/>
                      <a:pt x="1289" y="2953"/>
                      <a:pt x="1274" y="2937"/>
                    </a:cubicBezTo>
                    <a:cubicBezTo>
                      <a:pt x="1266" y="2930"/>
                      <a:pt x="1259" y="2937"/>
                      <a:pt x="1251" y="2930"/>
                    </a:cubicBezTo>
                    <a:cubicBezTo>
                      <a:pt x="1244" y="2930"/>
                      <a:pt x="1244" y="2923"/>
                      <a:pt x="1236" y="2923"/>
                    </a:cubicBezTo>
                    <a:cubicBezTo>
                      <a:pt x="1244" y="2900"/>
                      <a:pt x="1236" y="2885"/>
                      <a:pt x="1244" y="2863"/>
                    </a:cubicBezTo>
                    <a:cubicBezTo>
                      <a:pt x="1266" y="2863"/>
                      <a:pt x="1289" y="2863"/>
                      <a:pt x="1311" y="2848"/>
                    </a:cubicBezTo>
                    <a:cubicBezTo>
                      <a:pt x="1281" y="2810"/>
                      <a:pt x="1244" y="2803"/>
                      <a:pt x="1199" y="2788"/>
                    </a:cubicBezTo>
                    <a:cubicBezTo>
                      <a:pt x="1176" y="2773"/>
                      <a:pt x="1161" y="2765"/>
                      <a:pt x="1139" y="2750"/>
                    </a:cubicBezTo>
                    <a:cubicBezTo>
                      <a:pt x="1101" y="2728"/>
                      <a:pt x="1086" y="2713"/>
                      <a:pt x="1049" y="2690"/>
                    </a:cubicBezTo>
                    <a:cubicBezTo>
                      <a:pt x="1034" y="2683"/>
                      <a:pt x="1019" y="2675"/>
                      <a:pt x="1011" y="2660"/>
                    </a:cubicBezTo>
                    <a:cubicBezTo>
                      <a:pt x="1004" y="2638"/>
                      <a:pt x="1004" y="2623"/>
                      <a:pt x="1004" y="2600"/>
                    </a:cubicBezTo>
                    <a:cubicBezTo>
                      <a:pt x="981" y="2600"/>
                      <a:pt x="981" y="2600"/>
                      <a:pt x="981" y="2600"/>
                    </a:cubicBezTo>
                    <a:cubicBezTo>
                      <a:pt x="959" y="2600"/>
                      <a:pt x="951" y="2608"/>
                      <a:pt x="929" y="2615"/>
                    </a:cubicBezTo>
                    <a:cubicBezTo>
                      <a:pt x="929" y="2608"/>
                      <a:pt x="921" y="2600"/>
                      <a:pt x="921" y="2593"/>
                    </a:cubicBezTo>
                    <a:cubicBezTo>
                      <a:pt x="921" y="2563"/>
                      <a:pt x="929" y="2548"/>
                      <a:pt x="936" y="2518"/>
                    </a:cubicBezTo>
                    <a:cubicBezTo>
                      <a:pt x="936" y="2510"/>
                      <a:pt x="944" y="2503"/>
                      <a:pt x="944" y="2495"/>
                    </a:cubicBezTo>
                    <a:cubicBezTo>
                      <a:pt x="944" y="2473"/>
                      <a:pt x="921" y="2465"/>
                      <a:pt x="921" y="2443"/>
                    </a:cubicBezTo>
                    <a:cubicBezTo>
                      <a:pt x="921" y="2405"/>
                      <a:pt x="944" y="2383"/>
                      <a:pt x="959" y="2345"/>
                    </a:cubicBezTo>
                    <a:cubicBezTo>
                      <a:pt x="974" y="2301"/>
                      <a:pt x="989" y="2263"/>
                      <a:pt x="1034" y="2248"/>
                    </a:cubicBezTo>
                    <a:cubicBezTo>
                      <a:pt x="1026" y="2233"/>
                      <a:pt x="1019" y="2218"/>
                      <a:pt x="1019" y="2203"/>
                    </a:cubicBezTo>
                    <a:cubicBezTo>
                      <a:pt x="1019" y="2196"/>
                      <a:pt x="1019" y="2196"/>
                      <a:pt x="1019" y="2196"/>
                    </a:cubicBezTo>
                    <a:cubicBezTo>
                      <a:pt x="1019" y="2181"/>
                      <a:pt x="1026" y="2181"/>
                      <a:pt x="1026" y="2166"/>
                    </a:cubicBezTo>
                    <a:cubicBezTo>
                      <a:pt x="1026" y="2136"/>
                      <a:pt x="996" y="2121"/>
                      <a:pt x="966" y="2106"/>
                    </a:cubicBezTo>
                    <a:cubicBezTo>
                      <a:pt x="959" y="2106"/>
                      <a:pt x="959" y="2091"/>
                      <a:pt x="944" y="2083"/>
                    </a:cubicBezTo>
                    <a:cubicBezTo>
                      <a:pt x="929" y="2083"/>
                      <a:pt x="921" y="2076"/>
                      <a:pt x="914" y="2068"/>
                    </a:cubicBezTo>
                    <a:cubicBezTo>
                      <a:pt x="929" y="2038"/>
                      <a:pt x="959" y="2038"/>
                      <a:pt x="996" y="2023"/>
                    </a:cubicBezTo>
                    <a:cubicBezTo>
                      <a:pt x="1011" y="2016"/>
                      <a:pt x="1026" y="2008"/>
                      <a:pt x="1041" y="1993"/>
                    </a:cubicBezTo>
                    <a:cubicBezTo>
                      <a:pt x="1064" y="1986"/>
                      <a:pt x="1079" y="1978"/>
                      <a:pt x="1094" y="1963"/>
                    </a:cubicBezTo>
                    <a:cubicBezTo>
                      <a:pt x="1131" y="1941"/>
                      <a:pt x="1154" y="1926"/>
                      <a:pt x="1176" y="1896"/>
                    </a:cubicBezTo>
                    <a:cubicBezTo>
                      <a:pt x="1199" y="1866"/>
                      <a:pt x="1221" y="1851"/>
                      <a:pt x="1236" y="1821"/>
                    </a:cubicBezTo>
                    <a:cubicBezTo>
                      <a:pt x="1251" y="1798"/>
                      <a:pt x="1251" y="1791"/>
                      <a:pt x="1266" y="1768"/>
                    </a:cubicBezTo>
                    <a:cubicBezTo>
                      <a:pt x="1281" y="1746"/>
                      <a:pt x="1296" y="1738"/>
                      <a:pt x="1311" y="1709"/>
                    </a:cubicBezTo>
                    <a:cubicBezTo>
                      <a:pt x="1326" y="1671"/>
                      <a:pt x="1333" y="1649"/>
                      <a:pt x="1333" y="1611"/>
                    </a:cubicBezTo>
                    <a:cubicBezTo>
                      <a:pt x="1333" y="1596"/>
                      <a:pt x="1326" y="1581"/>
                      <a:pt x="1311" y="1566"/>
                    </a:cubicBezTo>
                    <a:cubicBezTo>
                      <a:pt x="1311" y="1559"/>
                      <a:pt x="1304" y="1566"/>
                      <a:pt x="1304" y="1559"/>
                    </a:cubicBezTo>
                    <a:cubicBezTo>
                      <a:pt x="1304" y="1544"/>
                      <a:pt x="1304" y="1536"/>
                      <a:pt x="1296" y="1521"/>
                    </a:cubicBezTo>
                    <a:cubicBezTo>
                      <a:pt x="1289" y="1506"/>
                      <a:pt x="1274" y="1506"/>
                      <a:pt x="1259" y="1499"/>
                    </a:cubicBezTo>
                    <a:cubicBezTo>
                      <a:pt x="1244" y="1499"/>
                      <a:pt x="1236" y="1491"/>
                      <a:pt x="1221" y="1491"/>
                    </a:cubicBezTo>
                    <a:cubicBezTo>
                      <a:pt x="1191" y="1499"/>
                      <a:pt x="1176" y="1506"/>
                      <a:pt x="1139" y="1514"/>
                    </a:cubicBezTo>
                    <a:cubicBezTo>
                      <a:pt x="1124" y="1514"/>
                      <a:pt x="1109" y="1514"/>
                      <a:pt x="1094" y="1529"/>
                    </a:cubicBezTo>
                    <a:cubicBezTo>
                      <a:pt x="1071" y="1536"/>
                      <a:pt x="1056" y="1544"/>
                      <a:pt x="1026" y="1551"/>
                    </a:cubicBezTo>
                    <a:cubicBezTo>
                      <a:pt x="1004" y="1559"/>
                      <a:pt x="989" y="1574"/>
                      <a:pt x="959" y="1574"/>
                    </a:cubicBezTo>
                    <a:cubicBezTo>
                      <a:pt x="921" y="1574"/>
                      <a:pt x="899" y="1566"/>
                      <a:pt x="869" y="1559"/>
                    </a:cubicBezTo>
                    <a:cubicBezTo>
                      <a:pt x="839" y="1559"/>
                      <a:pt x="824" y="1551"/>
                      <a:pt x="801" y="1544"/>
                    </a:cubicBezTo>
                    <a:lnTo>
                      <a:pt x="794" y="1536"/>
                    </a:lnTo>
                    <a:cubicBezTo>
                      <a:pt x="779" y="1529"/>
                      <a:pt x="771" y="1536"/>
                      <a:pt x="764" y="1529"/>
                    </a:cubicBezTo>
                    <a:cubicBezTo>
                      <a:pt x="756" y="1529"/>
                      <a:pt x="756" y="1521"/>
                      <a:pt x="749" y="1514"/>
                    </a:cubicBezTo>
                    <a:cubicBezTo>
                      <a:pt x="741" y="1514"/>
                      <a:pt x="734" y="1506"/>
                      <a:pt x="727" y="1506"/>
                    </a:cubicBezTo>
                    <a:cubicBezTo>
                      <a:pt x="674" y="1476"/>
                      <a:pt x="659" y="1431"/>
                      <a:pt x="599" y="1416"/>
                    </a:cubicBezTo>
                    <a:cubicBezTo>
                      <a:pt x="577" y="1401"/>
                      <a:pt x="562" y="1401"/>
                      <a:pt x="539" y="1394"/>
                    </a:cubicBezTo>
                    <a:cubicBezTo>
                      <a:pt x="524" y="1386"/>
                      <a:pt x="509" y="1386"/>
                      <a:pt x="502" y="1379"/>
                    </a:cubicBezTo>
                    <a:cubicBezTo>
                      <a:pt x="494" y="1371"/>
                      <a:pt x="487" y="1356"/>
                      <a:pt x="472" y="1356"/>
                    </a:cubicBezTo>
                    <a:cubicBezTo>
                      <a:pt x="449" y="1356"/>
                      <a:pt x="434" y="1379"/>
                      <a:pt x="412" y="1379"/>
                    </a:cubicBezTo>
                    <a:cubicBezTo>
                      <a:pt x="382" y="1386"/>
                      <a:pt x="359" y="1379"/>
                      <a:pt x="329" y="1379"/>
                    </a:cubicBezTo>
                    <a:cubicBezTo>
                      <a:pt x="299" y="1379"/>
                      <a:pt x="277" y="1386"/>
                      <a:pt x="239" y="1394"/>
                    </a:cubicBezTo>
                    <a:cubicBezTo>
                      <a:pt x="232" y="1401"/>
                      <a:pt x="217" y="1409"/>
                      <a:pt x="202" y="1416"/>
                    </a:cubicBezTo>
                    <a:cubicBezTo>
                      <a:pt x="194" y="1416"/>
                      <a:pt x="194" y="1424"/>
                      <a:pt x="187" y="1424"/>
                    </a:cubicBezTo>
                    <a:cubicBezTo>
                      <a:pt x="172" y="1424"/>
                      <a:pt x="172" y="1416"/>
                      <a:pt x="157" y="1416"/>
                    </a:cubicBezTo>
                    <a:cubicBezTo>
                      <a:pt x="127" y="1416"/>
                      <a:pt x="112" y="1431"/>
                      <a:pt x="90" y="1446"/>
                    </a:cubicBezTo>
                    <a:cubicBezTo>
                      <a:pt x="90" y="1446"/>
                      <a:pt x="82" y="1446"/>
                      <a:pt x="82" y="1454"/>
                    </a:cubicBezTo>
                    <a:lnTo>
                      <a:pt x="82" y="1454"/>
                    </a:lnTo>
                    <a:cubicBezTo>
                      <a:pt x="74" y="1439"/>
                      <a:pt x="74" y="1431"/>
                      <a:pt x="74" y="1416"/>
                    </a:cubicBezTo>
                    <a:cubicBezTo>
                      <a:pt x="74" y="1401"/>
                      <a:pt x="82" y="1394"/>
                      <a:pt x="82" y="1379"/>
                    </a:cubicBezTo>
                    <a:cubicBezTo>
                      <a:pt x="82" y="1371"/>
                      <a:pt x="67" y="1364"/>
                      <a:pt x="67" y="1356"/>
                    </a:cubicBezTo>
                    <a:cubicBezTo>
                      <a:pt x="60" y="1349"/>
                      <a:pt x="52" y="1341"/>
                      <a:pt x="52" y="1334"/>
                    </a:cubicBezTo>
                    <a:cubicBezTo>
                      <a:pt x="37" y="1319"/>
                      <a:pt x="30" y="1319"/>
                      <a:pt x="15" y="1304"/>
                    </a:cubicBezTo>
                    <a:cubicBezTo>
                      <a:pt x="7" y="1304"/>
                      <a:pt x="0" y="1304"/>
                      <a:pt x="0" y="1296"/>
                    </a:cubicBezTo>
                    <a:cubicBezTo>
                      <a:pt x="0" y="1266"/>
                      <a:pt x="0" y="1251"/>
                      <a:pt x="15" y="1221"/>
                    </a:cubicBezTo>
                    <a:cubicBezTo>
                      <a:pt x="15" y="1206"/>
                      <a:pt x="30" y="1199"/>
                      <a:pt x="30" y="1184"/>
                    </a:cubicBezTo>
                    <a:cubicBezTo>
                      <a:pt x="30" y="1162"/>
                      <a:pt x="7" y="1154"/>
                      <a:pt x="7" y="1132"/>
                    </a:cubicBezTo>
                    <a:cubicBezTo>
                      <a:pt x="7" y="1116"/>
                      <a:pt x="15" y="1102"/>
                      <a:pt x="15" y="1086"/>
                    </a:cubicBezTo>
                    <a:cubicBezTo>
                      <a:pt x="15" y="1072"/>
                      <a:pt x="15" y="1064"/>
                      <a:pt x="15" y="1049"/>
                    </a:cubicBezTo>
                    <a:cubicBezTo>
                      <a:pt x="15" y="1034"/>
                      <a:pt x="22" y="1034"/>
                      <a:pt x="22" y="1019"/>
                    </a:cubicBezTo>
                    <a:cubicBezTo>
                      <a:pt x="22" y="1012"/>
                      <a:pt x="22" y="1004"/>
                      <a:pt x="22" y="997"/>
                    </a:cubicBezTo>
                    <a:cubicBezTo>
                      <a:pt x="30" y="974"/>
                      <a:pt x="44" y="959"/>
                      <a:pt x="60" y="944"/>
                    </a:cubicBezTo>
                    <a:cubicBezTo>
                      <a:pt x="74" y="937"/>
                      <a:pt x="90" y="937"/>
                      <a:pt x="97" y="922"/>
                    </a:cubicBezTo>
                    <a:cubicBezTo>
                      <a:pt x="112" y="892"/>
                      <a:pt x="112" y="869"/>
                      <a:pt x="134" y="854"/>
                    </a:cubicBezTo>
                    <a:cubicBezTo>
                      <a:pt x="150" y="847"/>
                      <a:pt x="157" y="839"/>
                      <a:pt x="172" y="832"/>
                    </a:cubicBezTo>
                    <a:cubicBezTo>
                      <a:pt x="172" y="794"/>
                      <a:pt x="172" y="794"/>
                      <a:pt x="172" y="794"/>
                    </a:cubicBezTo>
                    <a:cubicBezTo>
                      <a:pt x="142" y="794"/>
                      <a:pt x="142" y="794"/>
                      <a:pt x="142" y="794"/>
                    </a:cubicBezTo>
                    <a:cubicBezTo>
                      <a:pt x="142" y="787"/>
                      <a:pt x="134" y="779"/>
                      <a:pt x="134" y="772"/>
                    </a:cubicBezTo>
                    <a:cubicBezTo>
                      <a:pt x="134" y="757"/>
                      <a:pt x="150" y="757"/>
                      <a:pt x="157" y="749"/>
                    </a:cubicBezTo>
                    <a:cubicBezTo>
                      <a:pt x="164" y="742"/>
                      <a:pt x="172" y="734"/>
                      <a:pt x="180" y="727"/>
                    </a:cubicBezTo>
                    <a:lnTo>
                      <a:pt x="180" y="727"/>
                    </a:lnTo>
                    <a:cubicBezTo>
                      <a:pt x="187" y="734"/>
                      <a:pt x="187" y="742"/>
                      <a:pt x="202" y="749"/>
                    </a:cubicBezTo>
                    <a:cubicBezTo>
                      <a:pt x="217" y="742"/>
                      <a:pt x="224" y="727"/>
                      <a:pt x="239" y="719"/>
                    </a:cubicBezTo>
                    <a:cubicBezTo>
                      <a:pt x="239" y="719"/>
                      <a:pt x="247" y="719"/>
                      <a:pt x="247" y="712"/>
                    </a:cubicBezTo>
                    <a:cubicBezTo>
                      <a:pt x="262" y="704"/>
                      <a:pt x="269" y="689"/>
                      <a:pt x="277" y="674"/>
                    </a:cubicBezTo>
                    <a:lnTo>
                      <a:pt x="284" y="667"/>
                    </a:lnTo>
                    <a:cubicBezTo>
                      <a:pt x="284" y="637"/>
                      <a:pt x="269" y="622"/>
                      <a:pt x="269" y="592"/>
                    </a:cubicBezTo>
                    <a:cubicBezTo>
                      <a:pt x="269" y="577"/>
                      <a:pt x="269" y="562"/>
                      <a:pt x="262" y="555"/>
                    </a:cubicBezTo>
                    <a:cubicBezTo>
                      <a:pt x="254" y="539"/>
                      <a:pt x="239" y="532"/>
                      <a:pt x="239" y="517"/>
                    </a:cubicBezTo>
                    <a:cubicBezTo>
                      <a:pt x="239" y="472"/>
                      <a:pt x="239" y="472"/>
                      <a:pt x="239" y="472"/>
                    </a:cubicBezTo>
                    <a:cubicBezTo>
                      <a:pt x="239" y="465"/>
                      <a:pt x="247" y="465"/>
                      <a:pt x="247" y="457"/>
                    </a:cubicBezTo>
                    <a:cubicBezTo>
                      <a:pt x="239" y="442"/>
                      <a:pt x="217" y="450"/>
                      <a:pt x="209" y="442"/>
                    </a:cubicBezTo>
                    <a:cubicBezTo>
                      <a:pt x="202" y="435"/>
                      <a:pt x="202" y="427"/>
                      <a:pt x="202" y="420"/>
                    </a:cubicBezTo>
                    <a:cubicBezTo>
                      <a:pt x="194" y="390"/>
                      <a:pt x="187" y="375"/>
                      <a:pt x="172" y="345"/>
                    </a:cubicBezTo>
                    <a:cubicBezTo>
                      <a:pt x="187" y="307"/>
                      <a:pt x="187" y="307"/>
                      <a:pt x="187" y="307"/>
                    </a:cubicBezTo>
                    <a:cubicBezTo>
                      <a:pt x="180" y="285"/>
                      <a:pt x="187" y="270"/>
                      <a:pt x="180" y="255"/>
                    </a:cubicBezTo>
                    <a:cubicBezTo>
                      <a:pt x="172" y="240"/>
                      <a:pt x="164" y="247"/>
                      <a:pt x="150" y="232"/>
                    </a:cubicBezTo>
                    <a:cubicBezTo>
                      <a:pt x="142" y="225"/>
                      <a:pt x="134" y="217"/>
                      <a:pt x="127" y="202"/>
                    </a:cubicBezTo>
                    <a:close/>
                  </a:path>
                </a:pathLst>
              </a:custGeom>
              <a:grpFill/>
              <a:ln w="6350"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a:latin typeface="Calibri" panose="020F0502020204030204" pitchFamily="34" charset="0"/>
                </a:endParaRPr>
              </a:p>
            </p:txBody>
          </p:sp>
          <p:sp>
            <p:nvSpPr>
              <p:cNvPr id="21" name="Freeform 135">
                <a:extLst>
                  <a:ext uri="{FF2B5EF4-FFF2-40B4-BE49-F238E27FC236}">
                    <a16:creationId xmlns:a16="http://schemas.microsoft.com/office/drawing/2014/main" id="{D810741C-B9E9-6D69-5CE3-314A785C7733}"/>
                  </a:ext>
                </a:extLst>
              </p:cNvPr>
              <p:cNvSpPr>
                <a:spLocks noChangeArrowheads="1"/>
              </p:cNvSpPr>
              <p:nvPr/>
            </p:nvSpPr>
            <p:spPr bwMode="auto">
              <a:xfrm>
                <a:off x="5595968" y="7534392"/>
                <a:ext cx="2194749" cy="2440675"/>
              </a:xfrm>
              <a:custGeom>
                <a:avLst/>
                <a:gdLst>
                  <a:gd name="T0" fmla="*/ 3221 w 5080"/>
                  <a:gd name="T1" fmla="*/ 1018 h 5651"/>
                  <a:gd name="T2" fmla="*/ 3468 w 5080"/>
                  <a:gd name="T3" fmla="*/ 951 h 5651"/>
                  <a:gd name="T4" fmla="*/ 3491 w 5080"/>
                  <a:gd name="T5" fmla="*/ 412 h 5651"/>
                  <a:gd name="T6" fmla="*/ 3228 w 5080"/>
                  <a:gd name="T7" fmla="*/ 644 h 5651"/>
                  <a:gd name="T8" fmla="*/ 37 w 5080"/>
                  <a:gd name="T9" fmla="*/ 4526 h 5651"/>
                  <a:gd name="T10" fmla="*/ 164 w 5080"/>
                  <a:gd name="T11" fmla="*/ 4383 h 5651"/>
                  <a:gd name="T12" fmla="*/ 397 w 5080"/>
                  <a:gd name="T13" fmla="*/ 4323 h 5651"/>
                  <a:gd name="T14" fmla="*/ 554 w 5080"/>
                  <a:gd name="T15" fmla="*/ 4211 h 5651"/>
                  <a:gd name="T16" fmla="*/ 741 w 5080"/>
                  <a:gd name="T17" fmla="*/ 4046 h 5651"/>
                  <a:gd name="T18" fmla="*/ 659 w 5080"/>
                  <a:gd name="T19" fmla="*/ 3604 h 5651"/>
                  <a:gd name="T20" fmla="*/ 1019 w 5080"/>
                  <a:gd name="T21" fmla="*/ 3154 h 5651"/>
                  <a:gd name="T22" fmla="*/ 1438 w 5080"/>
                  <a:gd name="T23" fmla="*/ 2570 h 5651"/>
                  <a:gd name="T24" fmla="*/ 1408 w 5080"/>
                  <a:gd name="T25" fmla="*/ 2015 h 5651"/>
                  <a:gd name="T26" fmla="*/ 1618 w 5080"/>
                  <a:gd name="T27" fmla="*/ 1663 h 5651"/>
                  <a:gd name="T28" fmla="*/ 2149 w 5080"/>
                  <a:gd name="T29" fmla="*/ 1520 h 5651"/>
                  <a:gd name="T30" fmla="*/ 2067 w 5080"/>
                  <a:gd name="T31" fmla="*/ 1775 h 5651"/>
                  <a:gd name="T32" fmla="*/ 1663 w 5080"/>
                  <a:gd name="T33" fmla="*/ 1970 h 5651"/>
                  <a:gd name="T34" fmla="*/ 1693 w 5080"/>
                  <a:gd name="T35" fmla="*/ 2098 h 5651"/>
                  <a:gd name="T36" fmla="*/ 2082 w 5080"/>
                  <a:gd name="T37" fmla="*/ 2599 h 5651"/>
                  <a:gd name="T38" fmla="*/ 2929 w 5080"/>
                  <a:gd name="T39" fmla="*/ 2060 h 5651"/>
                  <a:gd name="T40" fmla="*/ 3491 w 5080"/>
                  <a:gd name="T41" fmla="*/ 1753 h 5651"/>
                  <a:gd name="T42" fmla="*/ 3910 w 5080"/>
                  <a:gd name="T43" fmla="*/ 1056 h 5651"/>
                  <a:gd name="T44" fmla="*/ 4540 w 5080"/>
                  <a:gd name="T45" fmla="*/ 531 h 5651"/>
                  <a:gd name="T46" fmla="*/ 4727 w 5080"/>
                  <a:gd name="T47" fmla="*/ 38 h 5651"/>
                  <a:gd name="T48" fmla="*/ 4952 w 5080"/>
                  <a:gd name="T49" fmla="*/ 300 h 5651"/>
                  <a:gd name="T50" fmla="*/ 4825 w 5080"/>
                  <a:gd name="T51" fmla="*/ 689 h 5651"/>
                  <a:gd name="T52" fmla="*/ 4840 w 5080"/>
                  <a:gd name="T53" fmla="*/ 1026 h 5651"/>
                  <a:gd name="T54" fmla="*/ 4780 w 5080"/>
                  <a:gd name="T55" fmla="*/ 1243 h 5651"/>
                  <a:gd name="T56" fmla="*/ 4667 w 5080"/>
                  <a:gd name="T57" fmla="*/ 1505 h 5651"/>
                  <a:gd name="T58" fmla="*/ 4345 w 5080"/>
                  <a:gd name="T59" fmla="*/ 1610 h 5651"/>
                  <a:gd name="T60" fmla="*/ 4270 w 5080"/>
                  <a:gd name="T61" fmla="*/ 1963 h 5651"/>
                  <a:gd name="T62" fmla="*/ 4345 w 5080"/>
                  <a:gd name="T63" fmla="*/ 2232 h 5651"/>
                  <a:gd name="T64" fmla="*/ 4240 w 5080"/>
                  <a:gd name="T65" fmla="*/ 2232 h 5651"/>
                  <a:gd name="T66" fmla="*/ 4023 w 5080"/>
                  <a:gd name="T67" fmla="*/ 2405 h 5651"/>
                  <a:gd name="T68" fmla="*/ 3716 w 5080"/>
                  <a:gd name="T69" fmla="*/ 2629 h 5651"/>
                  <a:gd name="T70" fmla="*/ 3461 w 5080"/>
                  <a:gd name="T71" fmla="*/ 2764 h 5651"/>
                  <a:gd name="T72" fmla="*/ 3648 w 5080"/>
                  <a:gd name="T73" fmla="*/ 3079 h 5651"/>
                  <a:gd name="T74" fmla="*/ 3611 w 5080"/>
                  <a:gd name="T75" fmla="*/ 3476 h 5651"/>
                  <a:gd name="T76" fmla="*/ 3753 w 5080"/>
                  <a:gd name="T77" fmla="*/ 3791 h 5651"/>
                  <a:gd name="T78" fmla="*/ 4143 w 5080"/>
                  <a:gd name="T79" fmla="*/ 4106 h 5651"/>
                  <a:gd name="T80" fmla="*/ 4113 w 5080"/>
                  <a:gd name="T81" fmla="*/ 4368 h 5651"/>
                  <a:gd name="T82" fmla="*/ 4000 w 5080"/>
                  <a:gd name="T83" fmla="*/ 4526 h 5651"/>
                  <a:gd name="T84" fmla="*/ 4165 w 5080"/>
                  <a:gd name="T85" fmla="*/ 4885 h 5651"/>
                  <a:gd name="T86" fmla="*/ 4180 w 5080"/>
                  <a:gd name="T87" fmla="*/ 5245 h 5651"/>
                  <a:gd name="T88" fmla="*/ 3820 w 5080"/>
                  <a:gd name="T89" fmla="*/ 5545 h 5651"/>
                  <a:gd name="T90" fmla="*/ 3806 w 5080"/>
                  <a:gd name="T91" fmla="*/ 5035 h 5651"/>
                  <a:gd name="T92" fmla="*/ 3716 w 5080"/>
                  <a:gd name="T93" fmla="*/ 4900 h 5651"/>
                  <a:gd name="T94" fmla="*/ 3333 w 5080"/>
                  <a:gd name="T95" fmla="*/ 5207 h 5651"/>
                  <a:gd name="T96" fmla="*/ 2921 w 5080"/>
                  <a:gd name="T97" fmla="*/ 5537 h 5651"/>
                  <a:gd name="T98" fmla="*/ 2209 w 5080"/>
                  <a:gd name="T99" fmla="*/ 5560 h 5651"/>
                  <a:gd name="T100" fmla="*/ 1955 w 5080"/>
                  <a:gd name="T101" fmla="*/ 5545 h 5651"/>
                  <a:gd name="T102" fmla="*/ 1866 w 5080"/>
                  <a:gd name="T103" fmla="*/ 5372 h 5651"/>
                  <a:gd name="T104" fmla="*/ 1738 w 5080"/>
                  <a:gd name="T105" fmla="*/ 5462 h 5651"/>
                  <a:gd name="T106" fmla="*/ 1528 w 5080"/>
                  <a:gd name="T107" fmla="*/ 5013 h 5651"/>
                  <a:gd name="T108" fmla="*/ 1333 w 5080"/>
                  <a:gd name="T109" fmla="*/ 4848 h 5651"/>
                  <a:gd name="T110" fmla="*/ 1079 w 5080"/>
                  <a:gd name="T111" fmla="*/ 4653 h 5651"/>
                  <a:gd name="T112" fmla="*/ 1034 w 5080"/>
                  <a:gd name="T113" fmla="*/ 4308 h 5651"/>
                  <a:gd name="T114" fmla="*/ 809 w 5080"/>
                  <a:gd name="T115" fmla="*/ 4113 h 5651"/>
                  <a:gd name="T116" fmla="*/ 711 w 5080"/>
                  <a:gd name="T117" fmla="*/ 4323 h 5651"/>
                  <a:gd name="T118" fmla="*/ 531 w 5080"/>
                  <a:gd name="T119" fmla="*/ 4466 h 5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080" h="5651">
                    <a:moveTo>
                      <a:pt x="3184" y="719"/>
                    </a:moveTo>
                    <a:lnTo>
                      <a:pt x="3184" y="719"/>
                    </a:lnTo>
                    <a:cubicBezTo>
                      <a:pt x="3184" y="726"/>
                      <a:pt x="3184" y="734"/>
                      <a:pt x="3184" y="749"/>
                    </a:cubicBezTo>
                    <a:cubicBezTo>
                      <a:pt x="3184" y="786"/>
                      <a:pt x="3184" y="816"/>
                      <a:pt x="3184" y="853"/>
                    </a:cubicBezTo>
                    <a:cubicBezTo>
                      <a:pt x="3221" y="839"/>
                      <a:pt x="3228" y="816"/>
                      <a:pt x="3258" y="794"/>
                    </a:cubicBezTo>
                    <a:cubicBezTo>
                      <a:pt x="3273" y="816"/>
                      <a:pt x="3296" y="823"/>
                      <a:pt x="3296" y="853"/>
                    </a:cubicBezTo>
                    <a:cubicBezTo>
                      <a:pt x="3296" y="883"/>
                      <a:pt x="3258" y="883"/>
                      <a:pt x="3243" y="906"/>
                    </a:cubicBezTo>
                    <a:cubicBezTo>
                      <a:pt x="3236" y="921"/>
                      <a:pt x="3236" y="943"/>
                      <a:pt x="3236" y="966"/>
                    </a:cubicBezTo>
                    <a:cubicBezTo>
                      <a:pt x="3236" y="988"/>
                      <a:pt x="3236" y="1003"/>
                      <a:pt x="3221" y="1018"/>
                    </a:cubicBezTo>
                    <a:cubicBezTo>
                      <a:pt x="3214" y="1026"/>
                      <a:pt x="3198" y="1026"/>
                      <a:pt x="3184" y="1026"/>
                    </a:cubicBezTo>
                    <a:cubicBezTo>
                      <a:pt x="3176" y="1033"/>
                      <a:pt x="3168" y="1041"/>
                      <a:pt x="3161" y="1048"/>
                    </a:cubicBezTo>
                    <a:cubicBezTo>
                      <a:pt x="3161" y="1086"/>
                      <a:pt x="3161" y="1086"/>
                      <a:pt x="3161" y="1086"/>
                    </a:cubicBezTo>
                    <a:cubicBezTo>
                      <a:pt x="3168" y="1086"/>
                      <a:pt x="3176" y="1086"/>
                      <a:pt x="3184" y="1086"/>
                    </a:cubicBezTo>
                    <a:cubicBezTo>
                      <a:pt x="3206" y="1086"/>
                      <a:pt x="3206" y="1071"/>
                      <a:pt x="3221" y="1071"/>
                    </a:cubicBezTo>
                    <a:cubicBezTo>
                      <a:pt x="3258" y="1056"/>
                      <a:pt x="3273" y="1041"/>
                      <a:pt x="3311" y="1033"/>
                    </a:cubicBezTo>
                    <a:cubicBezTo>
                      <a:pt x="3333" y="1026"/>
                      <a:pt x="3356" y="1026"/>
                      <a:pt x="3378" y="1018"/>
                    </a:cubicBezTo>
                    <a:cubicBezTo>
                      <a:pt x="3401" y="1003"/>
                      <a:pt x="3408" y="988"/>
                      <a:pt x="3431" y="973"/>
                    </a:cubicBezTo>
                    <a:cubicBezTo>
                      <a:pt x="3446" y="966"/>
                      <a:pt x="3461" y="966"/>
                      <a:pt x="3468" y="951"/>
                    </a:cubicBezTo>
                    <a:cubicBezTo>
                      <a:pt x="3498" y="921"/>
                      <a:pt x="3498" y="899"/>
                      <a:pt x="3513" y="861"/>
                    </a:cubicBezTo>
                    <a:cubicBezTo>
                      <a:pt x="3528" y="808"/>
                      <a:pt x="3543" y="779"/>
                      <a:pt x="3566" y="726"/>
                    </a:cubicBezTo>
                    <a:cubicBezTo>
                      <a:pt x="3558" y="704"/>
                      <a:pt x="3558" y="704"/>
                      <a:pt x="3558" y="704"/>
                    </a:cubicBezTo>
                    <a:cubicBezTo>
                      <a:pt x="3378" y="704"/>
                      <a:pt x="3378" y="704"/>
                      <a:pt x="3378" y="704"/>
                    </a:cubicBezTo>
                    <a:cubicBezTo>
                      <a:pt x="3378" y="704"/>
                      <a:pt x="3378" y="696"/>
                      <a:pt x="3378" y="689"/>
                    </a:cubicBezTo>
                    <a:cubicBezTo>
                      <a:pt x="3378" y="681"/>
                      <a:pt x="3378" y="674"/>
                      <a:pt x="3386" y="666"/>
                    </a:cubicBezTo>
                    <a:cubicBezTo>
                      <a:pt x="3401" y="629"/>
                      <a:pt x="3423" y="614"/>
                      <a:pt x="3446" y="591"/>
                    </a:cubicBezTo>
                    <a:cubicBezTo>
                      <a:pt x="3468" y="569"/>
                      <a:pt x="3476" y="546"/>
                      <a:pt x="3476" y="516"/>
                    </a:cubicBezTo>
                    <a:cubicBezTo>
                      <a:pt x="3483" y="471"/>
                      <a:pt x="3483" y="449"/>
                      <a:pt x="3491" y="412"/>
                    </a:cubicBezTo>
                    <a:cubicBezTo>
                      <a:pt x="3498" y="390"/>
                      <a:pt x="3506" y="375"/>
                      <a:pt x="3506" y="352"/>
                    </a:cubicBezTo>
                    <a:cubicBezTo>
                      <a:pt x="3506" y="345"/>
                      <a:pt x="3491" y="345"/>
                      <a:pt x="3491" y="345"/>
                    </a:cubicBezTo>
                    <a:cubicBezTo>
                      <a:pt x="3476" y="337"/>
                      <a:pt x="3461" y="337"/>
                      <a:pt x="3453" y="345"/>
                    </a:cubicBezTo>
                    <a:cubicBezTo>
                      <a:pt x="3438" y="345"/>
                      <a:pt x="3431" y="352"/>
                      <a:pt x="3431" y="360"/>
                    </a:cubicBezTo>
                    <a:cubicBezTo>
                      <a:pt x="3423" y="375"/>
                      <a:pt x="3431" y="390"/>
                      <a:pt x="3423" y="397"/>
                    </a:cubicBezTo>
                    <a:cubicBezTo>
                      <a:pt x="3416" y="426"/>
                      <a:pt x="3393" y="441"/>
                      <a:pt x="3363" y="449"/>
                    </a:cubicBezTo>
                    <a:cubicBezTo>
                      <a:pt x="3348" y="449"/>
                      <a:pt x="3341" y="464"/>
                      <a:pt x="3333" y="479"/>
                    </a:cubicBezTo>
                    <a:cubicBezTo>
                      <a:pt x="3303" y="524"/>
                      <a:pt x="3266" y="546"/>
                      <a:pt x="3243" y="599"/>
                    </a:cubicBezTo>
                    <a:cubicBezTo>
                      <a:pt x="3236" y="614"/>
                      <a:pt x="3236" y="629"/>
                      <a:pt x="3228" y="644"/>
                    </a:cubicBezTo>
                    <a:cubicBezTo>
                      <a:pt x="3214" y="674"/>
                      <a:pt x="3184" y="681"/>
                      <a:pt x="3184" y="719"/>
                    </a:cubicBezTo>
                    <a:close/>
                    <a:moveTo>
                      <a:pt x="374" y="4570"/>
                    </a:moveTo>
                    <a:lnTo>
                      <a:pt x="374" y="4570"/>
                    </a:lnTo>
                    <a:lnTo>
                      <a:pt x="374" y="4570"/>
                    </a:lnTo>
                    <a:cubicBezTo>
                      <a:pt x="337" y="4570"/>
                      <a:pt x="299" y="4586"/>
                      <a:pt x="262" y="4578"/>
                    </a:cubicBezTo>
                    <a:cubicBezTo>
                      <a:pt x="239" y="4578"/>
                      <a:pt x="232" y="4563"/>
                      <a:pt x="209" y="4556"/>
                    </a:cubicBezTo>
                    <a:cubicBezTo>
                      <a:pt x="179" y="4540"/>
                      <a:pt x="149" y="4540"/>
                      <a:pt x="112" y="4540"/>
                    </a:cubicBezTo>
                    <a:cubicBezTo>
                      <a:pt x="82" y="4540"/>
                      <a:pt x="67" y="4548"/>
                      <a:pt x="37" y="4548"/>
                    </a:cubicBezTo>
                    <a:cubicBezTo>
                      <a:pt x="37" y="4526"/>
                      <a:pt x="37" y="4526"/>
                      <a:pt x="37" y="4526"/>
                    </a:cubicBezTo>
                    <a:cubicBezTo>
                      <a:pt x="44" y="4503"/>
                      <a:pt x="52" y="4481"/>
                      <a:pt x="52" y="4458"/>
                    </a:cubicBezTo>
                    <a:cubicBezTo>
                      <a:pt x="52" y="4443"/>
                      <a:pt x="37" y="4443"/>
                      <a:pt x="29" y="4428"/>
                    </a:cubicBezTo>
                    <a:cubicBezTo>
                      <a:pt x="22" y="4413"/>
                      <a:pt x="22" y="4406"/>
                      <a:pt x="22" y="4391"/>
                    </a:cubicBezTo>
                    <a:cubicBezTo>
                      <a:pt x="14" y="4368"/>
                      <a:pt x="0" y="4361"/>
                      <a:pt x="0" y="4338"/>
                    </a:cubicBezTo>
                    <a:cubicBezTo>
                      <a:pt x="0" y="4316"/>
                      <a:pt x="7" y="4301"/>
                      <a:pt x="14" y="4278"/>
                    </a:cubicBezTo>
                    <a:lnTo>
                      <a:pt x="14" y="4278"/>
                    </a:lnTo>
                    <a:cubicBezTo>
                      <a:pt x="22" y="4293"/>
                      <a:pt x="22" y="4308"/>
                      <a:pt x="37" y="4323"/>
                    </a:cubicBezTo>
                    <a:cubicBezTo>
                      <a:pt x="60" y="4346"/>
                      <a:pt x="82" y="4338"/>
                      <a:pt x="112" y="4346"/>
                    </a:cubicBezTo>
                    <a:cubicBezTo>
                      <a:pt x="134" y="4353"/>
                      <a:pt x="142" y="4376"/>
                      <a:pt x="164" y="4383"/>
                    </a:cubicBezTo>
                    <a:cubicBezTo>
                      <a:pt x="179" y="4391"/>
                      <a:pt x="187" y="4391"/>
                      <a:pt x="202" y="4398"/>
                    </a:cubicBezTo>
                    <a:cubicBezTo>
                      <a:pt x="209" y="4376"/>
                      <a:pt x="209" y="4353"/>
                      <a:pt x="217" y="4331"/>
                    </a:cubicBezTo>
                    <a:cubicBezTo>
                      <a:pt x="232" y="4331"/>
                      <a:pt x="232" y="4331"/>
                      <a:pt x="232" y="4331"/>
                    </a:cubicBezTo>
                    <a:cubicBezTo>
                      <a:pt x="239" y="4353"/>
                      <a:pt x="247" y="4383"/>
                      <a:pt x="277" y="4383"/>
                    </a:cubicBezTo>
                    <a:cubicBezTo>
                      <a:pt x="284" y="4383"/>
                      <a:pt x="284" y="4376"/>
                      <a:pt x="284" y="4376"/>
                    </a:cubicBezTo>
                    <a:cubicBezTo>
                      <a:pt x="307" y="4368"/>
                      <a:pt x="329" y="4361"/>
                      <a:pt x="337" y="4338"/>
                    </a:cubicBezTo>
                    <a:cubicBezTo>
                      <a:pt x="322" y="4308"/>
                      <a:pt x="322" y="4308"/>
                      <a:pt x="322" y="4308"/>
                    </a:cubicBezTo>
                    <a:lnTo>
                      <a:pt x="329" y="4301"/>
                    </a:lnTo>
                    <a:cubicBezTo>
                      <a:pt x="359" y="4308"/>
                      <a:pt x="367" y="4323"/>
                      <a:pt x="397" y="4323"/>
                    </a:cubicBezTo>
                    <a:cubicBezTo>
                      <a:pt x="404" y="4323"/>
                      <a:pt x="412" y="4308"/>
                      <a:pt x="419" y="4301"/>
                    </a:cubicBezTo>
                    <a:cubicBezTo>
                      <a:pt x="419" y="4301"/>
                      <a:pt x="427" y="4301"/>
                      <a:pt x="427" y="4293"/>
                    </a:cubicBezTo>
                    <a:cubicBezTo>
                      <a:pt x="442" y="4278"/>
                      <a:pt x="442" y="4263"/>
                      <a:pt x="442" y="4241"/>
                    </a:cubicBezTo>
                    <a:cubicBezTo>
                      <a:pt x="449" y="4226"/>
                      <a:pt x="457" y="4218"/>
                      <a:pt x="464" y="4203"/>
                    </a:cubicBezTo>
                    <a:cubicBezTo>
                      <a:pt x="464" y="4211"/>
                      <a:pt x="472" y="4203"/>
                      <a:pt x="479" y="4211"/>
                    </a:cubicBezTo>
                    <a:cubicBezTo>
                      <a:pt x="487" y="4233"/>
                      <a:pt x="479" y="4248"/>
                      <a:pt x="479" y="4271"/>
                    </a:cubicBezTo>
                    <a:cubicBezTo>
                      <a:pt x="487" y="4278"/>
                      <a:pt x="487" y="4286"/>
                      <a:pt x="494" y="4286"/>
                    </a:cubicBezTo>
                    <a:cubicBezTo>
                      <a:pt x="502" y="4271"/>
                      <a:pt x="509" y="4256"/>
                      <a:pt x="517" y="4233"/>
                    </a:cubicBezTo>
                    <a:cubicBezTo>
                      <a:pt x="524" y="4218"/>
                      <a:pt x="539" y="4218"/>
                      <a:pt x="554" y="4211"/>
                    </a:cubicBezTo>
                    <a:cubicBezTo>
                      <a:pt x="584" y="4196"/>
                      <a:pt x="614" y="4188"/>
                      <a:pt x="614" y="4158"/>
                    </a:cubicBezTo>
                    <a:cubicBezTo>
                      <a:pt x="614" y="4121"/>
                      <a:pt x="599" y="4098"/>
                      <a:pt x="599" y="4068"/>
                    </a:cubicBezTo>
                    <a:cubicBezTo>
                      <a:pt x="599" y="4061"/>
                      <a:pt x="607" y="4061"/>
                      <a:pt x="614" y="4061"/>
                    </a:cubicBezTo>
                    <a:cubicBezTo>
                      <a:pt x="621" y="4046"/>
                      <a:pt x="637" y="4046"/>
                      <a:pt x="651" y="4046"/>
                    </a:cubicBezTo>
                    <a:cubicBezTo>
                      <a:pt x="651" y="4046"/>
                      <a:pt x="659" y="4046"/>
                      <a:pt x="659" y="4053"/>
                    </a:cubicBezTo>
                    <a:cubicBezTo>
                      <a:pt x="659" y="4061"/>
                      <a:pt x="651" y="4068"/>
                      <a:pt x="651" y="4083"/>
                    </a:cubicBezTo>
                    <a:cubicBezTo>
                      <a:pt x="651" y="4098"/>
                      <a:pt x="667" y="4113"/>
                      <a:pt x="667" y="4128"/>
                    </a:cubicBezTo>
                    <a:cubicBezTo>
                      <a:pt x="674" y="4143"/>
                      <a:pt x="681" y="4158"/>
                      <a:pt x="689" y="4166"/>
                    </a:cubicBezTo>
                    <a:cubicBezTo>
                      <a:pt x="726" y="4128"/>
                      <a:pt x="741" y="4098"/>
                      <a:pt x="741" y="4046"/>
                    </a:cubicBezTo>
                    <a:cubicBezTo>
                      <a:pt x="741" y="4031"/>
                      <a:pt x="734" y="4023"/>
                      <a:pt x="726" y="4016"/>
                    </a:cubicBezTo>
                    <a:cubicBezTo>
                      <a:pt x="719" y="3993"/>
                      <a:pt x="719" y="3978"/>
                      <a:pt x="711" y="3948"/>
                    </a:cubicBezTo>
                    <a:cubicBezTo>
                      <a:pt x="704" y="3934"/>
                      <a:pt x="704" y="3918"/>
                      <a:pt x="696" y="3904"/>
                    </a:cubicBezTo>
                    <a:cubicBezTo>
                      <a:pt x="689" y="3888"/>
                      <a:pt x="689" y="3874"/>
                      <a:pt x="681" y="3866"/>
                    </a:cubicBezTo>
                    <a:cubicBezTo>
                      <a:pt x="674" y="3851"/>
                      <a:pt x="667" y="3851"/>
                      <a:pt x="659" y="3844"/>
                    </a:cubicBezTo>
                    <a:cubicBezTo>
                      <a:pt x="637" y="3814"/>
                      <a:pt x="629" y="3798"/>
                      <a:pt x="621" y="3761"/>
                    </a:cubicBezTo>
                    <a:cubicBezTo>
                      <a:pt x="607" y="3739"/>
                      <a:pt x="591" y="3724"/>
                      <a:pt x="591" y="3694"/>
                    </a:cubicBezTo>
                    <a:cubicBezTo>
                      <a:pt x="591" y="3671"/>
                      <a:pt x="621" y="3671"/>
                      <a:pt x="637" y="3656"/>
                    </a:cubicBezTo>
                    <a:cubicBezTo>
                      <a:pt x="651" y="3641"/>
                      <a:pt x="651" y="3626"/>
                      <a:pt x="659" y="3604"/>
                    </a:cubicBezTo>
                    <a:cubicBezTo>
                      <a:pt x="674" y="3574"/>
                      <a:pt x="674" y="3551"/>
                      <a:pt x="696" y="3514"/>
                    </a:cubicBezTo>
                    <a:cubicBezTo>
                      <a:pt x="704" y="3491"/>
                      <a:pt x="719" y="3476"/>
                      <a:pt x="734" y="3454"/>
                    </a:cubicBezTo>
                    <a:cubicBezTo>
                      <a:pt x="741" y="3439"/>
                      <a:pt x="741" y="3431"/>
                      <a:pt x="741" y="3416"/>
                    </a:cubicBezTo>
                    <a:cubicBezTo>
                      <a:pt x="749" y="3387"/>
                      <a:pt x="756" y="3371"/>
                      <a:pt x="764" y="3341"/>
                    </a:cubicBezTo>
                    <a:cubicBezTo>
                      <a:pt x="794" y="3334"/>
                      <a:pt x="809" y="3327"/>
                      <a:pt x="831" y="3311"/>
                    </a:cubicBezTo>
                    <a:cubicBezTo>
                      <a:pt x="861" y="3289"/>
                      <a:pt x="869" y="3281"/>
                      <a:pt x="891" y="3259"/>
                    </a:cubicBezTo>
                    <a:cubicBezTo>
                      <a:pt x="906" y="3244"/>
                      <a:pt x="921" y="3244"/>
                      <a:pt x="929" y="3229"/>
                    </a:cubicBezTo>
                    <a:cubicBezTo>
                      <a:pt x="944" y="3207"/>
                      <a:pt x="951" y="3192"/>
                      <a:pt x="966" y="3177"/>
                    </a:cubicBezTo>
                    <a:cubicBezTo>
                      <a:pt x="981" y="3169"/>
                      <a:pt x="996" y="3162"/>
                      <a:pt x="1019" y="3154"/>
                    </a:cubicBezTo>
                    <a:cubicBezTo>
                      <a:pt x="1041" y="3147"/>
                      <a:pt x="1056" y="3132"/>
                      <a:pt x="1079" y="3109"/>
                    </a:cubicBezTo>
                    <a:cubicBezTo>
                      <a:pt x="1086" y="3102"/>
                      <a:pt x="1101" y="3094"/>
                      <a:pt x="1116" y="3087"/>
                    </a:cubicBezTo>
                    <a:cubicBezTo>
                      <a:pt x="1131" y="3064"/>
                      <a:pt x="1139" y="3057"/>
                      <a:pt x="1154" y="3034"/>
                    </a:cubicBezTo>
                    <a:cubicBezTo>
                      <a:pt x="1169" y="3012"/>
                      <a:pt x="1176" y="2997"/>
                      <a:pt x="1191" y="2982"/>
                    </a:cubicBezTo>
                    <a:cubicBezTo>
                      <a:pt x="1199" y="2974"/>
                      <a:pt x="1206" y="2974"/>
                      <a:pt x="1206" y="2974"/>
                    </a:cubicBezTo>
                    <a:cubicBezTo>
                      <a:pt x="1214" y="2952"/>
                      <a:pt x="1221" y="2937"/>
                      <a:pt x="1236" y="2922"/>
                    </a:cubicBezTo>
                    <a:cubicBezTo>
                      <a:pt x="1273" y="2862"/>
                      <a:pt x="1289" y="2824"/>
                      <a:pt x="1326" y="2757"/>
                    </a:cubicBezTo>
                    <a:cubicBezTo>
                      <a:pt x="1349" y="2712"/>
                      <a:pt x="1379" y="2682"/>
                      <a:pt x="1401" y="2637"/>
                    </a:cubicBezTo>
                    <a:cubicBezTo>
                      <a:pt x="1416" y="2615"/>
                      <a:pt x="1423" y="2592"/>
                      <a:pt x="1438" y="2570"/>
                    </a:cubicBezTo>
                    <a:cubicBezTo>
                      <a:pt x="1446" y="2555"/>
                      <a:pt x="1453" y="2547"/>
                      <a:pt x="1468" y="2532"/>
                    </a:cubicBezTo>
                    <a:cubicBezTo>
                      <a:pt x="1476" y="2510"/>
                      <a:pt x="1483" y="2495"/>
                      <a:pt x="1491" y="2465"/>
                    </a:cubicBezTo>
                    <a:cubicBezTo>
                      <a:pt x="1506" y="2435"/>
                      <a:pt x="1513" y="2412"/>
                      <a:pt x="1513" y="2375"/>
                    </a:cubicBezTo>
                    <a:cubicBezTo>
                      <a:pt x="1513" y="2322"/>
                      <a:pt x="1513" y="2292"/>
                      <a:pt x="1513" y="2240"/>
                    </a:cubicBezTo>
                    <a:cubicBezTo>
                      <a:pt x="1513" y="2225"/>
                      <a:pt x="1506" y="2217"/>
                      <a:pt x="1506" y="2202"/>
                    </a:cubicBezTo>
                    <a:cubicBezTo>
                      <a:pt x="1491" y="2142"/>
                      <a:pt x="1476" y="2105"/>
                      <a:pt x="1461" y="2038"/>
                    </a:cubicBezTo>
                    <a:cubicBezTo>
                      <a:pt x="1446" y="2045"/>
                      <a:pt x="1438" y="2045"/>
                      <a:pt x="1423" y="2052"/>
                    </a:cubicBezTo>
                    <a:cubicBezTo>
                      <a:pt x="1408" y="2045"/>
                      <a:pt x="1408" y="2045"/>
                      <a:pt x="1408" y="2045"/>
                    </a:cubicBezTo>
                    <a:cubicBezTo>
                      <a:pt x="1408" y="2038"/>
                      <a:pt x="1408" y="2030"/>
                      <a:pt x="1408" y="2015"/>
                    </a:cubicBezTo>
                    <a:cubicBezTo>
                      <a:pt x="1408" y="1985"/>
                      <a:pt x="1408" y="1963"/>
                      <a:pt x="1423" y="1933"/>
                    </a:cubicBezTo>
                    <a:cubicBezTo>
                      <a:pt x="1423" y="1925"/>
                      <a:pt x="1423" y="1925"/>
                      <a:pt x="1423" y="1918"/>
                    </a:cubicBezTo>
                    <a:cubicBezTo>
                      <a:pt x="1431" y="1910"/>
                      <a:pt x="1438" y="1903"/>
                      <a:pt x="1446" y="1895"/>
                    </a:cubicBezTo>
                    <a:cubicBezTo>
                      <a:pt x="1453" y="1888"/>
                      <a:pt x="1461" y="1873"/>
                      <a:pt x="1461" y="1858"/>
                    </a:cubicBezTo>
                    <a:cubicBezTo>
                      <a:pt x="1468" y="1835"/>
                      <a:pt x="1476" y="1828"/>
                      <a:pt x="1476" y="1805"/>
                    </a:cubicBezTo>
                    <a:cubicBezTo>
                      <a:pt x="1476" y="1738"/>
                      <a:pt x="1476" y="1738"/>
                      <a:pt x="1476" y="1738"/>
                    </a:cubicBezTo>
                    <a:cubicBezTo>
                      <a:pt x="1476" y="1723"/>
                      <a:pt x="1498" y="1723"/>
                      <a:pt x="1506" y="1715"/>
                    </a:cubicBezTo>
                    <a:cubicBezTo>
                      <a:pt x="1521" y="1708"/>
                      <a:pt x="1536" y="1700"/>
                      <a:pt x="1543" y="1700"/>
                    </a:cubicBezTo>
                    <a:cubicBezTo>
                      <a:pt x="1573" y="1685"/>
                      <a:pt x="1588" y="1663"/>
                      <a:pt x="1618" y="1663"/>
                    </a:cubicBezTo>
                    <a:cubicBezTo>
                      <a:pt x="1641" y="1663"/>
                      <a:pt x="1648" y="1693"/>
                      <a:pt x="1678" y="1693"/>
                    </a:cubicBezTo>
                    <a:cubicBezTo>
                      <a:pt x="1693" y="1693"/>
                      <a:pt x="1701" y="1678"/>
                      <a:pt x="1708" y="1678"/>
                    </a:cubicBezTo>
                    <a:cubicBezTo>
                      <a:pt x="1723" y="1663"/>
                      <a:pt x="1731" y="1655"/>
                      <a:pt x="1746" y="1648"/>
                    </a:cubicBezTo>
                    <a:cubicBezTo>
                      <a:pt x="1761" y="1633"/>
                      <a:pt x="1776" y="1625"/>
                      <a:pt x="1791" y="1618"/>
                    </a:cubicBezTo>
                    <a:cubicBezTo>
                      <a:pt x="1836" y="1595"/>
                      <a:pt x="1858" y="1573"/>
                      <a:pt x="1896" y="1550"/>
                    </a:cubicBezTo>
                    <a:cubicBezTo>
                      <a:pt x="1926" y="1528"/>
                      <a:pt x="1948" y="1513"/>
                      <a:pt x="1985" y="1505"/>
                    </a:cubicBezTo>
                    <a:cubicBezTo>
                      <a:pt x="2000" y="1505"/>
                      <a:pt x="2008" y="1505"/>
                      <a:pt x="2023" y="1505"/>
                    </a:cubicBezTo>
                    <a:cubicBezTo>
                      <a:pt x="2059" y="1498"/>
                      <a:pt x="2074" y="1490"/>
                      <a:pt x="2112" y="1490"/>
                    </a:cubicBezTo>
                    <a:cubicBezTo>
                      <a:pt x="2127" y="1490"/>
                      <a:pt x="2142" y="1505"/>
                      <a:pt x="2149" y="1520"/>
                    </a:cubicBezTo>
                    <a:cubicBezTo>
                      <a:pt x="2157" y="1528"/>
                      <a:pt x="2149" y="1535"/>
                      <a:pt x="2157" y="1543"/>
                    </a:cubicBezTo>
                    <a:cubicBezTo>
                      <a:pt x="2157" y="1565"/>
                      <a:pt x="2172" y="1573"/>
                      <a:pt x="2172" y="1588"/>
                    </a:cubicBezTo>
                    <a:cubicBezTo>
                      <a:pt x="2172" y="1603"/>
                      <a:pt x="2164" y="1610"/>
                      <a:pt x="2149" y="1618"/>
                    </a:cubicBezTo>
                    <a:cubicBezTo>
                      <a:pt x="2127" y="1618"/>
                      <a:pt x="2112" y="1610"/>
                      <a:pt x="2089" y="1618"/>
                    </a:cubicBezTo>
                    <a:cubicBezTo>
                      <a:pt x="2074" y="1625"/>
                      <a:pt x="2074" y="1640"/>
                      <a:pt x="2067" y="1655"/>
                    </a:cubicBezTo>
                    <a:cubicBezTo>
                      <a:pt x="2059" y="1670"/>
                      <a:pt x="2052" y="1678"/>
                      <a:pt x="2052" y="1700"/>
                    </a:cubicBezTo>
                    <a:cubicBezTo>
                      <a:pt x="2052" y="1708"/>
                      <a:pt x="2052" y="1708"/>
                      <a:pt x="2059" y="1715"/>
                    </a:cubicBezTo>
                    <a:cubicBezTo>
                      <a:pt x="2059" y="1738"/>
                      <a:pt x="2059" y="1745"/>
                      <a:pt x="2059" y="1768"/>
                    </a:cubicBezTo>
                    <a:cubicBezTo>
                      <a:pt x="2067" y="1768"/>
                      <a:pt x="2067" y="1775"/>
                      <a:pt x="2067" y="1775"/>
                    </a:cubicBezTo>
                    <a:cubicBezTo>
                      <a:pt x="2067" y="1790"/>
                      <a:pt x="2052" y="1805"/>
                      <a:pt x="2044" y="1805"/>
                    </a:cubicBezTo>
                    <a:cubicBezTo>
                      <a:pt x="2023" y="1813"/>
                      <a:pt x="2008" y="1813"/>
                      <a:pt x="1993" y="1813"/>
                    </a:cubicBezTo>
                    <a:cubicBezTo>
                      <a:pt x="1970" y="1820"/>
                      <a:pt x="1963" y="1828"/>
                      <a:pt x="1940" y="1835"/>
                    </a:cubicBezTo>
                    <a:cubicBezTo>
                      <a:pt x="1926" y="1843"/>
                      <a:pt x="1910" y="1850"/>
                      <a:pt x="1903" y="1865"/>
                    </a:cubicBezTo>
                    <a:cubicBezTo>
                      <a:pt x="1888" y="1895"/>
                      <a:pt x="1888" y="1933"/>
                      <a:pt x="1850" y="1955"/>
                    </a:cubicBezTo>
                    <a:cubicBezTo>
                      <a:pt x="1828" y="1970"/>
                      <a:pt x="1806" y="1978"/>
                      <a:pt x="1776" y="1978"/>
                    </a:cubicBezTo>
                    <a:cubicBezTo>
                      <a:pt x="1738" y="1978"/>
                      <a:pt x="1738" y="1910"/>
                      <a:pt x="1701" y="1910"/>
                    </a:cubicBezTo>
                    <a:cubicBezTo>
                      <a:pt x="1693" y="1910"/>
                      <a:pt x="1693" y="1925"/>
                      <a:pt x="1686" y="1940"/>
                    </a:cubicBezTo>
                    <a:cubicBezTo>
                      <a:pt x="1678" y="1955"/>
                      <a:pt x="1678" y="1963"/>
                      <a:pt x="1663" y="1970"/>
                    </a:cubicBezTo>
                    <a:cubicBezTo>
                      <a:pt x="1648" y="1985"/>
                      <a:pt x="1633" y="1985"/>
                      <a:pt x="1626" y="2000"/>
                    </a:cubicBezTo>
                    <a:cubicBezTo>
                      <a:pt x="1618" y="2000"/>
                      <a:pt x="1618" y="2008"/>
                      <a:pt x="1618" y="2015"/>
                    </a:cubicBezTo>
                    <a:cubicBezTo>
                      <a:pt x="1641" y="2030"/>
                      <a:pt x="1656" y="2045"/>
                      <a:pt x="1671" y="2068"/>
                    </a:cubicBezTo>
                    <a:cubicBezTo>
                      <a:pt x="1701" y="2052"/>
                      <a:pt x="1716" y="2023"/>
                      <a:pt x="1753" y="2023"/>
                    </a:cubicBezTo>
                    <a:cubicBezTo>
                      <a:pt x="1761" y="2023"/>
                      <a:pt x="1761" y="2038"/>
                      <a:pt x="1768" y="2038"/>
                    </a:cubicBezTo>
                    <a:cubicBezTo>
                      <a:pt x="1791" y="2038"/>
                      <a:pt x="1798" y="2030"/>
                      <a:pt x="1820" y="2023"/>
                    </a:cubicBezTo>
                    <a:cubicBezTo>
                      <a:pt x="1828" y="2038"/>
                      <a:pt x="1828" y="2038"/>
                      <a:pt x="1828" y="2038"/>
                    </a:cubicBezTo>
                    <a:cubicBezTo>
                      <a:pt x="1806" y="2068"/>
                      <a:pt x="1783" y="2075"/>
                      <a:pt x="1746" y="2090"/>
                    </a:cubicBezTo>
                    <a:cubicBezTo>
                      <a:pt x="1723" y="2098"/>
                      <a:pt x="1716" y="2105"/>
                      <a:pt x="1693" y="2098"/>
                    </a:cubicBezTo>
                    <a:cubicBezTo>
                      <a:pt x="1686" y="2112"/>
                      <a:pt x="1686" y="2112"/>
                      <a:pt x="1686" y="2112"/>
                    </a:cubicBezTo>
                    <a:cubicBezTo>
                      <a:pt x="1708" y="2135"/>
                      <a:pt x="1716" y="2158"/>
                      <a:pt x="1746" y="2172"/>
                    </a:cubicBezTo>
                    <a:cubicBezTo>
                      <a:pt x="1820" y="2090"/>
                      <a:pt x="1820" y="2090"/>
                      <a:pt x="1820" y="2090"/>
                    </a:cubicBezTo>
                    <a:cubicBezTo>
                      <a:pt x="1850" y="2165"/>
                      <a:pt x="1850" y="2165"/>
                      <a:pt x="1850" y="2165"/>
                    </a:cubicBezTo>
                    <a:cubicBezTo>
                      <a:pt x="1768" y="2442"/>
                      <a:pt x="1768" y="2442"/>
                      <a:pt x="1768" y="2442"/>
                    </a:cubicBezTo>
                    <a:cubicBezTo>
                      <a:pt x="1768" y="2472"/>
                      <a:pt x="1791" y="2487"/>
                      <a:pt x="1813" y="2510"/>
                    </a:cubicBezTo>
                    <a:cubicBezTo>
                      <a:pt x="1843" y="2540"/>
                      <a:pt x="1873" y="2555"/>
                      <a:pt x="1918" y="2570"/>
                    </a:cubicBezTo>
                    <a:cubicBezTo>
                      <a:pt x="1963" y="2592"/>
                      <a:pt x="2000" y="2585"/>
                      <a:pt x="2052" y="2592"/>
                    </a:cubicBezTo>
                    <a:cubicBezTo>
                      <a:pt x="2059" y="2592"/>
                      <a:pt x="2067" y="2599"/>
                      <a:pt x="2082" y="2599"/>
                    </a:cubicBezTo>
                    <a:cubicBezTo>
                      <a:pt x="2119" y="2599"/>
                      <a:pt x="2134" y="2585"/>
                      <a:pt x="2164" y="2562"/>
                    </a:cubicBezTo>
                    <a:cubicBezTo>
                      <a:pt x="2194" y="2540"/>
                      <a:pt x="2217" y="2525"/>
                      <a:pt x="2232" y="2487"/>
                    </a:cubicBezTo>
                    <a:cubicBezTo>
                      <a:pt x="2247" y="2427"/>
                      <a:pt x="2239" y="2367"/>
                      <a:pt x="2299" y="2345"/>
                    </a:cubicBezTo>
                    <a:cubicBezTo>
                      <a:pt x="2359" y="2315"/>
                      <a:pt x="2389" y="2300"/>
                      <a:pt x="2449" y="2270"/>
                    </a:cubicBezTo>
                    <a:cubicBezTo>
                      <a:pt x="2464" y="2270"/>
                      <a:pt x="2479" y="2262"/>
                      <a:pt x="2494" y="2255"/>
                    </a:cubicBezTo>
                    <a:cubicBezTo>
                      <a:pt x="2539" y="2240"/>
                      <a:pt x="2569" y="2240"/>
                      <a:pt x="2614" y="2225"/>
                    </a:cubicBezTo>
                    <a:cubicBezTo>
                      <a:pt x="2659" y="2195"/>
                      <a:pt x="2704" y="2195"/>
                      <a:pt x="2756" y="2172"/>
                    </a:cubicBezTo>
                    <a:cubicBezTo>
                      <a:pt x="2786" y="2158"/>
                      <a:pt x="2801" y="2150"/>
                      <a:pt x="2831" y="2128"/>
                    </a:cubicBezTo>
                    <a:cubicBezTo>
                      <a:pt x="2869" y="2098"/>
                      <a:pt x="2891" y="2090"/>
                      <a:pt x="2929" y="2060"/>
                    </a:cubicBezTo>
                    <a:cubicBezTo>
                      <a:pt x="2966" y="2038"/>
                      <a:pt x="2981" y="2008"/>
                      <a:pt x="3026" y="2008"/>
                    </a:cubicBezTo>
                    <a:cubicBezTo>
                      <a:pt x="3041" y="2008"/>
                      <a:pt x="3049" y="2015"/>
                      <a:pt x="3064" y="2015"/>
                    </a:cubicBezTo>
                    <a:cubicBezTo>
                      <a:pt x="3078" y="2015"/>
                      <a:pt x="3086" y="2008"/>
                      <a:pt x="3101" y="2000"/>
                    </a:cubicBezTo>
                    <a:cubicBezTo>
                      <a:pt x="3116" y="2000"/>
                      <a:pt x="3124" y="2000"/>
                      <a:pt x="3138" y="2000"/>
                    </a:cubicBezTo>
                    <a:cubicBezTo>
                      <a:pt x="3191" y="1978"/>
                      <a:pt x="3214" y="1955"/>
                      <a:pt x="3251" y="1918"/>
                    </a:cubicBezTo>
                    <a:cubicBezTo>
                      <a:pt x="3273" y="1903"/>
                      <a:pt x="3296" y="1895"/>
                      <a:pt x="3318" y="1873"/>
                    </a:cubicBezTo>
                    <a:cubicBezTo>
                      <a:pt x="3341" y="1850"/>
                      <a:pt x="3363" y="1843"/>
                      <a:pt x="3393" y="1828"/>
                    </a:cubicBezTo>
                    <a:cubicBezTo>
                      <a:pt x="3423" y="1813"/>
                      <a:pt x="3438" y="1790"/>
                      <a:pt x="3461" y="1768"/>
                    </a:cubicBezTo>
                    <a:cubicBezTo>
                      <a:pt x="3468" y="1760"/>
                      <a:pt x="3476" y="1760"/>
                      <a:pt x="3491" y="1753"/>
                    </a:cubicBezTo>
                    <a:cubicBezTo>
                      <a:pt x="3521" y="1723"/>
                      <a:pt x="3528" y="1708"/>
                      <a:pt x="3551" y="1678"/>
                    </a:cubicBezTo>
                    <a:cubicBezTo>
                      <a:pt x="3573" y="1648"/>
                      <a:pt x="3588" y="1640"/>
                      <a:pt x="3603" y="1618"/>
                    </a:cubicBezTo>
                    <a:cubicBezTo>
                      <a:pt x="3626" y="1580"/>
                      <a:pt x="3633" y="1550"/>
                      <a:pt x="3648" y="1513"/>
                    </a:cubicBezTo>
                    <a:cubicBezTo>
                      <a:pt x="3671" y="1476"/>
                      <a:pt x="3701" y="1468"/>
                      <a:pt x="3723" y="1430"/>
                    </a:cubicBezTo>
                    <a:cubicBezTo>
                      <a:pt x="3746" y="1400"/>
                      <a:pt x="3761" y="1386"/>
                      <a:pt x="3776" y="1348"/>
                    </a:cubicBezTo>
                    <a:cubicBezTo>
                      <a:pt x="3776" y="1333"/>
                      <a:pt x="3776" y="1326"/>
                      <a:pt x="3776" y="1311"/>
                    </a:cubicBezTo>
                    <a:cubicBezTo>
                      <a:pt x="3798" y="1251"/>
                      <a:pt x="3806" y="1221"/>
                      <a:pt x="3820" y="1161"/>
                    </a:cubicBezTo>
                    <a:cubicBezTo>
                      <a:pt x="3828" y="1131"/>
                      <a:pt x="3828" y="1108"/>
                      <a:pt x="3858" y="1086"/>
                    </a:cubicBezTo>
                    <a:cubicBezTo>
                      <a:pt x="3873" y="1078"/>
                      <a:pt x="3888" y="1071"/>
                      <a:pt x="3910" y="1056"/>
                    </a:cubicBezTo>
                    <a:cubicBezTo>
                      <a:pt x="3933" y="1048"/>
                      <a:pt x="3940" y="1041"/>
                      <a:pt x="3963" y="1026"/>
                    </a:cubicBezTo>
                    <a:cubicBezTo>
                      <a:pt x="3993" y="1003"/>
                      <a:pt x="4000" y="981"/>
                      <a:pt x="4030" y="958"/>
                    </a:cubicBezTo>
                    <a:cubicBezTo>
                      <a:pt x="4053" y="951"/>
                      <a:pt x="4060" y="943"/>
                      <a:pt x="4083" y="936"/>
                    </a:cubicBezTo>
                    <a:cubicBezTo>
                      <a:pt x="4165" y="899"/>
                      <a:pt x="4225" y="899"/>
                      <a:pt x="4300" y="846"/>
                    </a:cubicBezTo>
                    <a:cubicBezTo>
                      <a:pt x="4330" y="831"/>
                      <a:pt x="4345" y="808"/>
                      <a:pt x="4367" y="786"/>
                    </a:cubicBezTo>
                    <a:cubicBezTo>
                      <a:pt x="4413" y="756"/>
                      <a:pt x="4443" y="741"/>
                      <a:pt x="4465" y="696"/>
                    </a:cubicBezTo>
                    <a:cubicBezTo>
                      <a:pt x="4480" y="666"/>
                      <a:pt x="4487" y="651"/>
                      <a:pt x="4502" y="621"/>
                    </a:cubicBezTo>
                    <a:cubicBezTo>
                      <a:pt x="4510" y="606"/>
                      <a:pt x="4510" y="599"/>
                      <a:pt x="4517" y="584"/>
                    </a:cubicBezTo>
                    <a:cubicBezTo>
                      <a:pt x="4532" y="561"/>
                      <a:pt x="4540" y="554"/>
                      <a:pt x="4540" y="531"/>
                    </a:cubicBezTo>
                    <a:cubicBezTo>
                      <a:pt x="4547" y="494"/>
                      <a:pt x="4547" y="471"/>
                      <a:pt x="4547" y="434"/>
                    </a:cubicBezTo>
                    <a:cubicBezTo>
                      <a:pt x="4555" y="405"/>
                      <a:pt x="4562" y="390"/>
                      <a:pt x="4562" y="360"/>
                    </a:cubicBezTo>
                    <a:cubicBezTo>
                      <a:pt x="4562" y="277"/>
                      <a:pt x="4562" y="277"/>
                      <a:pt x="4562" y="277"/>
                    </a:cubicBezTo>
                    <a:cubicBezTo>
                      <a:pt x="4562" y="225"/>
                      <a:pt x="4585" y="202"/>
                      <a:pt x="4607" y="150"/>
                    </a:cubicBezTo>
                    <a:cubicBezTo>
                      <a:pt x="4637" y="105"/>
                      <a:pt x="4630" y="68"/>
                      <a:pt x="4660" y="15"/>
                    </a:cubicBezTo>
                    <a:cubicBezTo>
                      <a:pt x="4660" y="8"/>
                      <a:pt x="4667" y="8"/>
                      <a:pt x="4667" y="0"/>
                    </a:cubicBezTo>
                    <a:lnTo>
                      <a:pt x="4667" y="0"/>
                    </a:lnTo>
                    <a:cubicBezTo>
                      <a:pt x="4675" y="8"/>
                      <a:pt x="4682" y="30"/>
                      <a:pt x="4697" y="38"/>
                    </a:cubicBezTo>
                    <a:cubicBezTo>
                      <a:pt x="4705" y="38"/>
                      <a:pt x="4720" y="38"/>
                      <a:pt x="4727" y="38"/>
                    </a:cubicBezTo>
                    <a:cubicBezTo>
                      <a:pt x="4742" y="45"/>
                      <a:pt x="4757" y="60"/>
                      <a:pt x="4772" y="68"/>
                    </a:cubicBezTo>
                    <a:cubicBezTo>
                      <a:pt x="4795" y="75"/>
                      <a:pt x="4810" y="75"/>
                      <a:pt x="4825" y="83"/>
                    </a:cubicBezTo>
                    <a:cubicBezTo>
                      <a:pt x="4840" y="83"/>
                      <a:pt x="4855" y="83"/>
                      <a:pt x="4862" y="98"/>
                    </a:cubicBezTo>
                    <a:cubicBezTo>
                      <a:pt x="4870" y="105"/>
                      <a:pt x="4862" y="113"/>
                      <a:pt x="4862" y="120"/>
                    </a:cubicBezTo>
                    <a:cubicBezTo>
                      <a:pt x="4870" y="158"/>
                      <a:pt x="4877" y="172"/>
                      <a:pt x="4877" y="210"/>
                    </a:cubicBezTo>
                    <a:cubicBezTo>
                      <a:pt x="4877" y="218"/>
                      <a:pt x="4870" y="218"/>
                      <a:pt x="4870" y="225"/>
                    </a:cubicBezTo>
                    <a:cubicBezTo>
                      <a:pt x="4870" y="240"/>
                      <a:pt x="4877" y="248"/>
                      <a:pt x="4885" y="255"/>
                    </a:cubicBezTo>
                    <a:cubicBezTo>
                      <a:pt x="4892" y="270"/>
                      <a:pt x="4892" y="277"/>
                      <a:pt x="4892" y="292"/>
                    </a:cubicBezTo>
                    <a:cubicBezTo>
                      <a:pt x="4915" y="292"/>
                      <a:pt x="4930" y="300"/>
                      <a:pt x="4952" y="300"/>
                    </a:cubicBezTo>
                    <a:cubicBezTo>
                      <a:pt x="4975" y="307"/>
                      <a:pt x="4990" y="300"/>
                      <a:pt x="5005" y="307"/>
                    </a:cubicBezTo>
                    <a:cubicBezTo>
                      <a:pt x="5027" y="315"/>
                      <a:pt x="5027" y="337"/>
                      <a:pt x="5042" y="352"/>
                    </a:cubicBezTo>
                    <a:cubicBezTo>
                      <a:pt x="5057" y="375"/>
                      <a:pt x="5079" y="390"/>
                      <a:pt x="5079" y="419"/>
                    </a:cubicBezTo>
                    <a:cubicBezTo>
                      <a:pt x="5079" y="426"/>
                      <a:pt x="5072" y="426"/>
                      <a:pt x="5065" y="426"/>
                    </a:cubicBezTo>
                    <a:cubicBezTo>
                      <a:pt x="5065" y="434"/>
                      <a:pt x="5065" y="434"/>
                      <a:pt x="5057" y="441"/>
                    </a:cubicBezTo>
                    <a:cubicBezTo>
                      <a:pt x="5050" y="471"/>
                      <a:pt x="5027" y="486"/>
                      <a:pt x="4997" y="494"/>
                    </a:cubicBezTo>
                    <a:cubicBezTo>
                      <a:pt x="4967" y="509"/>
                      <a:pt x="4952" y="531"/>
                      <a:pt x="4922" y="531"/>
                    </a:cubicBezTo>
                    <a:cubicBezTo>
                      <a:pt x="4892" y="531"/>
                      <a:pt x="4877" y="524"/>
                      <a:pt x="4855" y="524"/>
                    </a:cubicBezTo>
                    <a:cubicBezTo>
                      <a:pt x="4825" y="689"/>
                      <a:pt x="4825" y="689"/>
                      <a:pt x="4825" y="689"/>
                    </a:cubicBezTo>
                    <a:cubicBezTo>
                      <a:pt x="4840" y="696"/>
                      <a:pt x="4847" y="696"/>
                      <a:pt x="4847" y="704"/>
                    </a:cubicBezTo>
                    <a:cubicBezTo>
                      <a:pt x="4847" y="719"/>
                      <a:pt x="4840" y="726"/>
                      <a:pt x="4840" y="734"/>
                    </a:cubicBezTo>
                    <a:cubicBezTo>
                      <a:pt x="4832" y="741"/>
                      <a:pt x="4832" y="749"/>
                      <a:pt x="4825" y="756"/>
                    </a:cubicBezTo>
                    <a:cubicBezTo>
                      <a:pt x="4825" y="764"/>
                      <a:pt x="4810" y="764"/>
                      <a:pt x="4810" y="779"/>
                    </a:cubicBezTo>
                    <a:cubicBezTo>
                      <a:pt x="4795" y="794"/>
                      <a:pt x="4802" y="808"/>
                      <a:pt x="4795" y="823"/>
                    </a:cubicBezTo>
                    <a:cubicBezTo>
                      <a:pt x="4780" y="869"/>
                      <a:pt x="4780" y="899"/>
                      <a:pt x="4780" y="951"/>
                    </a:cubicBezTo>
                    <a:cubicBezTo>
                      <a:pt x="4780" y="966"/>
                      <a:pt x="4780" y="981"/>
                      <a:pt x="4795" y="988"/>
                    </a:cubicBezTo>
                    <a:cubicBezTo>
                      <a:pt x="4802" y="996"/>
                      <a:pt x="4810" y="996"/>
                      <a:pt x="4817" y="1003"/>
                    </a:cubicBezTo>
                    <a:cubicBezTo>
                      <a:pt x="4825" y="1011"/>
                      <a:pt x="4832" y="1018"/>
                      <a:pt x="4840" y="1026"/>
                    </a:cubicBezTo>
                    <a:cubicBezTo>
                      <a:pt x="4855" y="1026"/>
                      <a:pt x="4870" y="1018"/>
                      <a:pt x="4877" y="1026"/>
                    </a:cubicBezTo>
                    <a:cubicBezTo>
                      <a:pt x="4885" y="1033"/>
                      <a:pt x="4885" y="1041"/>
                      <a:pt x="4885" y="1048"/>
                    </a:cubicBezTo>
                    <a:cubicBezTo>
                      <a:pt x="4892" y="1063"/>
                      <a:pt x="4900" y="1063"/>
                      <a:pt x="4907" y="1071"/>
                    </a:cubicBezTo>
                    <a:lnTo>
                      <a:pt x="4907" y="1071"/>
                    </a:lnTo>
                    <a:cubicBezTo>
                      <a:pt x="4892" y="1093"/>
                      <a:pt x="4885" y="1108"/>
                      <a:pt x="4862" y="1131"/>
                    </a:cubicBezTo>
                    <a:cubicBezTo>
                      <a:pt x="4847" y="1138"/>
                      <a:pt x="4840" y="1138"/>
                      <a:pt x="4832" y="1146"/>
                    </a:cubicBezTo>
                    <a:cubicBezTo>
                      <a:pt x="4817" y="1168"/>
                      <a:pt x="4817" y="1191"/>
                      <a:pt x="4795" y="1213"/>
                    </a:cubicBezTo>
                    <a:cubicBezTo>
                      <a:pt x="4795" y="1213"/>
                      <a:pt x="4787" y="1213"/>
                      <a:pt x="4787" y="1221"/>
                    </a:cubicBezTo>
                    <a:cubicBezTo>
                      <a:pt x="4780" y="1228"/>
                      <a:pt x="4780" y="1236"/>
                      <a:pt x="4780" y="1243"/>
                    </a:cubicBezTo>
                    <a:cubicBezTo>
                      <a:pt x="4772" y="1258"/>
                      <a:pt x="4765" y="1266"/>
                      <a:pt x="4750" y="1281"/>
                    </a:cubicBezTo>
                    <a:cubicBezTo>
                      <a:pt x="4742" y="1281"/>
                      <a:pt x="4735" y="1288"/>
                      <a:pt x="4727" y="1296"/>
                    </a:cubicBezTo>
                    <a:cubicBezTo>
                      <a:pt x="4712" y="1311"/>
                      <a:pt x="4690" y="1318"/>
                      <a:pt x="4690" y="1333"/>
                    </a:cubicBezTo>
                    <a:cubicBezTo>
                      <a:pt x="4690" y="1370"/>
                      <a:pt x="4697" y="1393"/>
                      <a:pt x="4705" y="1423"/>
                    </a:cubicBezTo>
                    <a:cubicBezTo>
                      <a:pt x="4705" y="1446"/>
                      <a:pt x="4697" y="1460"/>
                      <a:pt x="4705" y="1476"/>
                    </a:cubicBezTo>
                    <a:cubicBezTo>
                      <a:pt x="4705" y="1483"/>
                      <a:pt x="4720" y="1476"/>
                      <a:pt x="4720" y="1483"/>
                    </a:cubicBezTo>
                    <a:cubicBezTo>
                      <a:pt x="4720" y="1490"/>
                      <a:pt x="4727" y="1498"/>
                      <a:pt x="4727" y="1505"/>
                    </a:cubicBezTo>
                    <a:cubicBezTo>
                      <a:pt x="4727" y="1520"/>
                      <a:pt x="4712" y="1520"/>
                      <a:pt x="4705" y="1520"/>
                    </a:cubicBezTo>
                    <a:cubicBezTo>
                      <a:pt x="4690" y="1520"/>
                      <a:pt x="4682" y="1505"/>
                      <a:pt x="4667" y="1505"/>
                    </a:cubicBezTo>
                    <a:cubicBezTo>
                      <a:pt x="4645" y="1505"/>
                      <a:pt x="4637" y="1528"/>
                      <a:pt x="4615" y="1528"/>
                    </a:cubicBezTo>
                    <a:cubicBezTo>
                      <a:pt x="4600" y="1528"/>
                      <a:pt x="4592" y="1513"/>
                      <a:pt x="4577" y="1513"/>
                    </a:cubicBezTo>
                    <a:cubicBezTo>
                      <a:pt x="4570" y="1513"/>
                      <a:pt x="4570" y="1520"/>
                      <a:pt x="4562" y="1520"/>
                    </a:cubicBezTo>
                    <a:cubicBezTo>
                      <a:pt x="4540" y="1528"/>
                      <a:pt x="4532" y="1528"/>
                      <a:pt x="4510" y="1528"/>
                    </a:cubicBezTo>
                    <a:cubicBezTo>
                      <a:pt x="4517" y="1535"/>
                      <a:pt x="4525" y="1543"/>
                      <a:pt x="4525" y="1550"/>
                    </a:cubicBezTo>
                    <a:cubicBezTo>
                      <a:pt x="4525" y="1580"/>
                      <a:pt x="4525" y="1580"/>
                      <a:pt x="4525" y="1580"/>
                    </a:cubicBezTo>
                    <a:cubicBezTo>
                      <a:pt x="4495" y="1580"/>
                      <a:pt x="4480" y="1580"/>
                      <a:pt x="4457" y="1588"/>
                    </a:cubicBezTo>
                    <a:cubicBezTo>
                      <a:pt x="4443" y="1595"/>
                      <a:pt x="4427" y="1603"/>
                      <a:pt x="4405" y="1610"/>
                    </a:cubicBezTo>
                    <a:cubicBezTo>
                      <a:pt x="4383" y="1610"/>
                      <a:pt x="4367" y="1610"/>
                      <a:pt x="4345" y="1610"/>
                    </a:cubicBezTo>
                    <a:cubicBezTo>
                      <a:pt x="4323" y="1618"/>
                      <a:pt x="4300" y="1610"/>
                      <a:pt x="4300" y="1633"/>
                    </a:cubicBezTo>
                    <a:cubicBezTo>
                      <a:pt x="4300" y="1640"/>
                      <a:pt x="4308" y="1640"/>
                      <a:pt x="4308" y="1648"/>
                    </a:cubicBezTo>
                    <a:cubicBezTo>
                      <a:pt x="4308" y="1663"/>
                      <a:pt x="4308" y="1678"/>
                      <a:pt x="4300" y="1678"/>
                    </a:cubicBezTo>
                    <a:cubicBezTo>
                      <a:pt x="4315" y="1685"/>
                      <a:pt x="4330" y="1685"/>
                      <a:pt x="4330" y="1700"/>
                    </a:cubicBezTo>
                    <a:cubicBezTo>
                      <a:pt x="4330" y="1708"/>
                      <a:pt x="4323" y="1723"/>
                      <a:pt x="4323" y="1738"/>
                    </a:cubicBezTo>
                    <a:cubicBezTo>
                      <a:pt x="4315" y="1760"/>
                      <a:pt x="4308" y="1783"/>
                      <a:pt x="4308" y="1813"/>
                    </a:cubicBezTo>
                    <a:cubicBezTo>
                      <a:pt x="4300" y="1850"/>
                      <a:pt x="4263" y="1865"/>
                      <a:pt x="4263" y="1910"/>
                    </a:cubicBezTo>
                    <a:cubicBezTo>
                      <a:pt x="4263" y="1918"/>
                      <a:pt x="4270" y="1918"/>
                      <a:pt x="4270" y="1925"/>
                    </a:cubicBezTo>
                    <a:cubicBezTo>
                      <a:pt x="4270" y="1933"/>
                      <a:pt x="4270" y="1948"/>
                      <a:pt x="4270" y="1963"/>
                    </a:cubicBezTo>
                    <a:cubicBezTo>
                      <a:pt x="4293" y="1963"/>
                      <a:pt x="4315" y="1955"/>
                      <a:pt x="4330" y="1970"/>
                    </a:cubicBezTo>
                    <a:cubicBezTo>
                      <a:pt x="4345" y="1985"/>
                      <a:pt x="4338" y="2000"/>
                      <a:pt x="4338" y="2023"/>
                    </a:cubicBezTo>
                    <a:cubicBezTo>
                      <a:pt x="4338" y="2038"/>
                      <a:pt x="4338" y="2045"/>
                      <a:pt x="4338" y="2060"/>
                    </a:cubicBezTo>
                    <a:cubicBezTo>
                      <a:pt x="4338" y="2060"/>
                      <a:pt x="4323" y="2060"/>
                      <a:pt x="4323" y="2068"/>
                    </a:cubicBezTo>
                    <a:lnTo>
                      <a:pt x="4323" y="2075"/>
                    </a:lnTo>
                    <a:cubicBezTo>
                      <a:pt x="4323" y="2098"/>
                      <a:pt x="4330" y="2112"/>
                      <a:pt x="4330" y="2128"/>
                    </a:cubicBezTo>
                    <a:cubicBezTo>
                      <a:pt x="4338" y="2135"/>
                      <a:pt x="4330" y="2142"/>
                      <a:pt x="4338" y="2158"/>
                    </a:cubicBezTo>
                    <a:cubicBezTo>
                      <a:pt x="4345" y="2172"/>
                      <a:pt x="4360" y="2172"/>
                      <a:pt x="4360" y="2195"/>
                    </a:cubicBezTo>
                    <a:cubicBezTo>
                      <a:pt x="4360" y="2210"/>
                      <a:pt x="4353" y="2217"/>
                      <a:pt x="4345" y="2232"/>
                    </a:cubicBezTo>
                    <a:cubicBezTo>
                      <a:pt x="4338" y="2247"/>
                      <a:pt x="4345" y="2262"/>
                      <a:pt x="4345" y="2277"/>
                    </a:cubicBezTo>
                    <a:cubicBezTo>
                      <a:pt x="4345" y="2292"/>
                      <a:pt x="4338" y="2292"/>
                      <a:pt x="4338" y="2307"/>
                    </a:cubicBezTo>
                    <a:cubicBezTo>
                      <a:pt x="4330" y="2315"/>
                      <a:pt x="4338" y="2330"/>
                      <a:pt x="4330" y="2345"/>
                    </a:cubicBezTo>
                    <a:lnTo>
                      <a:pt x="4330" y="2345"/>
                    </a:lnTo>
                    <a:cubicBezTo>
                      <a:pt x="4315" y="2345"/>
                      <a:pt x="4315" y="2345"/>
                      <a:pt x="4315" y="2345"/>
                    </a:cubicBezTo>
                    <a:cubicBezTo>
                      <a:pt x="4308" y="2330"/>
                      <a:pt x="4315" y="2315"/>
                      <a:pt x="4300" y="2307"/>
                    </a:cubicBezTo>
                    <a:cubicBezTo>
                      <a:pt x="4293" y="2292"/>
                      <a:pt x="4278" y="2307"/>
                      <a:pt x="4263" y="2292"/>
                    </a:cubicBezTo>
                    <a:cubicBezTo>
                      <a:pt x="4255" y="2292"/>
                      <a:pt x="4263" y="2277"/>
                      <a:pt x="4255" y="2270"/>
                    </a:cubicBezTo>
                    <a:cubicBezTo>
                      <a:pt x="4255" y="2255"/>
                      <a:pt x="4248" y="2247"/>
                      <a:pt x="4240" y="2232"/>
                    </a:cubicBezTo>
                    <a:cubicBezTo>
                      <a:pt x="4233" y="2217"/>
                      <a:pt x="4218" y="2217"/>
                      <a:pt x="4203" y="2210"/>
                    </a:cubicBezTo>
                    <a:cubicBezTo>
                      <a:pt x="4188" y="2202"/>
                      <a:pt x="4180" y="2187"/>
                      <a:pt x="4173" y="2172"/>
                    </a:cubicBezTo>
                    <a:cubicBezTo>
                      <a:pt x="4165" y="2202"/>
                      <a:pt x="4158" y="2225"/>
                      <a:pt x="4143" y="2247"/>
                    </a:cubicBezTo>
                    <a:cubicBezTo>
                      <a:pt x="4135" y="2255"/>
                      <a:pt x="4128" y="2247"/>
                      <a:pt x="4128" y="2255"/>
                    </a:cubicBezTo>
                    <a:cubicBezTo>
                      <a:pt x="4113" y="2270"/>
                      <a:pt x="4098" y="2270"/>
                      <a:pt x="4075" y="2270"/>
                    </a:cubicBezTo>
                    <a:cubicBezTo>
                      <a:pt x="4053" y="2270"/>
                      <a:pt x="4045" y="2270"/>
                      <a:pt x="4023" y="2270"/>
                    </a:cubicBezTo>
                    <a:cubicBezTo>
                      <a:pt x="4023" y="2285"/>
                      <a:pt x="4023" y="2292"/>
                      <a:pt x="4023" y="2300"/>
                    </a:cubicBezTo>
                    <a:cubicBezTo>
                      <a:pt x="4023" y="2337"/>
                      <a:pt x="4030" y="2352"/>
                      <a:pt x="4030" y="2390"/>
                    </a:cubicBezTo>
                    <a:cubicBezTo>
                      <a:pt x="4030" y="2397"/>
                      <a:pt x="4030" y="2397"/>
                      <a:pt x="4023" y="2405"/>
                    </a:cubicBezTo>
                    <a:cubicBezTo>
                      <a:pt x="3963" y="2405"/>
                      <a:pt x="3963" y="2405"/>
                      <a:pt x="3963" y="2405"/>
                    </a:cubicBezTo>
                    <a:cubicBezTo>
                      <a:pt x="3970" y="2442"/>
                      <a:pt x="3978" y="2480"/>
                      <a:pt x="3948" y="2495"/>
                    </a:cubicBezTo>
                    <a:cubicBezTo>
                      <a:pt x="3918" y="2517"/>
                      <a:pt x="3896" y="2525"/>
                      <a:pt x="3858" y="2532"/>
                    </a:cubicBezTo>
                    <a:cubicBezTo>
                      <a:pt x="3858" y="2547"/>
                      <a:pt x="3858" y="2555"/>
                      <a:pt x="3858" y="2570"/>
                    </a:cubicBezTo>
                    <a:cubicBezTo>
                      <a:pt x="3858" y="2577"/>
                      <a:pt x="3843" y="2585"/>
                      <a:pt x="3836" y="2592"/>
                    </a:cubicBezTo>
                    <a:cubicBezTo>
                      <a:pt x="3828" y="2599"/>
                      <a:pt x="3820" y="2615"/>
                      <a:pt x="3813" y="2615"/>
                    </a:cubicBezTo>
                    <a:cubicBezTo>
                      <a:pt x="3798" y="2615"/>
                      <a:pt x="3790" y="2607"/>
                      <a:pt x="3776" y="2607"/>
                    </a:cubicBezTo>
                    <a:cubicBezTo>
                      <a:pt x="3768" y="2599"/>
                      <a:pt x="3768" y="2592"/>
                      <a:pt x="3753" y="2592"/>
                    </a:cubicBezTo>
                    <a:cubicBezTo>
                      <a:pt x="3738" y="2592"/>
                      <a:pt x="3723" y="2615"/>
                      <a:pt x="3716" y="2629"/>
                    </a:cubicBezTo>
                    <a:lnTo>
                      <a:pt x="3716" y="2629"/>
                    </a:lnTo>
                    <a:cubicBezTo>
                      <a:pt x="3701" y="2637"/>
                      <a:pt x="3693" y="2629"/>
                      <a:pt x="3678" y="2637"/>
                    </a:cubicBezTo>
                    <a:cubicBezTo>
                      <a:pt x="3656" y="2645"/>
                      <a:pt x="3641" y="2659"/>
                      <a:pt x="3618" y="2659"/>
                    </a:cubicBezTo>
                    <a:cubicBezTo>
                      <a:pt x="3603" y="2659"/>
                      <a:pt x="3603" y="2659"/>
                      <a:pt x="3588" y="2659"/>
                    </a:cubicBezTo>
                    <a:cubicBezTo>
                      <a:pt x="3566" y="2667"/>
                      <a:pt x="3543" y="2675"/>
                      <a:pt x="3513" y="2675"/>
                    </a:cubicBezTo>
                    <a:cubicBezTo>
                      <a:pt x="3513" y="2682"/>
                      <a:pt x="3513" y="2689"/>
                      <a:pt x="3513" y="2689"/>
                    </a:cubicBezTo>
                    <a:cubicBezTo>
                      <a:pt x="3513" y="2712"/>
                      <a:pt x="3528" y="2727"/>
                      <a:pt x="3528" y="2749"/>
                    </a:cubicBezTo>
                    <a:cubicBezTo>
                      <a:pt x="3528" y="2757"/>
                      <a:pt x="3521" y="2757"/>
                      <a:pt x="3513" y="2757"/>
                    </a:cubicBezTo>
                    <a:cubicBezTo>
                      <a:pt x="3491" y="2764"/>
                      <a:pt x="3476" y="2757"/>
                      <a:pt x="3461" y="2764"/>
                    </a:cubicBezTo>
                    <a:cubicBezTo>
                      <a:pt x="3446" y="2772"/>
                      <a:pt x="3446" y="2794"/>
                      <a:pt x="3438" y="2809"/>
                    </a:cubicBezTo>
                    <a:cubicBezTo>
                      <a:pt x="3431" y="2817"/>
                      <a:pt x="3423" y="2824"/>
                      <a:pt x="3416" y="2832"/>
                    </a:cubicBezTo>
                    <a:cubicBezTo>
                      <a:pt x="3401" y="2854"/>
                      <a:pt x="3408" y="2869"/>
                      <a:pt x="3393" y="2899"/>
                    </a:cubicBezTo>
                    <a:cubicBezTo>
                      <a:pt x="3386" y="2929"/>
                      <a:pt x="3378" y="2944"/>
                      <a:pt x="3378" y="2974"/>
                    </a:cubicBezTo>
                    <a:cubicBezTo>
                      <a:pt x="3378" y="2997"/>
                      <a:pt x="3378" y="3012"/>
                      <a:pt x="3386" y="3034"/>
                    </a:cubicBezTo>
                    <a:cubicBezTo>
                      <a:pt x="3393" y="3057"/>
                      <a:pt x="3401" y="3072"/>
                      <a:pt x="3423" y="3079"/>
                    </a:cubicBezTo>
                    <a:cubicBezTo>
                      <a:pt x="3461" y="3087"/>
                      <a:pt x="3476" y="3087"/>
                      <a:pt x="3513" y="3087"/>
                    </a:cubicBezTo>
                    <a:cubicBezTo>
                      <a:pt x="3536" y="3087"/>
                      <a:pt x="3551" y="3079"/>
                      <a:pt x="3573" y="3079"/>
                    </a:cubicBezTo>
                    <a:cubicBezTo>
                      <a:pt x="3603" y="3079"/>
                      <a:pt x="3618" y="3079"/>
                      <a:pt x="3648" y="3079"/>
                    </a:cubicBezTo>
                    <a:cubicBezTo>
                      <a:pt x="3648" y="3154"/>
                      <a:pt x="3648" y="3154"/>
                      <a:pt x="3648" y="3154"/>
                    </a:cubicBezTo>
                    <a:cubicBezTo>
                      <a:pt x="3648" y="3184"/>
                      <a:pt x="3663" y="3199"/>
                      <a:pt x="3663" y="3229"/>
                    </a:cubicBezTo>
                    <a:cubicBezTo>
                      <a:pt x="3663" y="3252"/>
                      <a:pt x="3641" y="3259"/>
                      <a:pt x="3626" y="3281"/>
                    </a:cubicBezTo>
                    <a:cubicBezTo>
                      <a:pt x="3626" y="3281"/>
                      <a:pt x="3611" y="3281"/>
                      <a:pt x="3611" y="3289"/>
                    </a:cubicBezTo>
                    <a:cubicBezTo>
                      <a:pt x="3611" y="3297"/>
                      <a:pt x="3618" y="3304"/>
                      <a:pt x="3626" y="3311"/>
                    </a:cubicBezTo>
                    <a:cubicBezTo>
                      <a:pt x="3633" y="3341"/>
                      <a:pt x="3633" y="3364"/>
                      <a:pt x="3633" y="3401"/>
                    </a:cubicBezTo>
                    <a:cubicBezTo>
                      <a:pt x="3633" y="3409"/>
                      <a:pt x="3633" y="3416"/>
                      <a:pt x="3633" y="3424"/>
                    </a:cubicBezTo>
                    <a:cubicBezTo>
                      <a:pt x="3618" y="3424"/>
                      <a:pt x="3603" y="3431"/>
                      <a:pt x="3588" y="3424"/>
                    </a:cubicBezTo>
                    <a:cubicBezTo>
                      <a:pt x="3596" y="3446"/>
                      <a:pt x="3596" y="3469"/>
                      <a:pt x="3611" y="3476"/>
                    </a:cubicBezTo>
                    <a:cubicBezTo>
                      <a:pt x="3618" y="3484"/>
                      <a:pt x="3626" y="3476"/>
                      <a:pt x="3633" y="3484"/>
                    </a:cubicBezTo>
                    <a:cubicBezTo>
                      <a:pt x="3656" y="3506"/>
                      <a:pt x="3641" y="3529"/>
                      <a:pt x="3648" y="3559"/>
                    </a:cubicBezTo>
                    <a:cubicBezTo>
                      <a:pt x="3648" y="3581"/>
                      <a:pt x="3648" y="3604"/>
                      <a:pt x="3656" y="3626"/>
                    </a:cubicBezTo>
                    <a:cubicBezTo>
                      <a:pt x="3678" y="3656"/>
                      <a:pt x="3701" y="3656"/>
                      <a:pt x="3723" y="3686"/>
                    </a:cubicBezTo>
                    <a:lnTo>
                      <a:pt x="3723" y="3686"/>
                    </a:lnTo>
                    <a:cubicBezTo>
                      <a:pt x="3723" y="3694"/>
                      <a:pt x="3723" y="3701"/>
                      <a:pt x="3731" y="3709"/>
                    </a:cubicBezTo>
                    <a:cubicBezTo>
                      <a:pt x="3738" y="3739"/>
                      <a:pt x="3768" y="3746"/>
                      <a:pt x="3768" y="3776"/>
                    </a:cubicBezTo>
                    <a:cubicBezTo>
                      <a:pt x="3768" y="3784"/>
                      <a:pt x="3761" y="3784"/>
                      <a:pt x="3753" y="3791"/>
                    </a:cubicBezTo>
                    <a:lnTo>
                      <a:pt x="3753" y="3791"/>
                    </a:lnTo>
                    <a:cubicBezTo>
                      <a:pt x="3783" y="3806"/>
                      <a:pt x="3798" y="3806"/>
                      <a:pt x="3828" y="3806"/>
                    </a:cubicBezTo>
                    <a:cubicBezTo>
                      <a:pt x="3828" y="3821"/>
                      <a:pt x="3828" y="3836"/>
                      <a:pt x="3836" y="3844"/>
                    </a:cubicBezTo>
                    <a:cubicBezTo>
                      <a:pt x="3843" y="3851"/>
                      <a:pt x="3850" y="3844"/>
                      <a:pt x="3858" y="3851"/>
                    </a:cubicBezTo>
                    <a:cubicBezTo>
                      <a:pt x="3873" y="3851"/>
                      <a:pt x="3880" y="3866"/>
                      <a:pt x="3896" y="3874"/>
                    </a:cubicBezTo>
                    <a:cubicBezTo>
                      <a:pt x="3918" y="3881"/>
                      <a:pt x="3933" y="3874"/>
                      <a:pt x="3963" y="3874"/>
                    </a:cubicBezTo>
                    <a:cubicBezTo>
                      <a:pt x="4000" y="3881"/>
                      <a:pt x="4000" y="3881"/>
                      <a:pt x="4000" y="3881"/>
                    </a:cubicBezTo>
                    <a:lnTo>
                      <a:pt x="4000" y="3881"/>
                    </a:lnTo>
                    <a:cubicBezTo>
                      <a:pt x="4038" y="3941"/>
                      <a:pt x="4030" y="3993"/>
                      <a:pt x="4075" y="4046"/>
                    </a:cubicBezTo>
                    <a:cubicBezTo>
                      <a:pt x="4098" y="4068"/>
                      <a:pt x="4113" y="4091"/>
                      <a:pt x="4143" y="4106"/>
                    </a:cubicBezTo>
                    <a:cubicBezTo>
                      <a:pt x="4173" y="4121"/>
                      <a:pt x="4188" y="4128"/>
                      <a:pt x="4210" y="4143"/>
                    </a:cubicBezTo>
                    <a:cubicBezTo>
                      <a:pt x="4218" y="4151"/>
                      <a:pt x="4218" y="4158"/>
                      <a:pt x="4225" y="4166"/>
                    </a:cubicBezTo>
                    <a:lnTo>
                      <a:pt x="4225" y="4166"/>
                    </a:lnTo>
                    <a:cubicBezTo>
                      <a:pt x="4210" y="4181"/>
                      <a:pt x="4188" y="4173"/>
                      <a:pt x="4188" y="4196"/>
                    </a:cubicBezTo>
                    <a:cubicBezTo>
                      <a:pt x="4188" y="4226"/>
                      <a:pt x="4203" y="4241"/>
                      <a:pt x="4203" y="4271"/>
                    </a:cubicBezTo>
                    <a:cubicBezTo>
                      <a:pt x="4203" y="4286"/>
                      <a:pt x="4195" y="4301"/>
                      <a:pt x="4188" y="4316"/>
                    </a:cubicBezTo>
                    <a:cubicBezTo>
                      <a:pt x="4180" y="4331"/>
                      <a:pt x="4180" y="4338"/>
                      <a:pt x="4173" y="4346"/>
                    </a:cubicBezTo>
                    <a:cubicBezTo>
                      <a:pt x="4158" y="4361"/>
                      <a:pt x="4143" y="4361"/>
                      <a:pt x="4120" y="4368"/>
                    </a:cubicBezTo>
                    <a:lnTo>
                      <a:pt x="4113" y="4368"/>
                    </a:lnTo>
                    <a:cubicBezTo>
                      <a:pt x="4105" y="4376"/>
                      <a:pt x="4105" y="4383"/>
                      <a:pt x="4105" y="4383"/>
                    </a:cubicBezTo>
                    <a:cubicBezTo>
                      <a:pt x="4098" y="4391"/>
                      <a:pt x="4098" y="4398"/>
                      <a:pt x="4083" y="4406"/>
                    </a:cubicBezTo>
                    <a:cubicBezTo>
                      <a:pt x="4068" y="4421"/>
                      <a:pt x="4045" y="4406"/>
                      <a:pt x="4023" y="4421"/>
                    </a:cubicBezTo>
                    <a:cubicBezTo>
                      <a:pt x="4015" y="4421"/>
                      <a:pt x="4015" y="4428"/>
                      <a:pt x="4008" y="4428"/>
                    </a:cubicBezTo>
                    <a:cubicBezTo>
                      <a:pt x="4000" y="4436"/>
                      <a:pt x="3985" y="4443"/>
                      <a:pt x="3978" y="4458"/>
                    </a:cubicBezTo>
                    <a:lnTo>
                      <a:pt x="3978" y="4466"/>
                    </a:lnTo>
                    <a:cubicBezTo>
                      <a:pt x="3978" y="4488"/>
                      <a:pt x="3978" y="4503"/>
                      <a:pt x="3963" y="4518"/>
                    </a:cubicBezTo>
                    <a:lnTo>
                      <a:pt x="3963" y="4518"/>
                    </a:lnTo>
                    <a:cubicBezTo>
                      <a:pt x="3978" y="4518"/>
                      <a:pt x="3985" y="4526"/>
                      <a:pt x="4000" y="4526"/>
                    </a:cubicBezTo>
                    <a:cubicBezTo>
                      <a:pt x="4008" y="4526"/>
                      <a:pt x="4015" y="4518"/>
                      <a:pt x="4023" y="4518"/>
                    </a:cubicBezTo>
                    <a:cubicBezTo>
                      <a:pt x="4038" y="4518"/>
                      <a:pt x="4045" y="4518"/>
                      <a:pt x="4053" y="4526"/>
                    </a:cubicBezTo>
                    <a:cubicBezTo>
                      <a:pt x="4060" y="4548"/>
                      <a:pt x="4068" y="4563"/>
                      <a:pt x="4068" y="4593"/>
                    </a:cubicBezTo>
                    <a:cubicBezTo>
                      <a:pt x="4068" y="4608"/>
                      <a:pt x="4068" y="4616"/>
                      <a:pt x="4068" y="4630"/>
                    </a:cubicBezTo>
                    <a:cubicBezTo>
                      <a:pt x="4068" y="4638"/>
                      <a:pt x="4075" y="4645"/>
                      <a:pt x="4075" y="4653"/>
                    </a:cubicBezTo>
                    <a:cubicBezTo>
                      <a:pt x="4075" y="4690"/>
                      <a:pt x="4030" y="4698"/>
                      <a:pt x="4030" y="4735"/>
                    </a:cubicBezTo>
                    <a:cubicBezTo>
                      <a:pt x="4030" y="4750"/>
                      <a:pt x="4045" y="4758"/>
                      <a:pt x="4045" y="4765"/>
                    </a:cubicBezTo>
                    <a:cubicBezTo>
                      <a:pt x="4053" y="4803"/>
                      <a:pt x="4053" y="4825"/>
                      <a:pt x="4075" y="4848"/>
                    </a:cubicBezTo>
                    <a:cubicBezTo>
                      <a:pt x="4105" y="4870"/>
                      <a:pt x="4135" y="4878"/>
                      <a:pt x="4165" y="4885"/>
                    </a:cubicBezTo>
                    <a:lnTo>
                      <a:pt x="4165" y="4885"/>
                    </a:lnTo>
                    <a:cubicBezTo>
                      <a:pt x="4165" y="4893"/>
                      <a:pt x="4158" y="4900"/>
                      <a:pt x="4158" y="4900"/>
                    </a:cubicBezTo>
                    <a:cubicBezTo>
                      <a:pt x="4158" y="4908"/>
                      <a:pt x="4150" y="4900"/>
                      <a:pt x="4143" y="4908"/>
                    </a:cubicBezTo>
                    <a:cubicBezTo>
                      <a:pt x="4143" y="4915"/>
                      <a:pt x="4143" y="4923"/>
                      <a:pt x="4143" y="4930"/>
                    </a:cubicBezTo>
                    <a:cubicBezTo>
                      <a:pt x="4143" y="4968"/>
                      <a:pt x="4158" y="4990"/>
                      <a:pt x="4158" y="5027"/>
                    </a:cubicBezTo>
                    <a:cubicBezTo>
                      <a:pt x="4158" y="5095"/>
                      <a:pt x="4158" y="5095"/>
                      <a:pt x="4158" y="5095"/>
                    </a:cubicBezTo>
                    <a:cubicBezTo>
                      <a:pt x="4158" y="5117"/>
                      <a:pt x="4180" y="5117"/>
                      <a:pt x="4195" y="5133"/>
                    </a:cubicBezTo>
                    <a:cubicBezTo>
                      <a:pt x="4210" y="5140"/>
                      <a:pt x="4210" y="5163"/>
                      <a:pt x="4210" y="5177"/>
                    </a:cubicBezTo>
                    <a:cubicBezTo>
                      <a:pt x="4210" y="5207"/>
                      <a:pt x="4195" y="5222"/>
                      <a:pt x="4180" y="5245"/>
                    </a:cubicBezTo>
                    <a:cubicBezTo>
                      <a:pt x="4173" y="5260"/>
                      <a:pt x="4165" y="5267"/>
                      <a:pt x="4158" y="5282"/>
                    </a:cubicBezTo>
                    <a:cubicBezTo>
                      <a:pt x="4135" y="5327"/>
                      <a:pt x="4120" y="5357"/>
                      <a:pt x="4083" y="5395"/>
                    </a:cubicBezTo>
                    <a:cubicBezTo>
                      <a:pt x="4060" y="5417"/>
                      <a:pt x="4038" y="5425"/>
                      <a:pt x="4030" y="5455"/>
                    </a:cubicBezTo>
                    <a:cubicBezTo>
                      <a:pt x="4023" y="5477"/>
                      <a:pt x="4023" y="5492"/>
                      <a:pt x="4008" y="5507"/>
                    </a:cubicBezTo>
                    <a:cubicBezTo>
                      <a:pt x="3993" y="5530"/>
                      <a:pt x="3985" y="5537"/>
                      <a:pt x="3963" y="5552"/>
                    </a:cubicBezTo>
                    <a:cubicBezTo>
                      <a:pt x="3948" y="5560"/>
                      <a:pt x="3940" y="5567"/>
                      <a:pt x="3926" y="5582"/>
                    </a:cubicBezTo>
                    <a:cubicBezTo>
                      <a:pt x="3918" y="5590"/>
                      <a:pt x="3910" y="5605"/>
                      <a:pt x="3896" y="5605"/>
                    </a:cubicBezTo>
                    <a:cubicBezTo>
                      <a:pt x="3880" y="5605"/>
                      <a:pt x="3873" y="5590"/>
                      <a:pt x="3858" y="5575"/>
                    </a:cubicBezTo>
                    <a:cubicBezTo>
                      <a:pt x="3843" y="5567"/>
                      <a:pt x="3836" y="5560"/>
                      <a:pt x="3820" y="5545"/>
                    </a:cubicBezTo>
                    <a:cubicBezTo>
                      <a:pt x="3798" y="5530"/>
                      <a:pt x="3790" y="5515"/>
                      <a:pt x="3776" y="5492"/>
                    </a:cubicBezTo>
                    <a:cubicBezTo>
                      <a:pt x="3768" y="5485"/>
                      <a:pt x="3761" y="5477"/>
                      <a:pt x="3761" y="5455"/>
                    </a:cubicBezTo>
                    <a:cubicBezTo>
                      <a:pt x="3761" y="5432"/>
                      <a:pt x="3776" y="5425"/>
                      <a:pt x="3783" y="5395"/>
                    </a:cubicBezTo>
                    <a:cubicBezTo>
                      <a:pt x="3790" y="5380"/>
                      <a:pt x="3783" y="5372"/>
                      <a:pt x="3783" y="5350"/>
                    </a:cubicBezTo>
                    <a:cubicBezTo>
                      <a:pt x="3783" y="5260"/>
                      <a:pt x="3783" y="5260"/>
                      <a:pt x="3783" y="5260"/>
                    </a:cubicBezTo>
                    <a:cubicBezTo>
                      <a:pt x="3783" y="5237"/>
                      <a:pt x="3783" y="5222"/>
                      <a:pt x="3790" y="5207"/>
                    </a:cubicBezTo>
                    <a:cubicBezTo>
                      <a:pt x="3798" y="5192"/>
                      <a:pt x="3813" y="5192"/>
                      <a:pt x="3813" y="5177"/>
                    </a:cubicBezTo>
                    <a:cubicBezTo>
                      <a:pt x="3813" y="5147"/>
                      <a:pt x="3798" y="5133"/>
                      <a:pt x="3798" y="5103"/>
                    </a:cubicBezTo>
                    <a:cubicBezTo>
                      <a:pt x="3798" y="5080"/>
                      <a:pt x="3798" y="5057"/>
                      <a:pt x="3806" y="5035"/>
                    </a:cubicBezTo>
                    <a:cubicBezTo>
                      <a:pt x="3820" y="5035"/>
                      <a:pt x="3820" y="5043"/>
                      <a:pt x="3836" y="5043"/>
                    </a:cubicBezTo>
                    <a:cubicBezTo>
                      <a:pt x="3896" y="5043"/>
                      <a:pt x="3896" y="5043"/>
                      <a:pt x="3896" y="5043"/>
                    </a:cubicBezTo>
                    <a:cubicBezTo>
                      <a:pt x="3910" y="5043"/>
                      <a:pt x="3926" y="5035"/>
                      <a:pt x="3926" y="5020"/>
                    </a:cubicBezTo>
                    <a:cubicBezTo>
                      <a:pt x="3926" y="4983"/>
                      <a:pt x="3896" y="4968"/>
                      <a:pt x="3866" y="4945"/>
                    </a:cubicBezTo>
                    <a:cubicBezTo>
                      <a:pt x="3850" y="4938"/>
                      <a:pt x="3836" y="4930"/>
                      <a:pt x="3828" y="4915"/>
                    </a:cubicBezTo>
                    <a:cubicBezTo>
                      <a:pt x="3820" y="4915"/>
                      <a:pt x="3820" y="4908"/>
                      <a:pt x="3813" y="4900"/>
                    </a:cubicBezTo>
                    <a:cubicBezTo>
                      <a:pt x="3806" y="4900"/>
                      <a:pt x="3776" y="4908"/>
                      <a:pt x="3761" y="4908"/>
                    </a:cubicBezTo>
                    <a:cubicBezTo>
                      <a:pt x="3776" y="4900"/>
                      <a:pt x="3776" y="4900"/>
                      <a:pt x="3776" y="4900"/>
                    </a:cubicBezTo>
                    <a:cubicBezTo>
                      <a:pt x="3753" y="4900"/>
                      <a:pt x="3738" y="4900"/>
                      <a:pt x="3716" y="4900"/>
                    </a:cubicBezTo>
                    <a:cubicBezTo>
                      <a:pt x="3686" y="4900"/>
                      <a:pt x="3671" y="4908"/>
                      <a:pt x="3641" y="4908"/>
                    </a:cubicBezTo>
                    <a:cubicBezTo>
                      <a:pt x="3618" y="4915"/>
                      <a:pt x="3603" y="4908"/>
                      <a:pt x="3581" y="4915"/>
                    </a:cubicBezTo>
                    <a:cubicBezTo>
                      <a:pt x="3573" y="4923"/>
                      <a:pt x="3573" y="4930"/>
                      <a:pt x="3566" y="4938"/>
                    </a:cubicBezTo>
                    <a:cubicBezTo>
                      <a:pt x="3551" y="4960"/>
                      <a:pt x="3543" y="4968"/>
                      <a:pt x="3528" y="4983"/>
                    </a:cubicBezTo>
                    <a:cubicBezTo>
                      <a:pt x="3521" y="4998"/>
                      <a:pt x="3513" y="5005"/>
                      <a:pt x="3498" y="5020"/>
                    </a:cubicBezTo>
                    <a:cubicBezTo>
                      <a:pt x="3483" y="5027"/>
                      <a:pt x="3468" y="5035"/>
                      <a:pt x="3468" y="5057"/>
                    </a:cubicBezTo>
                    <a:cubicBezTo>
                      <a:pt x="3468" y="5073"/>
                      <a:pt x="3476" y="5080"/>
                      <a:pt x="3491" y="5087"/>
                    </a:cubicBezTo>
                    <a:cubicBezTo>
                      <a:pt x="3461" y="5125"/>
                      <a:pt x="3431" y="5147"/>
                      <a:pt x="3386" y="5170"/>
                    </a:cubicBezTo>
                    <a:cubicBezTo>
                      <a:pt x="3363" y="5185"/>
                      <a:pt x="3356" y="5200"/>
                      <a:pt x="3333" y="5207"/>
                    </a:cubicBezTo>
                    <a:cubicBezTo>
                      <a:pt x="3318" y="5215"/>
                      <a:pt x="3311" y="5215"/>
                      <a:pt x="3296" y="5230"/>
                    </a:cubicBezTo>
                    <a:cubicBezTo>
                      <a:pt x="3288" y="5230"/>
                      <a:pt x="3288" y="5245"/>
                      <a:pt x="3288" y="5260"/>
                    </a:cubicBezTo>
                    <a:cubicBezTo>
                      <a:pt x="3288" y="5267"/>
                      <a:pt x="3296" y="5275"/>
                      <a:pt x="3296" y="5290"/>
                    </a:cubicBezTo>
                    <a:cubicBezTo>
                      <a:pt x="3296" y="5335"/>
                      <a:pt x="3281" y="5372"/>
                      <a:pt x="3243" y="5395"/>
                    </a:cubicBezTo>
                    <a:cubicBezTo>
                      <a:pt x="3214" y="5417"/>
                      <a:pt x="3198" y="5440"/>
                      <a:pt x="3176" y="5462"/>
                    </a:cubicBezTo>
                    <a:cubicBezTo>
                      <a:pt x="3161" y="5485"/>
                      <a:pt x="3138" y="5492"/>
                      <a:pt x="3138" y="5522"/>
                    </a:cubicBezTo>
                    <a:cubicBezTo>
                      <a:pt x="3138" y="5560"/>
                      <a:pt x="3146" y="5590"/>
                      <a:pt x="3168" y="5627"/>
                    </a:cubicBezTo>
                    <a:cubicBezTo>
                      <a:pt x="3101" y="5620"/>
                      <a:pt x="3078" y="5582"/>
                      <a:pt x="3011" y="5560"/>
                    </a:cubicBezTo>
                    <a:cubicBezTo>
                      <a:pt x="2981" y="5545"/>
                      <a:pt x="2959" y="5545"/>
                      <a:pt x="2921" y="5537"/>
                    </a:cubicBezTo>
                    <a:cubicBezTo>
                      <a:pt x="2891" y="5530"/>
                      <a:pt x="2876" y="5522"/>
                      <a:pt x="2846" y="5522"/>
                    </a:cubicBezTo>
                    <a:cubicBezTo>
                      <a:pt x="2809" y="5522"/>
                      <a:pt x="2786" y="5537"/>
                      <a:pt x="2749" y="5545"/>
                    </a:cubicBezTo>
                    <a:cubicBezTo>
                      <a:pt x="2734" y="5552"/>
                      <a:pt x="2726" y="5552"/>
                      <a:pt x="2711" y="5552"/>
                    </a:cubicBezTo>
                    <a:cubicBezTo>
                      <a:pt x="2704" y="5560"/>
                      <a:pt x="2696" y="5567"/>
                      <a:pt x="2689" y="5567"/>
                    </a:cubicBezTo>
                    <a:cubicBezTo>
                      <a:pt x="2674" y="5567"/>
                      <a:pt x="2666" y="5560"/>
                      <a:pt x="2651" y="5552"/>
                    </a:cubicBezTo>
                    <a:cubicBezTo>
                      <a:pt x="2621" y="5545"/>
                      <a:pt x="2607" y="5545"/>
                      <a:pt x="2577" y="5537"/>
                    </a:cubicBezTo>
                    <a:cubicBezTo>
                      <a:pt x="2524" y="5537"/>
                      <a:pt x="2502" y="5537"/>
                      <a:pt x="2449" y="5537"/>
                    </a:cubicBezTo>
                    <a:cubicBezTo>
                      <a:pt x="2382" y="5537"/>
                      <a:pt x="2337" y="5537"/>
                      <a:pt x="2269" y="5545"/>
                    </a:cubicBezTo>
                    <a:cubicBezTo>
                      <a:pt x="2247" y="5552"/>
                      <a:pt x="2232" y="5552"/>
                      <a:pt x="2209" y="5560"/>
                    </a:cubicBezTo>
                    <a:cubicBezTo>
                      <a:pt x="2187" y="5567"/>
                      <a:pt x="2164" y="5560"/>
                      <a:pt x="2142" y="5567"/>
                    </a:cubicBezTo>
                    <a:cubicBezTo>
                      <a:pt x="2059" y="5582"/>
                      <a:pt x="2015" y="5597"/>
                      <a:pt x="1940" y="5620"/>
                    </a:cubicBezTo>
                    <a:cubicBezTo>
                      <a:pt x="1926" y="5627"/>
                      <a:pt x="1910" y="5635"/>
                      <a:pt x="1888" y="5635"/>
                    </a:cubicBezTo>
                    <a:cubicBezTo>
                      <a:pt x="1880" y="5635"/>
                      <a:pt x="1873" y="5635"/>
                      <a:pt x="1866" y="5635"/>
                    </a:cubicBezTo>
                    <a:cubicBezTo>
                      <a:pt x="1850" y="5642"/>
                      <a:pt x="1843" y="5650"/>
                      <a:pt x="1828" y="5650"/>
                    </a:cubicBezTo>
                    <a:cubicBezTo>
                      <a:pt x="1820" y="5650"/>
                      <a:pt x="1820" y="5642"/>
                      <a:pt x="1813" y="5642"/>
                    </a:cubicBezTo>
                    <a:cubicBezTo>
                      <a:pt x="1828" y="5597"/>
                      <a:pt x="1843" y="5582"/>
                      <a:pt x="1873" y="5537"/>
                    </a:cubicBezTo>
                    <a:cubicBezTo>
                      <a:pt x="1888" y="5552"/>
                      <a:pt x="1896" y="5567"/>
                      <a:pt x="1910" y="5567"/>
                    </a:cubicBezTo>
                    <a:cubicBezTo>
                      <a:pt x="1933" y="5567"/>
                      <a:pt x="1940" y="5552"/>
                      <a:pt x="1955" y="5545"/>
                    </a:cubicBezTo>
                    <a:cubicBezTo>
                      <a:pt x="1993" y="5530"/>
                      <a:pt x="2023" y="5530"/>
                      <a:pt x="2044" y="5500"/>
                    </a:cubicBezTo>
                    <a:cubicBezTo>
                      <a:pt x="2067" y="5477"/>
                      <a:pt x="2082" y="5462"/>
                      <a:pt x="2112" y="5432"/>
                    </a:cubicBezTo>
                    <a:cubicBezTo>
                      <a:pt x="2134" y="5410"/>
                      <a:pt x="2157" y="5395"/>
                      <a:pt x="2157" y="5365"/>
                    </a:cubicBezTo>
                    <a:cubicBezTo>
                      <a:pt x="2157" y="5335"/>
                      <a:pt x="2119" y="5342"/>
                      <a:pt x="2097" y="5342"/>
                    </a:cubicBezTo>
                    <a:cubicBezTo>
                      <a:pt x="2067" y="5335"/>
                      <a:pt x="2044" y="5327"/>
                      <a:pt x="2015" y="5327"/>
                    </a:cubicBezTo>
                    <a:cubicBezTo>
                      <a:pt x="2008" y="5327"/>
                      <a:pt x="2008" y="5342"/>
                      <a:pt x="2000" y="5350"/>
                    </a:cubicBezTo>
                    <a:cubicBezTo>
                      <a:pt x="1993" y="5365"/>
                      <a:pt x="1985" y="5380"/>
                      <a:pt x="1970" y="5380"/>
                    </a:cubicBezTo>
                    <a:cubicBezTo>
                      <a:pt x="1955" y="5380"/>
                      <a:pt x="1948" y="5372"/>
                      <a:pt x="1933" y="5372"/>
                    </a:cubicBezTo>
                    <a:cubicBezTo>
                      <a:pt x="1903" y="5372"/>
                      <a:pt x="1896" y="5372"/>
                      <a:pt x="1866" y="5372"/>
                    </a:cubicBezTo>
                    <a:cubicBezTo>
                      <a:pt x="1843" y="5372"/>
                      <a:pt x="1828" y="5380"/>
                      <a:pt x="1813" y="5372"/>
                    </a:cubicBezTo>
                    <a:cubicBezTo>
                      <a:pt x="1783" y="5372"/>
                      <a:pt x="1783" y="5342"/>
                      <a:pt x="1768" y="5320"/>
                    </a:cubicBezTo>
                    <a:cubicBezTo>
                      <a:pt x="1761" y="5312"/>
                      <a:pt x="1753" y="5312"/>
                      <a:pt x="1753" y="5297"/>
                    </a:cubicBezTo>
                    <a:cubicBezTo>
                      <a:pt x="1738" y="5267"/>
                      <a:pt x="1738" y="5245"/>
                      <a:pt x="1716" y="5222"/>
                    </a:cubicBezTo>
                    <a:cubicBezTo>
                      <a:pt x="1701" y="5230"/>
                      <a:pt x="1701" y="5230"/>
                      <a:pt x="1701" y="5230"/>
                    </a:cubicBezTo>
                    <a:cubicBezTo>
                      <a:pt x="1693" y="5252"/>
                      <a:pt x="1678" y="5275"/>
                      <a:pt x="1678" y="5305"/>
                    </a:cubicBezTo>
                    <a:cubicBezTo>
                      <a:pt x="1678" y="5335"/>
                      <a:pt x="1693" y="5342"/>
                      <a:pt x="1701" y="5365"/>
                    </a:cubicBezTo>
                    <a:cubicBezTo>
                      <a:pt x="1708" y="5402"/>
                      <a:pt x="1716" y="5425"/>
                      <a:pt x="1738" y="5455"/>
                    </a:cubicBezTo>
                    <a:cubicBezTo>
                      <a:pt x="1738" y="5462"/>
                      <a:pt x="1738" y="5462"/>
                      <a:pt x="1738" y="5462"/>
                    </a:cubicBezTo>
                    <a:cubicBezTo>
                      <a:pt x="1701" y="5455"/>
                      <a:pt x="1678" y="5455"/>
                      <a:pt x="1648" y="5440"/>
                    </a:cubicBezTo>
                    <a:cubicBezTo>
                      <a:pt x="1618" y="5432"/>
                      <a:pt x="1596" y="5417"/>
                      <a:pt x="1596" y="5387"/>
                    </a:cubicBezTo>
                    <a:cubicBezTo>
                      <a:pt x="1596" y="5350"/>
                      <a:pt x="1603" y="5335"/>
                      <a:pt x="1611" y="5297"/>
                    </a:cubicBezTo>
                    <a:cubicBezTo>
                      <a:pt x="1581" y="5170"/>
                      <a:pt x="1581" y="5170"/>
                      <a:pt x="1581" y="5170"/>
                    </a:cubicBezTo>
                    <a:cubicBezTo>
                      <a:pt x="1581" y="5125"/>
                      <a:pt x="1581" y="5087"/>
                      <a:pt x="1603" y="5043"/>
                    </a:cubicBezTo>
                    <a:cubicBezTo>
                      <a:pt x="1603" y="5027"/>
                      <a:pt x="1618" y="5020"/>
                      <a:pt x="1618" y="5005"/>
                    </a:cubicBezTo>
                    <a:cubicBezTo>
                      <a:pt x="1618" y="4983"/>
                      <a:pt x="1618" y="4983"/>
                      <a:pt x="1618" y="4983"/>
                    </a:cubicBezTo>
                    <a:cubicBezTo>
                      <a:pt x="1596" y="4983"/>
                      <a:pt x="1596" y="4983"/>
                      <a:pt x="1596" y="4983"/>
                    </a:cubicBezTo>
                    <a:cubicBezTo>
                      <a:pt x="1566" y="4983"/>
                      <a:pt x="1558" y="4998"/>
                      <a:pt x="1528" y="5013"/>
                    </a:cubicBezTo>
                    <a:cubicBezTo>
                      <a:pt x="1521" y="5013"/>
                      <a:pt x="1513" y="5020"/>
                      <a:pt x="1498" y="5020"/>
                    </a:cubicBezTo>
                    <a:lnTo>
                      <a:pt x="1498" y="5020"/>
                    </a:lnTo>
                    <a:cubicBezTo>
                      <a:pt x="1491" y="5013"/>
                      <a:pt x="1483" y="4990"/>
                      <a:pt x="1476" y="4975"/>
                    </a:cubicBezTo>
                    <a:cubicBezTo>
                      <a:pt x="1468" y="4968"/>
                      <a:pt x="1468" y="4968"/>
                      <a:pt x="1461" y="4968"/>
                    </a:cubicBezTo>
                    <a:cubicBezTo>
                      <a:pt x="1453" y="4953"/>
                      <a:pt x="1453" y="4945"/>
                      <a:pt x="1453" y="4930"/>
                    </a:cubicBezTo>
                    <a:cubicBezTo>
                      <a:pt x="1438" y="4908"/>
                      <a:pt x="1431" y="4900"/>
                      <a:pt x="1416" y="4878"/>
                    </a:cubicBezTo>
                    <a:lnTo>
                      <a:pt x="1416" y="4878"/>
                    </a:lnTo>
                    <a:cubicBezTo>
                      <a:pt x="1393" y="4863"/>
                      <a:pt x="1379" y="4848"/>
                      <a:pt x="1356" y="4848"/>
                    </a:cubicBezTo>
                    <a:cubicBezTo>
                      <a:pt x="1349" y="4848"/>
                      <a:pt x="1333" y="4848"/>
                      <a:pt x="1333" y="4848"/>
                    </a:cubicBezTo>
                    <a:cubicBezTo>
                      <a:pt x="1326" y="4840"/>
                      <a:pt x="1326" y="4825"/>
                      <a:pt x="1319" y="4818"/>
                    </a:cubicBezTo>
                    <a:cubicBezTo>
                      <a:pt x="1311" y="4795"/>
                      <a:pt x="1289" y="4795"/>
                      <a:pt x="1281" y="4773"/>
                    </a:cubicBezTo>
                    <a:cubicBezTo>
                      <a:pt x="1266" y="4750"/>
                      <a:pt x="1259" y="4735"/>
                      <a:pt x="1251" y="4713"/>
                    </a:cubicBezTo>
                    <a:cubicBezTo>
                      <a:pt x="1243" y="4713"/>
                      <a:pt x="1236" y="4713"/>
                      <a:pt x="1221" y="4713"/>
                    </a:cubicBezTo>
                    <a:cubicBezTo>
                      <a:pt x="1214" y="4720"/>
                      <a:pt x="1214" y="4728"/>
                      <a:pt x="1214" y="4743"/>
                    </a:cubicBezTo>
                    <a:cubicBezTo>
                      <a:pt x="1206" y="4743"/>
                      <a:pt x="1206" y="4743"/>
                      <a:pt x="1199" y="4750"/>
                    </a:cubicBezTo>
                    <a:cubicBezTo>
                      <a:pt x="1169" y="4735"/>
                      <a:pt x="1146" y="4735"/>
                      <a:pt x="1109" y="4735"/>
                    </a:cubicBezTo>
                    <a:lnTo>
                      <a:pt x="1109" y="4735"/>
                    </a:lnTo>
                    <a:cubicBezTo>
                      <a:pt x="1109" y="4705"/>
                      <a:pt x="1094" y="4683"/>
                      <a:pt x="1079" y="4653"/>
                    </a:cubicBezTo>
                    <a:cubicBezTo>
                      <a:pt x="1086" y="4645"/>
                      <a:pt x="1101" y="4638"/>
                      <a:pt x="1109" y="4623"/>
                    </a:cubicBezTo>
                    <a:cubicBezTo>
                      <a:pt x="1116" y="4600"/>
                      <a:pt x="1101" y="4586"/>
                      <a:pt x="1109" y="4556"/>
                    </a:cubicBezTo>
                    <a:cubicBezTo>
                      <a:pt x="1109" y="4540"/>
                      <a:pt x="1116" y="4526"/>
                      <a:pt x="1116" y="4510"/>
                    </a:cubicBezTo>
                    <a:cubicBezTo>
                      <a:pt x="1116" y="4488"/>
                      <a:pt x="1109" y="4481"/>
                      <a:pt x="1109" y="4466"/>
                    </a:cubicBezTo>
                    <a:cubicBezTo>
                      <a:pt x="1109" y="4451"/>
                      <a:pt x="1116" y="4443"/>
                      <a:pt x="1116" y="4436"/>
                    </a:cubicBezTo>
                    <a:cubicBezTo>
                      <a:pt x="1116" y="4406"/>
                      <a:pt x="1071" y="4398"/>
                      <a:pt x="1071" y="4368"/>
                    </a:cubicBezTo>
                    <a:cubicBezTo>
                      <a:pt x="1071" y="4353"/>
                      <a:pt x="1086" y="4346"/>
                      <a:pt x="1086" y="4331"/>
                    </a:cubicBezTo>
                    <a:cubicBezTo>
                      <a:pt x="1086" y="4308"/>
                      <a:pt x="1064" y="4301"/>
                      <a:pt x="1049" y="4286"/>
                    </a:cubicBezTo>
                    <a:cubicBezTo>
                      <a:pt x="1049" y="4293"/>
                      <a:pt x="1041" y="4301"/>
                      <a:pt x="1034" y="4308"/>
                    </a:cubicBezTo>
                    <a:cubicBezTo>
                      <a:pt x="1011" y="4286"/>
                      <a:pt x="1004" y="4256"/>
                      <a:pt x="1004" y="4226"/>
                    </a:cubicBezTo>
                    <a:cubicBezTo>
                      <a:pt x="1004" y="4211"/>
                      <a:pt x="1004" y="4203"/>
                      <a:pt x="1011" y="4196"/>
                    </a:cubicBezTo>
                    <a:cubicBezTo>
                      <a:pt x="989" y="4196"/>
                      <a:pt x="981" y="4196"/>
                      <a:pt x="966" y="4196"/>
                    </a:cubicBezTo>
                    <a:cubicBezTo>
                      <a:pt x="959" y="4173"/>
                      <a:pt x="959" y="4158"/>
                      <a:pt x="959" y="4136"/>
                    </a:cubicBezTo>
                    <a:lnTo>
                      <a:pt x="959" y="4136"/>
                    </a:lnTo>
                    <a:lnTo>
                      <a:pt x="951" y="4121"/>
                    </a:lnTo>
                    <a:cubicBezTo>
                      <a:pt x="936" y="4121"/>
                      <a:pt x="929" y="4128"/>
                      <a:pt x="914" y="4128"/>
                    </a:cubicBezTo>
                    <a:cubicBezTo>
                      <a:pt x="884" y="4128"/>
                      <a:pt x="869" y="4098"/>
                      <a:pt x="839" y="4098"/>
                    </a:cubicBezTo>
                    <a:cubicBezTo>
                      <a:pt x="831" y="4098"/>
                      <a:pt x="824" y="4106"/>
                      <a:pt x="809" y="4113"/>
                    </a:cubicBezTo>
                    <a:cubicBezTo>
                      <a:pt x="809" y="4113"/>
                      <a:pt x="801" y="4113"/>
                      <a:pt x="801" y="4121"/>
                    </a:cubicBezTo>
                    <a:cubicBezTo>
                      <a:pt x="801" y="4136"/>
                      <a:pt x="809" y="4143"/>
                      <a:pt x="809" y="4158"/>
                    </a:cubicBezTo>
                    <a:cubicBezTo>
                      <a:pt x="816" y="4173"/>
                      <a:pt x="816" y="4181"/>
                      <a:pt x="824" y="4196"/>
                    </a:cubicBezTo>
                    <a:cubicBezTo>
                      <a:pt x="831" y="4211"/>
                      <a:pt x="846" y="4211"/>
                      <a:pt x="861" y="4218"/>
                    </a:cubicBezTo>
                    <a:cubicBezTo>
                      <a:pt x="861" y="4226"/>
                      <a:pt x="861" y="4233"/>
                      <a:pt x="861" y="4233"/>
                    </a:cubicBezTo>
                    <a:cubicBezTo>
                      <a:pt x="846" y="4256"/>
                      <a:pt x="824" y="4256"/>
                      <a:pt x="794" y="4271"/>
                    </a:cubicBezTo>
                    <a:cubicBezTo>
                      <a:pt x="771" y="4278"/>
                      <a:pt x="764" y="4286"/>
                      <a:pt x="741" y="4286"/>
                    </a:cubicBezTo>
                    <a:cubicBezTo>
                      <a:pt x="741" y="4293"/>
                      <a:pt x="749" y="4308"/>
                      <a:pt x="741" y="4316"/>
                    </a:cubicBezTo>
                    <a:cubicBezTo>
                      <a:pt x="734" y="4323"/>
                      <a:pt x="726" y="4323"/>
                      <a:pt x="711" y="4323"/>
                    </a:cubicBezTo>
                    <a:cubicBezTo>
                      <a:pt x="704" y="4331"/>
                      <a:pt x="696" y="4331"/>
                      <a:pt x="689" y="4331"/>
                    </a:cubicBezTo>
                    <a:cubicBezTo>
                      <a:pt x="681" y="4338"/>
                      <a:pt x="674" y="4338"/>
                      <a:pt x="667" y="4338"/>
                    </a:cubicBezTo>
                    <a:cubicBezTo>
                      <a:pt x="659" y="4346"/>
                      <a:pt x="659" y="4346"/>
                      <a:pt x="659" y="4353"/>
                    </a:cubicBezTo>
                    <a:cubicBezTo>
                      <a:pt x="644" y="4368"/>
                      <a:pt x="629" y="4391"/>
                      <a:pt x="607" y="4391"/>
                    </a:cubicBezTo>
                    <a:cubicBezTo>
                      <a:pt x="599" y="4391"/>
                      <a:pt x="591" y="4376"/>
                      <a:pt x="584" y="4368"/>
                    </a:cubicBezTo>
                    <a:cubicBezTo>
                      <a:pt x="569" y="4361"/>
                      <a:pt x="561" y="4353"/>
                      <a:pt x="554" y="4338"/>
                    </a:cubicBezTo>
                    <a:cubicBezTo>
                      <a:pt x="554" y="4353"/>
                      <a:pt x="554" y="4361"/>
                      <a:pt x="547" y="4376"/>
                    </a:cubicBezTo>
                    <a:cubicBezTo>
                      <a:pt x="547" y="4383"/>
                      <a:pt x="531" y="4391"/>
                      <a:pt x="531" y="4398"/>
                    </a:cubicBezTo>
                    <a:cubicBezTo>
                      <a:pt x="531" y="4466"/>
                      <a:pt x="531" y="4466"/>
                      <a:pt x="531" y="4466"/>
                    </a:cubicBezTo>
                    <a:cubicBezTo>
                      <a:pt x="524" y="4473"/>
                      <a:pt x="517" y="4488"/>
                      <a:pt x="509" y="4503"/>
                    </a:cubicBezTo>
                    <a:cubicBezTo>
                      <a:pt x="502" y="4503"/>
                      <a:pt x="502" y="4510"/>
                      <a:pt x="494" y="4510"/>
                    </a:cubicBezTo>
                    <a:cubicBezTo>
                      <a:pt x="487" y="4510"/>
                      <a:pt x="479" y="4510"/>
                      <a:pt x="472" y="4503"/>
                    </a:cubicBezTo>
                    <a:cubicBezTo>
                      <a:pt x="464" y="4496"/>
                      <a:pt x="464" y="4481"/>
                      <a:pt x="457" y="4481"/>
                    </a:cubicBezTo>
                    <a:cubicBezTo>
                      <a:pt x="449" y="4481"/>
                      <a:pt x="442" y="4481"/>
                      <a:pt x="434" y="4481"/>
                    </a:cubicBezTo>
                    <a:cubicBezTo>
                      <a:pt x="427" y="4488"/>
                      <a:pt x="427" y="4481"/>
                      <a:pt x="419" y="4481"/>
                    </a:cubicBezTo>
                    <a:cubicBezTo>
                      <a:pt x="404" y="4496"/>
                      <a:pt x="404" y="4503"/>
                      <a:pt x="404" y="4518"/>
                    </a:cubicBezTo>
                    <a:cubicBezTo>
                      <a:pt x="389" y="4540"/>
                      <a:pt x="382" y="4556"/>
                      <a:pt x="374" y="4570"/>
                    </a:cubicBezTo>
                    <a:close/>
                  </a:path>
                </a:pathLst>
              </a:custGeom>
              <a:grpFill/>
              <a:ln w="6350"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a:latin typeface="Calibri" panose="020F0502020204030204" pitchFamily="34" charset="0"/>
                </a:endParaRPr>
              </a:p>
            </p:txBody>
          </p:sp>
          <p:sp>
            <p:nvSpPr>
              <p:cNvPr id="22" name="Freeform 136">
                <a:extLst>
                  <a:ext uri="{FF2B5EF4-FFF2-40B4-BE49-F238E27FC236}">
                    <a16:creationId xmlns:a16="http://schemas.microsoft.com/office/drawing/2014/main" id="{1F499135-1959-73F1-2BE4-3DCF03EDA037}"/>
                  </a:ext>
                </a:extLst>
              </p:cNvPr>
              <p:cNvSpPr>
                <a:spLocks noChangeArrowheads="1"/>
              </p:cNvSpPr>
              <p:nvPr/>
            </p:nvSpPr>
            <p:spPr bwMode="auto">
              <a:xfrm>
                <a:off x="7055324" y="8408921"/>
                <a:ext cx="1211684" cy="2471159"/>
              </a:xfrm>
              <a:custGeom>
                <a:avLst/>
                <a:gdLst>
                  <a:gd name="T0" fmla="*/ 1529 w 2804"/>
                  <a:gd name="T1" fmla="*/ 5605 h 5718"/>
                  <a:gd name="T2" fmla="*/ 1634 w 2804"/>
                  <a:gd name="T3" fmla="*/ 5672 h 5718"/>
                  <a:gd name="T4" fmla="*/ 1342 w 2804"/>
                  <a:gd name="T5" fmla="*/ 4578 h 5718"/>
                  <a:gd name="T6" fmla="*/ 1357 w 2804"/>
                  <a:gd name="T7" fmla="*/ 4571 h 5718"/>
                  <a:gd name="T8" fmla="*/ 1312 w 2804"/>
                  <a:gd name="T9" fmla="*/ 4301 h 5718"/>
                  <a:gd name="T10" fmla="*/ 1222 w 2804"/>
                  <a:gd name="T11" fmla="*/ 4331 h 5718"/>
                  <a:gd name="T12" fmla="*/ 885 w 2804"/>
                  <a:gd name="T13" fmla="*/ 4144 h 5718"/>
                  <a:gd name="T14" fmla="*/ 960 w 2804"/>
                  <a:gd name="T15" fmla="*/ 3941 h 5718"/>
                  <a:gd name="T16" fmla="*/ 982 w 2804"/>
                  <a:gd name="T17" fmla="*/ 3844 h 5718"/>
                  <a:gd name="T18" fmla="*/ 1087 w 2804"/>
                  <a:gd name="T19" fmla="*/ 3319 h 5718"/>
                  <a:gd name="T20" fmla="*/ 1169 w 2804"/>
                  <a:gd name="T21" fmla="*/ 3469 h 5718"/>
                  <a:gd name="T22" fmla="*/ 1132 w 2804"/>
                  <a:gd name="T23" fmla="*/ 3349 h 5718"/>
                  <a:gd name="T24" fmla="*/ 1042 w 2804"/>
                  <a:gd name="T25" fmla="*/ 329 h 5718"/>
                  <a:gd name="T26" fmla="*/ 1297 w 2804"/>
                  <a:gd name="T27" fmla="*/ 247 h 5718"/>
                  <a:gd name="T28" fmla="*/ 1417 w 2804"/>
                  <a:gd name="T29" fmla="*/ 172 h 5718"/>
                  <a:gd name="T30" fmla="*/ 1634 w 2804"/>
                  <a:gd name="T31" fmla="*/ 37 h 5718"/>
                  <a:gd name="T32" fmla="*/ 2001 w 2804"/>
                  <a:gd name="T33" fmla="*/ 97 h 5718"/>
                  <a:gd name="T34" fmla="*/ 2114 w 2804"/>
                  <a:gd name="T35" fmla="*/ 329 h 5718"/>
                  <a:gd name="T36" fmla="*/ 2264 w 2804"/>
                  <a:gd name="T37" fmla="*/ 457 h 5718"/>
                  <a:gd name="T38" fmla="*/ 2473 w 2804"/>
                  <a:gd name="T39" fmla="*/ 412 h 5718"/>
                  <a:gd name="T40" fmla="*/ 2518 w 2804"/>
                  <a:gd name="T41" fmla="*/ 359 h 5718"/>
                  <a:gd name="T42" fmla="*/ 2706 w 2804"/>
                  <a:gd name="T43" fmla="*/ 524 h 5718"/>
                  <a:gd name="T44" fmla="*/ 2511 w 2804"/>
                  <a:gd name="T45" fmla="*/ 1026 h 5718"/>
                  <a:gd name="T46" fmla="*/ 2496 w 2804"/>
                  <a:gd name="T47" fmla="*/ 1483 h 5718"/>
                  <a:gd name="T48" fmla="*/ 2743 w 2804"/>
                  <a:gd name="T49" fmla="*/ 1933 h 5718"/>
                  <a:gd name="T50" fmla="*/ 2751 w 2804"/>
                  <a:gd name="T51" fmla="*/ 2060 h 5718"/>
                  <a:gd name="T52" fmla="*/ 2518 w 2804"/>
                  <a:gd name="T53" fmla="*/ 2120 h 5718"/>
                  <a:gd name="T54" fmla="*/ 2294 w 2804"/>
                  <a:gd name="T55" fmla="*/ 2413 h 5718"/>
                  <a:gd name="T56" fmla="*/ 2054 w 2804"/>
                  <a:gd name="T57" fmla="*/ 2885 h 5718"/>
                  <a:gd name="T58" fmla="*/ 1769 w 2804"/>
                  <a:gd name="T59" fmla="*/ 3124 h 5718"/>
                  <a:gd name="T60" fmla="*/ 1612 w 2804"/>
                  <a:gd name="T61" fmla="*/ 3124 h 5718"/>
                  <a:gd name="T62" fmla="*/ 1574 w 2804"/>
                  <a:gd name="T63" fmla="*/ 3072 h 5718"/>
                  <a:gd name="T64" fmla="*/ 1642 w 2804"/>
                  <a:gd name="T65" fmla="*/ 3012 h 5718"/>
                  <a:gd name="T66" fmla="*/ 1642 w 2804"/>
                  <a:gd name="T67" fmla="*/ 2750 h 5718"/>
                  <a:gd name="T68" fmla="*/ 1619 w 2804"/>
                  <a:gd name="T69" fmla="*/ 2593 h 5718"/>
                  <a:gd name="T70" fmla="*/ 1851 w 2804"/>
                  <a:gd name="T71" fmla="*/ 2353 h 5718"/>
                  <a:gd name="T72" fmla="*/ 1799 w 2804"/>
                  <a:gd name="T73" fmla="*/ 2128 h 5718"/>
                  <a:gd name="T74" fmla="*/ 1604 w 2804"/>
                  <a:gd name="T75" fmla="*/ 2240 h 5718"/>
                  <a:gd name="T76" fmla="*/ 1432 w 2804"/>
                  <a:gd name="T77" fmla="*/ 2450 h 5718"/>
                  <a:gd name="T78" fmla="*/ 1514 w 2804"/>
                  <a:gd name="T79" fmla="*/ 2720 h 5718"/>
                  <a:gd name="T80" fmla="*/ 1342 w 2804"/>
                  <a:gd name="T81" fmla="*/ 2667 h 5718"/>
                  <a:gd name="T82" fmla="*/ 922 w 2804"/>
                  <a:gd name="T83" fmla="*/ 2697 h 5718"/>
                  <a:gd name="T84" fmla="*/ 787 w 2804"/>
                  <a:gd name="T85" fmla="*/ 2862 h 5718"/>
                  <a:gd name="T86" fmla="*/ 697 w 2804"/>
                  <a:gd name="T87" fmla="*/ 2630 h 5718"/>
                  <a:gd name="T88" fmla="*/ 622 w 2804"/>
                  <a:gd name="T89" fmla="*/ 2503 h 5718"/>
                  <a:gd name="T90" fmla="*/ 630 w 2804"/>
                  <a:gd name="T91" fmla="*/ 2405 h 5718"/>
                  <a:gd name="T92" fmla="*/ 742 w 2804"/>
                  <a:gd name="T93" fmla="*/ 2345 h 5718"/>
                  <a:gd name="T94" fmla="*/ 847 w 2804"/>
                  <a:gd name="T95" fmla="*/ 2143 h 5718"/>
                  <a:gd name="T96" fmla="*/ 622 w 2804"/>
                  <a:gd name="T97" fmla="*/ 1858 h 5718"/>
                  <a:gd name="T98" fmla="*/ 458 w 2804"/>
                  <a:gd name="T99" fmla="*/ 1821 h 5718"/>
                  <a:gd name="T100" fmla="*/ 353 w 2804"/>
                  <a:gd name="T101" fmla="*/ 1686 h 5718"/>
                  <a:gd name="T102" fmla="*/ 255 w 2804"/>
                  <a:gd name="T103" fmla="*/ 1461 h 5718"/>
                  <a:gd name="T104" fmla="*/ 248 w 2804"/>
                  <a:gd name="T105" fmla="*/ 1288 h 5718"/>
                  <a:gd name="T106" fmla="*/ 270 w 2804"/>
                  <a:gd name="T107" fmla="*/ 1056 h 5718"/>
                  <a:gd name="T108" fmla="*/ 0 w 2804"/>
                  <a:gd name="T109" fmla="*/ 951 h 5718"/>
                  <a:gd name="T110" fmla="*/ 135 w 2804"/>
                  <a:gd name="T111" fmla="*/ 734 h 5718"/>
                  <a:gd name="T112" fmla="*/ 240 w 2804"/>
                  <a:gd name="T113" fmla="*/ 636 h 5718"/>
                  <a:gd name="T114" fmla="*/ 398 w 2804"/>
                  <a:gd name="T115" fmla="*/ 584 h 5718"/>
                  <a:gd name="T116" fmla="*/ 570 w 2804"/>
                  <a:gd name="T117" fmla="*/ 472 h 5718"/>
                  <a:gd name="T118" fmla="*/ 645 w 2804"/>
                  <a:gd name="T119" fmla="*/ 247 h 5718"/>
                  <a:gd name="T120" fmla="*/ 825 w 2804"/>
                  <a:gd name="T121" fmla="*/ 187 h 5718"/>
                  <a:gd name="T122" fmla="*/ 937 w 2804"/>
                  <a:gd name="T123" fmla="*/ 322 h 5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4" h="5718">
                    <a:moveTo>
                      <a:pt x="1567" y="5598"/>
                    </a:moveTo>
                    <a:lnTo>
                      <a:pt x="1567" y="5598"/>
                    </a:lnTo>
                    <a:cubicBezTo>
                      <a:pt x="1567" y="5590"/>
                      <a:pt x="1559" y="5582"/>
                      <a:pt x="1552" y="5575"/>
                    </a:cubicBezTo>
                    <a:cubicBezTo>
                      <a:pt x="1529" y="5582"/>
                      <a:pt x="1529" y="5582"/>
                      <a:pt x="1529" y="5582"/>
                    </a:cubicBezTo>
                    <a:cubicBezTo>
                      <a:pt x="1529" y="5605"/>
                      <a:pt x="1529" y="5605"/>
                      <a:pt x="1529" y="5605"/>
                    </a:cubicBezTo>
                    <a:cubicBezTo>
                      <a:pt x="1529" y="5620"/>
                      <a:pt x="1537" y="5620"/>
                      <a:pt x="1544" y="5627"/>
                    </a:cubicBezTo>
                    <a:cubicBezTo>
                      <a:pt x="1552" y="5650"/>
                      <a:pt x="1559" y="5657"/>
                      <a:pt x="1567" y="5680"/>
                    </a:cubicBezTo>
                    <a:cubicBezTo>
                      <a:pt x="1574" y="5702"/>
                      <a:pt x="1597" y="5717"/>
                      <a:pt x="1619" y="5717"/>
                    </a:cubicBezTo>
                    <a:cubicBezTo>
                      <a:pt x="1642" y="5717"/>
                      <a:pt x="1642" y="5702"/>
                      <a:pt x="1642" y="5687"/>
                    </a:cubicBezTo>
                    <a:cubicBezTo>
                      <a:pt x="1642" y="5680"/>
                      <a:pt x="1634" y="5680"/>
                      <a:pt x="1634" y="5672"/>
                    </a:cubicBezTo>
                    <a:cubicBezTo>
                      <a:pt x="1627" y="5657"/>
                      <a:pt x="1619" y="5650"/>
                      <a:pt x="1604" y="5642"/>
                    </a:cubicBezTo>
                    <a:cubicBezTo>
                      <a:pt x="1589" y="5627"/>
                      <a:pt x="1582" y="5612"/>
                      <a:pt x="1567" y="5598"/>
                    </a:cubicBezTo>
                    <a:close/>
                    <a:moveTo>
                      <a:pt x="1357" y="4571"/>
                    </a:moveTo>
                    <a:lnTo>
                      <a:pt x="1357" y="4571"/>
                    </a:lnTo>
                    <a:cubicBezTo>
                      <a:pt x="1349" y="4571"/>
                      <a:pt x="1349" y="4571"/>
                      <a:pt x="1342" y="4578"/>
                    </a:cubicBezTo>
                    <a:cubicBezTo>
                      <a:pt x="1342" y="4586"/>
                      <a:pt x="1334" y="4593"/>
                      <a:pt x="1334" y="4601"/>
                    </a:cubicBezTo>
                    <a:cubicBezTo>
                      <a:pt x="1334" y="4616"/>
                      <a:pt x="1349" y="4631"/>
                      <a:pt x="1364" y="4631"/>
                    </a:cubicBezTo>
                    <a:cubicBezTo>
                      <a:pt x="1379" y="4631"/>
                      <a:pt x="1394" y="4631"/>
                      <a:pt x="1394" y="4616"/>
                    </a:cubicBezTo>
                    <a:cubicBezTo>
                      <a:pt x="1394" y="4608"/>
                      <a:pt x="1387" y="4608"/>
                      <a:pt x="1387" y="4601"/>
                    </a:cubicBezTo>
                    <a:cubicBezTo>
                      <a:pt x="1379" y="4593"/>
                      <a:pt x="1364" y="4578"/>
                      <a:pt x="1357" y="4571"/>
                    </a:cubicBezTo>
                    <a:close/>
                    <a:moveTo>
                      <a:pt x="1222" y="4331"/>
                    </a:moveTo>
                    <a:lnTo>
                      <a:pt x="1222" y="4331"/>
                    </a:lnTo>
                    <a:cubicBezTo>
                      <a:pt x="1222" y="4339"/>
                      <a:pt x="1222" y="4346"/>
                      <a:pt x="1229" y="4353"/>
                    </a:cubicBezTo>
                    <a:cubicBezTo>
                      <a:pt x="1237" y="4361"/>
                      <a:pt x="1237" y="4369"/>
                      <a:pt x="1244" y="4369"/>
                    </a:cubicBezTo>
                    <a:cubicBezTo>
                      <a:pt x="1282" y="4369"/>
                      <a:pt x="1312" y="4339"/>
                      <a:pt x="1312" y="4301"/>
                    </a:cubicBezTo>
                    <a:cubicBezTo>
                      <a:pt x="1312" y="4286"/>
                      <a:pt x="1312" y="4263"/>
                      <a:pt x="1297" y="4256"/>
                    </a:cubicBezTo>
                    <a:cubicBezTo>
                      <a:pt x="1289" y="4249"/>
                      <a:pt x="1274" y="4263"/>
                      <a:pt x="1259" y="4263"/>
                    </a:cubicBezTo>
                    <a:cubicBezTo>
                      <a:pt x="1252" y="4263"/>
                      <a:pt x="1244" y="4256"/>
                      <a:pt x="1237" y="4263"/>
                    </a:cubicBezTo>
                    <a:cubicBezTo>
                      <a:pt x="1229" y="4271"/>
                      <a:pt x="1237" y="4279"/>
                      <a:pt x="1229" y="4293"/>
                    </a:cubicBezTo>
                    <a:cubicBezTo>
                      <a:pt x="1229" y="4309"/>
                      <a:pt x="1222" y="4309"/>
                      <a:pt x="1222" y="4331"/>
                    </a:cubicBezTo>
                    <a:close/>
                    <a:moveTo>
                      <a:pt x="855" y="4099"/>
                    </a:moveTo>
                    <a:lnTo>
                      <a:pt x="855" y="4099"/>
                    </a:lnTo>
                    <a:cubicBezTo>
                      <a:pt x="840" y="4099"/>
                      <a:pt x="832" y="4121"/>
                      <a:pt x="825" y="4136"/>
                    </a:cubicBezTo>
                    <a:cubicBezTo>
                      <a:pt x="832" y="4136"/>
                      <a:pt x="832" y="4144"/>
                      <a:pt x="840" y="4144"/>
                    </a:cubicBezTo>
                    <a:cubicBezTo>
                      <a:pt x="862" y="4144"/>
                      <a:pt x="870" y="4144"/>
                      <a:pt x="885" y="4144"/>
                    </a:cubicBezTo>
                    <a:cubicBezTo>
                      <a:pt x="885" y="4129"/>
                      <a:pt x="885" y="4129"/>
                      <a:pt x="885" y="4114"/>
                    </a:cubicBezTo>
                    <a:cubicBezTo>
                      <a:pt x="885" y="4099"/>
                      <a:pt x="870" y="4099"/>
                      <a:pt x="855" y="4099"/>
                    </a:cubicBezTo>
                    <a:close/>
                    <a:moveTo>
                      <a:pt x="952" y="3926"/>
                    </a:moveTo>
                    <a:lnTo>
                      <a:pt x="952" y="3926"/>
                    </a:lnTo>
                    <a:cubicBezTo>
                      <a:pt x="952" y="3934"/>
                      <a:pt x="960" y="3934"/>
                      <a:pt x="960" y="3941"/>
                    </a:cubicBezTo>
                    <a:cubicBezTo>
                      <a:pt x="967" y="3941"/>
                      <a:pt x="967" y="3949"/>
                      <a:pt x="967" y="3949"/>
                    </a:cubicBezTo>
                    <a:cubicBezTo>
                      <a:pt x="982" y="3941"/>
                      <a:pt x="989" y="3926"/>
                      <a:pt x="989" y="3911"/>
                    </a:cubicBezTo>
                    <a:cubicBezTo>
                      <a:pt x="997" y="3896"/>
                      <a:pt x="1005" y="3889"/>
                      <a:pt x="1012" y="3881"/>
                    </a:cubicBezTo>
                    <a:cubicBezTo>
                      <a:pt x="1019" y="3866"/>
                      <a:pt x="1019" y="3859"/>
                      <a:pt x="1019" y="3844"/>
                    </a:cubicBezTo>
                    <a:cubicBezTo>
                      <a:pt x="1005" y="3844"/>
                      <a:pt x="997" y="3844"/>
                      <a:pt x="982" y="3844"/>
                    </a:cubicBezTo>
                    <a:cubicBezTo>
                      <a:pt x="982" y="3851"/>
                      <a:pt x="989" y="3851"/>
                      <a:pt x="989" y="3851"/>
                    </a:cubicBezTo>
                    <a:cubicBezTo>
                      <a:pt x="982" y="3889"/>
                      <a:pt x="952" y="3896"/>
                      <a:pt x="952" y="3926"/>
                    </a:cubicBezTo>
                    <a:close/>
                    <a:moveTo>
                      <a:pt x="1102" y="3312"/>
                    </a:moveTo>
                    <a:lnTo>
                      <a:pt x="1102" y="3312"/>
                    </a:lnTo>
                    <a:cubicBezTo>
                      <a:pt x="1087" y="3319"/>
                      <a:pt x="1087" y="3319"/>
                      <a:pt x="1087" y="3319"/>
                    </a:cubicBezTo>
                    <a:cubicBezTo>
                      <a:pt x="1087" y="3387"/>
                      <a:pt x="1087" y="3387"/>
                      <a:pt x="1087" y="3387"/>
                    </a:cubicBezTo>
                    <a:cubicBezTo>
                      <a:pt x="1087" y="3402"/>
                      <a:pt x="1079" y="3409"/>
                      <a:pt x="1079" y="3432"/>
                    </a:cubicBezTo>
                    <a:cubicBezTo>
                      <a:pt x="1079" y="3447"/>
                      <a:pt x="1095" y="3454"/>
                      <a:pt x="1109" y="3462"/>
                    </a:cubicBezTo>
                    <a:cubicBezTo>
                      <a:pt x="1124" y="3469"/>
                      <a:pt x="1132" y="3492"/>
                      <a:pt x="1147" y="3492"/>
                    </a:cubicBezTo>
                    <a:cubicBezTo>
                      <a:pt x="1154" y="3492"/>
                      <a:pt x="1162" y="3477"/>
                      <a:pt x="1169" y="3469"/>
                    </a:cubicBezTo>
                    <a:cubicBezTo>
                      <a:pt x="1169" y="3469"/>
                      <a:pt x="1177" y="3462"/>
                      <a:pt x="1177" y="3454"/>
                    </a:cubicBezTo>
                    <a:cubicBezTo>
                      <a:pt x="1177" y="3394"/>
                      <a:pt x="1177" y="3394"/>
                      <a:pt x="1177" y="3394"/>
                    </a:cubicBezTo>
                    <a:cubicBezTo>
                      <a:pt x="1184" y="3379"/>
                      <a:pt x="1184" y="3379"/>
                      <a:pt x="1184" y="3379"/>
                    </a:cubicBezTo>
                    <a:cubicBezTo>
                      <a:pt x="1184" y="3372"/>
                      <a:pt x="1184" y="3372"/>
                      <a:pt x="1184" y="3372"/>
                    </a:cubicBezTo>
                    <a:cubicBezTo>
                      <a:pt x="1162" y="3364"/>
                      <a:pt x="1147" y="3364"/>
                      <a:pt x="1132" y="3349"/>
                    </a:cubicBezTo>
                    <a:cubicBezTo>
                      <a:pt x="1117" y="3334"/>
                      <a:pt x="1117" y="3327"/>
                      <a:pt x="1102" y="3312"/>
                    </a:cubicBezTo>
                    <a:close/>
                    <a:moveTo>
                      <a:pt x="952" y="322"/>
                    </a:moveTo>
                    <a:lnTo>
                      <a:pt x="952" y="322"/>
                    </a:lnTo>
                    <a:cubicBezTo>
                      <a:pt x="975" y="322"/>
                      <a:pt x="989" y="307"/>
                      <a:pt x="1005" y="307"/>
                    </a:cubicBezTo>
                    <a:cubicBezTo>
                      <a:pt x="1019" y="314"/>
                      <a:pt x="1027" y="329"/>
                      <a:pt x="1042" y="329"/>
                    </a:cubicBezTo>
                    <a:cubicBezTo>
                      <a:pt x="1072" y="344"/>
                      <a:pt x="1102" y="329"/>
                      <a:pt x="1132" y="344"/>
                    </a:cubicBezTo>
                    <a:lnTo>
                      <a:pt x="1132" y="344"/>
                    </a:lnTo>
                    <a:cubicBezTo>
                      <a:pt x="1169" y="322"/>
                      <a:pt x="1184" y="299"/>
                      <a:pt x="1222" y="269"/>
                    </a:cubicBezTo>
                    <a:cubicBezTo>
                      <a:pt x="1244" y="277"/>
                      <a:pt x="1244" y="277"/>
                      <a:pt x="1244" y="277"/>
                    </a:cubicBezTo>
                    <a:cubicBezTo>
                      <a:pt x="1267" y="269"/>
                      <a:pt x="1274" y="254"/>
                      <a:pt x="1297" y="247"/>
                    </a:cubicBezTo>
                    <a:cubicBezTo>
                      <a:pt x="1304" y="239"/>
                      <a:pt x="1312" y="239"/>
                      <a:pt x="1319" y="232"/>
                    </a:cubicBezTo>
                    <a:cubicBezTo>
                      <a:pt x="1327" y="224"/>
                      <a:pt x="1327" y="217"/>
                      <a:pt x="1334" y="209"/>
                    </a:cubicBezTo>
                    <a:cubicBezTo>
                      <a:pt x="1349" y="202"/>
                      <a:pt x="1364" y="217"/>
                      <a:pt x="1372" y="209"/>
                    </a:cubicBezTo>
                    <a:cubicBezTo>
                      <a:pt x="1379" y="209"/>
                      <a:pt x="1379" y="202"/>
                      <a:pt x="1387" y="202"/>
                    </a:cubicBezTo>
                    <a:cubicBezTo>
                      <a:pt x="1394" y="187"/>
                      <a:pt x="1402" y="179"/>
                      <a:pt x="1417" y="172"/>
                    </a:cubicBezTo>
                    <a:cubicBezTo>
                      <a:pt x="1432" y="157"/>
                      <a:pt x="1439" y="149"/>
                      <a:pt x="1454" y="149"/>
                    </a:cubicBezTo>
                    <a:cubicBezTo>
                      <a:pt x="1469" y="142"/>
                      <a:pt x="1477" y="149"/>
                      <a:pt x="1492" y="142"/>
                    </a:cubicBezTo>
                    <a:cubicBezTo>
                      <a:pt x="1507" y="142"/>
                      <a:pt x="1514" y="135"/>
                      <a:pt x="1529" y="127"/>
                    </a:cubicBezTo>
                    <a:cubicBezTo>
                      <a:pt x="1559" y="119"/>
                      <a:pt x="1574" y="119"/>
                      <a:pt x="1604" y="112"/>
                    </a:cubicBezTo>
                    <a:cubicBezTo>
                      <a:pt x="1604" y="82"/>
                      <a:pt x="1604" y="52"/>
                      <a:pt x="1634" y="37"/>
                    </a:cubicBezTo>
                    <a:cubicBezTo>
                      <a:pt x="1664" y="7"/>
                      <a:pt x="1694" y="0"/>
                      <a:pt x="1731" y="0"/>
                    </a:cubicBezTo>
                    <a:cubicBezTo>
                      <a:pt x="1784" y="0"/>
                      <a:pt x="1814" y="29"/>
                      <a:pt x="1866" y="37"/>
                    </a:cubicBezTo>
                    <a:cubicBezTo>
                      <a:pt x="1904" y="45"/>
                      <a:pt x="1926" y="45"/>
                      <a:pt x="1956" y="59"/>
                    </a:cubicBezTo>
                    <a:cubicBezTo>
                      <a:pt x="1971" y="67"/>
                      <a:pt x="1986" y="75"/>
                      <a:pt x="1994" y="89"/>
                    </a:cubicBezTo>
                    <a:cubicBezTo>
                      <a:pt x="2001" y="89"/>
                      <a:pt x="2001" y="97"/>
                      <a:pt x="2001" y="97"/>
                    </a:cubicBezTo>
                    <a:cubicBezTo>
                      <a:pt x="2016" y="119"/>
                      <a:pt x="2031" y="127"/>
                      <a:pt x="2039" y="149"/>
                    </a:cubicBezTo>
                    <a:cubicBezTo>
                      <a:pt x="2046" y="157"/>
                      <a:pt x="2046" y="172"/>
                      <a:pt x="2054" y="172"/>
                    </a:cubicBezTo>
                    <a:cubicBezTo>
                      <a:pt x="2061" y="187"/>
                      <a:pt x="2076" y="172"/>
                      <a:pt x="2091" y="179"/>
                    </a:cubicBezTo>
                    <a:cubicBezTo>
                      <a:pt x="2099" y="187"/>
                      <a:pt x="2099" y="194"/>
                      <a:pt x="2099" y="209"/>
                    </a:cubicBezTo>
                    <a:cubicBezTo>
                      <a:pt x="2114" y="254"/>
                      <a:pt x="2099" y="284"/>
                      <a:pt x="2114" y="329"/>
                    </a:cubicBezTo>
                    <a:lnTo>
                      <a:pt x="2114" y="329"/>
                    </a:lnTo>
                    <a:cubicBezTo>
                      <a:pt x="2129" y="329"/>
                      <a:pt x="2151" y="329"/>
                      <a:pt x="2166" y="344"/>
                    </a:cubicBezTo>
                    <a:cubicBezTo>
                      <a:pt x="2189" y="352"/>
                      <a:pt x="2181" y="382"/>
                      <a:pt x="2204" y="389"/>
                    </a:cubicBezTo>
                    <a:cubicBezTo>
                      <a:pt x="2219" y="397"/>
                      <a:pt x="2226" y="397"/>
                      <a:pt x="2248" y="397"/>
                    </a:cubicBezTo>
                    <a:cubicBezTo>
                      <a:pt x="2248" y="419"/>
                      <a:pt x="2241" y="442"/>
                      <a:pt x="2264" y="457"/>
                    </a:cubicBezTo>
                    <a:cubicBezTo>
                      <a:pt x="2278" y="472"/>
                      <a:pt x="2294" y="464"/>
                      <a:pt x="2308" y="479"/>
                    </a:cubicBezTo>
                    <a:cubicBezTo>
                      <a:pt x="2331" y="494"/>
                      <a:pt x="2338" y="509"/>
                      <a:pt x="2361" y="509"/>
                    </a:cubicBezTo>
                    <a:cubicBezTo>
                      <a:pt x="2376" y="509"/>
                      <a:pt x="2384" y="494"/>
                      <a:pt x="2398" y="487"/>
                    </a:cubicBezTo>
                    <a:cubicBezTo>
                      <a:pt x="2413" y="472"/>
                      <a:pt x="2421" y="457"/>
                      <a:pt x="2443" y="442"/>
                    </a:cubicBezTo>
                    <a:cubicBezTo>
                      <a:pt x="2451" y="434"/>
                      <a:pt x="2466" y="427"/>
                      <a:pt x="2473" y="412"/>
                    </a:cubicBezTo>
                    <a:cubicBezTo>
                      <a:pt x="2481" y="404"/>
                      <a:pt x="2488" y="397"/>
                      <a:pt x="2488" y="389"/>
                    </a:cubicBezTo>
                    <a:cubicBezTo>
                      <a:pt x="2488" y="374"/>
                      <a:pt x="2473" y="367"/>
                      <a:pt x="2473" y="352"/>
                    </a:cubicBezTo>
                    <a:cubicBezTo>
                      <a:pt x="2466" y="329"/>
                      <a:pt x="2466" y="322"/>
                      <a:pt x="2466" y="299"/>
                    </a:cubicBezTo>
                    <a:cubicBezTo>
                      <a:pt x="2481" y="307"/>
                      <a:pt x="2488" y="314"/>
                      <a:pt x="2496" y="322"/>
                    </a:cubicBezTo>
                    <a:cubicBezTo>
                      <a:pt x="2503" y="337"/>
                      <a:pt x="2503" y="352"/>
                      <a:pt x="2518" y="359"/>
                    </a:cubicBezTo>
                    <a:cubicBezTo>
                      <a:pt x="2548" y="382"/>
                      <a:pt x="2571" y="382"/>
                      <a:pt x="2601" y="389"/>
                    </a:cubicBezTo>
                    <a:cubicBezTo>
                      <a:pt x="2631" y="397"/>
                      <a:pt x="2653" y="397"/>
                      <a:pt x="2676" y="404"/>
                    </a:cubicBezTo>
                    <a:cubicBezTo>
                      <a:pt x="2706" y="412"/>
                      <a:pt x="2713" y="427"/>
                      <a:pt x="2736" y="442"/>
                    </a:cubicBezTo>
                    <a:lnTo>
                      <a:pt x="2736" y="442"/>
                    </a:lnTo>
                    <a:cubicBezTo>
                      <a:pt x="2728" y="472"/>
                      <a:pt x="2721" y="494"/>
                      <a:pt x="2706" y="524"/>
                    </a:cubicBezTo>
                    <a:cubicBezTo>
                      <a:pt x="2676" y="584"/>
                      <a:pt x="2661" y="622"/>
                      <a:pt x="2631" y="689"/>
                    </a:cubicBezTo>
                    <a:cubicBezTo>
                      <a:pt x="2608" y="734"/>
                      <a:pt x="2601" y="764"/>
                      <a:pt x="2578" y="809"/>
                    </a:cubicBezTo>
                    <a:cubicBezTo>
                      <a:pt x="2578" y="824"/>
                      <a:pt x="2563" y="831"/>
                      <a:pt x="2556" y="846"/>
                    </a:cubicBezTo>
                    <a:cubicBezTo>
                      <a:pt x="2533" y="899"/>
                      <a:pt x="2533" y="929"/>
                      <a:pt x="2518" y="981"/>
                    </a:cubicBezTo>
                    <a:cubicBezTo>
                      <a:pt x="2518" y="996"/>
                      <a:pt x="2511" y="1011"/>
                      <a:pt x="2511" y="1026"/>
                    </a:cubicBezTo>
                    <a:cubicBezTo>
                      <a:pt x="2511" y="1064"/>
                      <a:pt x="2533" y="1086"/>
                      <a:pt x="2533" y="1124"/>
                    </a:cubicBezTo>
                    <a:cubicBezTo>
                      <a:pt x="2533" y="1191"/>
                      <a:pt x="2458" y="1206"/>
                      <a:pt x="2458" y="1266"/>
                    </a:cubicBezTo>
                    <a:cubicBezTo>
                      <a:pt x="2458" y="1288"/>
                      <a:pt x="2466" y="1296"/>
                      <a:pt x="2466" y="1311"/>
                    </a:cubicBezTo>
                    <a:cubicBezTo>
                      <a:pt x="2473" y="1356"/>
                      <a:pt x="2473" y="1386"/>
                      <a:pt x="2481" y="1431"/>
                    </a:cubicBezTo>
                    <a:cubicBezTo>
                      <a:pt x="2488" y="1453"/>
                      <a:pt x="2496" y="1468"/>
                      <a:pt x="2496" y="1483"/>
                    </a:cubicBezTo>
                    <a:cubicBezTo>
                      <a:pt x="2503" y="1498"/>
                      <a:pt x="2503" y="1506"/>
                      <a:pt x="2503" y="1513"/>
                    </a:cubicBezTo>
                    <a:cubicBezTo>
                      <a:pt x="2526" y="1573"/>
                      <a:pt x="2548" y="1603"/>
                      <a:pt x="2571" y="1656"/>
                    </a:cubicBezTo>
                    <a:cubicBezTo>
                      <a:pt x="2593" y="1708"/>
                      <a:pt x="2616" y="1731"/>
                      <a:pt x="2646" y="1783"/>
                    </a:cubicBezTo>
                    <a:cubicBezTo>
                      <a:pt x="2661" y="1805"/>
                      <a:pt x="2668" y="1821"/>
                      <a:pt x="2683" y="1843"/>
                    </a:cubicBezTo>
                    <a:cubicBezTo>
                      <a:pt x="2706" y="1873"/>
                      <a:pt x="2721" y="1895"/>
                      <a:pt x="2743" y="1933"/>
                    </a:cubicBezTo>
                    <a:cubicBezTo>
                      <a:pt x="2751" y="1955"/>
                      <a:pt x="2758" y="1970"/>
                      <a:pt x="2773" y="1993"/>
                    </a:cubicBezTo>
                    <a:cubicBezTo>
                      <a:pt x="2781" y="2008"/>
                      <a:pt x="2796" y="2000"/>
                      <a:pt x="2803" y="2000"/>
                    </a:cubicBezTo>
                    <a:cubicBezTo>
                      <a:pt x="2803" y="2075"/>
                      <a:pt x="2803" y="2075"/>
                      <a:pt x="2803" y="2075"/>
                    </a:cubicBezTo>
                    <a:cubicBezTo>
                      <a:pt x="2796" y="2075"/>
                      <a:pt x="2796" y="2075"/>
                      <a:pt x="2788" y="2075"/>
                    </a:cubicBezTo>
                    <a:cubicBezTo>
                      <a:pt x="2773" y="2075"/>
                      <a:pt x="2766" y="2068"/>
                      <a:pt x="2751" y="2060"/>
                    </a:cubicBezTo>
                    <a:cubicBezTo>
                      <a:pt x="2743" y="2060"/>
                      <a:pt x="2736" y="2060"/>
                      <a:pt x="2728" y="2060"/>
                    </a:cubicBezTo>
                    <a:cubicBezTo>
                      <a:pt x="2713" y="2068"/>
                      <a:pt x="2713" y="2068"/>
                      <a:pt x="2713" y="2068"/>
                    </a:cubicBezTo>
                    <a:cubicBezTo>
                      <a:pt x="2713" y="2068"/>
                      <a:pt x="2691" y="2083"/>
                      <a:pt x="2668" y="2083"/>
                    </a:cubicBezTo>
                    <a:cubicBezTo>
                      <a:pt x="2593" y="2083"/>
                      <a:pt x="2593" y="2083"/>
                      <a:pt x="2593" y="2083"/>
                    </a:cubicBezTo>
                    <a:cubicBezTo>
                      <a:pt x="2563" y="2083"/>
                      <a:pt x="2548" y="2105"/>
                      <a:pt x="2518" y="2120"/>
                    </a:cubicBezTo>
                    <a:cubicBezTo>
                      <a:pt x="2496" y="2135"/>
                      <a:pt x="2481" y="2143"/>
                      <a:pt x="2466" y="2158"/>
                    </a:cubicBezTo>
                    <a:cubicBezTo>
                      <a:pt x="2458" y="2165"/>
                      <a:pt x="2458" y="2173"/>
                      <a:pt x="2451" y="2180"/>
                    </a:cubicBezTo>
                    <a:cubicBezTo>
                      <a:pt x="2413" y="2225"/>
                      <a:pt x="2384" y="2248"/>
                      <a:pt x="2346" y="2300"/>
                    </a:cubicBezTo>
                    <a:cubicBezTo>
                      <a:pt x="2331" y="2323"/>
                      <a:pt x="2331" y="2338"/>
                      <a:pt x="2316" y="2360"/>
                    </a:cubicBezTo>
                    <a:cubicBezTo>
                      <a:pt x="2308" y="2383"/>
                      <a:pt x="2301" y="2390"/>
                      <a:pt x="2294" y="2413"/>
                    </a:cubicBezTo>
                    <a:cubicBezTo>
                      <a:pt x="2286" y="2450"/>
                      <a:pt x="2286" y="2480"/>
                      <a:pt x="2286" y="2525"/>
                    </a:cubicBezTo>
                    <a:cubicBezTo>
                      <a:pt x="2278" y="2540"/>
                      <a:pt x="2278" y="2555"/>
                      <a:pt x="2278" y="2577"/>
                    </a:cubicBezTo>
                    <a:cubicBezTo>
                      <a:pt x="2278" y="2765"/>
                      <a:pt x="2278" y="2765"/>
                      <a:pt x="2278" y="2765"/>
                    </a:cubicBezTo>
                    <a:cubicBezTo>
                      <a:pt x="2241" y="2795"/>
                      <a:pt x="2211" y="2802"/>
                      <a:pt x="2166" y="2832"/>
                    </a:cubicBezTo>
                    <a:cubicBezTo>
                      <a:pt x="2129" y="2855"/>
                      <a:pt x="2106" y="2885"/>
                      <a:pt x="2054" y="2885"/>
                    </a:cubicBezTo>
                    <a:cubicBezTo>
                      <a:pt x="2031" y="2885"/>
                      <a:pt x="2009" y="2877"/>
                      <a:pt x="1986" y="2877"/>
                    </a:cubicBezTo>
                    <a:cubicBezTo>
                      <a:pt x="1964" y="2877"/>
                      <a:pt x="1956" y="2892"/>
                      <a:pt x="1941" y="2900"/>
                    </a:cubicBezTo>
                    <a:cubicBezTo>
                      <a:pt x="1926" y="2915"/>
                      <a:pt x="1919" y="2922"/>
                      <a:pt x="1896" y="2930"/>
                    </a:cubicBezTo>
                    <a:cubicBezTo>
                      <a:pt x="1859" y="2952"/>
                      <a:pt x="1851" y="2982"/>
                      <a:pt x="1829" y="3012"/>
                    </a:cubicBezTo>
                    <a:cubicBezTo>
                      <a:pt x="1791" y="3050"/>
                      <a:pt x="1791" y="3087"/>
                      <a:pt x="1769" y="3124"/>
                    </a:cubicBezTo>
                    <a:cubicBezTo>
                      <a:pt x="1747" y="3154"/>
                      <a:pt x="1724" y="3169"/>
                      <a:pt x="1694" y="3169"/>
                    </a:cubicBezTo>
                    <a:cubicBezTo>
                      <a:pt x="1679" y="3169"/>
                      <a:pt x="1679" y="3169"/>
                      <a:pt x="1664" y="3169"/>
                    </a:cubicBezTo>
                    <a:cubicBezTo>
                      <a:pt x="1657" y="3169"/>
                      <a:pt x="1649" y="3177"/>
                      <a:pt x="1642" y="3177"/>
                    </a:cubicBezTo>
                    <a:cubicBezTo>
                      <a:pt x="1627" y="3177"/>
                      <a:pt x="1634" y="3147"/>
                      <a:pt x="1619" y="3132"/>
                    </a:cubicBezTo>
                    <a:cubicBezTo>
                      <a:pt x="1619" y="3132"/>
                      <a:pt x="1612" y="3132"/>
                      <a:pt x="1612" y="3124"/>
                    </a:cubicBezTo>
                    <a:cubicBezTo>
                      <a:pt x="1604" y="3124"/>
                      <a:pt x="1604" y="3132"/>
                      <a:pt x="1597" y="3124"/>
                    </a:cubicBezTo>
                    <a:cubicBezTo>
                      <a:pt x="1589" y="3124"/>
                      <a:pt x="1582" y="3110"/>
                      <a:pt x="1574" y="3110"/>
                    </a:cubicBezTo>
                    <a:cubicBezTo>
                      <a:pt x="1559" y="3102"/>
                      <a:pt x="1552" y="3110"/>
                      <a:pt x="1544" y="3102"/>
                    </a:cubicBezTo>
                    <a:cubicBezTo>
                      <a:pt x="1537" y="3102"/>
                      <a:pt x="1544" y="3094"/>
                      <a:pt x="1537" y="3087"/>
                    </a:cubicBezTo>
                    <a:cubicBezTo>
                      <a:pt x="1544" y="3080"/>
                      <a:pt x="1559" y="3072"/>
                      <a:pt x="1574" y="3072"/>
                    </a:cubicBezTo>
                    <a:cubicBezTo>
                      <a:pt x="1582" y="3072"/>
                      <a:pt x="1589" y="3080"/>
                      <a:pt x="1604" y="3072"/>
                    </a:cubicBezTo>
                    <a:cubicBezTo>
                      <a:pt x="1612" y="3072"/>
                      <a:pt x="1619" y="3064"/>
                      <a:pt x="1627" y="3064"/>
                    </a:cubicBezTo>
                    <a:cubicBezTo>
                      <a:pt x="1634" y="3057"/>
                      <a:pt x="1642" y="3064"/>
                      <a:pt x="1649" y="3057"/>
                    </a:cubicBezTo>
                    <a:cubicBezTo>
                      <a:pt x="1657" y="3057"/>
                      <a:pt x="1657" y="3050"/>
                      <a:pt x="1657" y="3042"/>
                    </a:cubicBezTo>
                    <a:cubicBezTo>
                      <a:pt x="1657" y="3027"/>
                      <a:pt x="1642" y="3020"/>
                      <a:pt x="1642" y="3012"/>
                    </a:cubicBezTo>
                    <a:cubicBezTo>
                      <a:pt x="1627" y="2982"/>
                      <a:pt x="1604" y="2975"/>
                      <a:pt x="1604" y="2945"/>
                    </a:cubicBezTo>
                    <a:cubicBezTo>
                      <a:pt x="1604" y="2907"/>
                      <a:pt x="1627" y="2892"/>
                      <a:pt x="1627" y="2855"/>
                    </a:cubicBezTo>
                    <a:cubicBezTo>
                      <a:pt x="1627" y="2832"/>
                      <a:pt x="1612" y="2817"/>
                      <a:pt x="1612" y="2795"/>
                    </a:cubicBezTo>
                    <a:cubicBezTo>
                      <a:pt x="1612" y="2780"/>
                      <a:pt x="1619" y="2772"/>
                      <a:pt x="1627" y="2757"/>
                    </a:cubicBezTo>
                    <a:cubicBezTo>
                      <a:pt x="1634" y="2757"/>
                      <a:pt x="1642" y="2757"/>
                      <a:pt x="1642" y="2750"/>
                    </a:cubicBezTo>
                    <a:cubicBezTo>
                      <a:pt x="1649" y="2742"/>
                      <a:pt x="1649" y="2735"/>
                      <a:pt x="1649" y="2727"/>
                    </a:cubicBezTo>
                    <a:cubicBezTo>
                      <a:pt x="1649" y="2712"/>
                      <a:pt x="1657" y="2705"/>
                      <a:pt x="1657" y="2697"/>
                    </a:cubicBezTo>
                    <a:cubicBezTo>
                      <a:pt x="1657" y="2682"/>
                      <a:pt x="1649" y="2667"/>
                      <a:pt x="1642" y="2652"/>
                    </a:cubicBezTo>
                    <a:cubicBezTo>
                      <a:pt x="1642" y="2637"/>
                      <a:pt x="1649" y="2630"/>
                      <a:pt x="1642" y="2615"/>
                    </a:cubicBezTo>
                    <a:cubicBezTo>
                      <a:pt x="1634" y="2607"/>
                      <a:pt x="1619" y="2607"/>
                      <a:pt x="1619" y="2593"/>
                    </a:cubicBezTo>
                    <a:cubicBezTo>
                      <a:pt x="1619" y="2570"/>
                      <a:pt x="1642" y="2563"/>
                      <a:pt x="1657" y="2555"/>
                    </a:cubicBezTo>
                    <a:cubicBezTo>
                      <a:pt x="1672" y="2547"/>
                      <a:pt x="1679" y="2533"/>
                      <a:pt x="1694" y="2525"/>
                    </a:cubicBezTo>
                    <a:cubicBezTo>
                      <a:pt x="1724" y="2510"/>
                      <a:pt x="1747" y="2510"/>
                      <a:pt x="1754" y="2480"/>
                    </a:cubicBezTo>
                    <a:cubicBezTo>
                      <a:pt x="1761" y="2465"/>
                      <a:pt x="1761" y="2450"/>
                      <a:pt x="1769" y="2435"/>
                    </a:cubicBezTo>
                    <a:cubicBezTo>
                      <a:pt x="1791" y="2390"/>
                      <a:pt x="1836" y="2390"/>
                      <a:pt x="1851" y="2353"/>
                    </a:cubicBezTo>
                    <a:cubicBezTo>
                      <a:pt x="1866" y="2330"/>
                      <a:pt x="1874" y="2315"/>
                      <a:pt x="1889" y="2308"/>
                    </a:cubicBezTo>
                    <a:cubicBezTo>
                      <a:pt x="1896" y="2300"/>
                      <a:pt x="1904" y="2293"/>
                      <a:pt x="1911" y="2285"/>
                    </a:cubicBezTo>
                    <a:cubicBezTo>
                      <a:pt x="1926" y="2285"/>
                      <a:pt x="1941" y="2285"/>
                      <a:pt x="1941" y="2270"/>
                    </a:cubicBezTo>
                    <a:cubicBezTo>
                      <a:pt x="1941" y="2218"/>
                      <a:pt x="1896" y="2203"/>
                      <a:pt x="1859" y="2173"/>
                    </a:cubicBezTo>
                    <a:cubicBezTo>
                      <a:pt x="1836" y="2158"/>
                      <a:pt x="1821" y="2150"/>
                      <a:pt x="1799" y="2128"/>
                    </a:cubicBezTo>
                    <a:cubicBezTo>
                      <a:pt x="1784" y="2120"/>
                      <a:pt x="1777" y="2105"/>
                      <a:pt x="1761" y="2098"/>
                    </a:cubicBezTo>
                    <a:cubicBezTo>
                      <a:pt x="1754" y="2090"/>
                      <a:pt x="1747" y="2075"/>
                      <a:pt x="1731" y="2075"/>
                    </a:cubicBezTo>
                    <a:cubicBezTo>
                      <a:pt x="1701" y="2075"/>
                      <a:pt x="1694" y="2105"/>
                      <a:pt x="1679" y="2128"/>
                    </a:cubicBezTo>
                    <a:cubicBezTo>
                      <a:pt x="1657" y="2150"/>
                      <a:pt x="1634" y="2158"/>
                      <a:pt x="1619" y="2188"/>
                    </a:cubicBezTo>
                    <a:cubicBezTo>
                      <a:pt x="1612" y="2210"/>
                      <a:pt x="1612" y="2218"/>
                      <a:pt x="1604" y="2240"/>
                    </a:cubicBezTo>
                    <a:cubicBezTo>
                      <a:pt x="1597" y="2248"/>
                      <a:pt x="1582" y="2248"/>
                      <a:pt x="1574" y="2263"/>
                    </a:cubicBezTo>
                    <a:cubicBezTo>
                      <a:pt x="1567" y="2285"/>
                      <a:pt x="1574" y="2300"/>
                      <a:pt x="1574" y="2323"/>
                    </a:cubicBezTo>
                    <a:cubicBezTo>
                      <a:pt x="1567" y="2353"/>
                      <a:pt x="1544" y="2368"/>
                      <a:pt x="1522" y="2390"/>
                    </a:cubicBezTo>
                    <a:cubicBezTo>
                      <a:pt x="1499" y="2413"/>
                      <a:pt x="1484" y="2428"/>
                      <a:pt x="1454" y="2443"/>
                    </a:cubicBezTo>
                    <a:cubicBezTo>
                      <a:pt x="1447" y="2443"/>
                      <a:pt x="1439" y="2443"/>
                      <a:pt x="1432" y="2450"/>
                    </a:cubicBezTo>
                    <a:cubicBezTo>
                      <a:pt x="1417" y="2473"/>
                      <a:pt x="1424" y="2487"/>
                      <a:pt x="1424" y="2517"/>
                    </a:cubicBezTo>
                    <a:cubicBezTo>
                      <a:pt x="1417" y="2533"/>
                      <a:pt x="1409" y="2547"/>
                      <a:pt x="1409" y="2570"/>
                    </a:cubicBezTo>
                    <a:cubicBezTo>
                      <a:pt x="1409" y="2607"/>
                      <a:pt x="1409" y="2637"/>
                      <a:pt x="1439" y="2652"/>
                    </a:cubicBezTo>
                    <a:cubicBezTo>
                      <a:pt x="1462" y="2667"/>
                      <a:pt x="1477" y="2667"/>
                      <a:pt x="1492" y="2682"/>
                    </a:cubicBezTo>
                    <a:cubicBezTo>
                      <a:pt x="1499" y="2690"/>
                      <a:pt x="1514" y="2705"/>
                      <a:pt x="1514" y="2720"/>
                    </a:cubicBezTo>
                    <a:cubicBezTo>
                      <a:pt x="1514" y="2750"/>
                      <a:pt x="1477" y="2757"/>
                      <a:pt x="1447" y="2757"/>
                    </a:cubicBezTo>
                    <a:cubicBezTo>
                      <a:pt x="1439" y="2795"/>
                      <a:pt x="1447" y="2810"/>
                      <a:pt x="1447" y="2847"/>
                    </a:cubicBezTo>
                    <a:cubicBezTo>
                      <a:pt x="1417" y="2847"/>
                      <a:pt x="1402" y="2855"/>
                      <a:pt x="1379" y="2855"/>
                    </a:cubicBezTo>
                    <a:cubicBezTo>
                      <a:pt x="1379" y="2825"/>
                      <a:pt x="1372" y="2802"/>
                      <a:pt x="1364" y="2765"/>
                    </a:cubicBezTo>
                    <a:cubicBezTo>
                      <a:pt x="1364" y="2727"/>
                      <a:pt x="1364" y="2705"/>
                      <a:pt x="1342" y="2667"/>
                    </a:cubicBezTo>
                    <a:cubicBezTo>
                      <a:pt x="1327" y="2645"/>
                      <a:pt x="1304" y="2637"/>
                      <a:pt x="1274" y="2622"/>
                    </a:cubicBezTo>
                    <a:cubicBezTo>
                      <a:pt x="1252" y="2615"/>
                      <a:pt x="1237" y="2600"/>
                      <a:pt x="1207" y="2600"/>
                    </a:cubicBezTo>
                    <a:cubicBezTo>
                      <a:pt x="1154" y="2600"/>
                      <a:pt x="1124" y="2607"/>
                      <a:pt x="1079" y="2622"/>
                    </a:cubicBezTo>
                    <a:cubicBezTo>
                      <a:pt x="1049" y="2630"/>
                      <a:pt x="1035" y="2637"/>
                      <a:pt x="1012" y="2652"/>
                    </a:cubicBezTo>
                    <a:cubicBezTo>
                      <a:pt x="975" y="2667"/>
                      <a:pt x="952" y="2675"/>
                      <a:pt x="922" y="2697"/>
                    </a:cubicBezTo>
                    <a:cubicBezTo>
                      <a:pt x="892" y="2712"/>
                      <a:pt x="877" y="2712"/>
                      <a:pt x="855" y="2727"/>
                    </a:cubicBezTo>
                    <a:cubicBezTo>
                      <a:pt x="840" y="2742"/>
                      <a:pt x="847" y="2757"/>
                      <a:pt x="847" y="2780"/>
                    </a:cubicBezTo>
                    <a:cubicBezTo>
                      <a:pt x="847" y="2802"/>
                      <a:pt x="847" y="2810"/>
                      <a:pt x="847" y="2832"/>
                    </a:cubicBezTo>
                    <a:cubicBezTo>
                      <a:pt x="832" y="2840"/>
                      <a:pt x="825" y="2840"/>
                      <a:pt x="810" y="2840"/>
                    </a:cubicBezTo>
                    <a:cubicBezTo>
                      <a:pt x="802" y="2847"/>
                      <a:pt x="795" y="2855"/>
                      <a:pt x="787" y="2862"/>
                    </a:cubicBezTo>
                    <a:lnTo>
                      <a:pt x="787" y="2862"/>
                    </a:lnTo>
                    <a:cubicBezTo>
                      <a:pt x="757" y="2855"/>
                      <a:pt x="727" y="2847"/>
                      <a:pt x="697" y="2825"/>
                    </a:cubicBezTo>
                    <a:cubicBezTo>
                      <a:pt x="675" y="2802"/>
                      <a:pt x="675" y="2780"/>
                      <a:pt x="667" y="2742"/>
                    </a:cubicBezTo>
                    <a:cubicBezTo>
                      <a:pt x="667" y="2735"/>
                      <a:pt x="652" y="2727"/>
                      <a:pt x="652" y="2712"/>
                    </a:cubicBezTo>
                    <a:cubicBezTo>
                      <a:pt x="652" y="2675"/>
                      <a:pt x="697" y="2667"/>
                      <a:pt x="697" y="2630"/>
                    </a:cubicBezTo>
                    <a:cubicBezTo>
                      <a:pt x="697" y="2622"/>
                      <a:pt x="690" y="2615"/>
                      <a:pt x="690" y="2607"/>
                    </a:cubicBezTo>
                    <a:cubicBezTo>
                      <a:pt x="690" y="2593"/>
                      <a:pt x="690" y="2585"/>
                      <a:pt x="690" y="2570"/>
                    </a:cubicBezTo>
                    <a:cubicBezTo>
                      <a:pt x="690" y="2540"/>
                      <a:pt x="682" y="2525"/>
                      <a:pt x="675" y="2503"/>
                    </a:cubicBezTo>
                    <a:cubicBezTo>
                      <a:pt x="667" y="2495"/>
                      <a:pt x="660" y="2495"/>
                      <a:pt x="645" y="2495"/>
                    </a:cubicBezTo>
                    <a:cubicBezTo>
                      <a:pt x="637" y="2495"/>
                      <a:pt x="630" y="2503"/>
                      <a:pt x="622" y="2503"/>
                    </a:cubicBezTo>
                    <a:cubicBezTo>
                      <a:pt x="607" y="2503"/>
                      <a:pt x="600" y="2495"/>
                      <a:pt x="585" y="2495"/>
                    </a:cubicBezTo>
                    <a:lnTo>
                      <a:pt x="585" y="2495"/>
                    </a:lnTo>
                    <a:cubicBezTo>
                      <a:pt x="600" y="2480"/>
                      <a:pt x="600" y="2465"/>
                      <a:pt x="600" y="2443"/>
                    </a:cubicBezTo>
                    <a:lnTo>
                      <a:pt x="600" y="2435"/>
                    </a:lnTo>
                    <a:cubicBezTo>
                      <a:pt x="607" y="2420"/>
                      <a:pt x="622" y="2413"/>
                      <a:pt x="630" y="2405"/>
                    </a:cubicBezTo>
                    <a:cubicBezTo>
                      <a:pt x="637" y="2405"/>
                      <a:pt x="637" y="2398"/>
                      <a:pt x="645" y="2398"/>
                    </a:cubicBezTo>
                    <a:cubicBezTo>
                      <a:pt x="667" y="2383"/>
                      <a:pt x="690" y="2398"/>
                      <a:pt x="705" y="2383"/>
                    </a:cubicBezTo>
                    <a:cubicBezTo>
                      <a:pt x="720" y="2375"/>
                      <a:pt x="720" y="2368"/>
                      <a:pt x="727" y="2360"/>
                    </a:cubicBezTo>
                    <a:cubicBezTo>
                      <a:pt x="727" y="2360"/>
                      <a:pt x="727" y="2353"/>
                      <a:pt x="735" y="2345"/>
                    </a:cubicBezTo>
                    <a:lnTo>
                      <a:pt x="742" y="2345"/>
                    </a:lnTo>
                    <a:cubicBezTo>
                      <a:pt x="765" y="2338"/>
                      <a:pt x="780" y="2338"/>
                      <a:pt x="795" y="2323"/>
                    </a:cubicBezTo>
                    <a:cubicBezTo>
                      <a:pt x="802" y="2315"/>
                      <a:pt x="802" y="2308"/>
                      <a:pt x="810" y="2293"/>
                    </a:cubicBezTo>
                    <a:cubicBezTo>
                      <a:pt x="817" y="2278"/>
                      <a:pt x="825" y="2263"/>
                      <a:pt x="825" y="2248"/>
                    </a:cubicBezTo>
                    <a:cubicBezTo>
                      <a:pt x="825" y="2218"/>
                      <a:pt x="810" y="2203"/>
                      <a:pt x="810" y="2173"/>
                    </a:cubicBezTo>
                    <a:cubicBezTo>
                      <a:pt x="810" y="2150"/>
                      <a:pt x="832" y="2158"/>
                      <a:pt x="847" y="2143"/>
                    </a:cubicBezTo>
                    <a:lnTo>
                      <a:pt x="847" y="2143"/>
                    </a:lnTo>
                    <a:cubicBezTo>
                      <a:pt x="840" y="2135"/>
                      <a:pt x="840" y="2128"/>
                      <a:pt x="832" y="2120"/>
                    </a:cubicBezTo>
                    <a:cubicBezTo>
                      <a:pt x="810" y="2105"/>
                      <a:pt x="795" y="2098"/>
                      <a:pt x="765" y="2083"/>
                    </a:cubicBezTo>
                    <a:cubicBezTo>
                      <a:pt x="735" y="2068"/>
                      <a:pt x="720" y="2045"/>
                      <a:pt x="697" y="2023"/>
                    </a:cubicBezTo>
                    <a:cubicBezTo>
                      <a:pt x="652" y="1970"/>
                      <a:pt x="660" y="1918"/>
                      <a:pt x="622" y="1858"/>
                    </a:cubicBezTo>
                    <a:lnTo>
                      <a:pt x="622" y="1858"/>
                    </a:lnTo>
                    <a:cubicBezTo>
                      <a:pt x="585" y="1851"/>
                      <a:pt x="585" y="1851"/>
                      <a:pt x="585" y="1851"/>
                    </a:cubicBezTo>
                    <a:cubicBezTo>
                      <a:pt x="555" y="1851"/>
                      <a:pt x="540" y="1858"/>
                      <a:pt x="518" y="1851"/>
                    </a:cubicBezTo>
                    <a:cubicBezTo>
                      <a:pt x="502" y="1843"/>
                      <a:pt x="495" y="1828"/>
                      <a:pt x="480" y="1828"/>
                    </a:cubicBezTo>
                    <a:cubicBezTo>
                      <a:pt x="472" y="1821"/>
                      <a:pt x="465" y="1828"/>
                      <a:pt x="458" y="1821"/>
                    </a:cubicBezTo>
                    <a:cubicBezTo>
                      <a:pt x="450" y="1813"/>
                      <a:pt x="450" y="1798"/>
                      <a:pt x="450" y="1783"/>
                    </a:cubicBezTo>
                    <a:cubicBezTo>
                      <a:pt x="420" y="1783"/>
                      <a:pt x="405" y="1783"/>
                      <a:pt x="375" y="1768"/>
                    </a:cubicBezTo>
                    <a:lnTo>
                      <a:pt x="375" y="1768"/>
                    </a:lnTo>
                    <a:cubicBezTo>
                      <a:pt x="383" y="1761"/>
                      <a:pt x="390" y="1761"/>
                      <a:pt x="390" y="1753"/>
                    </a:cubicBezTo>
                    <a:cubicBezTo>
                      <a:pt x="390" y="1723"/>
                      <a:pt x="360" y="1716"/>
                      <a:pt x="353" y="1686"/>
                    </a:cubicBezTo>
                    <a:cubicBezTo>
                      <a:pt x="345" y="1678"/>
                      <a:pt x="345" y="1671"/>
                      <a:pt x="345" y="1663"/>
                    </a:cubicBezTo>
                    <a:lnTo>
                      <a:pt x="345" y="1663"/>
                    </a:lnTo>
                    <a:cubicBezTo>
                      <a:pt x="323" y="1633"/>
                      <a:pt x="300" y="1633"/>
                      <a:pt x="278" y="1603"/>
                    </a:cubicBezTo>
                    <a:cubicBezTo>
                      <a:pt x="270" y="1581"/>
                      <a:pt x="270" y="1558"/>
                      <a:pt x="270" y="1536"/>
                    </a:cubicBezTo>
                    <a:cubicBezTo>
                      <a:pt x="263" y="1506"/>
                      <a:pt x="278" y="1483"/>
                      <a:pt x="255" y="1461"/>
                    </a:cubicBezTo>
                    <a:cubicBezTo>
                      <a:pt x="248" y="1453"/>
                      <a:pt x="240" y="1461"/>
                      <a:pt x="233" y="1453"/>
                    </a:cubicBezTo>
                    <a:cubicBezTo>
                      <a:pt x="218" y="1446"/>
                      <a:pt x="218" y="1423"/>
                      <a:pt x="210" y="1401"/>
                    </a:cubicBezTo>
                    <a:cubicBezTo>
                      <a:pt x="225" y="1408"/>
                      <a:pt x="240" y="1401"/>
                      <a:pt x="255" y="1401"/>
                    </a:cubicBezTo>
                    <a:cubicBezTo>
                      <a:pt x="255" y="1393"/>
                      <a:pt x="255" y="1386"/>
                      <a:pt x="255" y="1378"/>
                    </a:cubicBezTo>
                    <a:cubicBezTo>
                      <a:pt x="255" y="1341"/>
                      <a:pt x="255" y="1318"/>
                      <a:pt x="248" y="1288"/>
                    </a:cubicBezTo>
                    <a:cubicBezTo>
                      <a:pt x="240" y="1281"/>
                      <a:pt x="233" y="1274"/>
                      <a:pt x="233" y="1266"/>
                    </a:cubicBezTo>
                    <a:cubicBezTo>
                      <a:pt x="233" y="1258"/>
                      <a:pt x="248" y="1258"/>
                      <a:pt x="248" y="1258"/>
                    </a:cubicBezTo>
                    <a:cubicBezTo>
                      <a:pt x="263" y="1236"/>
                      <a:pt x="285" y="1229"/>
                      <a:pt x="285" y="1206"/>
                    </a:cubicBezTo>
                    <a:cubicBezTo>
                      <a:pt x="285" y="1176"/>
                      <a:pt x="270" y="1161"/>
                      <a:pt x="270" y="1131"/>
                    </a:cubicBezTo>
                    <a:cubicBezTo>
                      <a:pt x="270" y="1056"/>
                      <a:pt x="270" y="1056"/>
                      <a:pt x="270" y="1056"/>
                    </a:cubicBezTo>
                    <a:cubicBezTo>
                      <a:pt x="240" y="1056"/>
                      <a:pt x="225" y="1056"/>
                      <a:pt x="195" y="1056"/>
                    </a:cubicBezTo>
                    <a:cubicBezTo>
                      <a:pt x="173" y="1056"/>
                      <a:pt x="158" y="1064"/>
                      <a:pt x="135" y="1064"/>
                    </a:cubicBezTo>
                    <a:cubicBezTo>
                      <a:pt x="98" y="1064"/>
                      <a:pt x="83" y="1064"/>
                      <a:pt x="45" y="1056"/>
                    </a:cubicBezTo>
                    <a:cubicBezTo>
                      <a:pt x="23" y="1049"/>
                      <a:pt x="15" y="1034"/>
                      <a:pt x="8" y="1011"/>
                    </a:cubicBezTo>
                    <a:cubicBezTo>
                      <a:pt x="0" y="989"/>
                      <a:pt x="0" y="974"/>
                      <a:pt x="0" y="951"/>
                    </a:cubicBezTo>
                    <a:cubicBezTo>
                      <a:pt x="0" y="921"/>
                      <a:pt x="8" y="906"/>
                      <a:pt x="15" y="876"/>
                    </a:cubicBezTo>
                    <a:cubicBezTo>
                      <a:pt x="30" y="846"/>
                      <a:pt x="23" y="831"/>
                      <a:pt x="38" y="809"/>
                    </a:cubicBezTo>
                    <a:cubicBezTo>
                      <a:pt x="45" y="801"/>
                      <a:pt x="53" y="794"/>
                      <a:pt x="60" y="786"/>
                    </a:cubicBezTo>
                    <a:cubicBezTo>
                      <a:pt x="68" y="771"/>
                      <a:pt x="68" y="749"/>
                      <a:pt x="83" y="741"/>
                    </a:cubicBezTo>
                    <a:cubicBezTo>
                      <a:pt x="98" y="734"/>
                      <a:pt x="113" y="741"/>
                      <a:pt x="135" y="734"/>
                    </a:cubicBezTo>
                    <a:cubicBezTo>
                      <a:pt x="143" y="734"/>
                      <a:pt x="150" y="734"/>
                      <a:pt x="150" y="726"/>
                    </a:cubicBezTo>
                    <a:cubicBezTo>
                      <a:pt x="150" y="704"/>
                      <a:pt x="135" y="689"/>
                      <a:pt x="135" y="666"/>
                    </a:cubicBezTo>
                    <a:cubicBezTo>
                      <a:pt x="135" y="666"/>
                      <a:pt x="135" y="659"/>
                      <a:pt x="135" y="652"/>
                    </a:cubicBezTo>
                    <a:cubicBezTo>
                      <a:pt x="165" y="652"/>
                      <a:pt x="188" y="644"/>
                      <a:pt x="210" y="636"/>
                    </a:cubicBezTo>
                    <a:cubicBezTo>
                      <a:pt x="225" y="636"/>
                      <a:pt x="225" y="636"/>
                      <a:pt x="240" y="636"/>
                    </a:cubicBezTo>
                    <a:cubicBezTo>
                      <a:pt x="263" y="636"/>
                      <a:pt x="278" y="622"/>
                      <a:pt x="300" y="614"/>
                    </a:cubicBezTo>
                    <a:cubicBezTo>
                      <a:pt x="315" y="606"/>
                      <a:pt x="323" y="614"/>
                      <a:pt x="338" y="606"/>
                    </a:cubicBezTo>
                    <a:lnTo>
                      <a:pt x="338" y="606"/>
                    </a:lnTo>
                    <a:cubicBezTo>
                      <a:pt x="345" y="592"/>
                      <a:pt x="360" y="569"/>
                      <a:pt x="375" y="569"/>
                    </a:cubicBezTo>
                    <a:cubicBezTo>
                      <a:pt x="390" y="569"/>
                      <a:pt x="390" y="576"/>
                      <a:pt x="398" y="584"/>
                    </a:cubicBezTo>
                    <a:cubicBezTo>
                      <a:pt x="412" y="584"/>
                      <a:pt x="420" y="592"/>
                      <a:pt x="435" y="592"/>
                    </a:cubicBezTo>
                    <a:cubicBezTo>
                      <a:pt x="442" y="592"/>
                      <a:pt x="450" y="576"/>
                      <a:pt x="458" y="569"/>
                    </a:cubicBezTo>
                    <a:cubicBezTo>
                      <a:pt x="465" y="562"/>
                      <a:pt x="480" y="554"/>
                      <a:pt x="480" y="547"/>
                    </a:cubicBezTo>
                    <a:cubicBezTo>
                      <a:pt x="480" y="532"/>
                      <a:pt x="480" y="524"/>
                      <a:pt x="480" y="509"/>
                    </a:cubicBezTo>
                    <a:cubicBezTo>
                      <a:pt x="518" y="502"/>
                      <a:pt x="540" y="494"/>
                      <a:pt x="570" y="472"/>
                    </a:cubicBezTo>
                    <a:cubicBezTo>
                      <a:pt x="600" y="457"/>
                      <a:pt x="592" y="419"/>
                      <a:pt x="585" y="382"/>
                    </a:cubicBezTo>
                    <a:cubicBezTo>
                      <a:pt x="645" y="382"/>
                      <a:pt x="645" y="382"/>
                      <a:pt x="645" y="382"/>
                    </a:cubicBezTo>
                    <a:cubicBezTo>
                      <a:pt x="652" y="374"/>
                      <a:pt x="652" y="374"/>
                      <a:pt x="652" y="367"/>
                    </a:cubicBezTo>
                    <a:cubicBezTo>
                      <a:pt x="652" y="329"/>
                      <a:pt x="645" y="314"/>
                      <a:pt x="645" y="277"/>
                    </a:cubicBezTo>
                    <a:cubicBezTo>
                      <a:pt x="645" y="269"/>
                      <a:pt x="645" y="262"/>
                      <a:pt x="645" y="247"/>
                    </a:cubicBezTo>
                    <a:cubicBezTo>
                      <a:pt x="667" y="247"/>
                      <a:pt x="675" y="247"/>
                      <a:pt x="697" y="247"/>
                    </a:cubicBezTo>
                    <a:cubicBezTo>
                      <a:pt x="720" y="247"/>
                      <a:pt x="735" y="247"/>
                      <a:pt x="750" y="232"/>
                    </a:cubicBezTo>
                    <a:cubicBezTo>
                      <a:pt x="750" y="224"/>
                      <a:pt x="757" y="232"/>
                      <a:pt x="765" y="224"/>
                    </a:cubicBezTo>
                    <a:cubicBezTo>
                      <a:pt x="780" y="202"/>
                      <a:pt x="787" y="179"/>
                      <a:pt x="795" y="149"/>
                    </a:cubicBezTo>
                    <a:cubicBezTo>
                      <a:pt x="802" y="164"/>
                      <a:pt x="810" y="179"/>
                      <a:pt x="825" y="187"/>
                    </a:cubicBezTo>
                    <a:cubicBezTo>
                      <a:pt x="840" y="194"/>
                      <a:pt x="855" y="194"/>
                      <a:pt x="862" y="209"/>
                    </a:cubicBezTo>
                    <a:cubicBezTo>
                      <a:pt x="870" y="224"/>
                      <a:pt x="877" y="232"/>
                      <a:pt x="877" y="247"/>
                    </a:cubicBezTo>
                    <a:cubicBezTo>
                      <a:pt x="885" y="254"/>
                      <a:pt x="877" y="269"/>
                      <a:pt x="885" y="269"/>
                    </a:cubicBezTo>
                    <a:cubicBezTo>
                      <a:pt x="900" y="284"/>
                      <a:pt x="915" y="269"/>
                      <a:pt x="922" y="284"/>
                    </a:cubicBezTo>
                    <a:cubicBezTo>
                      <a:pt x="937" y="292"/>
                      <a:pt x="930" y="307"/>
                      <a:pt x="937" y="322"/>
                    </a:cubicBezTo>
                    <a:cubicBezTo>
                      <a:pt x="952" y="322"/>
                      <a:pt x="952" y="322"/>
                      <a:pt x="952" y="322"/>
                    </a:cubicBezTo>
                    <a:close/>
                  </a:path>
                </a:pathLst>
              </a:custGeom>
              <a:grpFill/>
              <a:ln w="6350"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a:latin typeface="Calibri" panose="020F0502020204030204" pitchFamily="34" charset="0"/>
                </a:endParaRPr>
              </a:p>
            </p:txBody>
          </p:sp>
          <p:sp>
            <p:nvSpPr>
              <p:cNvPr id="23" name="Freeform 137">
                <a:extLst>
                  <a:ext uri="{FF2B5EF4-FFF2-40B4-BE49-F238E27FC236}">
                    <a16:creationId xmlns:a16="http://schemas.microsoft.com/office/drawing/2014/main" id="{50B3C611-9458-BA76-C806-E8EF8AFB5BA7}"/>
                  </a:ext>
                </a:extLst>
              </p:cNvPr>
              <p:cNvSpPr>
                <a:spLocks noChangeArrowheads="1"/>
              </p:cNvSpPr>
              <p:nvPr/>
            </p:nvSpPr>
            <p:spPr bwMode="auto">
              <a:xfrm>
                <a:off x="7438262" y="5613862"/>
                <a:ext cx="1415536" cy="3014167"/>
              </a:xfrm>
              <a:custGeom>
                <a:avLst/>
                <a:gdLst>
                  <a:gd name="T0" fmla="*/ 599 w 3276"/>
                  <a:gd name="T1" fmla="*/ 4542 h 6977"/>
                  <a:gd name="T2" fmla="*/ 742 w 3276"/>
                  <a:gd name="T3" fmla="*/ 4751 h 6977"/>
                  <a:gd name="T4" fmla="*/ 592 w 3276"/>
                  <a:gd name="T5" fmla="*/ 4968 h 6977"/>
                  <a:gd name="T6" fmla="*/ 517 w 3276"/>
                  <a:gd name="T7" fmla="*/ 5395 h 6977"/>
                  <a:gd name="T8" fmla="*/ 644 w 3276"/>
                  <a:gd name="T9" fmla="*/ 5515 h 6977"/>
                  <a:gd name="T10" fmla="*/ 464 w 3276"/>
                  <a:gd name="T11" fmla="*/ 5740 h 6977"/>
                  <a:gd name="T12" fmla="*/ 404 w 3276"/>
                  <a:gd name="T13" fmla="*/ 5949 h 6977"/>
                  <a:gd name="T14" fmla="*/ 194 w 3276"/>
                  <a:gd name="T15" fmla="*/ 6032 h 6977"/>
                  <a:gd name="T16" fmla="*/ 60 w 3276"/>
                  <a:gd name="T17" fmla="*/ 6182 h 6977"/>
                  <a:gd name="T18" fmla="*/ 75 w 3276"/>
                  <a:gd name="T19" fmla="*/ 6504 h 6977"/>
                  <a:gd name="T20" fmla="*/ 82 w 3276"/>
                  <a:gd name="T21" fmla="*/ 6721 h 6977"/>
                  <a:gd name="T22" fmla="*/ 247 w 3276"/>
                  <a:gd name="T23" fmla="*/ 6811 h 6977"/>
                  <a:gd name="T24" fmla="*/ 502 w 3276"/>
                  <a:gd name="T25" fmla="*/ 6669 h 6977"/>
                  <a:gd name="T26" fmla="*/ 846 w 3276"/>
                  <a:gd name="T27" fmla="*/ 6467 h 6977"/>
                  <a:gd name="T28" fmla="*/ 1206 w 3276"/>
                  <a:gd name="T29" fmla="*/ 6646 h 6977"/>
                  <a:gd name="T30" fmla="*/ 1379 w 3276"/>
                  <a:gd name="T31" fmla="*/ 6924 h 6977"/>
                  <a:gd name="T32" fmla="*/ 1588 w 3276"/>
                  <a:gd name="T33" fmla="*/ 6819 h 6977"/>
                  <a:gd name="T34" fmla="*/ 1851 w 3276"/>
                  <a:gd name="T35" fmla="*/ 6909 h 6977"/>
                  <a:gd name="T36" fmla="*/ 2046 w 3276"/>
                  <a:gd name="T37" fmla="*/ 6706 h 6977"/>
                  <a:gd name="T38" fmla="*/ 2113 w 3276"/>
                  <a:gd name="T39" fmla="*/ 6189 h 6977"/>
                  <a:gd name="T40" fmla="*/ 2061 w 3276"/>
                  <a:gd name="T41" fmla="*/ 5620 h 6977"/>
                  <a:gd name="T42" fmla="*/ 2165 w 3276"/>
                  <a:gd name="T43" fmla="*/ 4804 h 6977"/>
                  <a:gd name="T44" fmla="*/ 2315 w 3276"/>
                  <a:gd name="T45" fmla="*/ 4676 h 6977"/>
                  <a:gd name="T46" fmla="*/ 2570 w 3276"/>
                  <a:gd name="T47" fmla="*/ 4736 h 6977"/>
                  <a:gd name="T48" fmla="*/ 2630 w 3276"/>
                  <a:gd name="T49" fmla="*/ 4616 h 6977"/>
                  <a:gd name="T50" fmla="*/ 2623 w 3276"/>
                  <a:gd name="T51" fmla="*/ 4452 h 6977"/>
                  <a:gd name="T52" fmla="*/ 2585 w 3276"/>
                  <a:gd name="T53" fmla="*/ 4309 h 6977"/>
                  <a:gd name="T54" fmla="*/ 2735 w 3276"/>
                  <a:gd name="T55" fmla="*/ 4047 h 6977"/>
                  <a:gd name="T56" fmla="*/ 2817 w 3276"/>
                  <a:gd name="T57" fmla="*/ 3942 h 6977"/>
                  <a:gd name="T58" fmla="*/ 2892 w 3276"/>
                  <a:gd name="T59" fmla="*/ 3822 h 6977"/>
                  <a:gd name="T60" fmla="*/ 3035 w 3276"/>
                  <a:gd name="T61" fmla="*/ 3740 h 6977"/>
                  <a:gd name="T62" fmla="*/ 3072 w 3276"/>
                  <a:gd name="T63" fmla="*/ 3665 h 6977"/>
                  <a:gd name="T64" fmla="*/ 3080 w 3276"/>
                  <a:gd name="T65" fmla="*/ 3507 h 6977"/>
                  <a:gd name="T66" fmla="*/ 3102 w 3276"/>
                  <a:gd name="T67" fmla="*/ 3425 h 6977"/>
                  <a:gd name="T68" fmla="*/ 3147 w 3276"/>
                  <a:gd name="T69" fmla="*/ 3305 h 6977"/>
                  <a:gd name="T70" fmla="*/ 3177 w 3276"/>
                  <a:gd name="T71" fmla="*/ 3200 h 6977"/>
                  <a:gd name="T72" fmla="*/ 3162 w 3276"/>
                  <a:gd name="T73" fmla="*/ 3140 h 6977"/>
                  <a:gd name="T74" fmla="*/ 3237 w 3276"/>
                  <a:gd name="T75" fmla="*/ 2923 h 6977"/>
                  <a:gd name="T76" fmla="*/ 3200 w 3276"/>
                  <a:gd name="T77" fmla="*/ 2781 h 6977"/>
                  <a:gd name="T78" fmla="*/ 3087 w 3276"/>
                  <a:gd name="T79" fmla="*/ 2263 h 6977"/>
                  <a:gd name="T80" fmla="*/ 3042 w 3276"/>
                  <a:gd name="T81" fmla="*/ 2061 h 6977"/>
                  <a:gd name="T82" fmla="*/ 2907 w 3276"/>
                  <a:gd name="T83" fmla="*/ 1799 h 6977"/>
                  <a:gd name="T84" fmla="*/ 2540 w 3276"/>
                  <a:gd name="T85" fmla="*/ 1154 h 6977"/>
                  <a:gd name="T86" fmla="*/ 2578 w 3276"/>
                  <a:gd name="T87" fmla="*/ 285 h 6977"/>
                  <a:gd name="T88" fmla="*/ 2270 w 3276"/>
                  <a:gd name="T89" fmla="*/ 210 h 6977"/>
                  <a:gd name="T90" fmla="*/ 1963 w 3276"/>
                  <a:gd name="T91" fmla="*/ 75 h 6977"/>
                  <a:gd name="T92" fmla="*/ 1836 w 3276"/>
                  <a:gd name="T93" fmla="*/ 420 h 6977"/>
                  <a:gd name="T94" fmla="*/ 2225 w 3276"/>
                  <a:gd name="T95" fmla="*/ 480 h 6977"/>
                  <a:gd name="T96" fmla="*/ 2345 w 3276"/>
                  <a:gd name="T97" fmla="*/ 667 h 6977"/>
                  <a:gd name="T98" fmla="*/ 2068 w 3276"/>
                  <a:gd name="T99" fmla="*/ 907 h 6977"/>
                  <a:gd name="T100" fmla="*/ 1783 w 3276"/>
                  <a:gd name="T101" fmla="*/ 1057 h 6977"/>
                  <a:gd name="T102" fmla="*/ 1641 w 3276"/>
                  <a:gd name="T103" fmla="*/ 502 h 6977"/>
                  <a:gd name="T104" fmla="*/ 1393 w 3276"/>
                  <a:gd name="T105" fmla="*/ 480 h 6977"/>
                  <a:gd name="T106" fmla="*/ 1304 w 3276"/>
                  <a:gd name="T107" fmla="*/ 750 h 6977"/>
                  <a:gd name="T108" fmla="*/ 1266 w 3276"/>
                  <a:gd name="T109" fmla="*/ 1005 h 6977"/>
                  <a:gd name="T110" fmla="*/ 981 w 3276"/>
                  <a:gd name="T111" fmla="*/ 1169 h 6977"/>
                  <a:gd name="T112" fmla="*/ 839 w 3276"/>
                  <a:gd name="T113" fmla="*/ 1454 h 6977"/>
                  <a:gd name="T114" fmla="*/ 906 w 3276"/>
                  <a:gd name="T115" fmla="*/ 2099 h 6977"/>
                  <a:gd name="T116" fmla="*/ 592 w 3276"/>
                  <a:gd name="T117" fmla="*/ 2368 h 6977"/>
                  <a:gd name="T118" fmla="*/ 816 w 3276"/>
                  <a:gd name="T119" fmla="*/ 2473 h 6977"/>
                  <a:gd name="T120" fmla="*/ 966 w 3276"/>
                  <a:gd name="T121" fmla="*/ 3110 h 6977"/>
                  <a:gd name="T122" fmla="*/ 824 w 3276"/>
                  <a:gd name="T123" fmla="*/ 3455 h 6977"/>
                  <a:gd name="T124" fmla="*/ 637 w 3276"/>
                  <a:gd name="T125" fmla="*/ 4152 h 6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76" h="6977">
                    <a:moveTo>
                      <a:pt x="404" y="4444"/>
                    </a:moveTo>
                    <a:lnTo>
                      <a:pt x="404" y="4444"/>
                    </a:lnTo>
                    <a:cubicBezTo>
                      <a:pt x="412" y="4452"/>
                      <a:pt x="419" y="4474"/>
                      <a:pt x="434" y="4482"/>
                    </a:cubicBezTo>
                    <a:cubicBezTo>
                      <a:pt x="442" y="4482"/>
                      <a:pt x="457" y="4482"/>
                      <a:pt x="464" y="4482"/>
                    </a:cubicBezTo>
                    <a:cubicBezTo>
                      <a:pt x="479" y="4489"/>
                      <a:pt x="494" y="4504"/>
                      <a:pt x="509" y="4512"/>
                    </a:cubicBezTo>
                    <a:cubicBezTo>
                      <a:pt x="532" y="4519"/>
                      <a:pt x="547" y="4519"/>
                      <a:pt x="562" y="4527"/>
                    </a:cubicBezTo>
                    <a:cubicBezTo>
                      <a:pt x="577" y="4527"/>
                      <a:pt x="592" y="4527"/>
                      <a:pt x="599" y="4542"/>
                    </a:cubicBezTo>
                    <a:cubicBezTo>
                      <a:pt x="607" y="4549"/>
                      <a:pt x="599" y="4557"/>
                      <a:pt x="599" y="4564"/>
                    </a:cubicBezTo>
                    <a:cubicBezTo>
                      <a:pt x="607" y="4602"/>
                      <a:pt x="614" y="4616"/>
                      <a:pt x="614" y="4654"/>
                    </a:cubicBezTo>
                    <a:cubicBezTo>
                      <a:pt x="614" y="4662"/>
                      <a:pt x="607" y="4662"/>
                      <a:pt x="607" y="4669"/>
                    </a:cubicBezTo>
                    <a:cubicBezTo>
                      <a:pt x="607" y="4684"/>
                      <a:pt x="614" y="4692"/>
                      <a:pt x="622" y="4699"/>
                    </a:cubicBezTo>
                    <a:cubicBezTo>
                      <a:pt x="629" y="4714"/>
                      <a:pt x="629" y="4721"/>
                      <a:pt x="629" y="4736"/>
                    </a:cubicBezTo>
                    <a:cubicBezTo>
                      <a:pt x="652" y="4736"/>
                      <a:pt x="667" y="4744"/>
                      <a:pt x="689" y="4744"/>
                    </a:cubicBezTo>
                    <a:cubicBezTo>
                      <a:pt x="712" y="4751"/>
                      <a:pt x="727" y="4744"/>
                      <a:pt x="742" y="4751"/>
                    </a:cubicBezTo>
                    <a:cubicBezTo>
                      <a:pt x="764" y="4759"/>
                      <a:pt x="764" y="4781"/>
                      <a:pt x="779" y="4796"/>
                    </a:cubicBezTo>
                    <a:cubicBezTo>
                      <a:pt x="794" y="4819"/>
                      <a:pt x="816" y="4834"/>
                      <a:pt x="816" y="4863"/>
                    </a:cubicBezTo>
                    <a:cubicBezTo>
                      <a:pt x="816" y="4870"/>
                      <a:pt x="809" y="4870"/>
                      <a:pt x="802" y="4870"/>
                    </a:cubicBezTo>
                    <a:cubicBezTo>
                      <a:pt x="802" y="4878"/>
                      <a:pt x="802" y="4878"/>
                      <a:pt x="794" y="4885"/>
                    </a:cubicBezTo>
                    <a:cubicBezTo>
                      <a:pt x="787" y="4915"/>
                      <a:pt x="764" y="4930"/>
                      <a:pt x="734" y="4938"/>
                    </a:cubicBezTo>
                    <a:cubicBezTo>
                      <a:pt x="704" y="4953"/>
                      <a:pt x="689" y="4975"/>
                      <a:pt x="659" y="4975"/>
                    </a:cubicBezTo>
                    <a:cubicBezTo>
                      <a:pt x="629" y="4975"/>
                      <a:pt x="614" y="4968"/>
                      <a:pt x="592" y="4968"/>
                    </a:cubicBezTo>
                    <a:cubicBezTo>
                      <a:pt x="562" y="5133"/>
                      <a:pt x="562" y="5133"/>
                      <a:pt x="562" y="5133"/>
                    </a:cubicBezTo>
                    <a:cubicBezTo>
                      <a:pt x="577" y="5140"/>
                      <a:pt x="584" y="5140"/>
                      <a:pt x="584" y="5148"/>
                    </a:cubicBezTo>
                    <a:cubicBezTo>
                      <a:pt x="584" y="5163"/>
                      <a:pt x="577" y="5170"/>
                      <a:pt x="577" y="5178"/>
                    </a:cubicBezTo>
                    <a:cubicBezTo>
                      <a:pt x="569" y="5185"/>
                      <a:pt x="569" y="5193"/>
                      <a:pt x="562" y="5200"/>
                    </a:cubicBezTo>
                    <a:cubicBezTo>
                      <a:pt x="562" y="5208"/>
                      <a:pt x="547" y="5208"/>
                      <a:pt x="547" y="5223"/>
                    </a:cubicBezTo>
                    <a:cubicBezTo>
                      <a:pt x="532" y="5238"/>
                      <a:pt x="539" y="5252"/>
                      <a:pt x="532" y="5267"/>
                    </a:cubicBezTo>
                    <a:cubicBezTo>
                      <a:pt x="517" y="5313"/>
                      <a:pt x="517" y="5343"/>
                      <a:pt x="517" y="5395"/>
                    </a:cubicBezTo>
                    <a:cubicBezTo>
                      <a:pt x="517" y="5410"/>
                      <a:pt x="517" y="5425"/>
                      <a:pt x="532" y="5432"/>
                    </a:cubicBezTo>
                    <a:cubicBezTo>
                      <a:pt x="539" y="5440"/>
                      <a:pt x="547" y="5440"/>
                      <a:pt x="554" y="5447"/>
                    </a:cubicBezTo>
                    <a:cubicBezTo>
                      <a:pt x="562" y="5455"/>
                      <a:pt x="569" y="5462"/>
                      <a:pt x="577" y="5470"/>
                    </a:cubicBezTo>
                    <a:cubicBezTo>
                      <a:pt x="592" y="5470"/>
                      <a:pt x="607" y="5462"/>
                      <a:pt x="614" y="5470"/>
                    </a:cubicBezTo>
                    <a:cubicBezTo>
                      <a:pt x="622" y="5477"/>
                      <a:pt x="622" y="5485"/>
                      <a:pt x="622" y="5492"/>
                    </a:cubicBezTo>
                    <a:cubicBezTo>
                      <a:pt x="629" y="5507"/>
                      <a:pt x="637" y="5507"/>
                      <a:pt x="644" y="5515"/>
                    </a:cubicBezTo>
                    <a:lnTo>
                      <a:pt x="644" y="5515"/>
                    </a:lnTo>
                    <a:cubicBezTo>
                      <a:pt x="629" y="5537"/>
                      <a:pt x="622" y="5552"/>
                      <a:pt x="599" y="5575"/>
                    </a:cubicBezTo>
                    <a:cubicBezTo>
                      <a:pt x="584" y="5582"/>
                      <a:pt x="577" y="5582"/>
                      <a:pt x="569" y="5590"/>
                    </a:cubicBezTo>
                    <a:cubicBezTo>
                      <a:pt x="554" y="5612"/>
                      <a:pt x="554" y="5635"/>
                      <a:pt x="532" y="5657"/>
                    </a:cubicBezTo>
                    <a:cubicBezTo>
                      <a:pt x="532" y="5657"/>
                      <a:pt x="524" y="5657"/>
                      <a:pt x="524" y="5665"/>
                    </a:cubicBezTo>
                    <a:cubicBezTo>
                      <a:pt x="517" y="5672"/>
                      <a:pt x="517" y="5680"/>
                      <a:pt x="517" y="5687"/>
                    </a:cubicBezTo>
                    <a:cubicBezTo>
                      <a:pt x="509" y="5702"/>
                      <a:pt x="502" y="5710"/>
                      <a:pt x="487" y="5725"/>
                    </a:cubicBezTo>
                    <a:cubicBezTo>
                      <a:pt x="479" y="5725"/>
                      <a:pt x="472" y="5732"/>
                      <a:pt x="464" y="5740"/>
                    </a:cubicBezTo>
                    <a:cubicBezTo>
                      <a:pt x="449" y="5755"/>
                      <a:pt x="427" y="5762"/>
                      <a:pt x="427" y="5777"/>
                    </a:cubicBezTo>
                    <a:cubicBezTo>
                      <a:pt x="427" y="5814"/>
                      <a:pt x="434" y="5837"/>
                      <a:pt x="442" y="5867"/>
                    </a:cubicBezTo>
                    <a:cubicBezTo>
                      <a:pt x="442" y="5890"/>
                      <a:pt x="434" y="5904"/>
                      <a:pt x="442" y="5920"/>
                    </a:cubicBezTo>
                    <a:cubicBezTo>
                      <a:pt x="442" y="5927"/>
                      <a:pt x="457" y="5920"/>
                      <a:pt x="457" y="5927"/>
                    </a:cubicBezTo>
                    <a:cubicBezTo>
                      <a:pt x="457" y="5934"/>
                      <a:pt x="464" y="5942"/>
                      <a:pt x="464" y="5949"/>
                    </a:cubicBezTo>
                    <a:cubicBezTo>
                      <a:pt x="464" y="5964"/>
                      <a:pt x="449" y="5964"/>
                      <a:pt x="442" y="5964"/>
                    </a:cubicBezTo>
                    <a:cubicBezTo>
                      <a:pt x="427" y="5964"/>
                      <a:pt x="419" y="5949"/>
                      <a:pt x="404" y="5949"/>
                    </a:cubicBezTo>
                    <a:cubicBezTo>
                      <a:pt x="382" y="5949"/>
                      <a:pt x="374" y="5972"/>
                      <a:pt x="352" y="5972"/>
                    </a:cubicBezTo>
                    <a:cubicBezTo>
                      <a:pt x="337" y="5972"/>
                      <a:pt x="329" y="5957"/>
                      <a:pt x="314" y="5957"/>
                    </a:cubicBezTo>
                    <a:cubicBezTo>
                      <a:pt x="307" y="5957"/>
                      <a:pt x="307" y="5964"/>
                      <a:pt x="299" y="5964"/>
                    </a:cubicBezTo>
                    <a:cubicBezTo>
                      <a:pt x="277" y="5972"/>
                      <a:pt x="269" y="5972"/>
                      <a:pt x="247" y="5972"/>
                    </a:cubicBezTo>
                    <a:cubicBezTo>
                      <a:pt x="254" y="5979"/>
                      <a:pt x="262" y="5987"/>
                      <a:pt x="262" y="5994"/>
                    </a:cubicBezTo>
                    <a:cubicBezTo>
                      <a:pt x="262" y="6024"/>
                      <a:pt x="262" y="6024"/>
                      <a:pt x="262" y="6024"/>
                    </a:cubicBezTo>
                    <a:cubicBezTo>
                      <a:pt x="232" y="6024"/>
                      <a:pt x="217" y="6024"/>
                      <a:pt x="194" y="6032"/>
                    </a:cubicBezTo>
                    <a:cubicBezTo>
                      <a:pt x="180" y="6039"/>
                      <a:pt x="164" y="6047"/>
                      <a:pt x="142" y="6054"/>
                    </a:cubicBezTo>
                    <a:cubicBezTo>
                      <a:pt x="120" y="6054"/>
                      <a:pt x="104" y="6054"/>
                      <a:pt x="82" y="6054"/>
                    </a:cubicBezTo>
                    <a:cubicBezTo>
                      <a:pt x="60" y="6062"/>
                      <a:pt x="37" y="6054"/>
                      <a:pt x="37" y="6077"/>
                    </a:cubicBezTo>
                    <a:cubicBezTo>
                      <a:pt x="37" y="6084"/>
                      <a:pt x="45" y="6084"/>
                      <a:pt x="45" y="6092"/>
                    </a:cubicBezTo>
                    <a:cubicBezTo>
                      <a:pt x="45" y="6107"/>
                      <a:pt x="45" y="6122"/>
                      <a:pt x="37" y="6122"/>
                    </a:cubicBezTo>
                    <a:cubicBezTo>
                      <a:pt x="52" y="6129"/>
                      <a:pt x="67" y="6129"/>
                      <a:pt x="67" y="6144"/>
                    </a:cubicBezTo>
                    <a:cubicBezTo>
                      <a:pt x="67" y="6152"/>
                      <a:pt x="60" y="6167"/>
                      <a:pt x="60" y="6182"/>
                    </a:cubicBezTo>
                    <a:cubicBezTo>
                      <a:pt x="52" y="6204"/>
                      <a:pt x="45" y="6227"/>
                      <a:pt x="45" y="6257"/>
                    </a:cubicBezTo>
                    <a:cubicBezTo>
                      <a:pt x="37" y="6294"/>
                      <a:pt x="0" y="6309"/>
                      <a:pt x="0" y="6354"/>
                    </a:cubicBezTo>
                    <a:cubicBezTo>
                      <a:pt x="0" y="6362"/>
                      <a:pt x="7" y="6362"/>
                      <a:pt x="7" y="6369"/>
                    </a:cubicBezTo>
                    <a:cubicBezTo>
                      <a:pt x="7" y="6377"/>
                      <a:pt x="7" y="6392"/>
                      <a:pt x="7" y="6407"/>
                    </a:cubicBezTo>
                    <a:cubicBezTo>
                      <a:pt x="30" y="6407"/>
                      <a:pt x="52" y="6399"/>
                      <a:pt x="67" y="6414"/>
                    </a:cubicBezTo>
                    <a:cubicBezTo>
                      <a:pt x="82" y="6429"/>
                      <a:pt x="75" y="6444"/>
                      <a:pt x="75" y="6467"/>
                    </a:cubicBezTo>
                    <a:cubicBezTo>
                      <a:pt x="75" y="6482"/>
                      <a:pt x="75" y="6489"/>
                      <a:pt x="75" y="6504"/>
                    </a:cubicBezTo>
                    <a:cubicBezTo>
                      <a:pt x="75" y="6504"/>
                      <a:pt x="60" y="6504"/>
                      <a:pt x="60" y="6512"/>
                    </a:cubicBezTo>
                    <a:lnTo>
                      <a:pt x="60" y="6519"/>
                    </a:lnTo>
                    <a:cubicBezTo>
                      <a:pt x="60" y="6542"/>
                      <a:pt x="67" y="6556"/>
                      <a:pt x="67" y="6572"/>
                    </a:cubicBezTo>
                    <a:cubicBezTo>
                      <a:pt x="75" y="6579"/>
                      <a:pt x="67" y="6586"/>
                      <a:pt x="75" y="6602"/>
                    </a:cubicBezTo>
                    <a:cubicBezTo>
                      <a:pt x="82" y="6616"/>
                      <a:pt x="97" y="6616"/>
                      <a:pt x="97" y="6639"/>
                    </a:cubicBezTo>
                    <a:cubicBezTo>
                      <a:pt x="97" y="6654"/>
                      <a:pt x="90" y="6661"/>
                      <a:pt x="82" y="6676"/>
                    </a:cubicBezTo>
                    <a:cubicBezTo>
                      <a:pt x="75" y="6691"/>
                      <a:pt x="82" y="6706"/>
                      <a:pt x="82" y="6721"/>
                    </a:cubicBezTo>
                    <a:cubicBezTo>
                      <a:pt x="82" y="6736"/>
                      <a:pt x="75" y="6736"/>
                      <a:pt x="75" y="6751"/>
                    </a:cubicBezTo>
                    <a:cubicBezTo>
                      <a:pt x="67" y="6759"/>
                      <a:pt x="75" y="6774"/>
                      <a:pt x="67" y="6789"/>
                    </a:cubicBezTo>
                    <a:lnTo>
                      <a:pt x="67" y="6789"/>
                    </a:lnTo>
                    <a:cubicBezTo>
                      <a:pt x="90" y="6789"/>
                      <a:pt x="104" y="6774"/>
                      <a:pt x="120" y="6774"/>
                    </a:cubicBezTo>
                    <a:cubicBezTo>
                      <a:pt x="134" y="6781"/>
                      <a:pt x="142" y="6796"/>
                      <a:pt x="157" y="6796"/>
                    </a:cubicBezTo>
                    <a:cubicBezTo>
                      <a:pt x="187" y="6811"/>
                      <a:pt x="217" y="6796"/>
                      <a:pt x="247" y="6811"/>
                    </a:cubicBezTo>
                    <a:lnTo>
                      <a:pt x="247" y="6811"/>
                    </a:lnTo>
                    <a:cubicBezTo>
                      <a:pt x="284" y="6789"/>
                      <a:pt x="299" y="6766"/>
                      <a:pt x="337" y="6736"/>
                    </a:cubicBezTo>
                    <a:cubicBezTo>
                      <a:pt x="359" y="6744"/>
                      <a:pt x="359" y="6744"/>
                      <a:pt x="359" y="6744"/>
                    </a:cubicBezTo>
                    <a:cubicBezTo>
                      <a:pt x="382" y="6736"/>
                      <a:pt x="389" y="6721"/>
                      <a:pt x="412" y="6714"/>
                    </a:cubicBezTo>
                    <a:cubicBezTo>
                      <a:pt x="419" y="6706"/>
                      <a:pt x="427" y="6706"/>
                      <a:pt x="434" y="6699"/>
                    </a:cubicBezTo>
                    <a:cubicBezTo>
                      <a:pt x="442" y="6691"/>
                      <a:pt x="442" y="6684"/>
                      <a:pt x="449" y="6676"/>
                    </a:cubicBezTo>
                    <a:cubicBezTo>
                      <a:pt x="464" y="6669"/>
                      <a:pt x="479" y="6684"/>
                      <a:pt x="487" y="6676"/>
                    </a:cubicBezTo>
                    <a:cubicBezTo>
                      <a:pt x="494" y="6676"/>
                      <a:pt x="494" y="6669"/>
                      <a:pt x="502" y="6669"/>
                    </a:cubicBezTo>
                    <a:cubicBezTo>
                      <a:pt x="509" y="6654"/>
                      <a:pt x="517" y="6646"/>
                      <a:pt x="532" y="6639"/>
                    </a:cubicBezTo>
                    <a:cubicBezTo>
                      <a:pt x="547" y="6624"/>
                      <a:pt x="554" y="6616"/>
                      <a:pt x="569" y="6616"/>
                    </a:cubicBezTo>
                    <a:cubicBezTo>
                      <a:pt x="584" y="6609"/>
                      <a:pt x="592" y="6616"/>
                      <a:pt x="607" y="6609"/>
                    </a:cubicBezTo>
                    <a:cubicBezTo>
                      <a:pt x="622" y="6609"/>
                      <a:pt x="629" y="6602"/>
                      <a:pt x="644" y="6594"/>
                    </a:cubicBezTo>
                    <a:cubicBezTo>
                      <a:pt x="674" y="6586"/>
                      <a:pt x="689" y="6586"/>
                      <a:pt x="719" y="6579"/>
                    </a:cubicBezTo>
                    <a:cubicBezTo>
                      <a:pt x="719" y="6549"/>
                      <a:pt x="719" y="6519"/>
                      <a:pt x="749" y="6504"/>
                    </a:cubicBezTo>
                    <a:cubicBezTo>
                      <a:pt x="779" y="6474"/>
                      <a:pt x="809" y="6467"/>
                      <a:pt x="846" y="6467"/>
                    </a:cubicBezTo>
                    <a:cubicBezTo>
                      <a:pt x="899" y="6467"/>
                      <a:pt x="929" y="6496"/>
                      <a:pt x="981" y="6504"/>
                    </a:cubicBezTo>
                    <a:cubicBezTo>
                      <a:pt x="1019" y="6512"/>
                      <a:pt x="1041" y="6512"/>
                      <a:pt x="1071" y="6526"/>
                    </a:cubicBezTo>
                    <a:cubicBezTo>
                      <a:pt x="1086" y="6534"/>
                      <a:pt x="1101" y="6542"/>
                      <a:pt x="1109" y="6556"/>
                    </a:cubicBezTo>
                    <a:cubicBezTo>
                      <a:pt x="1116" y="6556"/>
                      <a:pt x="1116" y="6564"/>
                      <a:pt x="1116" y="6564"/>
                    </a:cubicBezTo>
                    <a:cubicBezTo>
                      <a:pt x="1131" y="6586"/>
                      <a:pt x="1146" y="6594"/>
                      <a:pt x="1154" y="6616"/>
                    </a:cubicBezTo>
                    <a:cubicBezTo>
                      <a:pt x="1161" y="6624"/>
                      <a:pt x="1161" y="6639"/>
                      <a:pt x="1169" y="6639"/>
                    </a:cubicBezTo>
                    <a:cubicBezTo>
                      <a:pt x="1176" y="6654"/>
                      <a:pt x="1191" y="6639"/>
                      <a:pt x="1206" y="6646"/>
                    </a:cubicBezTo>
                    <a:cubicBezTo>
                      <a:pt x="1214" y="6654"/>
                      <a:pt x="1214" y="6661"/>
                      <a:pt x="1214" y="6676"/>
                    </a:cubicBezTo>
                    <a:cubicBezTo>
                      <a:pt x="1229" y="6721"/>
                      <a:pt x="1214" y="6751"/>
                      <a:pt x="1229" y="6796"/>
                    </a:cubicBezTo>
                    <a:lnTo>
                      <a:pt x="1229" y="6796"/>
                    </a:lnTo>
                    <a:cubicBezTo>
                      <a:pt x="1244" y="6796"/>
                      <a:pt x="1266" y="6796"/>
                      <a:pt x="1281" y="6811"/>
                    </a:cubicBezTo>
                    <a:cubicBezTo>
                      <a:pt x="1304" y="6819"/>
                      <a:pt x="1296" y="6849"/>
                      <a:pt x="1319" y="6856"/>
                    </a:cubicBezTo>
                    <a:cubicBezTo>
                      <a:pt x="1334" y="6864"/>
                      <a:pt x="1341" y="6864"/>
                      <a:pt x="1363" y="6864"/>
                    </a:cubicBezTo>
                    <a:cubicBezTo>
                      <a:pt x="1363" y="6886"/>
                      <a:pt x="1356" y="6909"/>
                      <a:pt x="1379" y="6924"/>
                    </a:cubicBezTo>
                    <a:cubicBezTo>
                      <a:pt x="1393" y="6939"/>
                      <a:pt x="1409" y="6931"/>
                      <a:pt x="1423" y="6946"/>
                    </a:cubicBezTo>
                    <a:cubicBezTo>
                      <a:pt x="1446" y="6961"/>
                      <a:pt x="1453" y="6976"/>
                      <a:pt x="1476" y="6976"/>
                    </a:cubicBezTo>
                    <a:cubicBezTo>
                      <a:pt x="1491" y="6976"/>
                      <a:pt x="1499" y="6961"/>
                      <a:pt x="1513" y="6954"/>
                    </a:cubicBezTo>
                    <a:cubicBezTo>
                      <a:pt x="1528" y="6939"/>
                      <a:pt x="1536" y="6924"/>
                      <a:pt x="1558" y="6909"/>
                    </a:cubicBezTo>
                    <a:cubicBezTo>
                      <a:pt x="1566" y="6901"/>
                      <a:pt x="1581" y="6894"/>
                      <a:pt x="1588" y="6879"/>
                    </a:cubicBezTo>
                    <a:cubicBezTo>
                      <a:pt x="1596" y="6871"/>
                      <a:pt x="1603" y="6864"/>
                      <a:pt x="1603" y="6856"/>
                    </a:cubicBezTo>
                    <a:cubicBezTo>
                      <a:pt x="1603" y="6841"/>
                      <a:pt x="1588" y="6834"/>
                      <a:pt x="1588" y="6819"/>
                    </a:cubicBezTo>
                    <a:cubicBezTo>
                      <a:pt x="1581" y="6796"/>
                      <a:pt x="1581" y="6789"/>
                      <a:pt x="1581" y="6766"/>
                    </a:cubicBezTo>
                    <a:cubicBezTo>
                      <a:pt x="1596" y="6774"/>
                      <a:pt x="1603" y="6781"/>
                      <a:pt x="1611" y="6789"/>
                    </a:cubicBezTo>
                    <a:cubicBezTo>
                      <a:pt x="1618" y="6804"/>
                      <a:pt x="1618" y="6819"/>
                      <a:pt x="1633" y="6826"/>
                    </a:cubicBezTo>
                    <a:cubicBezTo>
                      <a:pt x="1663" y="6849"/>
                      <a:pt x="1686" y="6849"/>
                      <a:pt x="1716" y="6856"/>
                    </a:cubicBezTo>
                    <a:cubicBezTo>
                      <a:pt x="1746" y="6864"/>
                      <a:pt x="1768" y="6864"/>
                      <a:pt x="1791" y="6871"/>
                    </a:cubicBezTo>
                    <a:cubicBezTo>
                      <a:pt x="1821" y="6879"/>
                      <a:pt x="1828" y="6894"/>
                      <a:pt x="1851" y="6909"/>
                    </a:cubicBezTo>
                    <a:lnTo>
                      <a:pt x="1851" y="6909"/>
                    </a:lnTo>
                    <a:cubicBezTo>
                      <a:pt x="1851" y="6901"/>
                      <a:pt x="1851" y="6894"/>
                      <a:pt x="1858" y="6886"/>
                    </a:cubicBezTo>
                    <a:cubicBezTo>
                      <a:pt x="1858" y="6864"/>
                      <a:pt x="1858" y="6849"/>
                      <a:pt x="1866" y="6819"/>
                    </a:cubicBezTo>
                    <a:cubicBezTo>
                      <a:pt x="1896" y="6819"/>
                      <a:pt x="1911" y="6811"/>
                      <a:pt x="1941" y="6811"/>
                    </a:cubicBezTo>
                    <a:cubicBezTo>
                      <a:pt x="1948" y="6804"/>
                      <a:pt x="1948" y="6789"/>
                      <a:pt x="1956" y="6781"/>
                    </a:cubicBezTo>
                    <a:cubicBezTo>
                      <a:pt x="1963" y="6774"/>
                      <a:pt x="1971" y="6774"/>
                      <a:pt x="1986" y="6766"/>
                    </a:cubicBezTo>
                    <a:cubicBezTo>
                      <a:pt x="2001" y="6759"/>
                      <a:pt x="2008" y="6751"/>
                      <a:pt x="2023" y="6744"/>
                    </a:cubicBezTo>
                    <a:cubicBezTo>
                      <a:pt x="2031" y="6729"/>
                      <a:pt x="2038" y="6721"/>
                      <a:pt x="2046" y="6706"/>
                    </a:cubicBezTo>
                    <a:cubicBezTo>
                      <a:pt x="2053" y="6691"/>
                      <a:pt x="2053" y="6684"/>
                      <a:pt x="2061" y="6669"/>
                    </a:cubicBezTo>
                    <a:cubicBezTo>
                      <a:pt x="2061" y="6639"/>
                      <a:pt x="2061" y="6616"/>
                      <a:pt x="2068" y="6586"/>
                    </a:cubicBezTo>
                    <a:cubicBezTo>
                      <a:pt x="2068" y="6579"/>
                      <a:pt x="2083" y="6572"/>
                      <a:pt x="2083" y="6564"/>
                    </a:cubicBezTo>
                    <a:cubicBezTo>
                      <a:pt x="2091" y="6549"/>
                      <a:pt x="2091" y="6534"/>
                      <a:pt x="2091" y="6512"/>
                    </a:cubicBezTo>
                    <a:cubicBezTo>
                      <a:pt x="2091" y="6482"/>
                      <a:pt x="2105" y="6459"/>
                      <a:pt x="2105" y="6429"/>
                    </a:cubicBezTo>
                    <a:cubicBezTo>
                      <a:pt x="2105" y="6272"/>
                      <a:pt x="2105" y="6272"/>
                      <a:pt x="2105" y="6272"/>
                    </a:cubicBezTo>
                    <a:cubicBezTo>
                      <a:pt x="2105" y="6242"/>
                      <a:pt x="2113" y="6219"/>
                      <a:pt x="2113" y="6189"/>
                    </a:cubicBezTo>
                    <a:cubicBezTo>
                      <a:pt x="2113" y="6182"/>
                      <a:pt x="2121" y="6182"/>
                      <a:pt x="2121" y="6174"/>
                    </a:cubicBezTo>
                    <a:cubicBezTo>
                      <a:pt x="2121" y="6159"/>
                      <a:pt x="2105" y="6152"/>
                      <a:pt x="2105" y="6137"/>
                    </a:cubicBezTo>
                    <a:cubicBezTo>
                      <a:pt x="2105" y="6129"/>
                      <a:pt x="2113" y="6129"/>
                      <a:pt x="2113" y="6122"/>
                    </a:cubicBezTo>
                    <a:cubicBezTo>
                      <a:pt x="2113" y="6114"/>
                      <a:pt x="2113" y="6107"/>
                      <a:pt x="2113" y="6099"/>
                    </a:cubicBezTo>
                    <a:cubicBezTo>
                      <a:pt x="2113" y="6069"/>
                      <a:pt x="2113" y="6047"/>
                      <a:pt x="2113" y="6024"/>
                    </a:cubicBezTo>
                    <a:cubicBezTo>
                      <a:pt x="2113" y="5957"/>
                      <a:pt x="2105" y="5920"/>
                      <a:pt x="2091" y="5860"/>
                    </a:cubicBezTo>
                    <a:cubicBezTo>
                      <a:pt x="2075" y="5762"/>
                      <a:pt x="2075" y="5710"/>
                      <a:pt x="2061" y="5620"/>
                    </a:cubicBezTo>
                    <a:cubicBezTo>
                      <a:pt x="2046" y="5552"/>
                      <a:pt x="2031" y="5515"/>
                      <a:pt x="2008" y="5455"/>
                    </a:cubicBezTo>
                    <a:cubicBezTo>
                      <a:pt x="1986" y="5395"/>
                      <a:pt x="1986" y="5357"/>
                      <a:pt x="1978" y="5290"/>
                    </a:cubicBezTo>
                    <a:cubicBezTo>
                      <a:pt x="1978" y="5260"/>
                      <a:pt x="1971" y="5245"/>
                      <a:pt x="1971" y="5208"/>
                    </a:cubicBezTo>
                    <a:cubicBezTo>
                      <a:pt x="1971" y="5155"/>
                      <a:pt x="1978" y="5118"/>
                      <a:pt x="1993" y="5065"/>
                    </a:cubicBezTo>
                    <a:cubicBezTo>
                      <a:pt x="2023" y="4983"/>
                      <a:pt x="2046" y="4938"/>
                      <a:pt x="2105" y="4870"/>
                    </a:cubicBezTo>
                    <a:cubicBezTo>
                      <a:pt x="2121" y="4849"/>
                      <a:pt x="2143" y="4849"/>
                      <a:pt x="2165" y="4826"/>
                    </a:cubicBezTo>
                    <a:cubicBezTo>
                      <a:pt x="2165" y="4819"/>
                      <a:pt x="2165" y="4811"/>
                      <a:pt x="2165" y="4804"/>
                    </a:cubicBezTo>
                    <a:cubicBezTo>
                      <a:pt x="2165" y="4789"/>
                      <a:pt x="2158" y="4781"/>
                      <a:pt x="2151" y="4774"/>
                    </a:cubicBezTo>
                    <a:cubicBezTo>
                      <a:pt x="2143" y="4766"/>
                      <a:pt x="2151" y="4759"/>
                      <a:pt x="2143" y="4759"/>
                    </a:cubicBezTo>
                    <a:cubicBezTo>
                      <a:pt x="2135" y="4759"/>
                      <a:pt x="2128" y="4759"/>
                      <a:pt x="2121" y="4751"/>
                    </a:cubicBezTo>
                    <a:cubicBezTo>
                      <a:pt x="2128" y="4729"/>
                      <a:pt x="2158" y="4714"/>
                      <a:pt x="2188" y="4714"/>
                    </a:cubicBezTo>
                    <a:cubicBezTo>
                      <a:pt x="2225" y="4714"/>
                      <a:pt x="2240" y="4729"/>
                      <a:pt x="2278" y="4751"/>
                    </a:cubicBezTo>
                    <a:cubicBezTo>
                      <a:pt x="2278" y="4729"/>
                      <a:pt x="2285" y="4714"/>
                      <a:pt x="2293" y="4699"/>
                    </a:cubicBezTo>
                    <a:cubicBezTo>
                      <a:pt x="2300" y="4692"/>
                      <a:pt x="2308" y="4684"/>
                      <a:pt x="2315" y="4676"/>
                    </a:cubicBezTo>
                    <a:cubicBezTo>
                      <a:pt x="2338" y="4676"/>
                      <a:pt x="2353" y="4684"/>
                      <a:pt x="2368" y="4684"/>
                    </a:cubicBezTo>
                    <a:cubicBezTo>
                      <a:pt x="2420" y="4684"/>
                      <a:pt x="2443" y="4669"/>
                      <a:pt x="2495" y="4669"/>
                    </a:cubicBezTo>
                    <a:cubicBezTo>
                      <a:pt x="2503" y="4669"/>
                      <a:pt x="2510" y="4669"/>
                      <a:pt x="2510" y="4676"/>
                    </a:cubicBezTo>
                    <a:cubicBezTo>
                      <a:pt x="2518" y="4692"/>
                      <a:pt x="2518" y="4706"/>
                      <a:pt x="2525" y="4706"/>
                    </a:cubicBezTo>
                    <a:cubicBezTo>
                      <a:pt x="2540" y="4706"/>
                      <a:pt x="2540" y="4692"/>
                      <a:pt x="2555" y="4692"/>
                    </a:cubicBezTo>
                    <a:cubicBezTo>
                      <a:pt x="2555" y="4692"/>
                      <a:pt x="2563" y="4699"/>
                      <a:pt x="2570" y="4699"/>
                    </a:cubicBezTo>
                    <a:cubicBezTo>
                      <a:pt x="2570" y="4714"/>
                      <a:pt x="2555" y="4721"/>
                      <a:pt x="2570" y="4736"/>
                    </a:cubicBezTo>
                    <a:cubicBezTo>
                      <a:pt x="2570" y="4744"/>
                      <a:pt x="2578" y="4751"/>
                      <a:pt x="2585" y="4759"/>
                    </a:cubicBezTo>
                    <a:cubicBezTo>
                      <a:pt x="2615" y="4789"/>
                      <a:pt x="2630" y="4819"/>
                      <a:pt x="2668" y="4834"/>
                    </a:cubicBezTo>
                    <a:cubicBezTo>
                      <a:pt x="2675" y="4826"/>
                      <a:pt x="2675" y="4819"/>
                      <a:pt x="2675" y="4811"/>
                    </a:cubicBezTo>
                    <a:cubicBezTo>
                      <a:pt x="2675" y="4789"/>
                      <a:pt x="2660" y="4774"/>
                      <a:pt x="2660" y="4751"/>
                    </a:cubicBezTo>
                    <a:cubicBezTo>
                      <a:pt x="2660" y="4736"/>
                      <a:pt x="2668" y="4721"/>
                      <a:pt x="2660" y="4714"/>
                    </a:cubicBezTo>
                    <a:cubicBezTo>
                      <a:pt x="2652" y="4692"/>
                      <a:pt x="2638" y="4692"/>
                      <a:pt x="2630" y="4676"/>
                    </a:cubicBezTo>
                    <a:cubicBezTo>
                      <a:pt x="2630" y="4616"/>
                      <a:pt x="2630" y="4616"/>
                      <a:pt x="2630" y="4616"/>
                    </a:cubicBezTo>
                    <a:cubicBezTo>
                      <a:pt x="2652" y="4579"/>
                      <a:pt x="2652" y="4579"/>
                      <a:pt x="2652" y="4579"/>
                    </a:cubicBezTo>
                    <a:cubicBezTo>
                      <a:pt x="2652" y="4572"/>
                      <a:pt x="2645" y="4564"/>
                      <a:pt x="2645" y="4549"/>
                    </a:cubicBezTo>
                    <a:cubicBezTo>
                      <a:pt x="2652" y="4549"/>
                      <a:pt x="2660" y="4557"/>
                      <a:pt x="2668" y="4549"/>
                    </a:cubicBezTo>
                    <a:cubicBezTo>
                      <a:pt x="2675" y="4542"/>
                      <a:pt x="2668" y="4534"/>
                      <a:pt x="2668" y="4519"/>
                    </a:cubicBezTo>
                    <a:cubicBezTo>
                      <a:pt x="2668" y="4512"/>
                      <a:pt x="2668" y="4497"/>
                      <a:pt x="2660" y="4489"/>
                    </a:cubicBezTo>
                    <a:cubicBezTo>
                      <a:pt x="2645" y="4489"/>
                      <a:pt x="2638" y="4489"/>
                      <a:pt x="2623" y="4489"/>
                    </a:cubicBezTo>
                    <a:cubicBezTo>
                      <a:pt x="2623" y="4452"/>
                      <a:pt x="2623" y="4452"/>
                      <a:pt x="2623" y="4452"/>
                    </a:cubicBezTo>
                    <a:cubicBezTo>
                      <a:pt x="2615" y="4452"/>
                      <a:pt x="2608" y="4452"/>
                      <a:pt x="2600" y="4444"/>
                    </a:cubicBezTo>
                    <a:cubicBezTo>
                      <a:pt x="2608" y="4422"/>
                      <a:pt x="2623" y="4414"/>
                      <a:pt x="2638" y="4399"/>
                    </a:cubicBezTo>
                    <a:cubicBezTo>
                      <a:pt x="2638" y="4392"/>
                      <a:pt x="2645" y="4392"/>
                      <a:pt x="2645" y="4384"/>
                    </a:cubicBezTo>
                    <a:cubicBezTo>
                      <a:pt x="2645" y="4377"/>
                      <a:pt x="2660" y="4384"/>
                      <a:pt x="2660" y="4377"/>
                    </a:cubicBezTo>
                    <a:cubicBezTo>
                      <a:pt x="2660" y="4347"/>
                      <a:pt x="2645" y="4324"/>
                      <a:pt x="2615" y="4324"/>
                    </a:cubicBezTo>
                    <a:cubicBezTo>
                      <a:pt x="2608" y="4324"/>
                      <a:pt x="2600" y="4324"/>
                      <a:pt x="2593" y="4324"/>
                    </a:cubicBezTo>
                    <a:cubicBezTo>
                      <a:pt x="2593" y="4317"/>
                      <a:pt x="2585" y="4317"/>
                      <a:pt x="2585" y="4309"/>
                    </a:cubicBezTo>
                    <a:cubicBezTo>
                      <a:pt x="2585" y="4287"/>
                      <a:pt x="2608" y="4287"/>
                      <a:pt x="2623" y="4272"/>
                    </a:cubicBezTo>
                    <a:cubicBezTo>
                      <a:pt x="2645" y="4257"/>
                      <a:pt x="2652" y="4242"/>
                      <a:pt x="2668" y="4227"/>
                    </a:cubicBezTo>
                    <a:cubicBezTo>
                      <a:pt x="2682" y="4212"/>
                      <a:pt x="2698" y="4197"/>
                      <a:pt x="2698" y="4174"/>
                    </a:cubicBezTo>
                    <a:cubicBezTo>
                      <a:pt x="2698" y="4159"/>
                      <a:pt x="2682" y="4144"/>
                      <a:pt x="2668" y="4137"/>
                    </a:cubicBezTo>
                    <a:cubicBezTo>
                      <a:pt x="2675" y="4114"/>
                      <a:pt x="2690" y="4099"/>
                      <a:pt x="2705" y="4077"/>
                    </a:cubicBezTo>
                    <a:cubicBezTo>
                      <a:pt x="2712" y="4069"/>
                      <a:pt x="2720" y="4062"/>
                      <a:pt x="2720" y="4055"/>
                    </a:cubicBezTo>
                    <a:cubicBezTo>
                      <a:pt x="2728" y="4047"/>
                      <a:pt x="2735" y="4047"/>
                      <a:pt x="2735" y="4047"/>
                    </a:cubicBezTo>
                    <a:cubicBezTo>
                      <a:pt x="2750" y="4032"/>
                      <a:pt x="2750" y="4017"/>
                      <a:pt x="2750" y="4002"/>
                    </a:cubicBezTo>
                    <a:cubicBezTo>
                      <a:pt x="2750" y="3980"/>
                      <a:pt x="2742" y="3972"/>
                      <a:pt x="2742" y="3950"/>
                    </a:cubicBezTo>
                    <a:cubicBezTo>
                      <a:pt x="2758" y="3957"/>
                      <a:pt x="2758" y="3957"/>
                      <a:pt x="2758" y="3957"/>
                    </a:cubicBezTo>
                    <a:cubicBezTo>
                      <a:pt x="2765" y="3980"/>
                      <a:pt x="2765" y="4002"/>
                      <a:pt x="2780" y="4017"/>
                    </a:cubicBezTo>
                    <a:cubicBezTo>
                      <a:pt x="2787" y="4002"/>
                      <a:pt x="2787" y="3995"/>
                      <a:pt x="2795" y="3980"/>
                    </a:cubicBezTo>
                    <a:cubicBezTo>
                      <a:pt x="2802" y="3987"/>
                      <a:pt x="2802" y="3995"/>
                      <a:pt x="2817" y="3995"/>
                    </a:cubicBezTo>
                    <a:cubicBezTo>
                      <a:pt x="2817" y="3942"/>
                      <a:pt x="2817" y="3942"/>
                      <a:pt x="2817" y="3942"/>
                    </a:cubicBezTo>
                    <a:cubicBezTo>
                      <a:pt x="2817" y="3935"/>
                      <a:pt x="2802" y="3927"/>
                      <a:pt x="2802" y="3912"/>
                    </a:cubicBezTo>
                    <a:cubicBezTo>
                      <a:pt x="2802" y="3897"/>
                      <a:pt x="2817" y="3882"/>
                      <a:pt x="2817" y="3867"/>
                    </a:cubicBezTo>
                    <a:cubicBezTo>
                      <a:pt x="2817" y="3837"/>
                      <a:pt x="2795" y="3830"/>
                      <a:pt x="2787" y="3800"/>
                    </a:cubicBezTo>
                    <a:cubicBezTo>
                      <a:pt x="2810" y="3800"/>
                      <a:pt x="2825" y="3800"/>
                      <a:pt x="2847" y="3800"/>
                    </a:cubicBezTo>
                    <a:cubicBezTo>
                      <a:pt x="2855" y="3830"/>
                      <a:pt x="2855" y="3852"/>
                      <a:pt x="2870" y="3875"/>
                    </a:cubicBezTo>
                    <a:cubicBezTo>
                      <a:pt x="2885" y="3875"/>
                      <a:pt x="2885" y="3875"/>
                      <a:pt x="2885" y="3875"/>
                    </a:cubicBezTo>
                    <a:cubicBezTo>
                      <a:pt x="2892" y="3852"/>
                      <a:pt x="2885" y="3837"/>
                      <a:pt x="2892" y="3822"/>
                    </a:cubicBezTo>
                    <a:cubicBezTo>
                      <a:pt x="2900" y="3815"/>
                      <a:pt x="2915" y="3807"/>
                      <a:pt x="2915" y="3800"/>
                    </a:cubicBezTo>
                    <a:cubicBezTo>
                      <a:pt x="2915" y="3785"/>
                      <a:pt x="2900" y="3777"/>
                      <a:pt x="2900" y="3762"/>
                    </a:cubicBezTo>
                    <a:cubicBezTo>
                      <a:pt x="2900" y="3747"/>
                      <a:pt x="2915" y="3755"/>
                      <a:pt x="2922" y="3740"/>
                    </a:cubicBezTo>
                    <a:cubicBezTo>
                      <a:pt x="2945" y="3695"/>
                      <a:pt x="2900" y="3755"/>
                      <a:pt x="2952" y="3755"/>
                    </a:cubicBezTo>
                    <a:cubicBezTo>
                      <a:pt x="2975" y="3755"/>
                      <a:pt x="2982" y="3740"/>
                      <a:pt x="2997" y="3740"/>
                    </a:cubicBezTo>
                    <a:cubicBezTo>
                      <a:pt x="3027" y="3740"/>
                      <a:pt x="3027" y="3740"/>
                      <a:pt x="3027" y="3740"/>
                    </a:cubicBezTo>
                    <a:cubicBezTo>
                      <a:pt x="3035" y="3740"/>
                      <a:pt x="3035" y="3740"/>
                      <a:pt x="3035" y="3740"/>
                    </a:cubicBezTo>
                    <a:cubicBezTo>
                      <a:pt x="3027" y="3717"/>
                      <a:pt x="3027" y="3717"/>
                      <a:pt x="3027" y="3717"/>
                    </a:cubicBezTo>
                    <a:cubicBezTo>
                      <a:pt x="3035" y="3710"/>
                      <a:pt x="3042" y="3717"/>
                      <a:pt x="3042" y="3717"/>
                    </a:cubicBezTo>
                    <a:cubicBezTo>
                      <a:pt x="3050" y="3710"/>
                      <a:pt x="3042" y="3702"/>
                      <a:pt x="3050" y="3702"/>
                    </a:cubicBezTo>
                    <a:cubicBezTo>
                      <a:pt x="3027" y="3680"/>
                      <a:pt x="3012" y="3672"/>
                      <a:pt x="3012" y="3642"/>
                    </a:cubicBezTo>
                    <a:cubicBezTo>
                      <a:pt x="3012" y="3635"/>
                      <a:pt x="3012" y="3627"/>
                      <a:pt x="3020" y="3620"/>
                    </a:cubicBezTo>
                    <a:cubicBezTo>
                      <a:pt x="3035" y="3627"/>
                      <a:pt x="3042" y="3635"/>
                      <a:pt x="3050" y="3642"/>
                    </a:cubicBezTo>
                    <a:cubicBezTo>
                      <a:pt x="3057" y="3650"/>
                      <a:pt x="3057" y="3665"/>
                      <a:pt x="3072" y="3665"/>
                    </a:cubicBezTo>
                    <a:cubicBezTo>
                      <a:pt x="3080" y="3665"/>
                      <a:pt x="3080" y="3665"/>
                      <a:pt x="3087" y="3665"/>
                    </a:cubicBezTo>
                    <a:cubicBezTo>
                      <a:pt x="3087" y="3650"/>
                      <a:pt x="3095" y="3642"/>
                      <a:pt x="3095" y="3635"/>
                    </a:cubicBezTo>
                    <a:cubicBezTo>
                      <a:pt x="3095" y="3605"/>
                      <a:pt x="3065" y="3590"/>
                      <a:pt x="3035" y="3575"/>
                    </a:cubicBezTo>
                    <a:cubicBezTo>
                      <a:pt x="3042" y="3567"/>
                      <a:pt x="3042" y="3560"/>
                      <a:pt x="3042" y="3560"/>
                    </a:cubicBezTo>
                    <a:cubicBezTo>
                      <a:pt x="3072" y="3560"/>
                      <a:pt x="3110" y="3552"/>
                      <a:pt x="3110" y="3522"/>
                    </a:cubicBezTo>
                    <a:cubicBezTo>
                      <a:pt x="3110" y="3515"/>
                      <a:pt x="3110" y="3515"/>
                      <a:pt x="3102" y="3507"/>
                    </a:cubicBezTo>
                    <a:cubicBezTo>
                      <a:pt x="3095" y="3507"/>
                      <a:pt x="3050" y="3500"/>
                      <a:pt x="3080" y="3507"/>
                    </a:cubicBezTo>
                    <a:cubicBezTo>
                      <a:pt x="3095" y="3492"/>
                      <a:pt x="3102" y="3477"/>
                      <a:pt x="3117" y="3470"/>
                    </a:cubicBezTo>
                    <a:cubicBezTo>
                      <a:pt x="3125" y="3470"/>
                      <a:pt x="3125" y="3470"/>
                      <a:pt x="3132" y="3470"/>
                    </a:cubicBezTo>
                    <a:cubicBezTo>
                      <a:pt x="3140" y="3463"/>
                      <a:pt x="3147" y="3447"/>
                      <a:pt x="3155" y="3433"/>
                    </a:cubicBezTo>
                    <a:cubicBezTo>
                      <a:pt x="3140" y="3433"/>
                      <a:pt x="3140" y="3433"/>
                      <a:pt x="3125" y="3433"/>
                    </a:cubicBezTo>
                    <a:lnTo>
                      <a:pt x="3117" y="3440"/>
                    </a:lnTo>
                    <a:cubicBezTo>
                      <a:pt x="3110" y="3440"/>
                      <a:pt x="3095" y="3440"/>
                      <a:pt x="3095" y="3433"/>
                    </a:cubicBezTo>
                    <a:lnTo>
                      <a:pt x="3102" y="3425"/>
                    </a:lnTo>
                    <a:cubicBezTo>
                      <a:pt x="3102" y="3417"/>
                      <a:pt x="3102" y="3410"/>
                      <a:pt x="3095" y="3395"/>
                    </a:cubicBezTo>
                    <a:cubicBezTo>
                      <a:pt x="3110" y="3395"/>
                      <a:pt x="3110" y="3395"/>
                      <a:pt x="3117" y="3387"/>
                    </a:cubicBezTo>
                    <a:cubicBezTo>
                      <a:pt x="3117" y="3387"/>
                      <a:pt x="3117" y="3380"/>
                      <a:pt x="3117" y="3373"/>
                    </a:cubicBezTo>
                    <a:cubicBezTo>
                      <a:pt x="3110" y="3373"/>
                      <a:pt x="3102" y="3373"/>
                      <a:pt x="3102" y="3365"/>
                    </a:cubicBezTo>
                    <a:cubicBezTo>
                      <a:pt x="3102" y="3357"/>
                      <a:pt x="3110" y="3357"/>
                      <a:pt x="3110" y="3357"/>
                    </a:cubicBezTo>
                    <a:cubicBezTo>
                      <a:pt x="3147" y="3343"/>
                      <a:pt x="3170" y="3335"/>
                      <a:pt x="3185" y="3298"/>
                    </a:cubicBezTo>
                    <a:cubicBezTo>
                      <a:pt x="3170" y="3305"/>
                      <a:pt x="3162" y="3305"/>
                      <a:pt x="3147" y="3305"/>
                    </a:cubicBezTo>
                    <a:cubicBezTo>
                      <a:pt x="3132" y="3305"/>
                      <a:pt x="3125" y="3320"/>
                      <a:pt x="3110" y="3320"/>
                    </a:cubicBezTo>
                    <a:cubicBezTo>
                      <a:pt x="3102" y="3320"/>
                      <a:pt x="3102" y="3313"/>
                      <a:pt x="3095" y="3313"/>
                    </a:cubicBezTo>
                    <a:cubicBezTo>
                      <a:pt x="3102" y="3298"/>
                      <a:pt x="3110" y="3290"/>
                      <a:pt x="3125" y="3283"/>
                    </a:cubicBezTo>
                    <a:cubicBezTo>
                      <a:pt x="3140" y="3275"/>
                      <a:pt x="3162" y="3275"/>
                      <a:pt x="3162" y="3260"/>
                    </a:cubicBezTo>
                    <a:cubicBezTo>
                      <a:pt x="3162" y="3253"/>
                      <a:pt x="3155" y="3245"/>
                      <a:pt x="3155" y="3245"/>
                    </a:cubicBezTo>
                    <a:cubicBezTo>
                      <a:pt x="3162" y="3238"/>
                      <a:pt x="3170" y="3230"/>
                      <a:pt x="3170" y="3223"/>
                    </a:cubicBezTo>
                    <a:cubicBezTo>
                      <a:pt x="3177" y="3215"/>
                      <a:pt x="3170" y="3200"/>
                      <a:pt x="3177" y="3200"/>
                    </a:cubicBezTo>
                    <a:cubicBezTo>
                      <a:pt x="3192" y="3185"/>
                      <a:pt x="3207" y="3193"/>
                      <a:pt x="3215" y="3185"/>
                    </a:cubicBezTo>
                    <a:cubicBezTo>
                      <a:pt x="3229" y="3178"/>
                      <a:pt x="3237" y="3178"/>
                      <a:pt x="3245" y="3170"/>
                    </a:cubicBezTo>
                    <a:cubicBezTo>
                      <a:pt x="3252" y="3170"/>
                      <a:pt x="3260" y="3170"/>
                      <a:pt x="3260" y="3163"/>
                    </a:cubicBezTo>
                    <a:cubicBezTo>
                      <a:pt x="3260" y="3155"/>
                      <a:pt x="3260" y="3148"/>
                      <a:pt x="3260" y="3140"/>
                    </a:cubicBezTo>
                    <a:cubicBezTo>
                      <a:pt x="3260" y="3133"/>
                      <a:pt x="3267" y="3125"/>
                      <a:pt x="3267" y="3110"/>
                    </a:cubicBezTo>
                    <a:lnTo>
                      <a:pt x="3267" y="3103"/>
                    </a:lnTo>
                    <a:cubicBezTo>
                      <a:pt x="3229" y="3118"/>
                      <a:pt x="3207" y="3133"/>
                      <a:pt x="3162" y="3140"/>
                    </a:cubicBezTo>
                    <a:cubicBezTo>
                      <a:pt x="3155" y="3125"/>
                      <a:pt x="3155" y="3125"/>
                      <a:pt x="3155" y="3125"/>
                    </a:cubicBezTo>
                    <a:cubicBezTo>
                      <a:pt x="3162" y="3110"/>
                      <a:pt x="3162" y="3095"/>
                      <a:pt x="3177" y="3088"/>
                    </a:cubicBezTo>
                    <a:cubicBezTo>
                      <a:pt x="3192" y="3073"/>
                      <a:pt x="3207" y="3073"/>
                      <a:pt x="3229" y="3065"/>
                    </a:cubicBezTo>
                    <a:cubicBezTo>
                      <a:pt x="3252" y="3058"/>
                      <a:pt x="3252" y="3035"/>
                      <a:pt x="3267" y="3013"/>
                    </a:cubicBezTo>
                    <a:cubicBezTo>
                      <a:pt x="3275" y="2998"/>
                      <a:pt x="3275" y="2990"/>
                      <a:pt x="3275" y="2975"/>
                    </a:cubicBezTo>
                    <a:cubicBezTo>
                      <a:pt x="3275" y="2960"/>
                      <a:pt x="3267" y="2945"/>
                      <a:pt x="3260" y="2938"/>
                    </a:cubicBezTo>
                    <a:cubicBezTo>
                      <a:pt x="3252" y="2930"/>
                      <a:pt x="3237" y="2930"/>
                      <a:pt x="3237" y="2923"/>
                    </a:cubicBezTo>
                    <a:cubicBezTo>
                      <a:pt x="3229" y="2908"/>
                      <a:pt x="3229" y="2900"/>
                      <a:pt x="3229" y="2893"/>
                    </a:cubicBezTo>
                    <a:cubicBezTo>
                      <a:pt x="3229" y="2840"/>
                      <a:pt x="3229" y="2840"/>
                      <a:pt x="3229" y="2840"/>
                    </a:cubicBezTo>
                    <a:cubicBezTo>
                      <a:pt x="3222" y="2848"/>
                      <a:pt x="3222" y="2848"/>
                      <a:pt x="3222" y="2848"/>
                    </a:cubicBezTo>
                    <a:cubicBezTo>
                      <a:pt x="3200" y="2886"/>
                      <a:pt x="3185" y="2900"/>
                      <a:pt x="3170" y="2938"/>
                    </a:cubicBezTo>
                    <a:cubicBezTo>
                      <a:pt x="3155" y="2938"/>
                      <a:pt x="3155" y="2938"/>
                      <a:pt x="3155" y="2938"/>
                    </a:cubicBezTo>
                    <a:cubicBezTo>
                      <a:pt x="3155" y="2900"/>
                      <a:pt x="3170" y="2878"/>
                      <a:pt x="3185" y="2848"/>
                    </a:cubicBezTo>
                    <a:cubicBezTo>
                      <a:pt x="3200" y="2826"/>
                      <a:pt x="3200" y="2810"/>
                      <a:pt x="3200" y="2781"/>
                    </a:cubicBezTo>
                    <a:cubicBezTo>
                      <a:pt x="3207" y="2751"/>
                      <a:pt x="3215" y="2736"/>
                      <a:pt x="3215" y="2706"/>
                    </a:cubicBezTo>
                    <a:cubicBezTo>
                      <a:pt x="3215" y="2668"/>
                      <a:pt x="3200" y="2653"/>
                      <a:pt x="3200" y="2623"/>
                    </a:cubicBezTo>
                    <a:cubicBezTo>
                      <a:pt x="3200" y="2556"/>
                      <a:pt x="3200" y="2556"/>
                      <a:pt x="3200" y="2556"/>
                    </a:cubicBezTo>
                    <a:cubicBezTo>
                      <a:pt x="3147" y="2428"/>
                      <a:pt x="3147" y="2428"/>
                      <a:pt x="3147" y="2428"/>
                    </a:cubicBezTo>
                    <a:cubicBezTo>
                      <a:pt x="3155" y="2391"/>
                      <a:pt x="3170" y="2376"/>
                      <a:pt x="3170" y="2338"/>
                    </a:cubicBezTo>
                    <a:cubicBezTo>
                      <a:pt x="3170" y="2316"/>
                      <a:pt x="3155" y="2316"/>
                      <a:pt x="3140" y="2308"/>
                    </a:cubicBezTo>
                    <a:cubicBezTo>
                      <a:pt x="3117" y="2293"/>
                      <a:pt x="3110" y="2278"/>
                      <a:pt x="3087" y="2263"/>
                    </a:cubicBezTo>
                    <a:cubicBezTo>
                      <a:pt x="3065" y="2241"/>
                      <a:pt x="3057" y="2226"/>
                      <a:pt x="3042" y="2204"/>
                    </a:cubicBezTo>
                    <a:cubicBezTo>
                      <a:pt x="3035" y="2181"/>
                      <a:pt x="3027" y="2174"/>
                      <a:pt x="3027" y="2151"/>
                    </a:cubicBezTo>
                    <a:cubicBezTo>
                      <a:pt x="3027" y="2144"/>
                      <a:pt x="3020" y="2136"/>
                      <a:pt x="3027" y="2128"/>
                    </a:cubicBezTo>
                    <a:cubicBezTo>
                      <a:pt x="3035" y="2121"/>
                      <a:pt x="3042" y="2114"/>
                      <a:pt x="3050" y="2114"/>
                    </a:cubicBezTo>
                    <a:cubicBezTo>
                      <a:pt x="3065" y="2106"/>
                      <a:pt x="3065" y="2091"/>
                      <a:pt x="3065" y="2076"/>
                    </a:cubicBezTo>
                    <a:cubicBezTo>
                      <a:pt x="3065" y="2069"/>
                      <a:pt x="3065" y="2061"/>
                      <a:pt x="3057" y="2061"/>
                    </a:cubicBezTo>
                    <a:cubicBezTo>
                      <a:pt x="3057" y="2061"/>
                      <a:pt x="3050" y="2061"/>
                      <a:pt x="3042" y="2061"/>
                    </a:cubicBezTo>
                    <a:cubicBezTo>
                      <a:pt x="3020" y="2046"/>
                      <a:pt x="3005" y="2039"/>
                      <a:pt x="2990" y="2016"/>
                    </a:cubicBezTo>
                    <a:cubicBezTo>
                      <a:pt x="2990" y="2009"/>
                      <a:pt x="2990" y="2001"/>
                      <a:pt x="2997" y="2001"/>
                    </a:cubicBezTo>
                    <a:cubicBezTo>
                      <a:pt x="3005" y="1994"/>
                      <a:pt x="3027" y="1994"/>
                      <a:pt x="3027" y="1979"/>
                    </a:cubicBezTo>
                    <a:cubicBezTo>
                      <a:pt x="3027" y="1949"/>
                      <a:pt x="3005" y="1934"/>
                      <a:pt x="2990" y="1911"/>
                    </a:cubicBezTo>
                    <a:cubicBezTo>
                      <a:pt x="2982" y="1896"/>
                      <a:pt x="2967" y="1881"/>
                      <a:pt x="2960" y="1859"/>
                    </a:cubicBezTo>
                    <a:cubicBezTo>
                      <a:pt x="2960" y="1859"/>
                      <a:pt x="2960" y="1851"/>
                      <a:pt x="2952" y="1851"/>
                    </a:cubicBezTo>
                    <a:cubicBezTo>
                      <a:pt x="2937" y="1829"/>
                      <a:pt x="2922" y="1821"/>
                      <a:pt x="2907" y="1799"/>
                    </a:cubicBezTo>
                    <a:cubicBezTo>
                      <a:pt x="2892" y="1776"/>
                      <a:pt x="2885" y="1761"/>
                      <a:pt x="2870" y="1739"/>
                    </a:cubicBezTo>
                    <a:cubicBezTo>
                      <a:pt x="2847" y="1701"/>
                      <a:pt x="2840" y="1679"/>
                      <a:pt x="2825" y="1641"/>
                    </a:cubicBezTo>
                    <a:cubicBezTo>
                      <a:pt x="2810" y="1604"/>
                      <a:pt x="2802" y="1574"/>
                      <a:pt x="2772" y="1552"/>
                    </a:cubicBezTo>
                    <a:cubicBezTo>
                      <a:pt x="2750" y="1536"/>
                      <a:pt x="2728" y="1544"/>
                      <a:pt x="2705" y="1529"/>
                    </a:cubicBezTo>
                    <a:cubicBezTo>
                      <a:pt x="2652" y="1529"/>
                      <a:pt x="2630" y="1484"/>
                      <a:pt x="2608" y="1439"/>
                    </a:cubicBezTo>
                    <a:cubicBezTo>
                      <a:pt x="2585" y="1387"/>
                      <a:pt x="2578" y="1357"/>
                      <a:pt x="2570" y="1297"/>
                    </a:cubicBezTo>
                    <a:cubicBezTo>
                      <a:pt x="2555" y="1244"/>
                      <a:pt x="2548" y="1207"/>
                      <a:pt x="2540" y="1154"/>
                    </a:cubicBezTo>
                    <a:cubicBezTo>
                      <a:pt x="2533" y="1132"/>
                      <a:pt x="2525" y="1124"/>
                      <a:pt x="2525" y="1102"/>
                    </a:cubicBezTo>
                    <a:cubicBezTo>
                      <a:pt x="2518" y="1072"/>
                      <a:pt x="2518" y="1057"/>
                      <a:pt x="2518" y="1027"/>
                    </a:cubicBezTo>
                    <a:cubicBezTo>
                      <a:pt x="2510" y="945"/>
                      <a:pt x="2510" y="899"/>
                      <a:pt x="2510" y="817"/>
                    </a:cubicBezTo>
                    <a:cubicBezTo>
                      <a:pt x="2510" y="742"/>
                      <a:pt x="2510" y="697"/>
                      <a:pt x="2518" y="622"/>
                    </a:cubicBezTo>
                    <a:cubicBezTo>
                      <a:pt x="2525" y="585"/>
                      <a:pt x="2525" y="570"/>
                      <a:pt x="2525" y="532"/>
                    </a:cubicBezTo>
                    <a:cubicBezTo>
                      <a:pt x="2525" y="480"/>
                      <a:pt x="2533" y="450"/>
                      <a:pt x="2548" y="398"/>
                    </a:cubicBezTo>
                    <a:cubicBezTo>
                      <a:pt x="2555" y="352"/>
                      <a:pt x="2563" y="323"/>
                      <a:pt x="2578" y="285"/>
                    </a:cubicBezTo>
                    <a:cubicBezTo>
                      <a:pt x="2585" y="270"/>
                      <a:pt x="2593" y="263"/>
                      <a:pt x="2593" y="248"/>
                    </a:cubicBezTo>
                    <a:cubicBezTo>
                      <a:pt x="2593" y="173"/>
                      <a:pt x="2593" y="173"/>
                      <a:pt x="2593" y="173"/>
                    </a:cubicBezTo>
                    <a:cubicBezTo>
                      <a:pt x="2585" y="180"/>
                      <a:pt x="2578" y="188"/>
                      <a:pt x="2570" y="195"/>
                    </a:cubicBezTo>
                    <a:cubicBezTo>
                      <a:pt x="2548" y="218"/>
                      <a:pt x="2533" y="225"/>
                      <a:pt x="2510" y="240"/>
                    </a:cubicBezTo>
                    <a:cubicBezTo>
                      <a:pt x="2473" y="263"/>
                      <a:pt x="2458" y="293"/>
                      <a:pt x="2420" y="293"/>
                    </a:cubicBezTo>
                    <a:cubicBezTo>
                      <a:pt x="2383" y="293"/>
                      <a:pt x="2368" y="270"/>
                      <a:pt x="2338" y="248"/>
                    </a:cubicBezTo>
                    <a:cubicBezTo>
                      <a:pt x="2308" y="240"/>
                      <a:pt x="2293" y="233"/>
                      <a:pt x="2270" y="210"/>
                    </a:cubicBezTo>
                    <a:lnTo>
                      <a:pt x="2263" y="203"/>
                    </a:lnTo>
                    <a:cubicBezTo>
                      <a:pt x="2225" y="165"/>
                      <a:pt x="2203" y="128"/>
                      <a:pt x="2165" y="98"/>
                    </a:cubicBezTo>
                    <a:cubicBezTo>
                      <a:pt x="2135" y="98"/>
                      <a:pt x="2113" y="98"/>
                      <a:pt x="2091" y="90"/>
                    </a:cubicBezTo>
                    <a:cubicBezTo>
                      <a:pt x="2068" y="83"/>
                      <a:pt x="2061" y="68"/>
                      <a:pt x="2046" y="53"/>
                    </a:cubicBezTo>
                    <a:cubicBezTo>
                      <a:pt x="2016" y="38"/>
                      <a:pt x="1993" y="23"/>
                      <a:pt x="1971" y="0"/>
                    </a:cubicBezTo>
                    <a:cubicBezTo>
                      <a:pt x="1971" y="15"/>
                      <a:pt x="1963" y="23"/>
                      <a:pt x="1963" y="38"/>
                    </a:cubicBezTo>
                    <a:cubicBezTo>
                      <a:pt x="1963" y="53"/>
                      <a:pt x="1963" y="60"/>
                      <a:pt x="1963" y="75"/>
                    </a:cubicBezTo>
                    <a:cubicBezTo>
                      <a:pt x="1956" y="105"/>
                      <a:pt x="1933" y="120"/>
                      <a:pt x="1911" y="150"/>
                    </a:cubicBezTo>
                    <a:cubicBezTo>
                      <a:pt x="1896" y="165"/>
                      <a:pt x="1888" y="173"/>
                      <a:pt x="1881" y="195"/>
                    </a:cubicBezTo>
                    <a:cubicBezTo>
                      <a:pt x="1881" y="210"/>
                      <a:pt x="1881" y="218"/>
                      <a:pt x="1881" y="233"/>
                    </a:cubicBezTo>
                    <a:cubicBezTo>
                      <a:pt x="1873" y="263"/>
                      <a:pt x="1866" y="278"/>
                      <a:pt x="1858" y="300"/>
                    </a:cubicBezTo>
                    <a:cubicBezTo>
                      <a:pt x="1851" y="308"/>
                      <a:pt x="1843" y="315"/>
                      <a:pt x="1843" y="323"/>
                    </a:cubicBezTo>
                    <a:cubicBezTo>
                      <a:pt x="1836" y="352"/>
                      <a:pt x="1843" y="368"/>
                      <a:pt x="1843" y="398"/>
                    </a:cubicBezTo>
                    <a:cubicBezTo>
                      <a:pt x="1836" y="405"/>
                      <a:pt x="1836" y="412"/>
                      <a:pt x="1836" y="420"/>
                    </a:cubicBezTo>
                    <a:cubicBezTo>
                      <a:pt x="1828" y="465"/>
                      <a:pt x="1828" y="495"/>
                      <a:pt x="1821" y="532"/>
                    </a:cubicBezTo>
                    <a:cubicBezTo>
                      <a:pt x="1821" y="555"/>
                      <a:pt x="1813" y="570"/>
                      <a:pt x="1813" y="592"/>
                    </a:cubicBezTo>
                    <a:cubicBezTo>
                      <a:pt x="1813" y="607"/>
                      <a:pt x="1828" y="615"/>
                      <a:pt x="1843" y="622"/>
                    </a:cubicBezTo>
                    <a:cubicBezTo>
                      <a:pt x="2068" y="517"/>
                      <a:pt x="2068" y="517"/>
                      <a:pt x="2068" y="517"/>
                    </a:cubicBezTo>
                    <a:cubicBezTo>
                      <a:pt x="2091" y="525"/>
                      <a:pt x="2098" y="540"/>
                      <a:pt x="2121" y="540"/>
                    </a:cubicBezTo>
                    <a:cubicBezTo>
                      <a:pt x="2143" y="540"/>
                      <a:pt x="2151" y="517"/>
                      <a:pt x="2173" y="510"/>
                    </a:cubicBezTo>
                    <a:cubicBezTo>
                      <a:pt x="2188" y="495"/>
                      <a:pt x="2211" y="495"/>
                      <a:pt x="2225" y="480"/>
                    </a:cubicBezTo>
                    <a:cubicBezTo>
                      <a:pt x="2240" y="465"/>
                      <a:pt x="2233" y="442"/>
                      <a:pt x="2240" y="420"/>
                    </a:cubicBezTo>
                    <a:cubicBezTo>
                      <a:pt x="2248" y="405"/>
                      <a:pt x="2255" y="398"/>
                      <a:pt x="2263" y="398"/>
                    </a:cubicBezTo>
                    <a:cubicBezTo>
                      <a:pt x="2285" y="398"/>
                      <a:pt x="2293" y="405"/>
                      <a:pt x="2300" y="420"/>
                    </a:cubicBezTo>
                    <a:cubicBezTo>
                      <a:pt x="2323" y="442"/>
                      <a:pt x="2330" y="458"/>
                      <a:pt x="2345" y="480"/>
                    </a:cubicBezTo>
                    <a:cubicBezTo>
                      <a:pt x="2360" y="502"/>
                      <a:pt x="2368" y="510"/>
                      <a:pt x="2375" y="532"/>
                    </a:cubicBezTo>
                    <a:cubicBezTo>
                      <a:pt x="2383" y="547"/>
                      <a:pt x="2390" y="555"/>
                      <a:pt x="2390" y="577"/>
                    </a:cubicBezTo>
                    <a:cubicBezTo>
                      <a:pt x="2390" y="615"/>
                      <a:pt x="2345" y="630"/>
                      <a:pt x="2345" y="667"/>
                    </a:cubicBezTo>
                    <a:cubicBezTo>
                      <a:pt x="2345" y="787"/>
                      <a:pt x="2345" y="787"/>
                      <a:pt x="2345" y="787"/>
                    </a:cubicBezTo>
                    <a:cubicBezTo>
                      <a:pt x="2345" y="802"/>
                      <a:pt x="2338" y="810"/>
                      <a:pt x="2338" y="817"/>
                    </a:cubicBezTo>
                    <a:cubicBezTo>
                      <a:pt x="2330" y="855"/>
                      <a:pt x="2323" y="877"/>
                      <a:pt x="2315" y="907"/>
                    </a:cubicBezTo>
                    <a:cubicBezTo>
                      <a:pt x="2300" y="952"/>
                      <a:pt x="2270" y="997"/>
                      <a:pt x="2225" y="997"/>
                    </a:cubicBezTo>
                    <a:cubicBezTo>
                      <a:pt x="2211" y="997"/>
                      <a:pt x="2203" y="989"/>
                      <a:pt x="2195" y="982"/>
                    </a:cubicBezTo>
                    <a:cubicBezTo>
                      <a:pt x="2181" y="975"/>
                      <a:pt x="2165" y="967"/>
                      <a:pt x="2151" y="952"/>
                    </a:cubicBezTo>
                    <a:cubicBezTo>
                      <a:pt x="2121" y="937"/>
                      <a:pt x="2098" y="929"/>
                      <a:pt x="2068" y="907"/>
                    </a:cubicBezTo>
                    <a:cubicBezTo>
                      <a:pt x="2038" y="885"/>
                      <a:pt x="2031" y="855"/>
                      <a:pt x="1993" y="832"/>
                    </a:cubicBezTo>
                    <a:cubicBezTo>
                      <a:pt x="1978" y="817"/>
                      <a:pt x="1971" y="802"/>
                      <a:pt x="1948" y="802"/>
                    </a:cubicBezTo>
                    <a:cubicBezTo>
                      <a:pt x="1918" y="802"/>
                      <a:pt x="1926" y="840"/>
                      <a:pt x="1918" y="870"/>
                    </a:cubicBezTo>
                    <a:cubicBezTo>
                      <a:pt x="1911" y="899"/>
                      <a:pt x="1911" y="922"/>
                      <a:pt x="1896" y="952"/>
                    </a:cubicBezTo>
                    <a:cubicBezTo>
                      <a:pt x="1888" y="982"/>
                      <a:pt x="1888" y="997"/>
                      <a:pt x="1866" y="1027"/>
                    </a:cubicBezTo>
                    <a:cubicBezTo>
                      <a:pt x="1851" y="1049"/>
                      <a:pt x="1836" y="1072"/>
                      <a:pt x="1806" y="1072"/>
                    </a:cubicBezTo>
                    <a:cubicBezTo>
                      <a:pt x="1798" y="1072"/>
                      <a:pt x="1791" y="1064"/>
                      <a:pt x="1783" y="1057"/>
                    </a:cubicBezTo>
                    <a:cubicBezTo>
                      <a:pt x="1776" y="1057"/>
                      <a:pt x="1768" y="1049"/>
                      <a:pt x="1753" y="1049"/>
                    </a:cubicBezTo>
                    <a:cubicBezTo>
                      <a:pt x="1738" y="1042"/>
                      <a:pt x="1723" y="1042"/>
                      <a:pt x="1716" y="1027"/>
                    </a:cubicBezTo>
                    <a:cubicBezTo>
                      <a:pt x="1708" y="1012"/>
                      <a:pt x="1708" y="997"/>
                      <a:pt x="1708" y="975"/>
                    </a:cubicBezTo>
                    <a:cubicBezTo>
                      <a:pt x="1701" y="945"/>
                      <a:pt x="1693" y="922"/>
                      <a:pt x="1686" y="892"/>
                    </a:cubicBezTo>
                    <a:cubicBezTo>
                      <a:pt x="1671" y="802"/>
                      <a:pt x="1648" y="757"/>
                      <a:pt x="1648" y="675"/>
                    </a:cubicBezTo>
                    <a:cubicBezTo>
                      <a:pt x="1648" y="585"/>
                      <a:pt x="1648" y="585"/>
                      <a:pt x="1648" y="585"/>
                    </a:cubicBezTo>
                    <a:cubicBezTo>
                      <a:pt x="1648" y="555"/>
                      <a:pt x="1656" y="532"/>
                      <a:pt x="1641" y="502"/>
                    </a:cubicBezTo>
                    <a:cubicBezTo>
                      <a:pt x="1633" y="488"/>
                      <a:pt x="1618" y="488"/>
                      <a:pt x="1603" y="480"/>
                    </a:cubicBezTo>
                    <a:cubicBezTo>
                      <a:pt x="1596" y="480"/>
                      <a:pt x="1588" y="472"/>
                      <a:pt x="1573" y="472"/>
                    </a:cubicBezTo>
                    <a:cubicBezTo>
                      <a:pt x="1558" y="472"/>
                      <a:pt x="1551" y="488"/>
                      <a:pt x="1543" y="502"/>
                    </a:cubicBezTo>
                    <a:cubicBezTo>
                      <a:pt x="1543" y="517"/>
                      <a:pt x="1528" y="517"/>
                      <a:pt x="1521" y="525"/>
                    </a:cubicBezTo>
                    <a:cubicBezTo>
                      <a:pt x="1506" y="540"/>
                      <a:pt x="1491" y="555"/>
                      <a:pt x="1476" y="555"/>
                    </a:cubicBezTo>
                    <a:cubicBezTo>
                      <a:pt x="1453" y="555"/>
                      <a:pt x="1453" y="540"/>
                      <a:pt x="1439" y="525"/>
                    </a:cubicBezTo>
                    <a:cubicBezTo>
                      <a:pt x="1423" y="510"/>
                      <a:pt x="1416" y="502"/>
                      <a:pt x="1393" y="480"/>
                    </a:cubicBezTo>
                    <a:cubicBezTo>
                      <a:pt x="1371" y="458"/>
                      <a:pt x="1356" y="450"/>
                      <a:pt x="1326" y="435"/>
                    </a:cubicBezTo>
                    <a:cubicBezTo>
                      <a:pt x="1311" y="480"/>
                      <a:pt x="1311" y="510"/>
                      <a:pt x="1311" y="562"/>
                    </a:cubicBezTo>
                    <a:cubicBezTo>
                      <a:pt x="1311" y="577"/>
                      <a:pt x="1311" y="585"/>
                      <a:pt x="1296" y="600"/>
                    </a:cubicBezTo>
                    <a:cubicBezTo>
                      <a:pt x="1289" y="607"/>
                      <a:pt x="1274" y="607"/>
                      <a:pt x="1259" y="607"/>
                    </a:cubicBezTo>
                    <a:cubicBezTo>
                      <a:pt x="1244" y="607"/>
                      <a:pt x="1236" y="615"/>
                      <a:pt x="1221" y="622"/>
                    </a:cubicBezTo>
                    <a:cubicBezTo>
                      <a:pt x="1259" y="645"/>
                      <a:pt x="1281" y="667"/>
                      <a:pt x="1296" y="712"/>
                    </a:cubicBezTo>
                    <a:cubicBezTo>
                      <a:pt x="1296" y="727"/>
                      <a:pt x="1296" y="735"/>
                      <a:pt x="1304" y="750"/>
                    </a:cubicBezTo>
                    <a:cubicBezTo>
                      <a:pt x="1304" y="757"/>
                      <a:pt x="1319" y="757"/>
                      <a:pt x="1326" y="765"/>
                    </a:cubicBezTo>
                    <a:cubicBezTo>
                      <a:pt x="1334" y="780"/>
                      <a:pt x="1341" y="787"/>
                      <a:pt x="1349" y="802"/>
                    </a:cubicBezTo>
                    <a:cubicBezTo>
                      <a:pt x="1334" y="810"/>
                      <a:pt x="1334" y="810"/>
                      <a:pt x="1334" y="810"/>
                    </a:cubicBezTo>
                    <a:cubicBezTo>
                      <a:pt x="1326" y="795"/>
                      <a:pt x="1311" y="780"/>
                      <a:pt x="1296" y="765"/>
                    </a:cubicBezTo>
                    <a:cubicBezTo>
                      <a:pt x="1296" y="787"/>
                      <a:pt x="1296" y="795"/>
                      <a:pt x="1296" y="810"/>
                    </a:cubicBezTo>
                    <a:cubicBezTo>
                      <a:pt x="1296" y="840"/>
                      <a:pt x="1296" y="855"/>
                      <a:pt x="1289" y="877"/>
                    </a:cubicBezTo>
                    <a:cubicBezTo>
                      <a:pt x="1289" y="929"/>
                      <a:pt x="1281" y="959"/>
                      <a:pt x="1266" y="1005"/>
                    </a:cubicBezTo>
                    <a:cubicBezTo>
                      <a:pt x="1259" y="1027"/>
                      <a:pt x="1251" y="1042"/>
                      <a:pt x="1244" y="1064"/>
                    </a:cubicBezTo>
                    <a:cubicBezTo>
                      <a:pt x="1236" y="1087"/>
                      <a:pt x="1236" y="1102"/>
                      <a:pt x="1221" y="1117"/>
                    </a:cubicBezTo>
                    <a:cubicBezTo>
                      <a:pt x="1199" y="1139"/>
                      <a:pt x="1176" y="1132"/>
                      <a:pt x="1146" y="1147"/>
                    </a:cubicBezTo>
                    <a:cubicBezTo>
                      <a:pt x="1131" y="1162"/>
                      <a:pt x="1124" y="1177"/>
                      <a:pt x="1109" y="1192"/>
                    </a:cubicBezTo>
                    <a:cubicBezTo>
                      <a:pt x="1101" y="1199"/>
                      <a:pt x="1094" y="1199"/>
                      <a:pt x="1086" y="1199"/>
                    </a:cubicBezTo>
                    <a:cubicBezTo>
                      <a:pt x="1071" y="1207"/>
                      <a:pt x="1064" y="1222"/>
                      <a:pt x="1056" y="1222"/>
                    </a:cubicBezTo>
                    <a:cubicBezTo>
                      <a:pt x="1019" y="1222"/>
                      <a:pt x="1011" y="1169"/>
                      <a:pt x="981" y="1169"/>
                    </a:cubicBezTo>
                    <a:cubicBezTo>
                      <a:pt x="966" y="1169"/>
                      <a:pt x="966" y="1177"/>
                      <a:pt x="966" y="1184"/>
                    </a:cubicBezTo>
                    <a:cubicBezTo>
                      <a:pt x="951" y="1199"/>
                      <a:pt x="936" y="1214"/>
                      <a:pt x="922" y="1229"/>
                    </a:cubicBezTo>
                    <a:cubicBezTo>
                      <a:pt x="906" y="1252"/>
                      <a:pt x="906" y="1267"/>
                      <a:pt x="892" y="1297"/>
                    </a:cubicBezTo>
                    <a:cubicBezTo>
                      <a:pt x="876" y="1327"/>
                      <a:pt x="854" y="1342"/>
                      <a:pt x="832" y="1364"/>
                    </a:cubicBezTo>
                    <a:cubicBezTo>
                      <a:pt x="809" y="1379"/>
                      <a:pt x="772" y="1379"/>
                      <a:pt x="772" y="1409"/>
                    </a:cubicBezTo>
                    <a:cubicBezTo>
                      <a:pt x="772" y="1424"/>
                      <a:pt x="779" y="1432"/>
                      <a:pt x="779" y="1447"/>
                    </a:cubicBezTo>
                    <a:cubicBezTo>
                      <a:pt x="802" y="1447"/>
                      <a:pt x="824" y="1439"/>
                      <a:pt x="839" y="1454"/>
                    </a:cubicBezTo>
                    <a:cubicBezTo>
                      <a:pt x="862" y="1462"/>
                      <a:pt x="862" y="1477"/>
                      <a:pt x="862" y="1499"/>
                    </a:cubicBezTo>
                    <a:cubicBezTo>
                      <a:pt x="862" y="1657"/>
                      <a:pt x="862" y="1657"/>
                      <a:pt x="862" y="1657"/>
                    </a:cubicBezTo>
                    <a:cubicBezTo>
                      <a:pt x="862" y="1746"/>
                      <a:pt x="951" y="1776"/>
                      <a:pt x="951" y="1866"/>
                    </a:cubicBezTo>
                    <a:cubicBezTo>
                      <a:pt x="951" y="1911"/>
                      <a:pt x="944" y="1934"/>
                      <a:pt x="936" y="1971"/>
                    </a:cubicBezTo>
                    <a:cubicBezTo>
                      <a:pt x="936" y="1986"/>
                      <a:pt x="936" y="1994"/>
                      <a:pt x="936" y="2009"/>
                    </a:cubicBezTo>
                    <a:cubicBezTo>
                      <a:pt x="929" y="2031"/>
                      <a:pt x="922" y="2039"/>
                      <a:pt x="914" y="2061"/>
                    </a:cubicBezTo>
                    <a:cubicBezTo>
                      <a:pt x="914" y="2076"/>
                      <a:pt x="914" y="2084"/>
                      <a:pt x="906" y="2099"/>
                    </a:cubicBezTo>
                    <a:cubicBezTo>
                      <a:pt x="899" y="2144"/>
                      <a:pt x="892" y="2174"/>
                      <a:pt x="876" y="2218"/>
                    </a:cubicBezTo>
                    <a:cubicBezTo>
                      <a:pt x="854" y="2241"/>
                      <a:pt x="846" y="2263"/>
                      <a:pt x="832" y="2293"/>
                    </a:cubicBezTo>
                    <a:cubicBezTo>
                      <a:pt x="824" y="2308"/>
                      <a:pt x="816" y="2316"/>
                      <a:pt x="802" y="2323"/>
                    </a:cubicBezTo>
                    <a:cubicBezTo>
                      <a:pt x="764" y="2361"/>
                      <a:pt x="734" y="2368"/>
                      <a:pt x="689" y="2368"/>
                    </a:cubicBezTo>
                    <a:cubicBezTo>
                      <a:pt x="644" y="2368"/>
                      <a:pt x="622" y="2353"/>
                      <a:pt x="584" y="2331"/>
                    </a:cubicBezTo>
                    <a:cubicBezTo>
                      <a:pt x="584" y="2338"/>
                      <a:pt x="584" y="2338"/>
                      <a:pt x="584" y="2346"/>
                    </a:cubicBezTo>
                    <a:cubicBezTo>
                      <a:pt x="584" y="2353"/>
                      <a:pt x="592" y="2361"/>
                      <a:pt x="592" y="2368"/>
                    </a:cubicBezTo>
                    <a:cubicBezTo>
                      <a:pt x="607" y="2406"/>
                      <a:pt x="614" y="2421"/>
                      <a:pt x="622" y="2458"/>
                    </a:cubicBezTo>
                    <a:cubicBezTo>
                      <a:pt x="629" y="2481"/>
                      <a:pt x="629" y="2503"/>
                      <a:pt x="644" y="2518"/>
                    </a:cubicBezTo>
                    <a:cubicBezTo>
                      <a:pt x="659" y="2533"/>
                      <a:pt x="674" y="2533"/>
                      <a:pt x="697" y="2533"/>
                    </a:cubicBezTo>
                    <a:cubicBezTo>
                      <a:pt x="712" y="2533"/>
                      <a:pt x="719" y="2526"/>
                      <a:pt x="734" y="2518"/>
                    </a:cubicBezTo>
                    <a:cubicBezTo>
                      <a:pt x="742" y="2518"/>
                      <a:pt x="742" y="2503"/>
                      <a:pt x="749" y="2496"/>
                    </a:cubicBezTo>
                    <a:cubicBezTo>
                      <a:pt x="764" y="2488"/>
                      <a:pt x="772" y="2481"/>
                      <a:pt x="787" y="2481"/>
                    </a:cubicBezTo>
                    <a:cubicBezTo>
                      <a:pt x="802" y="2481"/>
                      <a:pt x="809" y="2473"/>
                      <a:pt x="816" y="2473"/>
                    </a:cubicBezTo>
                    <a:cubicBezTo>
                      <a:pt x="832" y="2473"/>
                      <a:pt x="839" y="2481"/>
                      <a:pt x="846" y="2481"/>
                    </a:cubicBezTo>
                    <a:cubicBezTo>
                      <a:pt x="892" y="2488"/>
                      <a:pt x="914" y="2511"/>
                      <a:pt x="936" y="2541"/>
                    </a:cubicBezTo>
                    <a:cubicBezTo>
                      <a:pt x="989" y="2616"/>
                      <a:pt x="1004" y="2668"/>
                      <a:pt x="1004" y="2758"/>
                    </a:cubicBezTo>
                    <a:cubicBezTo>
                      <a:pt x="1004" y="2818"/>
                      <a:pt x="1004" y="2818"/>
                      <a:pt x="1004" y="2818"/>
                    </a:cubicBezTo>
                    <a:cubicBezTo>
                      <a:pt x="1004" y="2833"/>
                      <a:pt x="996" y="2840"/>
                      <a:pt x="996" y="2856"/>
                    </a:cubicBezTo>
                    <a:cubicBezTo>
                      <a:pt x="989" y="2923"/>
                      <a:pt x="996" y="2968"/>
                      <a:pt x="981" y="3035"/>
                    </a:cubicBezTo>
                    <a:cubicBezTo>
                      <a:pt x="981" y="3058"/>
                      <a:pt x="974" y="3080"/>
                      <a:pt x="966" y="3110"/>
                    </a:cubicBezTo>
                    <a:cubicBezTo>
                      <a:pt x="959" y="3163"/>
                      <a:pt x="944" y="3193"/>
                      <a:pt x="936" y="3253"/>
                    </a:cubicBezTo>
                    <a:cubicBezTo>
                      <a:pt x="929" y="3283"/>
                      <a:pt x="922" y="3298"/>
                      <a:pt x="914" y="3328"/>
                    </a:cubicBezTo>
                    <a:cubicBezTo>
                      <a:pt x="906" y="3343"/>
                      <a:pt x="906" y="3350"/>
                      <a:pt x="899" y="3365"/>
                    </a:cubicBezTo>
                    <a:cubicBezTo>
                      <a:pt x="892" y="3373"/>
                      <a:pt x="892" y="3387"/>
                      <a:pt x="876" y="3387"/>
                    </a:cubicBezTo>
                    <a:cubicBezTo>
                      <a:pt x="869" y="3387"/>
                      <a:pt x="869" y="3380"/>
                      <a:pt x="862" y="3380"/>
                    </a:cubicBezTo>
                    <a:cubicBezTo>
                      <a:pt x="846" y="3380"/>
                      <a:pt x="846" y="3395"/>
                      <a:pt x="839" y="3403"/>
                    </a:cubicBezTo>
                    <a:cubicBezTo>
                      <a:pt x="832" y="3425"/>
                      <a:pt x="832" y="3433"/>
                      <a:pt x="824" y="3455"/>
                    </a:cubicBezTo>
                    <a:cubicBezTo>
                      <a:pt x="816" y="3477"/>
                      <a:pt x="809" y="3492"/>
                      <a:pt x="802" y="3515"/>
                    </a:cubicBezTo>
                    <a:cubicBezTo>
                      <a:pt x="802" y="3537"/>
                      <a:pt x="802" y="3560"/>
                      <a:pt x="802" y="3582"/>
                    </a:cubicBezTo>
                    <a:cubicBezTo>
                      <a:pt x="794" y="3612"/>
                      <a:pt x="787" y="3627"/>
                      <a:pt x="779" y="3657"/>
                    </a:cubicBezTo>
                    <a:cubicBezTo>
                      <a:pt x="772" y="3710"/>
                      <a:pt x="772" y="3747"/>
                      <a:pt x="757" y="3800"/>
                    </a:cubicBezTo>
                    <a:cubicBezTo>
                      <a:pt x="734" y="3852"/>
                      <a:pt x="712" y="3882"/>
                      <a:pt x="697" y="3935"/>
                    </a:cubicBezTo>
                    <a:cubicBezTo>
                      <a:pt x="689" y="3972"/>
                      <a:pt x="682" y="3987"/>
                      <a:pt x="674" y="4025"/>
                    </a:cubicBezTo>
                    <a:cubicBezTo>
                      <a:pt x="659" y="4069"/>
                      <a:pt x="659" y="4107"/>
                      <a:pt x="637" y="4152"/>
                    </a:cubicBezTo>
                    <a:cubicBezTo>
                      <a:pt x="622" y="4174"/>
                      <a:pt x="592" y="4182"/>
                      <a:pt x="569" y="4197"/>
                    </a:cubicBezTo>
                    <a:cubicBezTo>
                      <a:pt x="554" y="4212"/>
                      <a:pt x="539" y="4219"/>
                      <a:pt x="524" y="4234"/>
                    </a:cubicBezTo>
                    <a:cubicBezTo>
                      <a:pt x="494" y="4257"/>
                      <a:pt x="487" y="4272"/>
                      <a:pt x="472" y="4302"/>
                    </a:cubicBezTo>
                    <a:cubicBezTo>
                      <a:pt x="457" y="4324"/>
                      <a:pt x="449" y="4339"/>
                      <a:pt x="434" y="4369"/>
                    </a:cubicBezTo>
                    <a:cubicBezTo>
                      <a:pt x="419" y="4399"/>
                      <a:pt x="412" y="4414"/>
                      <a:pt x="404" y="4444"/>
                    </a:cubicBezTo>
                  </a:path>
                </a:pathLst>
              </a:custGeom>
              <a:grpFill/>
              <a:ln w="6350"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a:latin typeface="Calibri" panose="020F0502020204030204" pitchFamily="34" charset="0"/>
                </a:endParaRPr>
              </a:p>
            </p:txBody>
          </p:sp>
          <p:sp>
            <p:nvSpPr>
              <p:cNvPr id="24" name="Freeform 138">
                <a:extLst>
                  <a:ext uri="{FF2B5EF4-FFF2-40B4-BE49-F238E27FC236}">
                    <a16:creationId xmlns:a16="http://schemas.microsoft.com/office/drawing/2014/main" id="{494174E0-CD27-9BBB-DB80-6D86E25D7361}"/>
                  </a:ext>
                </a:extLst>
              </p:cNvPr>
              <p:cNvSpPr>
                <a:spLocks noChangeArrowheads="1"/>
              </p:cNvSpPr>
              <p:nvPr/>
            </p:nvSpPr>
            <p:spPr bwMode="auto">
              <a:xfrm>
                <a:off x="7508752" y="2908351"/>
                <a:ext cx="3193056" cy="2798870"/>
              </a:xfrm>
              <a:custGeom>
                <a:avLst/>
                <a:gdLst>
                  <a:gd name="T0" fmla="*/ 6768 w 7391"/>
                  <a:gd name="T1" fmla="*/ 3507 h 6476"/>
                  <a:gd name="T2" fmla="*/ 6925 w 7391"/>
                  <a:gd name="T3" fmla="*/ 3560 h 6476"/>
                  <a:gd name="T4" fmla="*/ 7240 w 7391"/>
                  <a:gd name="T5" fmla="*/ 3410 h 6476"/>
                  <a:gd name="T6" fmla="*/ 7195 w 7391"/>
                  <a:gd name="T7" fmla="*/ 3485 h 6476"/>
                  <a:gd name="T8" fmla="*/ 6775 w 7391"/>
                  <a:gd name="T9" fmla="*/ 3755 h 6476"/>
                  <a:gd name="T10" fmla="*/ 6565 w 7391"/>
                  <a:gd name="T11" fmla="*/ 3957 h 6476"/>
                  <a:gd name="T12" fmla="*/ 6363 w 7391"/>
                  <a:gd name="T13" fmla="*/ 3987 h 6476"/>
                  <a:gd name="T14" fmla="*/ 6176 w 7391"/>
                  <a:gd name="T15" fmla="*/ 4047 h 6476"/>
                  <a:gd name="T16" fmla="*/ 5794 w 7391"/>
                  <a:gd name="T17" fmla="*/ 4077 h 6476"/>
                  <a:gd name="T18" fmla="*/ 5389 w 7391"/>
                  <a:gd name="T19" fmla="*/ 4115 h 6476"/>
                  <a:gd name="T20" fmla="*/ 4962 w 7391"/>
                  <a:gd name="T21" fmla="*/ 4482 h 6476"/>
                  <a:gd name="T22" fmla="*/ 4632 w 7391"/>
                  <a:gd name="T23" fmla="*/ 4901 h 6476"/>
                  <a:gd name="T24" fmla="*/ 4542 w 7391"/>
                  <a:gd name="T25" fmla="*/ 5441 h 6476"/>
                  <a:gd name="T26" fmla="*/ 4227 w 7391"/>
                  <a:gd name="T27" fmla="*/ 5441 h 6476"/>
                  <a:gd name="T28" fmla="*/ 3718 w 7391"/>
                  <a:gd name="T29" fmla="*/ 5194 h 6476"/>
                  <a:gd name="T30" fmla="*/ 3065 w 7391"/>
                  <a:gd name="T31" fmla="*/ 4789 h 6476"/>
                  <a:gd name="T32" fmla="*/ 2488 w 7391"/>
                  <a:gd name="T33" fmla="*/ 4609 h 6476"/>
                  <a:gd name="T34" fmla="*/ 2159 w 7391"/>
                  <a:gd name="T35" fmla="*/ 4849 h 6476"/>
                  <a:gd name="T36" fmla="*/ 1844 w 7391"/>
                  <a:gd name="T37" fmla="*/ 4999 h 6476"/>
                  <a:gd name="T38" fmla="*/ 1574 w 7391"/>
                  <a:gd name="T39" fmla="*/ 4654 h 6476"/>
                  <a:gd name="T40" fmla="*/ 1125 w 7391"/>
                  <a:gd name="T41" fmla="*/ 4946 h 6476"/>
                  <a:gd name="T42" fmla="*/ 1432 w 7391"/>
                  <a:gd name="T43" fmla="*/ 5396 h 6476"/>
                  <a:gd name="T44" fmla="*/ 1852 w 7391"/>
                  <a:gd name="T45" fmla="*/ 5666 h 6476"/>
                  <a:gd name="T46" fmla="*/ 1994 w 7391"/>
                  <a:gd name="T47" fmla="*/ 5935 h 6476"/>
                  <a:gd name="T48" fmla="*/ 1604 w 7391"/>
                  <a:gd name="T49" fmla="*/ 5913 h 6476"/>
                  <a:gd name="T50" fmla="*/ 1424 w 7391"/>
                  <a:gd name="T51" fmla="*/ 5973 h 6476"/>
                  <a:gd name="T52" fmla="*/ 1259 w 7391"/>
                  <a:gd name="T53" fmla="*/ 6280 h 6476"/>
                  <a:gd name="T54" fmla="*/ 862 w 7391"/>
                  <a:gd name="T55" fmla="*/ 6438 h 6476"/>
                  <a:gd name="T56" fmla="*/ 847 w 7391"/>
                  <a:gd name="T57" fmla="*/ 5935 h 6476"/>
                  <a:gd name="T58" fmla="*/ 870 w 7391"/>
                  <a:gd name="T59" fmla="*/ 5508 h 6476"/>
                  <a:gd name="T60" fmla="*/ 510 w 7391"/>
                  <a:gd name="T61" fmla="*/ 5081 h 6476"/>
                  <a:gd name="T62" fmla="*/ 780 w 7391"/>
                  <a:gd name="T63" fmla="*/ 4489 h 6476"/>
                  <a:gd name="T64" fmla="*/ 1005 w 7391"/>
                  <a:gd name="T65" fmla="*/ 4309 h 6476"/>
                  <a:gd name="T66" fmla="*/ 1215 w 7391"/>
                  <a:gd name="T67" fmla="*/ 4130 h 6476"/>
                  <a:gd name="T68" fmla="*/ 1222 w 7391"/>
                  <a:gd name="T69" fmla="*/ 3762 h 6476"/>
                  <a:gd name="T70" fmla="*/ 1312 w 7391"/>
                  <a:gd name="T71" fmla="*/ 3433 h 6476"/>
                  <a:gd name="T72" fmla="*/ 1612 w 7391"/>
                  <a:gd name="T73" fmla="*/ 3650 h 6476"/>
                  <a:gd name="T74" fmla="*/ 1957 w 7391"/>
                  <a:gd name="T75" fmla="*/ 3717 h 6476"/>
                  <a:gd name="T76" fmla="*/ 2384 w 7391"/>
                  <a:gd name="T77" fmla="*/ 3530 h 6476"/>
                  <a:gd name="T78" fmla="*/ 2346 w 7391"/>
                  <a:gd name="T79" fmla="*/ 3103 h 6476"/>
                  <a:gd name="T80" fmla="*/ 2354 w 7391"/>
                  <a:gd name="T81" fmla="*/ 2751 h 6476"/>
                  <a:gd name="T82" fmla="*/ 2653 w 7391"/>
                  <a:gd name="T83" fmla="*/ 2226 h 6476"/>
                  <a:gd name="T84" fmla="*/ 2773 w 7391"/>
                  <a:gd name="T85" fmla="*/ 1672 h 6476"/>
                  <a:gd name="T86" fmla="*/ 2676 w 7391"/>
                  <a:gd name="T87" fmla="*/ 795 h 6476"/>
                  <a:gd name="T88" fmla="*/ 2646 w 7391"/>
                  <a:gd name="T89" fmla="*/ 308 h 6476"/>
                  <a:gd name="T90" fmla="*/ 2803 w 7391"/>
                  <a:gd name="T91" fmla="*/ 188 h 6476"/>
                  <a:gd name="T92" fmla="*/ 3148 w 7391"/>
                  <a:gd name="T93" fmla="*/ 225 h 6476"/>
                  <a:gd name="T94" fmla="*/ 3620 w 7391"/>
                  <a:gd name="T95" fmla="*/ 772 h 6476"/>
                  <a:gd name="T96" fmla="*/ 3927 w 7391"/>
                  <a:gd name="T97" fmla="*/ 1274 h 6476"/>
                  <a:gd name="T98" fmla="*/ 4347 w 7391"/>
                  <a:gd name="T99" fmla="*/ 1679 h 6476"/>
                  <a:gd name="T100" fmla="*/ 4714 w 7391"/>
                  <a:gd name="T101" fmla="*/ 1986 h 6476"/>
                  <a:gd name="T102" fmla="*/ 5007 w 7391"/>
                  <a:gd name="T103" fmla="*/ 2226 h 6476"/>
                  <a:gd name="T104" fmla="*/ 5299 w 7391"/>
                  <a:gd name="T105" fmla="*/ 2234 h 6476"/>
                  <a:gd name="T106" fmla="*/ 5629 w 7391"/>
                  <a:gd name="T107" fmla="*/ 2354 h 6476"/>
                  <a:gd name="T108" fmla="*/ 6401 w 7391"/>
                  <a:gd name="T109" fmla="*/ 2398 h 6476"/>
                  <a:gd name="T110" fmla="*/ 6828 w 7391"/>
                  <a:gd name="T111" fmla="*/ 2159 h 6476"/>
                  <a:gd name="T112" fmla="*/ 6625 w 7391"/>
                  <a:gd name="T113" fmla="*/ 2983 h 6476"/>
                  <a:gd name="T114" fmla="*/ 1911 w 7391"/>
                  <a:gd name="T115" fmla="*/ 263 h 6476"/>
                  <a:gd name="T116" fmla="*/ 1971 w 7391"/>
                  <a:gd name="T117" fmla="*/ 128 h 6476"/>
                  <a:gd name="T118" fmla="*/ 2196 w 7391"/>
                  <a:gd name="T119" fmla="*/ 682 h 6476"/>
                  <a:gd name="T120" fmla="*/ 2121 w 7391"/>
                  <a:gd name="T121" fmla="*/ 435 h 6476"/>
                  <a:gd name="T122" fmla="*/ 113 w 7391"/>
                  <a:gd name="T123" fmla="*/ 5321 h 6476"/>
                  <a:gd name="T124" fmla="*/ 263 w 7391"/>
                  <a:gd name="T125" fmla="*/ 5224 h 6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91" h="6476">
                    <a:moveTo>
                      <a:pt x="6783" y="3380"/>
                    </a:moveTo>
                    <a:lnTo>
                      <a:pt x="6783" y="3380"/>
                    </a:lnTo>
                    <a:cubicBezTo>
                      <a:pt x="6790" y="3410"/>
                      <a:pt x="6790" y="3433"/>
                      <a:pt x="6813" y="3455"/>
                    </a:cubicBezTo>
                    <a:cubicBezTo>
                      <a:pt x="6820" y="3463"/>
                      <a:pt x="6835" y="3463"/>
                      <a:pt x="6843" y="3470"/>
                    </a:cubicBezTo>
                    <a:cubicBezTo>
                      <a:pt x="6858" y="3485"/>
                      <a:pt x="6865" y="3493"/>
                      <a:pt x="6865" y="3515"/>
                    </a:cubicBezTo>
                    <a:cubicBezTo>
                      <a:pt x="6850" y="3507"/>
                      <a:pt x="6843" y="3507"/>
                      <a:pt x="6835" y="3493"/>
                    </a:cubicBezTo>
                    <a:cubicBezTo>
                      <a:pt x="6828" y="3485"/>
                      <a:pt x="6828" y="3485"/>
                      <a:pt x="6820" y="3477"/>
                    </a:cubicBezTo>
                    <a:cubicBezTo>
                      <a:pt x="6820" y="3470"/>
                      <a:pt x="6813" y="3470"/>
                      <a:pt x="6805" y="3470"/>
                    </a:cubicBezTo>
                    <a:cubicBezTo>
                      <a:pt x="6798" y="3470"/>
                      <a:pt x="6798" y="3463"/>
                      <a:pt x="6783" y="3463"/>
                    </a:cubicBezTo>
                    <a:cubicBezTo>
                      <a:pt x="6775" y="3470"/>
                      <a:pt x="6768" y="3470"/>
                      <a:pt x="6753" y="3470"/>
                    </a:cubicBezTo>
                    <a:lnTo>
                      <a:pt x="6753" y="3470"/>
                    </a:lnTo>
                    <a:cubicBezTo>
                      <a:pt x="6753" y="3477"/>
                      <a:pt x="6760" y="3477"/>
                      <a:pt x="6760" y="3485"/>
                    </a:cubicBezTo>
                    <a:cubicBezTo>
                      <a:pt x="6768" y="3493"/>
                      <a:pt x="6760" y="3500"/>
                      <a:pt x="6768" y="3507"/>
                    </a:cubicBezTo>
                    <a:cubicBezTo>
                      <a:pt x="6775" y="3507"/>
                      <a:pt x="6783" y="3507"/>
                      <a:pt x="6790" y="3507"/>
                    </a:cubicBezTo>
                    <a:lnTo>
                      <a:pt x="6790" y="3507"/>
                    </a:lnTo>
                    <a:cubicBezTo>
                      <a:pt x="6805" y="3515"/>
                      <a:pt x="6813" y="3515"/>
                      <a:pt x="6820" y="3515"/>
                    </a:cubicBezTo>
                    <a:cubicBezTo>
                      <a:pt x="6835" y="3523"/>
                      <a:pt x="6843" y="3530"/>
                      <a:pt x="6850" y="3537"/>
                    </a:cubicBezTo>
                    <a:cubicBezTo>
                      <a:pt x="6835" y="3537"/>
                      <a:pt x="6828" y="3537"/>
                      <a:pt x="6820" y="3553"/>
                    </a:cubicBezTo>
                    <a:cubicBezTo>
                      <a:pt x="6820" y="3560"/>
                      <a:pt x="6820" y="3560"/>
                      <a:pt x="6820" y="3560"/>
                    </a:cubicBezTo>
                    <a:cubicBezTo>
                      <a:pt x="6835" y="3560"/>
                      <a:pt x="6843" y="3560"/>
                      <a:pt x="6858" y="3567"/>
                    </a:cubicBezTo>
                    <a:cubicBezTo>
                      <a:pt x="6873" y="3575"/>
                      <a:pt x="6873" y="3590"/>
                      <a:pt x="6888" y="3590"/>
                    </a:cubicBezTo>
                    <a:cubicBezTo>
                      <a:pt x="6903" y="3597"/>
                      <a:pt x="6918" y="3590"/>
                      <a:pt x="6940" y="3590"/>
                    </a:cubicBezTo>
                    <a:cubicBezTo>
                      <a:pt x="6948" y="3590"/>
                      <a:pt x="6948" y="3597"/>
                      <a:pt x="6955" y="3597"/>
                    </a:cubicBezTo>
                    <a:cubicBezTo>
                      <a:pt x="6970" y="3597"/>
                      <a:pt x="6970" y="3597"/>
                      <a:pt x="6970" y="3597"/>
                    </a:cubicBezTo>
                    <a:cubicBezTo>
                      <a:pt x="6970" y="3590"/>
                      <a:pt x="6970" y="3590"/>
                      <a:pt x="6970" y="3590"/>
                    </a:cubicBezTo>
                    <a:cubicBezTo>
                      <a:pt x="6948" y="3583"/>
                      <a:pt x="6940" y="3567"/>
                      <a:pt x="6925" y="3560"/>
                    </a:cubicBezTo>
                    <a:cubicBezTo>
                      <a:pt x="6865" y="3523"/>
                      <a:pt x="6940" y="3560"/>
                      <a:pt x="6955" y="3567"/>
                    </a:cubicBezTo>
                    <a:cubicBezTo>
                      <a:pt x="6963" y="3567"/>
                      <a:pt x="6963" y="3567"/>
                      <a:pt x="6970" y="3575"/>
                    </a:cubicBezTo>
                    <a:cubicBezTo>
                      <a:pt x="6978" y="3575"/>
                      <a:pt x="6985" y="3575"/>
                      <a:pt x="6993" y="3575"/>
                    </a:cubicBezTo>
                    <a:cubicBezTo>
                      <a:pt x="7000" y="3575"/>
                      <a:pt x="7007" y="3583"/>
                      <a:pt x="7023" y="3583"/>
                    </a:cubicBezTo>
                    <a:cubicBezTo>
                      <a:pt x="7030" y="3583"/>
                      <a:pt x="7037" y="3575"/>
                      <a:pt x="7045" y="3567"/>
                    </a:cubicBezTo>
                    <a:cubicBezTo>
                      <a:pt x="7053" y="3560"/>
                      <a:pt x="7067" y="3553"/>
                      <a:pt x="7075" y="3537"/>
                    </a:cubicBezTo>
                    <a:cubicBezTo>
                      <a:pt x="7082" y="3530"/>
                      <a:pt x="7082" y="3523"/>
                      <a:pt x="7090" y="3515"/>
                    </a:cubicBezTo>
                    <a:cubicBezTo>
                      <a:pt x="7097" y="3507"/>
                      <a:pt x="7113" y="3500"/>
                      <a:pt x="7120" y="3493"/>
                    </a:cubicBezTo>
                    <a:cubicBezTo>
                      <a:pt x="7135" y="3477"/>
                      <a:pt x="7143" y="3477"/>
                      <a:pt x="7157" y="3463"/>
                    </a:cubicBezTo>
                    <a:cubicBezTo>
                      <a:pt x="7165" y="3455"/>
                      <a:pt x="7165" y="3448"/>
                      <a:pt x="7172" y="3440"/>
                    </a:cubicBezTo>
                    <a:cubicBezTo>
                      <a:pt x="7195" y="3425"/>
                      <a:pt x="7210" y="3418"/>
                      <a:pt x="7217" y="3395"/>
                    </a:cubicBezTo>
                    <a:cubicBezTo>
                      <a:pt x="7225" y="3395"/>
                      <a:pt x="7225" y="3395"/>
                      <a:pt x="7225" y="3395"/>
                    </a:cubicBezTo>
                    <a:cubicBezTo>
                      <a:pt x="7232" y="3403"/>
                      <a:pt x="7232" y="3410"/>
                      <a:pt x="7240" y="3410"/>
                    </a:cubicBezTo>
                    <a:cubicBezTo>
                      <a:pt x="7247" y="3425"/>
                      <a:pt x="7262" y="3425"/>
                      <a:pt x="7277" y="3425"/>
                    </a:cubicBezTo>
                    <a:cubicBezTo>
                      <a:pt x="7367" y="3403"/>
                      <a:pt x="7367" y="3403"/>
                      <a:pt x="7367" y="3403"/>
                    </a:cubicBezTo>
                    <a:cubicBezTo>
                      <a:pt x="7375" y="3410"/>
                      <a:pt x="7382" y="3410"/>
                      <a:pt x="7382" y="3410"/>
                    </a:cubicBezTo>
                    <a:cubicBezTo>
                      <a:pt x="7390" y="3425"/>
                      <a:pt x="7390" y="3433"/>
                      <a:pt x="7390" y="3448"/>
                    </a:cubicBezTo>
                    <a:cubicBezTo>
                      <a:pt x="7390" y="3455"/>
                      <a:pt x="7382" y="3455"/>
                      <a:pt x="7375" y="3463"/>
                    </a:cubicBezTo>
                    <a:cubicBezTo>
                      <a:pt x="7367" y="3470"/>
                      <a:pt x="7367" y="3470"/>
                      <a:pt x="7352" y="3470"/>
                    </a:cubicBezTo>
                    <a:cubicBezTo>
                      <a:pt x="7337" y="3477"/>
                      <a:pt x="7330" y="3485"/>
                      <a:pt x="7315" y="3493"/>
                    </a:cubicBezTo>
                    <a:cubicBezTo>
                      <a:pt x="7300" y="3493"/>
                      <a:pt x="7292" y="3500"/>
                      <a:pt x="7285" y="3507"/>
                    </a:cubicBezTo>
                    <a:cubicBezTo>
                      <a:pt x="7270" y="3515"/>
                      <a:pt x="7262" y="3530"/>
                      <a:pt x="7240" y="3530"/>
                    </a:cubicBezTo>
                    <a:cubicBezTo>
                      <a:pt x="7232" y="3530"/>
                      <a:pt x="7225" y="3523"/>
                      <a:pt x="7217" y="3523"/>
                    </a:cubicBezTo>
                    <a:cubicBezTo>
                      <a:pt x="7210" y="3523"/>
                      <a:pt x="7210" y="3523"/>
                      <a:pt x="7210" y="3523"/>
                    </a:cubicBezTo>
                    <a:cubicBezTo>
                      <a:pt x="7210" y="3515"/>
                      <a:pt x="7202" y="3515"/>
                      <a:pt x="7202" y="3507"/>
                    </a:cubicBezTo>
                    <a:cubicBezTo>
                      <a:pt x="7202" y="3500"/>
                      <a:pt x="7195" y="3493"/>
                      <a:pt x="7195" y="3485"/>
                    </a:cubicBezTo>
                    <a:cubicBezTo>
                      <a:pt x="7172" y="3507"/>
                      <a:pt x="7172" y="3530"/>
                      <a:pt x="7157" y="3553"/>
                    </a:cubicBezTo>
                    <a:cubicBezTo>
                      <a:pt x="7143" y="3567"/>
                      <a:pt x="7127" y="3567"/>
                      <a:pt x="7120" y="3575"/>
                    </a:cubicBezTo>
                    <a:cubicBezTo>
                      <a:pt x="7113" y="3583"/>
                      <a:pt x="7105" y="3590"/>
                      <a:pt x="7105" y="3605"/>
                    </a:cubicBezTo>
                    <a:cubicBezTo>
                      <a:pt x="7105" y="3613"/>
                      <a:pt x="7097" y="3613"/>
                      <a:pt x="7097" y="3620"/>
                    </a:cubicBezTo>
                    <a:cubicBezTo>
                      <a:pt x="7090" y="3642"/>
                      <a:pt x="7097" y="3657"/>
                      <a:pt x="7090" y="3672"/>
                    </a:cubicBezTo>
                    <a:cubicBezTo>
                      <a:pt x="7090" y="3687"/>
                      <a:pt x="7082" y="3695"/>
                      <a:pt x="7075" y="3702"/>
                    </a:cubicBezTo>
                    <a:cubicBezTo>
                      <a:pt x="7067" y="3717"/>
                      <a:pt x="7067" y="3725"/>
                      <a:pt x="7060" y="3740"/>
                    </a:cubicBezTo>
                    <a:cubicBezTo>
                      <a:pt x="7053" y="3740"/>
                      <a:pt x="7053" y="3740"/>
                      <a:pt x="7053" y="3740"/>
                    </a:cubicBezTo>
                    <a:cubicBezTo>
                      <a:pt x="7045" y="3740"/>
                      <a:pt x="7045" y="3732"/>
                      <a:pt x="7037" y="3725"/>
                    </a:cubicBezTo>
                    <a:cubicBezTo>
                      <a:pt x="7030" y="3725"/>
                      <a:pt x="7023" y="3717"/>
                      <a:pt x="7015" y="3717"/>
                    </a:cubicBezTo>
                    <a:cubicBezTo>
                      <a:pt x="6993" y="3717"/>
                      <a:pt x="6978" y="3725"/>
                      <a:pt x="6963" y="3725"/>
                    </a:cubicBezTo>
                    <a:cubicBezTo>
                      <a:pt x="6918" y="3725"/>
                      <a:pt x="6895" y="3732"/>
                      <a:pt x="6850" y="3740"/>
                    </a:cubicBezTo>
                    <a:cubicBezTo>
                      <a:pt x="6820" y="3747"/>
                      <a:pt x="6798" y="3740"/>
                      <a:pt x="6775" y="3755"/>
                    </a:cubicBezTo>
                    <a:cubicBezTo>
                      <a:pt x="6760" y="3770"/>
                      <a:pt x="6745" y="3770"/>
                      <a:pt x="6738" y="3785"/>
                    </a:cubicBezTo>
                    <a:cubicBezTo>
                      <a:pt x="6730" y="3785"/>
                      <a:pt x="6723" y="3792"/>
                      <a:pt x="6715" y="3792"/>
                    </a:cubicBezTo>
                    <a:cubicBezTo>
                      <a:pt x="6708" y="3800"/>
                      <a:pt x="6700" y="3815"/>
                      <a:pt x="6693" y="3815"/>
                    </a:cubicBezTo>
                    <a:cubicBezTo>
                      <a:pt x="6678" y="3815"/>
                      <a:pt x="6678" y="3792"/>
                      <a:pt x="6670" y="3777"/>
                    </a:cubicBezTo>
                    <a:cubicBezTo>
                      <a:pt x="6655" y="3785"/>
                      <a:pt x="6648" y="3785"/>
                      <a:pt x="6640" y="3792"/>
                    </a:cubicBezTo>
                    <a:cubicBezTo>
                      <a:pt x="6625" y="3800"/>
                      <a:pt x="6618" y="3800"/>
                      <a:pt x="6610" y="3807"/>
                    </a:cubicBezTo>
                    <a:cubicBezTo>
                      <a:pt x="6603" y="3822"/>
                      <a:pt x="6603" y="3830"/>
                      <a:pt x="6603" y="3852"/>
                    </a:cubicBezTo>
                    <a:cubicBezTo>
                      <a:pt x="6603" y="3860"/>
                      <a:pt x="6603" y="3875"/>
                      <a:pt x="6610" y="3882"/>
                    </a:cubicBezTo>
                    <a:cubicBezTo>
                      <a:pt x="6618" y="3890"/>
                      <a:pt x="6625" y="3890"/>
                      <a:pt x="6640" y="3897"/>
                    </a:cubicBezTo>
                    <a:cubicBezTo>
                      <a:pt x="6633" y="3897"/>
                      <a:pt x="6625" y="3905"/>
                      <a:pt x="6618" y="3905"/>
                    </a:cubicBezTo>
                    <a:cubicBezTo>
                      <a:pt x="6588" y="3905"/>
                      <a:pt x="6588" y="3905"/>
                      <a:pt x="6588" y="3905"/>
                    </a:cubicBezTo>
                    <a:cubicBezTo>
                      <a:pt x="6580" y="3912"/>
                      <a:pt x="6580" y="3912"/>
                      <a:pt x="6580" y="3920"/>
                    </a:cubicBezTo>
                    <a:cubicBezTo>
                      <a:pt x="6573" y="3935"/>
                      <a:pt x="6580" y="3950"/>
                      <a:pt x="6565" y="3957"/>
                    </a:cubicBezTo>
                    <a:cubicBezTo>
                      <a:pt x="6543" y="3965"/>
                      <a:pt x="6535" y="3965"/>
                      <a:pt x="6513" y="3972"/>
                    </a:cubicBezTo>
                    <a:cubicBezTo>
                      <a:pt x="6505" y="3980"/>
                      <a:pt x="6505" y="3995"/>
                      <a:pt x="6498" y="4002"/>
                    </a:cubicBezTo>
                    <a:cubicBezTo>
                      <a:pt x="6498" y="4010"/>
                      <a:pt x="6490" y="4017"/>
                      <a:pt x="6483" y="4025"/>
                    </a:cubicBezTo>
                    <a:cubicBezTo>
                      <a:pt x="6460" y="4032"/>
                      <a:pt x="6445" y="4040"/>
                      <a:pt x="6423" y="4040"/>
                    </a:cubicBezTo>
                    <a:cubicBezTo>
                      <a:pt x="6401" y="4040"/>
                      <a:pt x="6385" y="4025"/>
                      <a:pt x="6355" y="4025"/>
                    </a:cubicBezTo>
                    <a:cubicBezTo>
                      <a:pt x="6341" y="4025"/>
                      <a:pt x="6333" y="4017"/>
                      <a:pt x="6325" y="4010"/>
                    </a:cubicBezTo>
                    <a:cubicBezTo>
                      <a:pt x="6311" y="4002"/>
                      <a:pt x="6311" y="4002"/>
                      <a:pt x="6295" y="3995"/>
                    </a:cubicBezTo>
                    <a:cubicBezTo>
                      <a:pt x="6295" y="3987"/>
                      <a:pt x="6288" y="3987"/>
                      <a:pt x="6288" y="3980"/>
                    </a:cubicBezTo>
                    <a:cubicBezTo>
                      <a:pt x="6288" y="3972"/>
                      <a:pt x="6295" y="3972"/>
                      <a:pt x="6295" y="3965"/>
                    </a:cubicBezTo>
                    <a:cubicBezTo>
                      <a:pt x="6295" y="3957"/>
                      <a:pt x="6303" y="3957"/>
                      <a:pt x="6303" y="3950"/>
                    </a:cubicBezTo>
                    <a:cubicBezTo>
                      <a:pt x="6311" y="3957"/>
                      <a:pt x="6318" y="3957"/>
                      <a:pt x="6325" y="3965"/>
                    </a:cubicBezTo>
                    <a:cubicBezTo>
                      <a:pt x="6341" y="3972"/>
                      <a:pt x="6341" y="3995"/>
                      <a:pt x="6355" y="3995"/>
                    </a:cubicBezTo>
                    <a:lnTo>
                      <a:pt x="6363" y="3987"/>
                    </a:lnTo>
                    <a:cubicBezTo>
                      <a:pt x="6371" y="3987"/>
                      <a:pt x="6378" y="3980"/>
                      <a:pt x="6385" y="3980"/>
                    </a:cubicBezTo>
                    <a:cubicBezTo>
                      <a:pt x="6393" y="3965"/>
                      <a:pt x="6401" y="3965"/>
                      <a:pt x="6408" y="3957"/>
                    </a:cubicBezTo>
                    <a:cubicBezTo>
                      <a:pt x="6415" y="3950"/>
                      <a:pt x="6423" y="3950"/>
                      <a:pt x="6423" y="3942"/>
                    </a:cubicBezTo>
                    <a:cubicBezTo>
                      <a:pt x="6423" y="3927"/>
                      <a:pt x="6415" y="3927"/>
                      <a:pt x="6408" y="3920"/>
                    </a:cubicBezTo>
                    <a:cubicBezTo>
                      <a:pt x="6393" y="3912"/>
                      <a:pt x="6385" y="3912"/>
                      <a:pt x="6378" y="3912"/>
                    </a:cubicBezTo>
                    <a:cubicBezTo>
                      <a:pt x="6341" y="3912"/>
                      <a:pt x="6341" y="3912"/>
                      <a:pt x="6341" y="3912"/>
                    </a:cubicBezTo>
                    <a:cubicBezTo>
                      <a:pt x="6325" y="3912"/>
                      <a:pt x="6318" y="3897"/>
                      <a:pt x="6311" y="3890"/>
                    </a:cubicBezTo>
                    <a:cubicBezTo>
                      <a:pt x="6295" y="3905"/>
                      <a:pt x="6295" y="3920"/>
                      <a:pt x="6273" y="3927"/>
                    </a:cubicBezTo>
                    <a:cubicBezTo>
                      <a:pt x="6266" y="3927"/>
                      <a:pt x="6266" y="3935"/>
                      <a:pt x="6258" y="3935"/>
                    </a:cubicBezTo>
                    <a:cubicBezTo>
                      <a:pt x="6251" y="3935"/>
                      <a:pt x="6243" y="3927"/>
                      <a:pt x="6228" y="3935"/>
                    </a:cubicBezTo>
                    <a:cubicBezTo>
                      <a:pt x="6206" y="3935"/>
                      <a:pt x="6191" y="3950"/>
                      <a:pt x="6176" y="3972"/>
                    </a:cubicBezTo>
                    <a:cubicBezTo>
                      <a:pt x="6168" y="3980"/>
                      <a:pt x="6161" y="3987"/>
                      <a:pt x="6161" y="4002"/>
                    </a:cubicBezTo>
                    <a:cubicBezTo>
                      <a:pt x="6161" y="4025"/>
                      <a:pt x="6168" y="4032"/>
                      <a:pt x="6176" y="4047"/>
                    </a:cubicBezTo>
                    <a:cubicBezTo>
                      <a:pt x="6183" y="4062"/>
                      <a:pt x="6183" y="4070"/>
                      <a:pt x="6191" y="4085"/>
                    </a:cubicBezTo>
                    <a:cubicBezTo>
                      <a:pt x="6198" y="4092"/>
                      <a:pt x="6206" y="4092"/>
                      <a:pt x="6213" y="4100"/>
                    </a:cubicBezTo>
                    <a:cubicBezTo>
                      <a:pt x="6213" y="4107"/>
                      <a:pt x="6213" y="4107"/>
                      <a:pt x="6213" y="4107"/>
                    </a:cubicBezTo>
                    <a:lnTo>
                      <a:pt x="6213" y="4115"/>
                    </a:lnTo>
                    <a:cubicBezTo>
                      <a:pt x="6183" y="4115"/>
                      <a:pt x="6168" y="4115"/>
                      <a:pt x="6138" y="4115"/>
                    </a:cubicBezTo>
                    <a:cubicBezTo>
                      <a:pt x="6131" y="4115"/>
                      <a:pt x="6123" y="4115"/>
                      <a:pt x="6123" y="4115"/>
                    </a:cubicBezTo>
                    <a:cubicBezTo>
                      <a:pt x="6108" y="4115"/>
                      <a:pt x="6108" y="4115"/>
                      <a:pt x="6093" y="4107"/>
                    </a:cubicBezTo>
                    <a:cubicBezTo>
                      <a:pt x="6093" y="4107"/>
                      <a:pt x="6093" y="4100"/>
                      <a:pt x="6086" y="4100"/>
                    </a:cubicBezTo>
                    <a:cubicBezTo>
                      <a:pt x="5988" y="4100"/>
                      <a:pt x="5988" y="4100"/>
                      <a:pt x="5988" y="4100"/>
                    </a:cubicBezTo>
                    <a:cubicBezTo>
                      <a:pt x="5966" y="4100"/>
                      <a:pt x="5951" y="4092"/>
                      <a:pt x="5928" y="4092"/>
                    </a:cubicBezTo>
                    <a:cubicBezTo>
                      <a:pt x="5913" y="4092"/>
                      <a:pt x="5906" y="4107"/>
                      <a:pt x="5884" y="4107"/>
                    </a:cubicBezTo>
                    <a:cubicBezTo>
                      <a:pt x="5861" y="4107"/>
                      <a:pt x="5846" y="4100"/>
                      <a:pt x="5823" y="4092"/>
                    </a:cubicBezTo>
                    <a:cubicBezTo>
                      <a:pt x="5808" y="4085"/>
                      <a:pt x="5801" y="4085"/>
                      <a:pt x="5794" y="4077"/>
                    </a:cubicBezTo>
                    <a:cubicBezTo>
                      <a:pt x="5778" y="4077"/>
                      <a:pt x="5778" y="4070"/>
                      <a:pt x="5764" y="4070"/>
                    </a:cubicBezTo>
                    <a:cubicBezTo>
                      <a:pt x="5764" y="4062"/>
                      <a:pt x="5756" y="4062"/>
                      <a:pt x="5756" y="4055"/>
                    </a:cubicBezTo>
                    <a:cubicBezTo>
                      <a:pt x="5756" y="4047"/>
                      <a:pt x="5756" y="4047"/>
                      <a:pt x="5756" y="4040"/>
                    </a:cubicBezTo>
                    <a:cubicBezTo>
                      <a:pt x="5756" y="4040"/>
                      <a:pt x="5748" y="4040"/>
                      <a:pt x="5748" y="4032"/>
                    </a:cubicBezTo>
                    <a:cubicBezTo>
                      <a:pt x="5741" y="4032"/>
                      <a:pt x="5734" y="4032"/>
                      <a:pt x="5726" y="4025"/>
                    </a:cubicBezTo>
                    <a:cubicBezTo>
                      <a:pt x="5711" y="4025"/>
                      <a:pt x="5711" y="4017"/>
                      <a:pt x="5696" y="4017"/>
                    </a:cubicBezTo>
                    <a:cubicBezTo>
                      <a:pt x="5659" y="4017"/>
                      <a:pt x="5659" y="4017"/>
                      <a:pt x="5659" y="4017"/>
                    </a:cubicBezTo>
                    <a:cubicBezTo>
                      <a:pt x="5651" y="4017"/>
                      <a:pt x="5644" y="4017"/>
                      <a:pt x="5636" y="4017"/>
                    </a:cubicBezTo>
                    <a:cubicBezTo>
                      <a:pt x="5606" y="4025"/>
                      <a:pt x="5583" y="4032"/>
                      <a:pt x="5554" y="4040"/>
                    </a:cubicBezTo>
                    <a:cubicBezTo>
                      <a:pt x="5531" y="4047"/>
                      <a:pt x="5516" y="4055"/>
                      <a:pt x="5494" y="4070"/>
                    </a:cubicBezTo>
                    <a:cubicBezTo>
                      <a:pt x="5471" y="4077"/>
                      <a:pt x="5464" y="4077"/>
                      <a:pt x="5449" y="4085"/>
                    </a:cubicBezTo>
                    <a:cubicBezTo>
                      <a:pt x="5434" y="4092"/>
                      <a:pt x="5434" y="4100"/>
                      <a:pt x="5419" y="4100"/>
                    </a:cubicBezTo>
                    <a:cubicBezTo>
                      <a:pt x="5411" y="4107"/>
                      <a:pt x="5404" y="4115"/>
                      <a:pt x="5389" y="4115"/>
                    </a:cubicBezTo>
                    <a:cubicBezTo>
                      <a:pt x="5381" y="4122"/>
                      <a:pt x="5381" y="4122"/>
                      <a:pt x="5366" y="4130"/>
                    </a:cubicBezTo>
                    <a:cubicBezTo>
                      <a:pt x="5351" y="4137"/>
                      <a:pt x="5336" y="4144"/>
                      <a:pt x="5321" y="4152"/>
                    </a:cubicBezTo>
                    <a:cubicBezTo>
                      <a:pt x="5314" y="4159"/>
                      <a:pt x="5306" y="4159"/>
                      <a:pt x="5291" y="4167"/>
                    </a:cubicBezTo>
                    <a:cubicBezTo>
                      <a:pt x="5269" y="4182"/>
                      <a:pt x="5254" y="4197"/>
                      <a:pt x="5231" y="4219"/>
                    </a:cubicBezTo>
                    <a:cubicBezTo>
                      <a:pt x="5216" y="4242"/>
                      <a:pt x="5201" y="4249"/>
                      <a:pt x="5179" y="4272"/>
                    </a:cubicBezTo>
                    <a:cubicBezTo>
                      <a:pt x="5179" y="4272"/>
                      <a:pt x="5179" y="4272"/>
                      <a:pt x="5171" y="4279"/>
                    </a:cubicBezTo>
                    <a:cubicBezTo>
                      <a:pt x="5164" y="4295"/>
                      <a:pt x="5149" y="4295"/>
                      <a:pt x="5142" y="4309"/>
                    </a:cubicBezTo>
                    <a:cubicBezTo>
                      <a:pt x="5134" y="4317"/>
                      <a:pt x="5126" y="4324"/>
                      <a:pt x="5119" y="4332"/>
                    </a:cubicBezTo>
                    <a:cubicBezTo>
                      <a:pt x="5112" y="4339"/>
                      <a:pt x="5104" y="4347"/>
                      <a:pt x="5096" y="4354"/>
                    </a:cubicBezTo>
                    <a:cubicBezTo>
                      <a:pt x="5029" y="4422"/>
                      <a:pt x="5029" y="4422"/>
                      <a:pt x="5029" y="4422"/>
                    </a:cubicBezTo>
                    <a:cubicBezTo>
                      <a:pt x="5014" y="4437"/>
                      <a:pt x="5007" y="4437"/>
                      <a:pt x="4999" y="4444"/>
                    </a:cubicBezTo>
                    <a:cubicBezTo>
                      <a:pt x="4992" y="4452"/>
                      <a:pt x="4984" y="4459"/>
                      <a:pt x="4977" y="4467"/>
                    </a:cubicBezTo>
                    <a:cubicBezTo>
                      <a:pt x="4977" y="4474"/>
                      <a:pt x="4969" y="4474"/>
                      <a:pt x="4962" y="4482"/>
                    </a:cubicBezTo>
                    <a:cubicBezTo>
                      <a:pt x="4954" y="4489"/>
                      <a:pt x="4954" y="4497"/>
                      <a:pt x="4939" y="4504"/>
                    </a:cubicBezTo>
                    <a:cubicBezTo>
                      <a:pt x="4924" y="4519"/>
                      <a:pt x="4917" y="4527"/>
                      <a:pt x="4902" y="4542"/>
                    </a:cubicBezTo>
                    <a:cubicBezTo>
                      <a:pt x="4887" y="4549"/>
                      <a:pt x="4879" y="4557"/>
                      <a:pt x="4864" y="4572"/>
                    </a:cubicBezTo>
                    <a:cubicBezTo>
                      <a:pt x="4857" y="4579"/>
                      <a:pt x="4857" y="4587"/>
                      <a:pt x="4849" y="4594"/>
                    </a:cubicBezTo>
                    <a:cubicBezTo>
                      <a:pt x="4834" y="4609"/>
                      <a:pt x="4827" y="4617"/>
                      <a:pt x="4819" y="4624"/>
                    </a:cubicBezTo>
                    <a:cubicBezTo>
                      <a:pt x="4804" y="4647"/>
                      <a:pt x="4797" y="4654"/>
                      <a:pt x="4789" y="4677"/>
                    </a:cubicBezTo>
                    <a:cubicBezTo>
                      <a:pt x="4774" y="4699"/>
                      <a:pt x="4774" y="4714"/>
                      <a:pt x="4759" y="4736"/>
                    </a:cubicBezTo>
                    <a:cubicBezTo>
                      <a:pt x="4752" y="4744"/>
                      <a:pt x="4744" y="4752"/>
                      <a:pt x="4737" y="4759"/>
                    </a:cubicBezTo>
                    <a:cubicBezTo>
                      <a:pt x="4722" y="4774"/>
                      <a:pt x="4722" y="4782"/>
                      <a:pt x="4714" y="4796"/>
                    </a:cubicBezTo>
                    <a:cubicBezTo>
                      <a:pt x="4699" y="4812"/>
                      <a:pt x="4692" y="4819"/>
                      <a:pt x="4677" y="4834"/>
                    </a:cubicBezTo>
                    <a:cubicBezTo>
                      <a:pt x="4669" y="4841"/>
                      <a:pt x="4662" y="4849"/>
                      <a:pt x="4654" y="4864"/>
                    </a:cubicBezTo>
                    <a:cubicBezTo>
                      <a:pt x="4654" y="4871"/>
                      <a:pt x="4647" y="4879"/>
                      <a:pt x="4647" y="4886"/>
                    </a:cubicBezTo>
                    <a:cubicBezTo>
                      <a:pt x="4639" y="4894"/>
                      <a:pt x="4639" y="4894"/>
                      <a:pt x="4632" y="4901"/>
                    </a:cubicBezTo>
                    <a:cubicBezTo>
                      <a:pt x="4632" y="4916"/>
                      <a:pt x="4624" y="4924"/>
                      <a:pt x="4617" y="4939"/>
                    </a:cubicBezTo>
                    <a:cubicBezTo>
                      <a:pt x="4602" y="4954"/>
                      <a:pt x="4602" y="4969"/>
                      <a:pt x="4587" y="4984"/>
                    </a:cubicBezTo>
                    <a:cubicBezTo>
                      <a:pt x="4587" y="4991"/>
                      <a:pt x="4579" y="4999"/>
                      <a:pt x="4579" y="5014"/>
                    </a:cubicBezTo>
                    <a:cubicBezTo>
                      <a:pt x="4572" y="5021"/>
                      <a:pt x="4572" y="5021"/>
                      <a:pt x="4564" y="5029"/>
                    </a:cubicBezTo>
                    <a:cubicBezTo>
                      <a:pt x="4557" y="5059"/>
                      <a:pt x="4549" y="5074"/>
                      <a:pt x="4542" y="5104"/>
                    </a:cubicBezTo>
                    <a:cubicBezTo>
                      <a:pt x="4542" y="5119"/>
                      <a:pt x="4535" y="5134"/>
                      <a:pt x="4535" y="5156"/>
                    </a:cubicBezTo>
                    <a:cubicBezTo>
                      <a:pt x="4535" y="5171"/>
                      <a:pt x="4535" y="5179"/>
                      <a:pt x="4542" y="5194"/>
                    </a:cubicBezTo>
                    <a:cubicBezTo>
                      <a:pt x="4542" y="5201"/>
                      <a:pt x="4542" y="5209"/>
                      <a:pt x="4549" y="5216"/>
                    </a:cubicBezTo>
                    <a:cubicBezTo>
                      <a:pt x="4557" y="5239"/>
                      <a:pt x="4564" y="5246"/>
                      <a:pt x="4564" y="5261"/>
                    </a:cubicBezTo>
                    <a:cubicBezTo>
                      <a:pt x="4564" y="5276"/>
                      <a:pt x="4557" y="5291"/>
                      <a:pt x="4557" y="5299"/>
                    </a:cubicBezTo>
                    <a:cubicBezTo>
                      <a:pt x="4557" y="5366"/>
                      <a:pt x="4557" y="5366"/>
                      <a:pt x="4557" y="5366"/>
                    </a:cubicBezTo>
                    <a:cubicBezTo>
                      <a:pt x="4557" y="5374"/>
                      <a:pt x="4557" y="5381"/>
                      <a:pt x="4549" y="5396"/>
                    </a:cubicBezTo>
                    <a:cubicBezTo>
                      <a:pt x="4549" y="5411"/>
                      <a:pt x="4542" y="5418"/>
                      <a:pt x="4542" y="5441"/>
                    </a:cubicBezTo>
                    <a:cubicBezTo>
                      <a:pt x="4542" y="5448"/>
                      <a:pt x="4542" y="5456"/>
                      <a:pt x="4542" y="5464"/>
                    </a:cubicBezTo>
                    <a:cubicBezTo>
                      <a:pt x="4542" y="5471"/>
                      <a:pt x="4542" y="5478"/>
                      <a:pt x="4542" y="5486"/>
                    </a:cubicBezTo>
                    <a:cubicBezTo>
                      <a:pt x="4535" y="5501"/>
                      <a:pt x="4527" y="5501"/>
                      <a:pt x="4512" y="5516"/>
                    </a:cubicBezTo>
                    <a:cubicBezTo>
                      <a:pt x="4505" y="5524"/>
                      <a:pt x="4497" y="5538"/>
                      <a:pt x="4489" y="5546"/>
                    </a:cubicBezTo>
                    <a:cubicBezTo>
                      <a:pt x="4482" y="5561"/>
                      <a:pt x="4482" y="5568"/>
                      <a:pt x="4482" y="5583"/>
                    </a:cubicBezTo>
                    <a:cubicBezTo>
                      <a:pt x="4475" y="5583"/>
                      <a:pt x="4475" y="5591"/>
                      <a:pt x="4475" y="5598"/>
                    </a:cubicBezTo>
                    <a:cubicBezTo>
                      <a:pt x="4475" y="5628"/>
                      <a:pt x="4475" y="5643"/>
                      <a:pt x="4467" y="5673"/>
                    </a:cubicBezTo>
                    <a:cubicBezTo>
                      <a:pt x="4445" y="5666"/>
                      <a:pt x="4437" y="5651"/>
                      <a:pt x="4422" y="5628"/>
                    </a:cubicBezTo>
                    <a:cubicBezTo>
                      <a:pt x="4415" y="5613"/>
                      <a:pt x="4407" y="5613"/>
                      <a:pt x="4400" y="5606"/>
                    </a:cubicBezTo>
                    <a:cubicBezTo>
                      <a:pt x="4385" y="5598"/>
                      <a:pt x="4385" y="5591"/>
                      <a:pt x="4385" y="5576"/>
                    </a:cubicBezTo>
                    <a:cubicBezTo>
                      <a:pt x="4370" y="5546"/>
                      <a:pt x="4355" y="5524"/>
                      <a:pt x="4324" y="5501"/>
                    </a:cubicBezTo>
                    <a:cubicBezTo>
                      <a:pt x="4310" y="5494"/>
                      <a:pt x="4302" y="5486"/>
                      <a:pt x="4295" y="5478"/>
                    </a:cubicBezTo>
                    <a:cubicBezTo>
                      <a:pt x="4265" y="5464"/>
                      <a:pt x="4250" y="5456"/>
                      <a:pt x="4227" y="5441"/>
                    </a:cubicBezTo>
                    <a:cubicBezTo>
                      <a:pt x="4212" y="5434"/>
                      <a:pt x="4205" y="5426"/>
                      <a:pt x="4190" y="5411"/>
                    </a:cubicBezTo>
                    <a:cubicBezTo>
                      <a:pt x="4182" y="5404"/>
                      <a:pt x="4175" y="5396"/>
                      <a:pt x="4167" y="5388"/>
                    </a:cubicBezTo>
                    <a:cubicBezTo>
                      <a:pt x="4152" y="5381"/>
                      <a:pt x="4145" y="5374"/>
                      <a:pt x="4130" y="5374"/>
                    </a:cubicBezTo>
                    <a:cubicBezTo>
                      <a:pt x="4100" y="5359"/>
                      <a:pt x="4085" y="5351"/>
                      <a:pt x="4055" y="5351"/>
                    </a:cubicBezTo>
                    <a:cubicBezTo>
                      <a:pt x="4032" y="5344"/>
                      <a:pt x="4017" y="5344"/>
                      <a:pt x="3987" y="5344"/>
                    </a:cubicBezTo>
                    <a:cubicBezTo>
                      <a:pt x="3965" y="5336"/>
                      <a:pt x="3950" y="5336"/>
                      <a:pt x="3935" y="5321"/>
                    </a:cubicBezTo>
                    <a:cubicBezTo>
                      <a:pt x="3927" y="5314"/>
                      <a:pt x="3927" y="5306"/>
                      <a:pt x="3920" y="5299"/>
                    </a:cubicBezTo>
                    <a:cubicBezTo>
                      <a:pt x="3912" y="5299"/>
                      <a:pt x="3905" y="5291"/>
                      <a:pt x="3897" y="5291"/>
                    </a:cubicBezTo>
                    <a:cubicBezTo>
                      <a:pt x="3867" y="5284"/>
                      <a:pt x="3853" y="5276"/>
                      <a:pt x="3823" y="5276"/>
                    </a:cubicBezTo>
                    <a:cubicBezTo>
                      <a:pt x="3807" y="5269"/>
                      <a:pt x="3800" y="5269"/>
                      <a:pt x="3785" y="5261"/>
                    </a:cubicBezTo>
                    <a:cubicBezTo>
                      <a:pt x="3777" y="5261"/>
                      <a:pt x="3777" y="5254"/>
                      <a:pt x="3777" y="5254"/>
                    </a:cubicBezTo>
                    <a:cubicBezTo>
                      <a:pt x="3770" y="5246"/>
                      <a:pt x="3763" y="5239"/>
                      <a:pt x="3755" y="5231"/>
                    </a:cubicBezTo>
                    <a:cubicBezTo>
                      <a:pt x="3747" y="5216"/>
                      <a:pt x="3740" y="5201"/>
                      <a:pt x="3718" y="5194"/>
                    </a:cubicBezTo>
                    <a:cubicBezTo>
                      <a:pt x="3695" y="5186"/>
                      <a:pt x="3680" y="5179"/>
                      <a:pt x="3665" y="5164"/>
                    </a:cubicBezTo>
                    <a:cubicBezTo>
                      <a:pt x="3643" y="5141"/>
                      <a:pt x="3628" y="5141"/>
                      <a:pt x="3605" y="5126"/>
                    </a:cubicBezTo>
                    <a:cubicBezTo>
                      <a:pt x="3590" y="5111"/>
                      <a:pt x="3575" y="5111"/>
                      <a:pt x="3553" y="5104"/>
                    </a:cubicBezTo>
                    <a:cubicBezTo>
                      <a:pt x="3545" y="5096"/>
                      <a:pt x="3538" y="5096"/>
                      <a:pt x="3530" y="5089"/>
                    </a:cubicBezTo>
                    <a:cubicBezTo>
                      <a:pt x="3508" y="5081"/>
                      <a:pt x="3500" y="5081"/>
                      <a:pt x="3478" y="5074"/>
                    </a:cubicBezTo>
                    <a:cubicBezTo>
                      <a:pt x="3455" y="5051"/>
                      <a:pt x="3440" y="5044"/>
                      <a:pt x="3418" y="5029"/>
                    </a:cubicBezTo>
                    <a:cubicBezTo>
                      <a:pt x="3410" y="5029"/>
                      <a:pt x="3410" y="5021"/>
                      <a:pt x="3403" y="5014"/>
                    </a:cubicBezTo>
                    <a:cubicBezTo>
                      <a:pt x="3380" y="4991"/>
                      <a:pt x="3365" y="4984"/>
                      <a:pt x="3343" y="4969"/>
                    </a:cubicBezTo>
                    <a:cubicBezTo>
                      <a:pt x="3320" y="4954"/>
                      <a:pt x="3305" y="4939"/>
                      <a:pt x="3290" y="4916"/>
                    </a:cubicBezTo>
                    <a:cubicBezTo>
                      <a:pt x="3268" y="4901"/>
                      <a:pt x="3268" y="4879"/>
                      <a:pt x="3238" y="4864"/>
                    </a:cubicBezTo>
                    <a:cubicBezTo>
                      <a:pt x="3208" y="4834"/>
                      <a:pt x="3178" y="4841"/>
                      <a:pt x="3141" y="4834"/>
                    </a:cubicBezTo>
                    <a:cubicBezTo>
                      <a:pt x="3126" y="4826"/>
                      <a:pt x="3118" y="4826"/>
                      <a:pt x="3103" y="4819"/>
                    </a:cubicBezTo>
                    <a:cubicBezTo>
                      <a:pt x="3088" y="4812"/>
                      <a:pt x="3073" y="4804"/>
                      <a:pt x="3065" y="4789"/>
                    </a:cubicBezTo>
                    <a:cubicBezTo>
                      <a:pt x="3051" y="4774"/>
                      <a:pt x="3043" y="4774"/>
                      <a:pt x="3036" y="4759"/>
                    </a:cubicBezTo>
                    <a:cubicBezTo>
                      <a:pt x="3021" y="4752"/>
                      <a:pt x="3021" y="4744"/>
                      <a:pt x="3013" y="4736"/>
                    </a:cubicBezTo>
                    <a:cubicBezTo>
                      <a:pt x="3006" y="4729"/>
                      <a:pt x="2998" y="4722"/>
                      <a:pt x="2991" y="4714"/>
                    </a:cubicBezTo>
                    <a:cubicBezTo>
                      <a:pt x="2983" y="4706"/>
                      <a:pt x="2983" y="4699"/>
                      <a:pt x="2976" y="4692"/>
                    </a:cubicBezTo>
                    <a:cubicBezTo>
                      <a:pt x="2953" y="4669"/>
                      <a:pt x="2938" y="4662"/>
                      <a:pt x="2916" y="4647"/>
                    </a:cubicBezTo>
                    <a:cubicBezTo>
                      <a:pt x="2901" y="4639"/>
                      <a:pt x="2893" y="4639"/>
                      <a:pt x="2878" y="4632"/>
                    </a:cubicBezTo>
                    <a:cubicBezTo>
                      <a:pt x="2841" y="4624"/>
                      <a:pt x="2818" y="4624"/>
                      <a:pt x="2781" y="4609"/>
                    </a:cubicBezTo>
                    <a:cubicBezTo>
                      <a:pt x="2758" y="4602"/>
                      <a:pt x="2743" y="4602"/>
                      <a:pt x="2713" y="4594"/>
                    </a:cubicBezTo>
                    <a:cubicBezTo>
                      <a:pt x="2706" y="4594"/>
                      <a:pt x="2698" y="4594"/>
                      <a:pt x="2691" y="4587"/>
                    </a:cubicBezTo>
                    <a:cubicBezTo>
                      <a:pt x="2661" y="4587"/>
                      <a:pt x="2638" y="4579"/>
                      <a:pt x="2608" y="4579"/>
                    </a:cubicBezTo>
                    <a:cubicBezTo>
                      <a:pt x="2571" y="4579"/>
                      <a:pt x="2571" y="4579"/>
                      <a:pt x="2571" y="4579"/>
                    </a:cubicBezTo>
                    <a:cubicBezTo>
                      <a:pt x="2556" y="4579"/>
                      <a:pt x="2556" y="4587"/>
                      <a:pt x="2541" y="4587"/>
                    </a:cubicBezTo>
                    <a:cubicBezTo>
                      <a:pt x="2518" y="4594"/>
                      <a:pt x="2511" y="4602"/>
                      <a:pt x="2488" y="4609"/>
                    </a:cubicBezTo>
                    <a:cubicBezTo>
                      <a:pt x="2474" y="4617"/>
                      <a:pt x="2459" y="4624"/>
                      <a:pt x="2436" y="4632"/>
                    </a:cubicBezTo>
                    <a:cubicBezTo>
                      <a:pt x="2421" y="4639"/>
                      <a:pt x="2414" y="4647"/>
                      <a:pt x="2406" y="4654"/>
                    </a:cubicBezTo>
                    <a:cubicBezTo>
                      <a:pt x="2391" y="4662"/>
                      <a:pt x="2384" y="4669"/>
                      <a:pt x="2369" y="4677"/>
                    </a:cubicBezTo>
                    <a:cubicBezTo>
                      <a:pt x="2354" y="4684"/>
                      <a:pt x="2346" y="4692"/>
                      <a:pt x="2339" y="4706"/>
                    </a:cubicBezTo>
                    <a:cubicBezTo>
                      <a:pt x="2331" y="4706"/>
                      <a:pt x="2324" y="4706"/>
                      <a:pt x="2324" y="4714"/>
                    </a:cubicBezTo>
                    <a:cubicBezTo>
                      <a:pt x="2316" y="4714"/>
                      <a:pt x="2316" y="4722"/>
                      <a:pt x="2309" y="4729"/>
                    </a:cubicBezTo>
                    <a:cubicBezTo>
                      <a:pt x="2309" y="4729"/>
                      <a:pt x="2301" y="4722"/>
                      <a:pt x="2301" y="4729"/>
                    </a:cubicBezTo>
                    <a:cubicBezTo>
                      <a:pt x="2294" y="4729"/>
                      <a:pt x="2286" y="4736"/>
                      <a:pt x="2279" y="4744"/>
                    </a:cubicBezTo>
                    <a:cubicBezTo>
                      <a:pt x="2271" y="4752"/>
                      <a:pt x="2264" y="4752"/>
                      <a:pt x="2256" y="4759"/>
                    </a:cubicBezTo>
                    <a:cubicBezTo>
                      <a:pt x="2241" y="4782"/>
                      <a:pt x="2226" y="4796"/>
                      <a:pt x="2204" y="4819"/>
                    </a:cubicBezTo>
                    <a:cubicBezTo>
                      <a:pt x="2196" y="4826"/>
                      <a:pt x="2189" y="4826"/>
                      <a:pt x="2181" y="4834"/>
                    </a:cubicBezTo>
                    <a:cubicBezTo>
                      <a:pt x="2181" y="4841"/>
                      <a:pt x="2174" y="4849"/>
                      <a:pt x="2166" y="4849"/>
                    </a:cubicBezTo>
                    <a:lnTo>
                      <a:pt x="2159" y="4849"/>
                    </a:lnTo>
                    <a:cubicBezTo>
                      <a:pt x="2151" y="4856"/>
                      <a:pt x="2151" y="4856"/>
                      <a:pt x="2144" y="4856"/>
                    </a:cubicBezTo>
                    <a:cubicBezTo>
                      <a:pt x="2129" y="4864"/>
                      <a:pt x="2114" y="4871"/>
                      <a:pt x="2099" y="4879"/>
                    </a:cubicBezTo>
                    <a:cubicBezTo>
                      <a:pt x="2091" y="4894"/>
                      <a:pt x="2084" y="4901"/>
                      <a:pt x="2076" y="4909"/>
                    </a:cubicBezTo>
                    <a:cubicBezTo>
                      <a:pt x="2047" y="4939"/>
                      <a:pt x="2031" y="4961"/>
                      <a:pt x="2001" y="4991"/>
                    </a:cubicBezTo>
                    <a:cubicBezTo>
                      <a:pt x="1987" y="5014"/>
                      <a:pt x="1971" y="5021"/>
                      <a:pt x="1949" y="5044"/>
                    </a:cubicBezTo>
                    <a:cubicBezTo>
                      <a:pt x="1941" y="5051"/>
                      <a:pt x="1941" y="5059"/>
                      <a:pt x="1934" y="5066"/>
                    </a:cubicBezTo>
                    <a:cubicBezTo>
                      <a:pt x="1934" y="5074"/>
                      <a:pt x="1927" y="5074"/>
                      <a:pt x="1927" y="5081"/>
                    </a:cubicBezTo>
                    <a:cubicBezTo>
                      <a:pt x="1927" y="5089"/>
                      <a:pt x="1927" y="5089"/>
                      <a:pt x="1919" y="5089"/>
                    </a:cubicBezTo>
                    <a:cubicBezTo>
                      <a:pt x="1911" y="5089"/>
                      <a:pt x="1911" y="5089"/>
                      <a:pt x="1911" y="5089"/>
                    </a:cubicBezTo>
                    <a:cubicBezTo>
                      <a:pt x="1897" y="5089"/>
                      <a:pt x="1889" y="5081"/>
                      <a:pt x="1882" y="5074"/>
                    </a:cubicBezTo>
                    <a:cubicBezTo>
                      <a:pt x="1867" y="5066"/>
                      <a:pt x="1867" y="5059"/>
                      <a:pt x="1859" y="5051"/>
                    </a:cubicBezTo>
                    <a:cubicBezTo>
                      <a:pt x="1852" y="5044"/>
                      <a:pt x="1837" y="5044"/>
                      <a:pt x="1837" y="5029"/>
                    </a:cubicBezTo>
                    <a:cubicBezTo>
                      <a:pt x="1837" y="5021"/>
                      <a:pt x="1844" y="5014"/>
                      <a:pt x="1844" y="4999"/>
                    </a:cubicBezTo>
                    <a:lnTo>
                      <a:pt x="1837" y="4991"/>
                    </a:lnTo>
                    <a:cubicBezTo>
                      <a:pt x="1829" y="4991"/>
                      <a:pt x="1829" y="4984"/>
                      <a:pt x="1822" y="4984"/>
                    </a:cubicBezTo>
                    <a:cubicBezTo>
                      <a:pt x="1814" y="4976"/>
                      <a:pt x="1807" y="4969"/>
                      <a:pt x="1807" y="4961"/>
                    </a:cubicBezTo>
                    <a:cubicBezTo>
                      <a:pt x="1799" y="4954"/>
                      <a:pt x="1799" y="4946"/>
                      <a:pt x="1799" y="4939"/>
                    </a:cubicBezTo>
                    <a:cubicBezTo>
                      <a:pt x="1799" y="4924"/>
                      <a:pt x="1792" y="4916"/>
                      <a:pt x="1784" y="4901"/>
                    </a:cubicBezTo>
                    <a:cubicBezTo>
                      <a:pt x="1784" y="4886"/>
                      <a:pt x="1784" y="4886"/>
                      <a:pt x="1777" y="4871"/>
                    </a:cubicBezTo>
                    <a:cubicBezTo>
                      <a:pt x="1777" y="4864"/>
                      <a:pt x="1769" y="4856"/>
                      <a:pt x="1754" y="4849"/>
                    </a:cubicBezTo>
                    <a:cubicBezTo>
                      <a:pt x="1739" y="4826"/>
                      <a:pt x="1724" y="4812"/>
                      <a:pt x="1694" y="4804"/>
                    </a:cubicBezTo>
                    <a:cubicBezTo>
                      <a:pt x="1679" y="4796"/>
                      <a:pt x="1672" y="4796"/>
                      <a:pt x="1664" y="4789"/>
                    </a:cubicBezTo>
                    <a:cubicBezTo>
                      <a:pt x="1649" y="4782"/>
                      <a:pt x="1649" y="4766"/>
                      <a:pt x="1649" y="4752"/>
                    </a:cubicBezTo>
                    <a:cubicBezTo>
                      <a:pt x="1642" y="4736"/>
                      <a:pt x="1634" y="4729"/>
                      <a:pt x="1619" y="4714"/>
                    </a:cubicBezTo>
                    <a:cubicBezTo>
                      <a:pt x="1612" y="4699"/>
                      <a:pt x="1604" y="4692"/>
                      <a:pt x="1597" y="4684"/>
                    </a:cubicBezTo>
                    <a:cubicBezTo>
                      <a:pt x="1589" y="4669"/>
                      <a:pt x="1582" y="4662"/>
                      <a:pt x="1574" y="4654"/>
                    </a:cubicBezTo>
                    <a:cubicBezTo>
                      <a:pt x="1567" y="4654"/>
                      <a:pt x="1567" y="4654"/>
                      <a:pt x="1559" y="4654"/>
                    </a:cubicBezTo>
                    <a:cubicBezTo>
                      <a:pt x="1544" y="4654"/>
                      <a:pt x="1537" y="4654"/>
                      <a:pt x="1522" y="4654"/>
                    </a:cubicBezTo>
                    <a:cubicBezTo>
                      <a:pt x="1499" y="4654"/>
                      <a:pt x="1484" y="4654"/>
                      <a:pt x="1454" y="4654"/>
                    </a:cubicBezTo>
                    <a:cubicBezTo>
                      <a:pt x="1439" y="4654"/>
                      <a:pt x="1432" y="4654"/>
                      <a:pt x="1417" y="4654"/>
                    </a:cubicBezTo>
                    <a:cubicBezTo>
                      <a:pt x="1372" y="4654"/>
                      <a:pt x="1372" y="4654"/>
                      <a:pt x="1372" y="4654"/>
                    </a:cubicBezTo>
                    <a:lnTo>
                      <a:pt x="1364" y="4654"/>
                    </a:lnTo>
                    <a:cubicBezTo>
                      <a:pt x="1312" y="4654"/>
                      <a:pt x="1312" y="4654"/>
                      <a:pt x="1312" y="4654"/>
                    </a:cubicBezTo>
                    <a:cubicBezTo>
                      <a:pt x="1297" y="4654"/>
                      <a:pt x="1289" y="4669"/>
                      <a:pt x="1282" y="4677"/>
                    </a:cubicBezTo>
                    <a:cubicBezTo>
                      <a:pt x="1267" y="4714"/>
                      <a:pt x="1252" y="4729"/>
                      <a:pt x="1229" y="4759"/>
                    </a:cubicBezTo>
                    <a:cubicBezTo>
                      <a:pt x="1222" y="4759"/>
                      <a:pt x="1215" y="4766"/>
                      <a:pt x="1207" y="4774"/>
                    </a:cubicBezTo>
                    <a:cubicBezTo>
                      <a:pt x="1192" y="4789"/>
                      <a:pt x="1177" y="4796"/>
                      <a:pt x="1170" y="4819"/>
                    </a:cubicBezTo>
                    <a:cubicBezTo>
                      <a:pt x="1162" y="4834"/>
                      <a:pt x="1162" y="4849"/>
                      <a:pt x="1155" y="4856"/>
                    </a:cubicBezTo>
                    <a:cubicBezTo>
                      <a:pt x="1140" y="4894"/>
                      <a:pt x="1140" y="4916"/>
                      <a:pt x="1125" y="4946"/>
                    </a:cubicBezTo>
                    <a:cubicBezTo>
                      <a:pt x="1117" y="4976"/>
                      <a:pt x="1110" y="4999"/>
                      <a:pt x="1102" y="5029"/>
                    </a:cubicBezTo>
                    <a:cubicBezTo>
                      <a:pt x="1102" y="5036"/>
                      <a:pt x="1102" y="5036"/>
                      <a:pt x="1102" y="5036"/>
                    </a:cubicBezTo>
                    <a:cubicBezTo>
                      <a:pt x="1102" y="5126"/>
                      <a:pt x="1102" y="5126"/>
                      <a:pt x="1102" y="5126"/>
                    </a:cubicBezTo>
                    <a:cubicBezTo>
                      <a:pt x="1102" y="5141"/>
                      <a:pt x="1095" y="5156"/>
                      <a:pt x="1102" y="5179"/>
                    </a:cubicBezTo>
                    <a:cubicBezTo>
                      <a:pt x="1110" y="5194"/>
                      <a:pt x="1125" y="5209"/>
                      <a:pt x="1147" y="5209"/>
                    </a:cubicBezTo>
                    <a:cubicBezTo>
                      <a:pt x="1170" y="5209"/>
                      <a:pt x="1185" y="5209"/>
                      <a:pt x="1199" y="5209"/>
                    </a:cubicBezTo>
                    <a:cubicBezTo>
                      <a:pt x="1222" y="5216"/>
                      <a:pt x="1229" y="5231"/>
                      <a:pt x="1252" y="5246"/>
                    </a:cubicBezTo>
                    <a:cubicBezTo>
                      <a:pt x="1275" y="5261"/>
                      <a:pt x="1289" y="5276"/>
                      <a:pt x="1312" y="5299"/>
                    </a:cubicBezTo>
                    <a:cubicBezTo>
                      <a:pt x="1327" y="5306"/>
                      <a:pt x="1335" y="5314"/>
                      <a:pt x="1342" y="5321"/>
                    </a:cubicBezTo>
                    <a:cubicBezTo>
                      <a:pt x="1364" y="5336"/>
                      <a:pt x="1379" y="5344"/>
                      <a:pt x="1387" y="5366"/>
                    </a:cubicBezTo>
                    <a:cubicBezTo>
                      <a:pt x="1394" y="5374"/>
                      <a:pt x="1402" y="5381"/>
                      <a:pt x="1409" y="5388"/>
                    </a:cubicBezTo>
                    <a:cubicBezTo>
                      <a:pt x="1417" y="5396"/>
                      <a:pt x="1417" y="5396"/>
                      <a:pt x="1424" y="5396"/>
                    </a:cubicBezTo>
                    <a:cubicBezTo>
                      <a:pt x="1424" y="5396"/>
                      <a:pt x="1424" y="5396"/>
                      <a:pt x="1432" y="5396"/>
                    </a:cubicBezTo>
                    <a:cubicBezTo>
                      <a:pt x="1447" y="5396"/>
                      <a:pt x="1454" y="5388"/>
                      <a:pt x="1469" y="5381"/>
                    </a:cubicBezTo>
                    <a:cubicBezTo>
                      <a:pt x="1484" y="5381"/>
                      <a:pt x="1492" y="5381"/>
                      <a:pt x="1499" y="5381"/>
                    </a:cubicBezTo>
                    <a:cubicBezTo>
                      <a:pt x="1522" y="5374"/>
                      <a:pt x="1537" y="5366"/>
                      <a:pt x="1559" y="5366"/>
                    </a:cubicBezTo>
                    <a:cubicBezTo>
                      <a:pt x="1582" y="5366"/>
                      <a:pt x="1597" y="5374"/>
                      <a:pt x="1612" y="5388"/>
                    </a:cubicBezTo>
                    <a:cubicBezTo>
                      <a:pt x="1619" y="5396"/>
                      <a:pt x="1627" y="5396"/>
                      <a:pt x="1634" y="5404"/>
                    </a:cubicBezTo>
                    <a:cubicBezTo>
                      <a:pt x="1642" y="5411"/>
                      <a:pt x="1642" y="5418"/>
                      <a:pt x="1649" y="5426"/>
                    </a:cubicBezTo>
                    <a:cubicBezTo>
                      <a:pt x="1664" y="5434"/>
                      <a:pt x="1664" y="5441"/>
                      <a:pt x="1672" y="5456"/>
                    </a:cubicBezTo>
                    <a:cubicBezTo>
                      <a:pt x="1679" y="5464"/>
                      <a:pt x="1679" y="5471"/>
                      <a:pt x="1687" y="5478"/>
                    </a:cubicBezTo>
                    <a:cubicBezTo>
                      <a:pt x="1687" y="5486"/>
                      <a:pt x="1687" y="5494"/>
                      <a:pt x="1694" y="5501"/>
                    </a:cubicBezTo>
                    <a:cubicBezTo>
                      <a:pt x="1709" y="5516"/>
                      <a:pt x="1717" y="5524"/>
                      <a:pt x="1732" y="5531"/>
                    </a:cubicBezTo>
                    <a:cubicBezTo>
                      <a:pt x="1754" y="5553"/>
                      <a:pt x="1769" y="5561"/>
                      <a:pt x="1792" y="5583"/>
                    </a:cubicBezTo>
                    <a:cubicBezTo>
                      <a:pt x="1814" y="5606"/>
                      <a:pt x="1814" y="5628"/>
                      <a:pt x="1837" y="5651"/>
                    </a:cubicBezTo>
                    <a:cubicBezTo>
                      <a:pt x="1844" y="5658"/>
                      <a:pt x="1844" y="5658"/>
                      <a:pt x="1852" y="5666"/>
                    </a:cubicBezTo>
                    <a:cubicBezTo>
                      <a:pt x="1874" y="5681"/>
                      <a:pt x="1882" y="5696"/>
                      <a:pt x="1897" y="5711"/>
                    </a:cubicBezTo>
                    <a:cubicBezTo>
                      <a:pt x="1919" y="5718"/>
                      <a:pt x="1927" y="5726"/>
                      <a:pt x="1941" y="5733"/>
                    </a:cubicBezTo>
                    <a:cubicBezTo>
                      <a:pt x="1971" y="5741"/>
                      <a:pt x="1987" y="5741"/>
                      <a:pt x="2009" y="5748"/>
                    </a:cubicBezTo>
                    <a:cubicBezTo>
                      <a:pt x="2024" y="5748"/>
                      <a:pt x="2031" y="5748"/>
                      <a:pt x="2047" y="5756"/>
                    </a:cubicBezTo>
                    <a:cubicBezTo>
                      <a:pt x="2054" y="5756"/>
                      <a:pt x="2069" y="5756"/>
                      <a:pt x="2069" y="5771"/>
                    </a:cubicBezTo>
                    <a:cubicBezTo>
                      <a:pt x="2069" y="5801"/>
                      <a:pt x="2069" y="5801"/>
                      <a:pt x="2069" y="5801"/>
                    </a:cubicBezTo>
                    <a:cubicBezTo>
                      <a:pt x="2069" y="5816"/>
                      <a:pt x="2061" y="5831"/>
                      <a:pt x="2076" y="5838"/>
                    </a:cubicBezTo>
                    <a:cubicBezTo>
                      <a:pt x="2084" y="5846"/>
                      <a:pt x="2099" y="5838"/>
                      <a:pt x="2106" y="5853"/>
                    </a:cubicBezTo>
                    <a:cubicBezTo>
                      <a:pt x="2099" y="5861"/>
                      <a:pt x="2099" y="5868"/>
                      <a:pt x="2091" y="5883"/>
                    </a:cubicBezTo>
                    <a:cubicBezTo>
                      <a:pt x="2084" y="5891"/>
                      <a:pt x="2084" y="5891"/>
                      <a:pt x="2076" y="5891"/>
                    </a:cubicBezTo>
                    <a:cubicBezTo>
                      <a:pt x="2069" y="5891"/>
                      <a:pt x="2061" y="5891"/>
                      <a:pt x="2054" y="5891"/>
                    </a:cubicBezTo>
                    <a:cubicBezTo>
                      <a:pt x="2039" y="5891"/>
                      <a:pt x="2031" y="5906"/>
                      <a:pt x="2017" y="5913"/>
                    </a:cubicBezTo>
                    <a:cubicBezTo>
                      <a:pt x="2009" y="5928"/>
                      <a:pt x="2001" y="5928"/>
                      <a:pt x="1994" y="5935"/>
                    </a:cubicBezTo>
                    <a:cubicBezTo>
                      <a:pt x="1987" y="5951"/>
                      <a:pt x="1987" y="5958"/>
                      <a:pt x="1979" y="5965"/>
                    </a:cubicBezTo>
                    <a:cubicBezTo>
                      <a:pt x="1971" y="5965"/>
                      <a:pt x="1964" y="5965"/>
                      <a:pt x="1957" y="5965"/>
                    </a:cubicBezTo>
                    <a:cubicBezTo>
                      <a:pt x="1941" y="5973"/>
                      <a:pt x="1941" y="5981"/>
                      <a:pt x="1927" y="5981"/>
                    </a:cubicBezTo>
                    <a:cubicBezTo>
                      <a:pt x="1911" y="5988"/>
                      <a:pt x="1904" y="5988"/>
                      <a:pt x="1889" y="5995"/>
                    </a:cubicBezTo>
                    <a:cubicBezTo>
                      <a:pt x="1882" y="6003"/>
                      <a:pt x="1882" y="6003"/>
                      <a:pt x="1874" y="6003"/>
                    </a:cubicBezTo>
                    <a:cubicBezTo>
                      <a:pt x="1859" y="6003"/>
                      <a:pt x="1859" y="5988"/>
                      <a:pt x="1852" y="5981"/>
                    </a:cubicBezTo>
                    <a:cubicBezTo>
                      <a:pt x="1852" y="5973"/>
                      <a:pt x="1844" y="5965"/>
                      <a:pt x="1829" y="5958"/>
                    </a:cubicBezTo>
                    <a:cubicBezTo>
                      <a:pt x="1807" y="5951"/>
                      <a:pt x="1792" y="5943"/>
                      <a:pt x="1769" y="5928"/>
                    </a:cubicBezTo>
                    <a:cubicBezTo>
                      <a:pt x="1754" y="5921"/>
                      <a:pt x="1739" y="5921"/>
                      <a:pt x="1724" y="5913"/>
                    </a:cubicBezTo>
                    <a:cubicBezTo>
                      <a:pt x="1717" y="5913"/>
                      <a:pt x="1709" y="5913"/>
                      <a:pt x="1709" y="5913"/>
                    </a:cubicBezTo>
                    <a:cubicBezTo>
                      <a:pt x="1694" y="5913"/>
                      <a:pt x="1687" y="5913"/>
                      <a:pt x="1672" y="5913"/>
                    </a:cubicBezTo>
                    <a:cubicBezTo>
                      <a:pt x="1657" y="5906"/>
                      <a:pt x="1657" y="5906"/>
                      <a:pt x="1642" y="5906"/>
                    </a:cubicBezTo>
                    <a:cubicBezTo>
                      <a:pt x="1627" y="5906"/>
                      <a:pt x="1619" y="5906"/>
                      <a:pt x="1604" y="5913"/>
                    </a:cubicBezTo>
                    <a:cubicBezTo>
                      <a:pt x="1597" y="5921"/>
                      <a:pt x="1589" y="5928"/>
                      <a:pt x="1582" y="5935"/>
                    </a:cubicBezTo>
                    <a:cubicBezTo>
                      <a:pt x="1582" y="5943"/>
                      <a:pt x="1582" y="5951"/>
                      <a:pt x="1574" y="5951"/>
                    </a:cubicBezTo>
                    <a:cubicBezTo>
                      <a:pt x="1567" y="5951"/>
                      <a:pt x="1559" y="5943"/>
                      <a:pt x="1559" y="5935"/>
                    </a:cubicBezTo>
                    <a:cubicBezTo>
                      <a:pt x="1559" y="5928"/>
                      <a:pt x="1567" y="5928"/>
                      <a:pt x="1567" y="5921"/>
                    </a:cubicBezTo>
                    <a:cubicBezTo>
                      <a:pt x="1574" y="5913"/>
                      <a:pt x="1574" y="5906"/>
                      <a:pt x="1582" y="5898"/>
                    </a:cubicBezTo>
                    <a:cubicBezTo>
                      <a:pt x="1582" y="5891"/>
                      <a:pt x="1589" y="5891"/>
                      <a:pt x="1589" y="5883"/>
                    </a:cubicBezTo>
                    <a:cubicBezTo>
                      <a:pt x="1589" y="5868"/>
                      <a:pt x="1574" y="5861"/>
                      <a:pt x="1567" y="5853"/>
                    </a:cubicBezTo>
                    <a:cubicBezTo>
                      <a:pt x="1552" y="5846"/>
                      <a:pt x="1544" y="5831"/>
                      <a:pt x="1537" y="5831"/>
                    </a:cubicBezTo>
                    <a:cubicBezTo>
                      <a:pt x="1522" y="5831"/>
                      <a:pt x="1514" y="5846"/>
                      <a:pt x="1499" y="5853"/>
                    </a:cubicBezTo>
                    <a:cubicBezTo>
                      <a:pt x="1492" y="5861"/>
                      <a:pt x="1484" y="5868"/>
                      <a:pt x="1484" y="5876"/>
                    </a:cubicBezTo>
                    <a:cubicBezTo>
                      <a:pt x="1469" y="5898"/>
                      <a:pt x="1454" y="5906"/>
                      <a:pt x="1447" y="5935"/>
                    </a:cubicBezTo>
                    <a:cubicBezTo>
                      <a:pt x="1447" y="5943"/>
                      <a:pt x="1439" y="5951"/>
                      <a:pt x="1439" y="5958"/>
                    </a:cubicBezTo>
                    <a:cubicBezTo>
                      <a:pt x="1432" y="5965"/>
                      <a:pt x="1432" y="5965"/>
                      <a:pt x="1424" y="5973"/>
                    </a:cubicBezTo>
                    <a:cubicBezTo>
                      <a:pt x="1417" y="5973"/>
                      <a:pt x="1417" y="5981"/>
                      <a:pt x="1402" y="5981"/>
                    </a:cubicBezTo>
                    <a:cubicBezTo>
                      <a:pt x="1387" y="5995"/>
                      <a:pt x="1379" y="5995"/>
                      <a:pt x="1357" y="6011"/>
                    </a:cubicBezTo>
                    <a:cubicBezTo>
                      <a:pt x="1349" y="6018"/>
                      <a:pt x="1349" y="6025"/>
                      <a:pt x="1335" y="6025"/>
                    </a:cubicBezTo>
                    <a:cubicBezTo>
                      <a:pt x="1327" y="6025"/>
                      <a:pt x="1319" y="6018"/>
                      <a:pt x="1305" y="6018"/>
                    </a:cubicBezTo>
                    <a:cubicBezTo>
                      <a:pt x="1297" y="6011"/>
                      <a:pt x="1297" y="6011"/>
                      <a:pt x="1289" y="6011"/>
                    </a:cubicBezTo>
                    <a:cubicBezTo>
                      <a:pt x="1282" y="6011"/>
                      <a:pt x="1282" y="6018"/>
                      <a:pt x="1282" y="6025"/>
                    </a:cubicBezTo>
                    <a:cubicBezTo>
                      <a:pt x="1275" y="6033"/>
                      <a:pt x="1275" y="6033"/>
                      <a:pt x="1275" y="6041"/>
                    </a:cubicBezTo>
                    <a:cubicBezTo>
                      <a:pt x="1267" y="6055"/>
                      <a:pt x="1267" y="6070"/>
                      <a:pt x="1259" y="6085"/>
                    </a:cubicBezTo>
                    <a:cubicBezTo>
                      <a:pt x="1259" y="6108"/>
                      <a:pt x="1259" y="6123"/>
                      <a:pt x="1252" y="6145"/>
                    </a:cubicBezTo>
                    <a:cubicBezTo>
                      <a:pt x="1252" y="6153"/>
                      <a:pt x="1252" y="6160"/>
                      <a:pt x="1252" y="6168"/>
                    </a:cubicBezTo>
                    <a:cubicBezTo>
                      <a:pt x="1252" y="6205"/>
                      <a:pt x="1252" y="6205"/>
                      <a:pt x="1252" y="6205"/>
                    </a:cubicBezTo>
                    <a:cubicBezTo>
                      <a:pt x="1252" y="6228"/>
                      <a:pt x="1267" y="6243"/>
                      <a:pt x="1267" y="6265"/>
                    </a:cubicBezTo>
                    <a:cubicBezTo>
                      <a:pt x="1267" y="6273"/>
                      <a:pt x="1267" y="6280"/>
                      <a:pt x="1259" y="6280"/>
                    </a:cubicBezTo>
                    <a:cubicBezTo>
                      <a:pt x="1259" y="6288"/>
                      <a:pt x="1252" y="6288"/>
                      <a:pt x="1245" y="6288"/>
                    </a:cubicBezTo>
                    <a:cubicBezTo>
                      <a:pt x="1229" y="6295"/>
                      <a:pt x="1222" y="6295"/>
                      <a:pt x="1207" y="6303"/>
                    </a:cubicBezTo>
                    <a:cubicBezTo>
                      <a:pt x="1170" y="6318"/>
                      <a:pt x="1147" y="6318"/>
                      <a:pt x="1117" y="6333"/>
                    </a:cubicBezTo>
                    <a:cubicBezTo>
                      <a:pt x="1102" y="6340"/>
                      <a:pt x="1087" y="6348"/>
                      <a:pt x="1080" y="6355"/>
                    </a:cubicBezTo>
                    <a:cubicBezTo>
                      <a:pt x="1072" y="6355"/>
                      <a:pt x="1065" y="6363"/>
                      <a:pt x="1057" y="6370"/>
                    </a:cubicBezTo>
                    <a:cubicBezTo>
                      <a:pt x="1050" y="6378"/>
                      <a:pt x="1050" y="6385"/>
                      <a:pt x="1050" y="6393"/>
                    </a:cubicBezTo>
                    <a:cubicBezTo>
                      <a:pt x="1042" y="6408"/>
                      <a:pt x="1035" y="6415"/>
                      <a:pt x="1027" y="6430"/>
                    </a:cubicBezTo>
                    <a:cubicBezTo>
                      <a:pt x="1027" y="6445"/>
                      <a:pt x="1020" y="6453"/>
                      <a:pt x="1012" y="6460"/>
                    </a:cubicBezTo>
                    <a:cubicBezTo>
                      <a:pt x="1012" y="6468"/>
                      <a:pt x="1005" y="6475"/>
                      <a:pt x="997" y="6475"/>
                    </a:cubicBezTo>
                    <a:cubicBezTo>
                      <a:pt x="990" y="6475"/>
                      <a:pt x="990" y="6468"/>
                      <a:pt x="982" y="6468"/>
                    </a:cubicBezTo>
                    <a:cubicBezTo>
                      <a:pt x="967" y="6460"/>
                      <a:pt x="960" y="6460"/>
                      <a:pt x="952" y="6453"/>
                    </a:cubicBezTo>
                    <a:cubicBezTo>
                      <a:pt x="945" y="6438"/>
                      <a:pt x="937" y="6430"/>
                      <a:pt x="922" y="6430"/>
                    </a:cubicBezTo>
                    <a:cubicBezTo>
                      <a:pt x="900" y="6430"/>
                      <a:pt x="885" y="6438"/>
                      <a:pt x="862" y="6438"/>
                    </a:cubicBezTo>
                    <a:cubicBezTo>
                      <a:pt x="855" y="6438"/>
                      <a:pt x="847" y="6430"/>
                      <a:pt x="840" y="6415"/>
                    </a:cubicBezTo>
                    <a:cubicBezTo>
                      <a:pt x="832" y="6408"/>
                      <a:pt x="825" y="6393"/>
                      <a:pt x="817" y="6378"/>
                    </a:cubicBezTo>
                    <a:cubicBezTo>
                      <a:pt x="802" y="6355"/>
                      <a:pt x="795" y="6340"/>
                      <a:pt x="780" y="6310"/>
                    </a:cubicBezTo>
                    <a:cubicBezTo>
                      <a:pt x="772" y="6288"/>
                      <a:pt x="780" y="6273"/>
                      <a:pt x="765" y="6250"/>
                    </a:cubicBezTo>
                    <a:cubicBezTo>
                      <a:pt x="758" y="6235"/>
                      <a:pt x="758" y="6220"/>
                      <a:pt x="758" y="6198"/>
                    </a:cubicBezTo>
                    <a:cubicBezTo>
                      <a:pt x="750" y="6190"/>
                      <a:pt x="750" y="6183"/>
                      <a:pt x="750" y="6175"/>
                    </a:cubicBezTo>
                    <a:cubicBezTo>
                      <a:pt x="750" y="6153"/>
                      <a:pt x="758" y="6145"/>
                      <a:pt x="758" y="6123"/>
                    </a:cubicBezTo>
                    <a:cubicBezTo>
                      <a:pt x="758" y="6115"/>
                      <a:pt x="772" y="6108"/>
                      <a:pt x="772" y="6100"/>
                    </a:cubicBezTo>
                    <a:cubicBezTo>
                      <a:pt x="772" y="6063"/>
                      <a:pt x="772" y="6063"/>
                      <a:pt x="772" y="6063"/>
                    </a:cubicBezTo>
                    <a:cubicBezTo>
                      <a:pt x="772" y="6055"/>
                      <a:pt x="772" y="6055"/>
                      <a:pt x="772" y="6048"/>
                    </a:cubicBezTo>
                    <a:cubicBezTo>
                      <a:pt x="780" y="6033"/>
                      <a:pt x="787" y="6025"/>
                      <a:pt x="795" y="6011"/>
                    </a:cubicBezTo>
                    <a:cubicBezTo>
                      <a:pt x="810" y="5988"/>
                      <a:pt x="817" y="5981"/>
                      <a:pt x="832" y="5958"/>
                    </a:cubicBezTo>
                    <a:cubicBezTo>
                      <a:pt x="832" y="5951"/>
                      <a:pt x="840" y="5943"/>
                      <a:pt x="847" y="5935"/>
                    </a:cubicBezTo>
                    <a:cubicBezTo>
                      <a:pt x="847" y="5928"/>
                      <a:pt x="855" y="5921"/>
                      <a:pt x="862" y="5913"/>
                    </a:cubicBezTo>
                    <a:cubicBezTo>
                      <a:pt x="862" y="5906"/>
                      <a:pt x="862" y="5898"/>
                      <a:pt x="862" y="5883"/>
                    </a:cubicBezTo>
                    <a:cubicBezTo>
                      <a:pt x="862" y="5868"/>
                      <a:pt x="862" y="5861"/>
                      <a:pt x="870" y="5846"/>
                    </a:cubicBezTo>
                    <a:cubicBezTo>
                      <a:pt x="877" y="5846"/>
                      <a:pt x="877" y="5846"/>
                      <a:pt x="877" y="5846"/>
                    </a:cubicBezTo>
                    <a:cubicBezTo>
                      <a:pt x="892" y="5853"/>
                      <a:pt x="892" y="5853"/>
                      <a:pt x="892" y="5853"/>
                    </a:cubicBezTo>
                    <a:cubicBezTo>
                      <a:pt x="907" y="5846"/>
                      <a:pt x="915" y="5831"/>
                      <a:pt x="915" y="5816"/>
                    </a:cubicBezTo>
                    <a:cubicBezTo>
                      <a:pt x="915" y="5793"/>
                      <a:pt x="915" y="5778"/>
                      <a:pt x="922" y="5756"/>
                    </a:cubicBezTo>
                    <a:cubicBezTo>
                      <a:pt x="922" y="5748"/>
                      <a:pt x="922" y="5748"/>
                      <a:pt x="922" y="5741"/>
                    </a:cubicBezTo>
                    <a:cubicBezTo>
                      <a:pt x="922" y="5718"/>
                      <a:pt x="930" y="5703"/>
                      <a:pt x="930" y="5681"/>
                    </a:cubicBezTo>
                    <a:cubicBezTo>
                      <a:pt x="930" y="5658"/>
                      <a:pt x="922" y="5651"/>
                      <a:pt x="915" y="5636"/>
                    </a:cubicBezTo>
                    <a:cubicBezTo>
                      <a:pt x="915" y="5613"/>
                      <a:pt x="915" y="5606"/>
                      <a:pt x="915" y="5591"/>
                    </a:cubicBezTo>
                    <a:cubicBezTo>
                      <a:pt x="907" y="5576"/>
                      <a:pt x="907" y="5568"/>
                      <a:pt x="907" y="5561"/>
                    </a:cubicBezTo>
                    <a:cubicBezTo>
                      <a:pt x="892" y="5538"/>
                      <a:pt x="885" y="5531"/>
                      <a:pt x="870" y="5508"/>
                    </a:cubicBezTo>
                    <a:cubicBezTo>
                      <a:pt x="862" y="5501"/>
                      <a:pt x="855" y="5494"/>
                      <a:pt x="847" y="5478"/>
                    </a:cubicBezTo>
                    <a:cubicBezTo>
                      <a:pt x="840" y="5464"/>
                      <a:pt x="840" y="5456"/>
                      <a:pt x="832" y="5448"/>
                    </a:cubicBezTo>
                    <a:cubicBezTo>
                      <a:pt x="825" y="5426"/>
                      <a:pt x="817" y="5418"/>
                      <a:pt x="810" y="5404"/>
                    </a:cubicBezTo>
                    <a:cubicBezTo>
                      <a:pt x="802" y="5396"/>
                      <a:pt x="802" y="5388"/>
                      <a:pt x="795" y="5381"/>
                    </a:cubicBezTo>
                    <a:cubicBezTo>
                      <a:pt x="787" y="5381"/>
                      <a:pt x="780" y="5374"/>
                      <a:pt x="765" y="5374"/>
                    </a:cubicBezTo>
                    <a:cubicBezTo>
                      <a:pt x="735" y="5366"/>
                      <a:pt x="712" y="5374"/>
                      <a:pt x="690" y="5359"/>
                    </a:cubicBezTo>
                    <a:cubicBezTo>
                      <a:pt x="675" y="5351"/>
                      <a:pt x="668" y="5336"/>
                      <a:pt x="660" y="5321"/>
                    </a:cubicBezTo>
                    <a:cubicBezTo>
                      <a:pt x="652" y="5306"/>
                      <a:pt x="652" y="5299"/>
                      <a:pt x="645" y="5284"/>
                    </a:cubicBezTo>
                    <a:cubicBezTo>
                      <a:pt x="638" y="5254"/>
                      <a:pt x="623" y="5231"/>
                      <a:pt x="593" y="5224"/>
                    </a:cubicBezTo>
                    <a:cubicBezTo>
                      <a:pt x="578" y="5216"/>
                      <a:pt x="570" y="5209"/>
                      <a:pt x="555" y="5201"/>
                    </a:cubicBezTo>
                    <a:cubicBezTo>
                      <a:pt x="533" y="5194"/>
                      <a:pt x="525" y="5179"/>
                      <a:pt x="525" y="5164"/>
                    </a:cubicBezTo>
                    <a:cubicBezTo>
                      <a:pt x="525" y="5149"/>
                      <a:pt x="525" y="5141"/>
                      <a:pt x="525" y="5126"/>
                    </a:cubicBezTo>
                    <a:cubicBezTo>
                      <a:pt x="518" y="5111"/>
                      <a:pt x="510" y="5096"/>
                      <a:pt x="510" y="5081"/>
                    </a:cubicBezTo>
                    <a:cubicBezTo>
                      <a:pt x="510" y="5059"/>
                      <a:pt x="518" y="5044"/>
                      <a:pt x="533" y="5029"/>
                    </a:cubicBezTo>
                    <a:cubicBezTo>
                      <a:pt x="548" y="5006"/>
                      <a:pt x="555" y="4991"/>
                      <a:pt x="570" y="4969"/>
                    </a:cubicBezTo>
                    <a:cubicBezTo>
                      <a:pt x="578" y="4946"/>
                      <a:pt x="585" y="4931"/>
                      <a:pt x="593" y="4909"/>
                    </a:cubicBezTo>
                    <a:cubicBezTo>
                      <a:pt x="593" y="4886"/>
                      <a:pt x="600" y="4879"/>
                      <a:pt x="600" y="4856"/>
                    </a:cubicBezTo>
                    <a:cubicBezTo>
                      <a:pt x="600" y="4796"/>
                      <a:pt x="585" y="4766"/>
                      <a:pt x="585" y="4714"/>
                    </a:cubicBezTo>
                    <a:cubicBezTo>
                      <a:pt x="585" y="4692"/>
                      <a:pt x="585" y="4692"/>
                      <a:pt x="585" y="4692"/>
                    </a:cubicBezTo>
                    <a:cubicBezTo>
                      <a:pt x="585" y="4669"/>
                      <a:pt x="585" y="4654"/>
                      <a:pt x="585" y="4624"/>
                    </a:cubicBezTo>
                    <a:cubicBezTo>
                      <a:pt x="585" y="4594"/>
                      <a:pt x="600" y="4579"/>
                      <a:pt x="600" y="4549"/>
                    </a:cubicBezTo>
                    <a:cubicBezTo>
                      <a:pt x="615" y="4534"/>
                      <a:pt x="630" y="4527"/>
                      <a:pt x="645" y="4519"/>
                    </a:cubicBezTo>
                    <a:cubicBezTo>
                      <a:pt x="652" y="4512"/>
                      <a:pt x="660" y="4504"/>
                      <a:pt x="668" y="4504"/>
                    </a:cubicBezTo>
                    <a:cubicBezTo>
                      <a:pt x="682" y="4504"/>
                      <a:pt x="690" y="4504"/>
                      <a:pt x="698" y="4504"/>
                    </a:cubicBezTo>
                    <a:cubicBezTo>
                      <a:pt x="705" y="4504"/>
                      <a:pt x="712" y="4497"/>
                      <a:pt x="720" y="4497"/>
                    </a:cubicBezTo>
                    <a:cubicBezTo>
                      <a:pt x="742" y="4497"/>
                      <a:pt x="758" y="4489"/>
                      <a:pt x="780" y="4489"/>
                    </a:cubicBezTo>
                    <a:cubicBezTo>
                      <a:pt x="787" y="4497"/>
                      <a:pt x="795" y="4489"/>
                      <a:pt x="810" y="4489"/>
                    </a:cubicBezTo>
                    <a:cubicBezTo>
                      <a:pt x="817" y="4489"/>
                      <a:pt x="825" y="4489"/>
                      <a:pt x="832" y="4482"/>
                    </a:cubicBezTo>
                    <a:cubicBezTo>
                      <a:pt x="840" y="4474"/>
                      <a:pt x="840" y="4467"/>
                      <a:pt x="840" y="4452"/>
                    </a:cubicBezTo>
                    <a:lnTo>
                      <a:pt x="847" y="4444"/>
                    </a:lnTo>
                    <a:cubicBezTo>
                      <a:pt x="855" y="4437"/>
                      <a:pt x="862" y="4429"/>
                      <a:pt x="870" y="4429"/>
                    </a:cubicBezTo>
                    <a:cubicBezTo>
                      <a:pt x="885" y="4422"/>
                      <a:pt x="892" y="4414"/>
                      <a:pt x="907" y="4407"/>
                    </a:cubicBezTo>
                    <a:cubicBezTo>
                      <a:pt x="915" y="4407"/>
                      <a:pt x="922" y="4407"/>
                      <a:pt x="930" y="4399"/>
                    </a:cubicBezTo>
                    <a:cubicBezTo>
                      <a:pt x="937" y="4399"/>
                      <a:pt x="937" y="4392"/>
                      <a:pt x="937" y="4377"/>
                    </a:cubicBezTo>
                    <a:cubicBezTo>
                      <a:pt x="937" y="4362"/>
                      <a:pt x="945" y="4354"/>
                      <a:pt x="952" y="4347"/>
                    </a:cubicBezTo>
                    <a:cubicBezTo>
                      <a:pt x="967" y="4324"/>
                      <a:pt x="967" y="4309"/>
                      <a:pt x="975" y="4287"/>
                    </a:cubicBezTo>
                    <a:lnTo>
                      <a:pt x="982" y="4287"/>
                    </a:lnTo>
                    <a:cubicBezTo>
                      <a:pt x="982" y="4295"/>
                      <a:pt x="982" y="4302"/>
                      <a:pt x="990" y="4302"/>
                    </a:cubicBezTo>
                    <a:cubicBezTo>
                      <a:pt x="997" y="4309"/>
                      <a:pt x="997" y="4302"/>
                      <a:pt x="1005" y="4309"/>
                    </a:cubicBezTo>
                    <a:cubicBezTo>
                      <a:pt x="1012" y="4309"/>
                      <a:pt x="1012" y="4309"/>
                      <a:pt x="1012" y="4317"/>
                    </a:cubicBezTo>
                    <a:cubicBezTo>
                      <a:pt x="1020" y="4324"/>
                      <a:pt x="1027" y="4324"/>
                      <a:pt x="1035" y="4339"/>
                    </a:cubicBezTo>
                    <a:cubicBezTo>
                      <a:pt x="1035" y="4354"/>
                      <a:pt x="1035" y="4362"/>
                      <a:pt x="1042" y="4377"/>
                    </a:cubicBezTo>
                    <a:cubicBezTo>
                      <a:pt x="1057" y="4369"/>
                      <a:pt x="1057" y="4369"/>
                      <a:pt x="1072" y="4369"/>
                    </a:cubicBezTo>
                    <a:cubicBezTo>
                      <a:pt x="1087" y="4362"/>
                      <a:pt x="1095" y="4362"/>
                      <a:pt x="1110" y="4362"/>
                    </a:cubicBezTo>
                    <a:cubicBezTo>
                      <a:pt x="1110" y="4347"/>
                      <a:pt x="1117" y="4339"/>
                      <a:pt x="1117" y="4317"/>
                    </a:cubicBezTo>
                    <a:cubicBezTo>
                      <a:pt x="1117" y="4317"/>
                      <a:pt x="1117" y="4317"/>
                      <a:pt x="1117" y="4309"/>
                    </a:cubicBezTo>
                    <a:cubicBezTo>
                      <a:pt x="1117" y="4302"/>
                      <a:pt x="1117" y="4302"/>
                      <a:pt x="1117" y="4295"/>
                    </a:cubicBezTo>
                    <a:cubicBezTo>
                      <a:pt x="1117" y="4287"/>
                      <a:pt x="1117" y="4279"/>
                      <a:pt x="1125" y="4272"/>
                    </a:cubicBezTo>
                    <a:cubicBezTo>
                      <a:pt x="1125" y="4265"/>
                      <a:pt x="1132" y="4265"/>
                      <a:pt x="1132" y="4265"/>
                    </a:cubicBezTo>
                    <a:cubicBezTo>
                      <a:pt x="1147" y="4249"/>
                      <a:pt x="1147" y="4235"/>
                      <a:pt x="1162" y="4219"/>
                    </a:cubicBezTo>
                    <a:cubicBezTo>
                      <a:pt x="1177" y="4205"/>
                      <a:pt x="1177" y="4189"/>
                      <a:pt x="1192" y="4175"/>
                    </a:cubicBezTo>
                    <a:cubicBezTo>
                      <a:pt x="1199" y="4159"/>
                      <a:pt x="1207" y="4152"/>
                      <a:pt x="1215" y="4130"/>
                    </a:cubicBezTo>
                    <a:cubicBezTo>
                      <a:pt x="1215" y="4130"/>
                      <a:pt x="1215" y="4122"/>
                      <a:pt x="1222" y="4115"/>
                    </a:cubicBezTo>
                    <a:cubicBezTo>
                      <a:pt x="1222" y="4115"/>
                      <a:pt x="1222" y="4115"/>
                      <a:pt x="1229" y="4115"/>
                    </a:cubicBezTo>
                    <a:cubicBezTo>
                      <a:pt x="1237" y="4100"/>
                      <a:pt x="1252" y="4092"/>
                      <a:pt x="1275" y="4085"/>
                    </a:cubicBezTo>
                    <a:cubicBezTo>
                      <a:pt x="1282" y="4085"/>
                      <a:pt x="1289" y="4077"/>
                      <a:pt x="1297" y="4077"/>
                    </a:cubicBezTo>
                    <a:cubicBezTo>
                      <a:pt x="1312" y="4062"/>
                      <a:pt x="1327" y="4055"/>
                      <a:pt x="1342" y="4040"/>
                    </a:cubicBezTo>
                    <a:cubicBezTo>
                      <a:pt x="1349" y="4032"/>
                      <a:pt x="1357" y="4025"/>
                      <a:pt x="1364" y="4010"/>
                    </a:cubicBezTo>
                    <a:cubicBezTo>
                      <a:pt x="1372" y="4002"/>
                      <a:pt x="1372" y="4002"/>
                      <a:pt x="1372" y="3995"/>
                    </a:cubicBezTo>
                    <a:cubicBezTo>
                      <a:pt x="1372" y="3972"/>
                      <a:pt x="1357" y="3972"/>
                      <a:pt x="1349" y="3950"/>
                    </a:cubicBezTo>
                    <a:cubicBezTo>
                      <a:pt x="1342" y="3935"/>
                      <a:pt x="1335" y="3927"/>
                      <a:pt x="1327" y="3905"/>
                    </a:cubicBezTo>
                    <a:cubicBezTo>
                      <a:pt x="1319" y="3897"/>
                      <a:pt x="1312" y="3897"/>
                      <a:pt x="1305" y="3890"/>
                    </a:cubicBezTo>
                    <a:cubicBezTo>
                      <a:pt x="1297" y="3882"/>
                      <a:pt x="1297" y="3875"/>
                      <a:pt x="1297" y="3867"/>
                    </a:cubicBezTo>
                    <a:cubicBezTo>
                      <a:pt x="1289" y="3852"/>
                      <a:pt x="1282" y="3837"/>
                      <a:pt x="1275" y="3822"/>
                    </a:cubicBezTo>
                    <a:cubicBezTo>
                      <a:pt x="1259" y="3800"/>
                      <a:pt x="1245" y="3785"/>
                      <a:pt x="1222" y="3762"/>
                    </a:cubicBezTo>
                    <a:cubicBezTo>
                      <a:pt x="1215" y="3755"/>
                      <a:pt x="1207" y="3755"/>
                      <a:pt x="1199" y="3747"/>
                    </a:cubicBezTo>
                    <a:cubicBezTo>
                      <a:pt x="1192" y="3732"/>
                      <a:pt x="1177" y="3725"/>
                      <a:pt x="1170" y="3710"/>
                    </a:cubicBezTo>
                    <a:cubicBezTo>
                      <a:pt x="1170" y="3710"/>
                      <a:pt x="1162" y="3702"/>
                      <a:pt x="1162" y="3695"/>
                    </a:cubicBezTo>
                    <a:cubicBezTo>
                      <a:pt x="1155" y="3680"/>
                      <a:pt x="1147" y="3665"/>
                      <a:pt x="1140" y="3650"/>
                    </a:cubicBezTo>
                    <a:cubicBezTo>
                      <a:pt x="1170" y="3553"/>
                      <a:pt x="1170" y="3553"/>
                      <a:pt x="1170" y="3553"/>
                    </a:cubicBezTo>
                    <a:cubicBezTo>
                      <a:pt x="1170" y="3515"/>
                      <a:pt x="1170" y="3515"/>
                      <a:pt x="1170" y="3515"/>
                    </a:cubicBezTo>
                    <a:cubicBezTo>
                      <a:pt x="1170" y="3500"/>
                      <a:pt x="1170" y="3500"/>
                      <a:pt x="1170" y="3500"/>
                    </a:cubicBezTo>
                    <a:lnTo>
                      <a:pt x="1170" y="3500"/>
                    </a:lnTo>
                    <a:cubicBezTo>
                      <a:pt x="1199" y="3500"/>
                      <a:pt x="1199" y="3500"/>
                      <a:pt x="1199" y="3500"/>
                    </a:cubicBezTo>
                    <a:cubicBezTo>
                      <a:pt x="1215" y="3500"/>
                      <a:pt x="1215" y="3500"/>
                      <a:pt x="1215" y="3500"/>
                    </a:cubicBezTo>
                    <a:cubicBezTo>
                      <a:pt x="1229" y="3500"/>
                      <a:pt x="1237" y="3493"/>
                      <a:pt x="1245" y="3493"/>
                    </a:cubicBezTo>
                    <a:cubicBezTo>
                      <a:pt x="1267" y="3493"/>
                      <a:pt x="1282" y="3493"/>
                      <a:pt x="1289" y="3477"/>
                    </a:cubicBezTo>
                    <a:cubicBezTo>
                      <a:pt x="1297" y="3463"/>
                      <a:pt x="1305" y="3448"/>
                      <a:pt x="1312" y="3433"/>
                    </a:cubicBezTo>
                    <a:cubicBezTo>
                      <a:pt x="1319" y="3433"/>
                      <a:pt x="1319" y="3433"/>
                      <a:pt x="1327" y="3433"/>
                    </a:cubicBezTo>
                    <a:cubicBezTo>
                      <a:pt x="1342" y="3440"/>
                      <a:pt x="1342" y="3455"/>
                      <a:pt x="1357" y="3463"/>
                    </a:cubicBezTo>
                    <a:cubicBezTo>
                      <a:pt x="1372" y="3470"/>
                      <a:pt x="1387" y="3470"/>
                      <a:pt x="1394" y="3485"/>
                    </a:cubicBezTo>
                    <a:cubicBezTo>
                      <a:pt x="1402" y="3493"/>
                      <a:pt x="1402" y="3493"/>
                      <a:pt x="1402" y="3500"/>
                    </a:cubicBezTo>
                    <a:cubicBezTo>
                      <a:pt x="1417" y="3523"/>
                      <a:pt x="1424" y="3545"/>
                      <a:pt x="1447" y="3553"/>
                    </a:cubicBezTo>
                    <a:cubicBezTo>
                      <a:pt x="1462" y="3553"/>
                      <a:pt x="1477" y="3553"/>
                      <a:pt x="1492" y="3560"/>
                    </a:cubicBezTo>
                    <a:lnTo>
                      <a:pt x="1499" y="3567"/>
                    </a:lnTo>
                    <a:cubicBezTo>
                      <a:pt x="1499" y="3575"/>
                      <a:pt x="1499" y="3575"/>
                      <a:pt x="1499" y="3575"/>
                    </a:cubicBezTo>
                    <a:cubicBezTo>
                      <a:pt x="1492" y="3583"/>
                      <a:pt x="1484" y="3583"/>
                      <a:pt x="1484" y="3590"/>
                    </a:cubicBezTo>
                    <a:cubicBezTo>
                      <a:pt x="1484" y="3597"/>
                      <a:pt x="1492" y="3597"/>
                      <a:pt x="1499" y="3605"/>
                    </a:cubicBezTo>
                    <a:cubicBezTo>
                      <a:pt x="1514" y="3613"/>
                      <a:pt x="1522" y="3613"/>
                      <a:pt x="1529" y="3613"/>
                    </a:cubicBezTo>
                    <a:cubicBezTo>
                      <a:pt x="1544" y="3613"/>
                      <a:pt x="1559" y="3620"/>
                      <a:pt x="1567" y="3627"/>
                    </a:cubicBezTo>
                    <a:cubicBezTo>
                      <a:pt x="1582" y="3635"/>
                      <a:pt x="1597" y="3642"/>
                      <a:pt x="1612" y="3650"/>
                    </a:cubicBezTo>
                    <a:cubicBezTo>
                      <a:pt x="1627" y="3650"/>
                      <a:pt x="1634" y="3650"/>
                      <a:pt x="1642" y="3657"/>
                    </a:cubicBezTo>
                    <a:cubicBezTo>
                      <a:pt x="1642" y="3665"/>
                      <a:pt x="1649" y="3665"/>
                      <a:pt x="1649" y="3672"/>
                    </a:cubicBezTo>
                    <a:cubicBezTo>
                      <a:pt x="1649" y="3702"/>
                      <a:pt x="1649" y="3702"/>
                      <a:pt x="1649" y="3702"/>
                    </a:cubicBezTo>
                    <a:cubicBezTo>
                      <a:pt x="1664" y="3702"/>
                      <a:pt x="1664" y="3702"/>
                      <a:pt x="1664" y="3702"/>
                    </a:cubicBezTo>
                    <a:cubicBezTo>
                      <a:pt x="1694" y="3702"/>
                      <a:pt x="1702" y="3695"/>
                      <a:pt x="1724" y="3687"/>
                    </a:cubicBezTo>
                    <a:cubicBezTo>
                      <a:pt x="1747" y="3687"/>
                      <a:pt x="1762" y="3687"/>
                      <a:pt x="1784" y="3687"/>
                    </a:cubicBezTo>
                    <a:cubicBezTo>
                      <a:pt x="1807" y="3680"/>
                      <a:pt x="1822" y="3672"/>
                      <a:pt x="1844" y="3657"/>
                    </a:cubicBezTo>
                    <a:cubicBezTo>
                      <a:pt x="1859" y="3657"/>
                      <a:pt x="1867" y="3657"/>
                      <a:pt x="1882" y="3650"/>
                    </a:cubicBezTo>
                    <a:cubicBezTo>
                      <a:pt x="1889" y="3650"/>
                      <a:pt x="1889" y="3642"/>
                      <a:pt x="1897" y="3642"/>
                    </a:cubicBezTo>
                    <a:cubicBezTo>
                      <a:pt x="1911" y="3642"/>
                      <a:pt x="1927" y="3650"/>
                      <a:pt x="1927" y="3665"/>
                    </a:cubicBezTo>
                    <a:cubicBezTo>
                      <a:pt x="1927" y="3672"/>
                      <a:pt x="1919" y="3672"/>
                      <a:pt x="1919" y="3680"/>
                    </a:cubicBezTo>
                    <a:cubicBezTo>
                      <a:pt x="1919" y="3687"/>
                      <a:pt x="1919" y="3687"/>
                      <a:pt x="1927" y="3695"/>
                    </a:cubicBezTo>
                    <a:cubicBezTo>
                      <a:pt x="1934" y="3710"/>
                      <a:pt x="1941" y="3710"/>
                      <a:pt x="1957" y="3717"/>
                    </a:cubicBezTo>
                    <a:cubicBezTo>
                      <a:pt x="1971" y="3732"/>
                      <a:pt x="1979" y="3740"/>
                      <a:pt x="2001" y="3747"/>
                    </a:cubicBezTo>
                    <a:cubicBezTo>
                      <a:pt x="2017" y="3762"/>
                      <a:pt x="2031" y="3770"/>
                      <a:pt x="2054" y="3770"/>
                    </a:cubicBezTo>
                    <a:cubicBezTo>
                      <a:pt x="2069" y="3777"/>
                      <a:pt x="2076" y="3785"/>
                      <a:pt x="2091" y="3785"/>
                    </a:cubicBezTo>
                    <a:cubicBezTo>
                      <a:pt x="2114" y="3785"/>
                      <a:pt x="2129" y="3777"/>
                      <a:pt x="2151" y="3770"/>
                    </a:cubicBezTo>
                    <a:cubicBezTo>
                      <a:pt x="2159" y="3770"/>
                      <a:pt x="2166" y="3762"/>
                      <a:pt x="2174" y="3762"/>
                    </a:cubicBezTo>
                    <a:cubicBezTo>
                      <a:pt x="2181" y="3755"/>
                      <a:pt x="2189" y="3747"/>
                      <a:pt x="2196" y="3740"/>
                    </a:cubicBezTo>
                    <a:cubicBezTo>
                      <a:pt x="2204" y="3740"/>
                      <a:pt x="2204" y="3732"/>
                      <a:pt x="2211" y="3725"/>
                    </a:cubicBezTo>
                    <a:cubicBezTo>
                      <a:pt x="2219" y="3725"/>
                      <a:pt x="2226" y="3717"/>
                      <a:pt x="2234" y="3710"/>
                    </a:cubicBezTo>
                    <a:cubicBezTo>
                      <a:pt x="2241" y="3702"/>
                      <a:pt x="2241" y="3702"/>
                      <a:pt x="2249" y="3695"/>
                    </a:cubicBezTo>
                    <a:cubicBezTo>
                      <a:pt x="2264" y="3687"/>
                      <a:pt x="2264" y="3680"/>
                      <a:pt x="2271" y="3672"/>
                    </a:cubicBezTo>
                    <a:cubicBezTo>
                      <a:pt x="2301" y="3635"/>
                      <a:pt x="2316" y="3613"/>
                      <a:pt x="2346" y="3575"/>
                    </a:cubicBezTo>
                    <a:cubicBezTo>
                      <a:pt x="2354" y="3567"/>
                      <a:pt x="2354" y="3560"/>
                      <a:pt x="2361" y="3553"/>
                    </a:cubicBezTo>
                    <a:cubicBezTo>
                      <a:pt x="2369" y="3545"/>
                      <a:pt x="2376" y="3545"/>
                      <a:pt x="2384" y="3530"/>
                    </a:cubicBezTo>
                    <a:cubicBezTo>
                      <a:pt x="2391" y="3515"/>
                      <a:pt x="2391" y="3507"/>
                      <a:pt x="2391" y="3485"/>
                    </a:cubicBezTo>
                    <a:lnTo>
                      <a:pt x="2399" y="3477"/>
                    </a:lnTo>
                    <a:cubicBezTo>
                      <a:pt x="2399" y="3425"/>
                      <a:pt x="2399" y="3425"/>
                      <a:pt x="2399" y="3425"/>
                    </a:cubicBezTo>
                    <a:cubicBezTo>
                      <a:pt x="2399" y="3418"/>
                      <a:pt x="2399" y="3410"/>
                      <a:pt x="2399" y="3403"/>
                    </a:cubicBezTo>
                    <a:cubicBezTo>
                      <a:pt x="2399" y="3365"/>
                      <a:pt x="2391" y="3343"/>
                      <a:pt x="2376" y="3305"/>
                    </a:cubicBezTo>
                    <a:lnTo>
                      <a:pt x="2376" y="3298"/>
                    </a:lnTo>
                    <a:cubicBezTo>
                      <a:pt x="2369" y="3275"/>
                      <a:pt x="2361" y="3268"/>
                      <a:pt x="2346" y="3253"/>
                    </a:cubicBezTo>
                    <a:cubicBezTo>
                      <a:pt x="2346" y="3245"/>
                      <a:pt x="2339" y="3238"/>
                      <a:pt x="2331" y="3230"/>
                    </a:cubicBezTo>
                    <a:cubicBezTo>
                      <a:pt x="2331" y="3223"/>
                      <a:pt x="2324" y="3215"/>
                      <a:pt x="2324" y="3208"/>
                    </a:cubicBezTo>
                    <a:cubicBezTo>
                      <a:pt x="2316" y="3200"/>
                      <a:pt x="2316" y="3193"/>
                      <a:pt x="2316" y="3185"/>
                    </a:cubicBezTo>
                    <a:cubicBezTo>
                      <a:pt x="2316" y="3178"/>
                      <a:pt x="2324" y="3170"/>
                      <a:pt x="2324" y="3155"/>
                    </a:cubicBezTo>
                    <a:cubicBezTo>
                      <a:pt x="2331" y="3148"/>
                      <a:pt x="2331" y="3140"/>
                      <a:pt x="2339" y="3125"/>
                    </a:cubicBezTo>
                    <a:cubicBezTo>
                      <a:pt x="2339" y="3118"/>
                      <a:pt x="2346" y="3110"/>
                      <a:pt x="2346" y="3103"/>
                    </a:cubicBezTo>
                    <a:cubicBezTo>
                      <a:pt x="2346" y="3088"/>
                      <a:pt x="2346" y="3080"/>
                      <a:pt x="2339" y="3066"/>
                    </a:cubicBezTo>
                    <a:cubicBezTo>
                      <a:pt x="2331" y="3050"/>
                      <a:pt x="2324" y="3043"/>
                      <a:pt x="2316" y="3028"/>
                    </a:cubicBezTo>
                    <a:cubicBezTo>
                      <a:pt x="2316" y="3020"/>
                      <a:pt x="2316" y="3013"/>
                      <a:pt x="2309" y="3006"/>
                    </a:cubicBezTo>
                    <a:cubicBezTo>
                      <a:pt x="2309" y="2983"/>
                      <a:pt x="2301" y="2968"/>
                      <a:pt x="2301" y="2953"/>
                    </a:cubicBezTo>
                    <a:cubicBezTo>
                      <a:pt x="2294" y="2930"/>
                      <a:pt x="2294" y="2923"/>
                      <a:pt x="2286" y="2908"/>
                    </a:cubicBezTo>
                    <a:cubicBezTo>
                      <a:pt x="2286" y="2901"/>
                      <a:pt x="2279" y="2901"/>
                      <a:pt x="2279" y="2893"/>
                    </a:cubicBezTo>
                    <a:cubicBezTo>
                      <a:pt x="2279" y="2878"/>
                      <a:pt x="2279" y="2871"/>
                      <a:pt x="2286" y="2855"/>
                    </a:cubicBezTo>
                    <a:cubicBezTo>
                      <a:pt x="2286" y="2848"/>
                      <a:pt x="2286" y="2848"/>
                      <a:pt x="2294" y="2841"/>
                    </a:cubicBezTo>
                    <a:cubicBezTo>
                      <a:pt x="2294" y="2833"/>
                      <a:pt x="2294" y="2833"/>
                      <a:pt x="2301" y="2833"/>
                    </a:cubicBezTo>
                    <a:cubicBezTo>
                      <a:pt x="2309" y="2818"/>
                      <a:pt x="2316" y="2811"/>
                      <a:pt x="2331" y="2796"/>
                    </a:cubicBezTo>
                    <a:cubicBezTo>
                      <a:pt x="2331" y="2788"/>
                      <a:pt x="2339" y="2788"/>
                      <a:pt x="2339" y="2781"/>
                    </a:cubicBezTo>
                    <a:cubicBezTo>
                      <a:pt x="2339" y="2773"/>
                      <a:pt x="2339" y="2773"/>
                      <a:pt x="2339" y="2766"/>
                    </a:cubicBezTo>
                    <a:cubicBezTo>
                      <a:pt x="2339" y="2758"/>
                      <a:pt x="2346" y="2758"/>
                      <a:pt x="2354" y="2751"/>
                    </a:cubicBezTo>
                    <a:cubicBezTo>
                      <a:pt x="2361" y="2743"/>
                      <a:pt x="2369" y="2736"/>
                      <a:pt x="2376" y="2728"/>
                    </a:cubicBezTo>
                    <a:cubicBezTo>
                      <a:pt x="2391" y="2721"/>
                      <a:pt x="2406" y="2721"/>
                      <a:pt x="2421" y="2713"/>
                    </a:cubicBezTo>
                    <a:cubicBezTo>
                      <a:pt x="2436" y="2713"/>
                      <a:pt x="2451" y="2706"/>
                      <a:pt x="2466" y="2706"/>
                    </a:cubicBezTo>
                    <a:cubicBezTo>
                      <a:pt x="2474" y="2698"/>
                      <a:pt x="2481" y="2698"/>
                      <a:pt x="2481" y="2691"/>
                    </a:cubicBezTo>
                    <a:cubicBezTo>
                      <a:pt x="2488" y="2683"/>
                      <a:pt x="2496" y="2676"/>
                      <a:pt x="2504" y="2676"/>
                    </a:cubicBezTo>
                    <a:cubicBezTo>
                      <a:pt x="2511" y="2676"/>
                      <a:pt x="2518" y="2676"/>
                      <a:pt x="2526" y="2676"/>
                    </a:cubicBezTo>
                    <a:cubicBezTo>
                      <a:pt x="2534" y="2676"/>
                      <a:pt x="2541" y="2668"/>
                      <a:pt x="2541" y="2668"/>
                    </a:cubicBezTo>
                    <a:cubicBezTo>
                      <a:pt x="2556" y="2653"/>
                      <a:pt x="2571" y="2646"/>
                      <a:pt x="2578" y="2638"/>
                    </a:cubicBezTo>
                    <a:cubicBezTo>
                      <a:pt x="2601" y="2616"/>
                      <a:pt x="2608" y="2601"/>
                      <a:pt x="2616" y="2571"/>
                    </a:cubicBezTo>
                    <a:cubicBezTo>
                      <a:pt x="2623" y="2541"/>
                      <a:pt x="2631" y="2526"/>
                      <a:pt x="2646" y="2496"/>
                    </a:cubicBezTo>
                    <a:cubicBezTo>
                      <a:pt x="2646" y="2481"/>
                      <a:pt x="2653" y="2473"/>
                      <a:pt x="2653" y="2451"/>
                    </a:cubicBezTo>
                    <a:cubicBezTo>
                      <a:pt x="2653" y="2406"/>
                      <a:pt x="2653" y="2376"/>
                      <a:pt x="2653" y="2331"/>
                    </a:cubicBezTo>
                    <a:cubicBezTo>
                      <a:pt x="2653" y="2286"/>
                      <a:pt x="2653" y="2264"/>
                      <a:pt x="2653" y="2226"/>
                    </a:cubicBezTo>
                    <a:cubicBezTo>
                      <a:pt x="2653" y="2181"/>
                      <a:pt x="2661" y="2166"/>
                      <a:pt x="2661" y="2121"/>
                    </a:cubicBezTo>
                    <a:cubicBezTo>
                      <a:pt x="2661" y="2084"/>
                      <a:pt x="2661" y="2061"/>
                      <a:pt x="2653" y="2024"/>
                    </a:cubicBezTo>
                    <a:cubicBezTo>
                      <a:pt x="2653" y="2009"/>
                      <a:pt x="2646" y="2001"/>
                      <a:pt x="2646" y="1986"/>
                    </a:cubicBezTo>
                    <a:cubicBezTo>
                      <a:pt x="2646" y="1979"/>
                      <a:pt x="2646" y="1971"/>
                      <a:pt x="2646" y="1964"/>
                    </a:cubicBezTo>
                    <a:cubicBezTo>
                      <a:pt x="2646" y="1956"/>
                      <a:pt x="2638" y="1956"/>
                      <a:pt x="2638" y="1949"/>
                    </a:cubicBezTo>
                    <a:cubicBezTo>
                      <a:pt x="2638" y="1941"/>
                      <a:pt x="2646" y="1941"/>
                      <a:pt x="2646" y="1941"/>
                    </a:cubicBezTo>
                    <a:cubicBezTo>
                      <a:pt x="2653" y="1934"/>
                      <a:pt x="2661" y="1934"/>
                      <a:pt x="2661" y="1934"/>
                    </a:cubicBezTo>
                    <a:cubicBezTo>
                      <a:pt x="2676" y="1926"/>
                      <a:pt x="2683" y="1919"/>
                      <a:pt x="2691" y="1904"/>
                    </a:cubicBezTo>
                    <a:cubicBezTo>
                      <a:pt x="2698" y="1881"/>
                      <a:pt x="2706" y="1866"/>
                      <a:pt x="2713" y="1844"/>
                    </a:cubicBezTo>
                    <a:cubicBezTo>
                      <a:pt x="2721" y="1829"/>
                      <a:pt x="2728" y="1821"/>
                      <a:pt x="2736" y="1807"/>
                    </a:cubicBezTo>
                    <a:cubicBezTo>
                      <a:pt x="2736" y="1799"/>
                      <a:pt x="2743" y="1791"/>
                      <a:pt x="2743" y="1784"/>
                    </a:cubicBezTo>
                    <a:cubicBezTo>
                      <a:pt x="2758" y="1761"/>
                      <a:pt x="2758" y="1747"/>
                      <a:pt x="2766" y="1724"/>
                    </a:cubicBezTo>
                    <a:cubicBezTo>
                      <a:pt x="2766" y="1701"/>
                      <a:pt x="2766" y="1687"/>
                      <a:pt x="2773" y="1672"/>
                    </a:cubicBezTo>
                    <a:cubicBezTo>
                      <a:pt x="2773" y="1642"/>
                      <a:pt x="2781" y="1627"/>
                      <a:pt x="2781" y="1604"/>
                    </a:cubicBezTo>
                    <a:cubicBezTo>
                      <a:pt x="2781" y="1589"/>
                      <a:pt x="2781" y="1582"/>
                      <a:pt x="2781" y="1567"/>
                    </a:cubicBezTo>
                    <a:cubicBezTo>
                      <a:pt x="2781" y="1559"/>
                      <a:pt x="2796" y="1552"/>
                      <a:pt x="2796" y="1537"/>
                    </a:cubicBezTo>
                    <a:cubicBezTo>
                      <a:pt x="2803" y="1514"/>
                      <a:pt x="2803" y="1499"/>
                      <a:pt x="2803" y="1477"/>
                    </a:cubicBezTo>
                    <a:cubicBezTo>
                      <a:pt x="2803" y="1364"/>
                      <a:pt x="2788" y="1304"/>
                      <a:pt x="2773" y="1192"/>
                    </a:cubicBezTo>
                    <a:cubicBezTo>
                      <a:pt x="2766" y="1162"/>
                      <a:pt x="2758" y="1139"/>
                      <a:pt x="2758" y="1109"/>
                    </a:cubicBezTo>
                    <a:cubicBezTo>
                      <a:pt x="2758" y="1102"/>
                      <a:pt x="2751" y="1095"/>
                      <a:pt x="2751" y="1095"/>
                    </a:cubicBezTo>
                    <a:cubicBezTo>
                      <a:pt x="2751" y="1072"/>
                      <a:pt x="2751" y="1065"/>
                      <a:pt x="2743" y="1049"/>
                    </a:cubicBezTo>
                    <a:cubicBezTo>
                      <a:pt x="2743" y="1042"/>
                      <a:pt x="2736" y="1042"/>
                      <a:pt x="2736" y="1035"/>
                    </a:cubicBezTo>
                    <a:cubicBezTo>
                      <a:pt x="2728" y="1012"/>
                      <a:pt x="2728" y="990"/>
                      <a:pt x="2721" y="960"/>
                    </a:cubicBezTo>
                    <a:cubicBezTo>
                      <a:pt x="2713" y="945"/>
                      <a:pt x="2713" y="937"/>
                      <a:pt x="2706" y="922"/>
                    </a:cubicBezTo>
                    <a:cubicBezTo>
                      <a:pt x="2698" y="892"/>
                      <a:pt x="2698" y="877"/>
                      <a:pt x="2691" y="847"/>
                    </a:cubicBezTo>
                    <a:cubicBezTo>
                      <a:pt x="2683" y="825"/>
                      <a:pt x="2683" y="810"/>
                      <a:pt x="2676" y="795"/>
                    </a:cubicBezTo>
                    <a:cubicBezTo>
                      <a:pt x="2668" y="787"/>
                      <a:pt x="2668" y="780"/>
                      <a:pt x="2661" y="772"/>
                    </a:cubicBezTo>
                    <a:cubicBezTo>
                      <a:pt x="2646" y="742"/>
                      <a:pt x="2631" y="720"/>
                      <a:pt x="2616" y="690"/>
                    </a:cubicBezTo>
                    <a:cubicBezTo>
                      <a:pt x="2601" y="652"/>
                      <a:pt x="2601" y="637"/>
                      <a:pt x="2586" y="600"/>
                    </a:cubicBezTo>
                    <a:cubicBezTo>
                      <a:pt x="2578" y="592"/>
                      <a:pt x="2578" y="585"/>
                      <a:pt x="2571" y="570"/>
                    </a:cubicBezTo>
                    <a:cubicBezTo>
                      <a:pt x="2564" y="548"/>
                      <a:pt x="2556" y="540"/>
                      <a:pt x="2556" y="518"/>
                    </a:cubicBezTo>
                    <a:cubicBezTo>
                      <a:pt x="2556" y="495"/>
                      <a:pt x="2556" y="488"/>
                      <a:pt x="2564" y="465"/>
                    </a:cubicBezTo>
                    <a:cubicBezTo>
                      <a:pt x="2571" y="458"/>
                      <a:pt x="2578" y="450"/>
                      <a:pt x="2578" y="443"/>
                    </a:cubicBezTo>
                    <a:cubicBezTo>
                      <a:pt x="2586" y="443"/>
                      <a:pt x="2586" y="435"/>
                      <a:pt x="2586" y="435"/>
                    </a:cubicBezTo>
                    <a:cubicBezTo>
                      <a:pt x="2594" y="428"/>
                      <a:pt x="2601" y="420"/>
                      <a:pt x="2601" y="413"/>
                    </a:cubicBezTo>
                    <a:cubicBezTo>
                      <a:pt x="2608" y="405"/>
                      <a:pt x="2608" y="398"/>
                      <a:pt x="2608" y="383"/>
                    </a:cubicBezTo>
                    <a:cubicBezTo>
                      <a:pt x="2608" y="375"/>
                      <a:pt x="2601" y="368"/>
                      <a:pt x="2601" y="360"/>
                    </a:cubicBezTo>
                    <a:cubicBezTo>
                      <a:pt x="2601" y="353"/>
                      <a:pt x="2608" y="345"/>
                      <a:pt x="2616" y="338"/>
                    </a:cubicBezTo>
                    <a:cubicBezTo>
                      <a:pt x="2631" y="330"/>
                      <a:pt x="2638" y="323"/>
                      <a:pt x="2646" y="308"/>
                    </a:cubicBezTo>
                    <a:cubicBezTo>
                      <a:pt x="2653" y="293"/>
                      <a:pt x="2661" y="285"/>
                      <a:pt x="2661" y="263"/>
                    </a:cubicBezTo>
                    <a:cubicBezTo>
                      <a:pt x="2661" y="248"/>
                      <a:pt x="2653" y="248"/>
                      <a:pt x="2646" y="233"/>
                    </a:cubicBezTo>
                    <a:cubicBezTo>
                      <a:pt x="2646" y="225"/>
                      <a:pt x="2646" y="218"/>
                      <a:pt x="2646" y="203"/>
                    </a:cubicBezTo>
                    <a:cubicBezTo>
                      <a:pt x="2638" y="188"/>
                      <a:pt x="2638" y="180"/>
                      <a:pt x="2638" y="158"/>
                    </a:cubicBezTo>
                    <a:cubicBezTo>
                      <a:pt x="2638" y="120"/>
                      <a:pt x="2638" y="120"/>
                      <a:pt x="2638" y="120"/>
                    </a:cubicBezTo>
                    <a:cubicBezTo>
                      <a:pt x="2646" y="128"/>
                      <a:pt x="2646" y="135"/>
                      <a:pt x="2653" y="135"/>
                    </a:cubicBezTo>
                    <a:cubicBezTo>
                      <a:pt x="2653" y="143"/>
                      <a:pt x="2661" y="135"/>
                      <a:pt x="2661" y="143"/>
                    </a:cubicBezTo>
                    <a:cubicBezTo>
                      <a:pt x="2668" y="150"/>
                      <a:pt x="2676" y="158"/>
                      <a:pt x="2683" y="165"/>
                    </a:cubicBezTo>
                    <a:cubicBezTo>
                      <a:pt x="2691" y="188"/>
                      <a:pt x="2706" y="203"/>
                      <a:pt x="2728" y="203"/>
                    </a:cubicBezTo>
                    <a:cubicBezTo>
                      <a:pt x="2743" y="203"/>
                      <a:pt x="2743" y="188"/>
                      <a:pt x="2758" y="180"/>
                    </a:cubicBezTo>
                    <a:cubicBezTo>
                      <a:pt x="2758" y="180"/>
                      <a:pt x="2758" y="173"/>
                      <a:pt x="2766" y="173"/>
                    </a:cubicBezTo>
                    <a:cubicBezTo>
                      <a:pt x="2766" y="173"/>
                      <a:pt x="2773" y="180"/>
                      <a:pt x="2773" y="188"/>
                    </a:cubicBezTo>
                    <a:cubicBezTo>
                      <a:pt x="2781" y="188"/>
                      <a:pt x="2788" y="188"/>
                      <a:pt x="2803" y="188"/>
                    </a:cubicBezTo>
                    <a:cubicBezTo>
                      <a:pt x="2818" y="188"/>
                      <a:pt x="2826" y="180"/>
                      <a:pt x="2841" y="173"/>
                    </a:cubicBezTo>
                    <a:cubicBezTo>
                      <a:pt x="2848" y="165"/>
                      <a:pt x="2856" y="165"/>
                      <a:pt x="2871" y="158"/>
                    </a:cubicBezTo>
                    <a:cubicBezTo>
                      <a:pt x="2893" y="135"/>
                      <a:pt x="2893" y="113"/>
                      <a:pt x="2901" y="90"/>
                    </a:cubicBezTo>
                    <a:cubicBezTo>
                      <a:pt x="2908" y="75"/>
                      <a:pt x="2916" y="68"/>
                      <a:pt x="2916" y="53"/>
                    </a:cubicBezTo>
                    <a:cubicBezTo>
                      <a:pt x="2923" y="38"/>
                      <a:pt x="2923" y="23"/>
                      <a:pt x="2938" y="23"/>
                    </a:cubicBezTo>
                    <a:cubicBezTo>
                      <a:pt x="2953" y="15"/>
                      <a:pt x="2961" y="15"/>
                      <a:pt x="2968" y="15"/>
                    </a:cubicBezTo>
                    <a:cubicBezTo>
                      <a:pt x="2983" y="8"/>
                      <a:pt x="2991" y="0"/>
                      <a:pt x="2998" y="15"/>
                    </a:cubicBezTo>
                    <a:cubicBezTo>
                      <a:pt x="3013" y="30"/>
                      <a:pt x="3006" y="45"/>
                      <a:pt x="3013" y="60"/>
                    </a:cubicBezTo>
                    <a:cubicBezTo>
                      <a:pt x="3021" y="68"/>
                      <a:pt x="3028" y="75"/>
                      <a:pt x="3043" y="75"/>
                    </a:cubicBezTo>
                    <a:cubicBezTo>
                      <a:pt x="3065" y="90"/>
                      <a:pt x="3065" y="113"/>
                      <a:pt x="3073" y="135"/>
                    </a:cubicBezTo>
                    <a:cubicBezTo>
                      <a:pt x="3073" y="150"/>
                      <a:pt x="3081" y="158"/>
                      <a:pt x="3088" y="173"/>
                    </a:cubicBezTo>
                    <a:cubicBezTo>
                      <a:pt x="3096" y="188"/>
                      <a:pt x="3103" y="195"/>
                      <a:pt x="3118" y="203"/>
                    </a:cubicBezTo>
                    <a:cubicBezTo>
                      <a:pt x="3133" y="210"/>
                      <a:pt x="3141" y="218"/>
                      <a:pt x="3148" y="225"/>
                    </a:cubicBezTo>
                    <a:cubicBezTo>
                      <a:pt x="3163" y="233"/>
                      <a:pt x="3171" y="240"/>
                      <a:pt x="3178" y="248"/>
                    </a:cubicBezTo>
                    <a:cubicBezTo>
                      <a:pt x="3186" y="263"/>
                      <a:pt x="3200" y="263"/>
                      <a:pt x="3216" y="278"/>
                    </a:cubicBezTo>
                    <a:cubicBezTo>
                      <a:pt x="3223" y="285"/>
                      <a:pt x="3230" y="293"/>
                      <a:pt x="3238" y="300"/>
                    </a:cubicBezTo>
                    <a:cubicBezTo>
                      <a:pt x="3260" y="315"/>
                      <a:pt x="3276" y="338"/>
                      <a:pt x="3290" y="360"/>
                    </a:cubicBezTo>
                    <a:cubicBezTo>
                      <a:pt x="3313" y="383"/>
                      <a:pt x="3313" y="398"/>
                      <a:pt x="3328" y="420"/>
                    </a:cubicBezTo>
                    <a:cubicBezTo>
                      <a:pt x="3343" y="450"/>
                      <a:pt x="3358" y="458"/>
                      <a:pt x="3373" y="480"/>
                    </a:cubicBezTo>
                    <a:cubicBezTo>
                      <a:pt x="3388" y="502"/>
                      <a:pt x="3395" y="518"/>
                      <a:pt x="3410" y="532"/>
                    </a:cubicBezTo>
                    <a:cubicBezTo>
                      <a:pt x="3418" y="540"/>
                      <a:pt x="3425" y="540"/>
                      <a:pt x="3433" y="548"/>
                    </a:cubicBezTo>
                    <a:cubicBezTo>
                      <a:pt x="3455" y="570"/>
                      <a:pt x="3470" y="585"/>
                      <a:pt x="3485" y="608"/>
                    </a:cubicBezTo>
                    <a:cubicBezTo>
                      <a:pt x="3493" y="622"/>
                      <a:pt x="3500" y="630"/>
                      <a:pt x="3508" y="637"/>
                    </a:cubicBezTo>
                    <a:cubicBezTo>
                      <a:pt x="3523" y="652"/>
                      <a:pt x="3523" y="660"/>
                      <a:pt x="3538" y="675"/>
                    </a:cubicBezTo>
                    <a:cubicBezTo>
                      <a:pt x="3553" y="697"/>
                      <a:pt x="3560" y="712"/>
                      <a:pt x="3583" y="727"/>
                    </a:cubicBezTo>
                    <a:cubicBezTo>
                      <a:pt x="3598" y="742"/>
                      <a:pt x="3605" y="757"/>
                      <a:pt x="3620" y="772"/>
                    </a:cubicBezTo>
                    <a:cubicBezTo>
                      <a:pt x="3635" y="787"/>
                      <a:pt x="3643" y="795"/>
                      <a:pt x="3650" y="817"/>
                    </a:cubicBezTo>
                    <a:cubicBezTo>
                      <a:pt x="3658" y="825"/>
                      <a:pt x="3658" y="832"/>
                      <a:pt x="3658" y="840"/>
                    </a:cubicBezTo>
                    <a:cubicBezTo>
                      <a:pt x="3658" y="855"/>
                      <a:pt x="3673" y="855"/>
                      <a:pt x="3673" y="862"/>
                    </a:cubicBezTo>
                    <a:cubicBezTo>
                      <a:pt x="3680" y="885"/>
                      <a:pt x="3688" y="892"/>
                      <a:pt x="3695" y="907"/>
                    </a:cubicBezTo>
                    <a:cubicBezTo>
                      <a:pt x="3710" y="945"/>
                      <a:pt x="3710" y="967"/>
                      <a:pt x="3733" y="997"/>
                    </a:cubicBezTo>
                    <a:cubicBezTo>
                      <a:pt x="3740" y="1005"/>
                      <a:pt x="3747" y="1012"/>
                      <a:pt x="3763" y="1027"/>
                    </a:cubicBezTo>
                    <a:cubicBezTo>
                      <a:pt x="3777" y="1049"/>
                      <a:pt x="3785" y="1065"/>
                      <a:pt x="3800" y="1087"/>
                    </a:cubicBezTo>
                    <a:cubicBezTo>
                      <a:pt x="3807" y="1095"/>
                      <a:pt x="3807" y="1102"/>
                      <a:pt x="3815" y="1109"/>
                    </a:cubicBezTo>
                    <a:cubicBezTo>
                      <a:pt x="3815" y="1117"/>
                      <a:pt x="3823" y="1117"/>
                      <a:pt x="3823" y="1125"/>
                    </a:cubicBezTo>
                    <a:cubicBezTo>
                      <a:pt x="3830" y="1132"/>
                      <a:pt x="3837" y="1139"/>
                      <a:pt x="3837" y="1147"/>
                    </a:cubicBezTo>
                    <a:cubicBezTo>
                      <a:pt x="3853" y="1177"/>
                      <a:pt x="3875" y="1192"/>
                      <a:pt x="3890" y="1222"/>
                    </a:cubicBezTo>
                    <a:cubicBezTo>
                      <a:pt x="3897" y="1229"/>
                      <a:pt x="3905" y="1237"/>
                      <a:pt x="3905" y="1252"/>
                    </a:cubicBezTo>
                    <a:cubicBezTo>
                      <a:pt x="3920" y="1252"/>
                      <a:pt x="3920" y="1267"/>
                      <a:pt x="3927" y="1274"/>
                    </a:cubicBezTo>
                    <a:cubicBezTo>
                      <a:pt x="3942" y="1289"/>
                      <a:pt x="3957" y="1297"/>
                      <a:pt x="3965" y="1312"/>
                    </a:cubicBezTo>
                    <a:cubicBezTo>
                      <a:pt x="3987" y="1342"/>
                      <a:pt x="3995" y="1357"/>
                      <a:pt x="4017" y="1372"/>
                    </a:cubicBezTo>
                    <a:cubicBezTo>
                      <a:pt x="4032" y="1387"/>
                      <a:pt x="4047" y="1387"/>
                      <a:pt x="4062" y="1402"/>
                    </a:cubicBezTo>
                    <a:cubicBezTo>
                      <a:pt x="4062" y="1402"/>
                      <a:pt x="4062" y="1409"/>
                      <a:pt x="4070" y="1417"/>
                    </a:cubicBezTo>
                    <a:cubicBezTo>
                      <a:pt x="4077" y="1424"/>
                      <a:pt x="4085" y="1432"/>
                      <a:pt x="4100" y="1447"/>
                    </a:cubicBezTo>
                    <a:cubicBezTo>
                      <a:pt x="4107" y="1454"/>
                      <a:pt x="4107" y="1462"/>
                      <a:pt x="4115" y="1462"/>
                    </a:cubicBezTo>
                    <a:cubicBezTo>
                      <a:pt x="4122" y="1477"/>
                      <a:pt x="4130" y="1484"/>
                      <a:pt x="4137" y="1492"/>
                    </a:cubicBezTo>
                    <a:cubicBezTo>
                      <a:pt x="4152" y="1514"/>
                      <a:pt x="4160" y="1529"/>
                      <a:pt x="4167" y="1544"/>
                    </a:cubicBezTo>
                    <a:cubicBezTo>
                      <a:pt x="4175" y="1559"/>
                      <a:pt x="4182" y="1559"/>
                      <a:pt x="4197" y="1567"/>
                    </a:cubicBezTo>
                    <a:cubicBezTo>
                      <a:pt x="4212" y="1582"/>
                      <a:pt x="4220" y="1582"/>
                      <a:pt x="4235" y="1597"/>
                    </a:cubicBezTo>
                    <a:cubicBezTo>
                      <a:pt x="4242" y="1604"/>
                      <a:pt x="4242" y="1612"/>
                      <a:pt x="4250" y="1612"/>
                    </a:cubicBezTo>
                    <a:cubicBezTo>
                      <a:pt x="4280" y="1634"/>
                      <a:pt x="4295" y="1649"/>
                      <a:pt x="4324" y="1664"/>
                    </a:cubicBezTo>
                    <a:cubicBezTo>
                      <a:pt x="4332" y="1672"/>
                      <a:pt x="4340" y="1679"/>
                      <a:pt x="4347" y="1679"/>
                    </a:cubicBezTo>
                    <a:cubicBezTo>
                      <a:pt x="4362" y="1687"/>
                      <a:pt x="4362" y="1694"/>
                      <a:pt x="4377" y="1694"/>
                    </a:cubicBezTo>
                    <a:cubicBezTo>
                      <a:pt x="4392" y="1709"/>
                      <a:pt x="4407" y="1717"/>
                      <a:pt x="4415" y="1724"/>
                    </a:cubicBezTo>
                    <a:cubicBezTo>
                      <a:pt x="4430" y="1731"/>
                      <a:pt x="4437" y="1739"/>
                      <a:pt x="4452" y="1754"/>
                    </a:cubicBezTo>
                    <a:cubicBezTo>
                      <a:pt x="4452" y="1754"/>
                      <a:pt x="4459" y="1754"/>
                      <a:pt x="4459" y="1761"/>
                    </a:cubicBezTo>
                    <a:cubicBezTo>
                      <a:pt x="4467" y="1769"/>
                      <a:pt x="4467" y="1769"/>
                      <a:pt x="4475" y="1777"/>
                    </a:cubicBezTo>
                    <a:cubicBezTo>
                      <a:pt x="4489" y="1784"/>
                      <a:pt x="4497" y="1791"/>
                      <a:pt x="4512" y="1807"/>
                    </a:cubicBezTo>
                    <a:cubicBezTo>
                      <a:pt x="4527" y="1821"/>
                      <a:pt x="4535" y="1829"/>
                      <a:pt x="4549" y="1837"/>
                    </a:cubicBezTo>
                    <a:cubicBezTo>
                      <a:pt x="4564" y="1844"/>
                      <a:pt x="4572" y="1851"/>
                      <a:pt x="4579" y="1859"/>
                    </a:cubicBezTo>
                    <a:cubicBezTo>
                      <a:pt x="4587" y="1859"/>
                      <a:pt x="4602" y="1866"/>
                      <a:pt x="4609" y="1874"/>
                    </a:cubicBezTo>
                    <a:cubicBezTo>
                      <a:pt x="4617" y="1889"/>
                      <a:pt x="4617" y="1896"/>
                      <a:pt x="4624" y="1911"/>
                    </a:cubicBezTo>
                    <a:cubicBezTo>
                      <a:pt x="4632" y="1919"/>
                      <a:pt x="4639" y="1926"/>
                      <a:pt x="4647" y="1934"/>
                    </a:cubicBezTo>
                    <a:cubicBezTo>
                      <a:pt x="4654" y="1949"/>
                      <a:pt x="4654" y="1956"/>
                      <a:pt x="4669" y="1964"/>
                    </a:cubicBezTo>
                    <a:cubicBezTo>
                      <a:pt x="4684" y="1979"/>
                      <a:pt x="4692" y="1979"/>
                      <a:pt x="4714" y="1986"/>
                    </a:cubicBezTo>
                    <a:cubicBezTo>
                      <a:pt x="4722" y="1994"/>
                      <a:pt x="4729" y="2001"/>
                      <a:pt x="4744" y="2009"/>
                    </a:cubicBezTo>
                    <a:cubicBezTo>
                      <a:pt x="4759" y="2009"/>
                      <a:pt x="4767" y="2016"/>
                      <a:pt x="4774" y="2016"/>
                    </a:cubicBezTo>
                    <a:cubicBezTo>
                      <a:pt x="4812" y="2039"/>
                      <a:pt x="4834" y="2054"/>
                      <a:pt x="4872" y="2069"/>
                    </a:cubicBezTo>
                    <a:cubicBezTo>
                      <a:pt x="4894" y="2091"/>
                      <a:pt x="4917" y="2099"/>
                      <a:pt x="4947" y="2114"/>
                    </a:cubicBezTo>
                    <a:cubicBezTo>
                      <a:pt x="4962" y="2121"/>
                      <a:pt x="4969" y="2129"/>
                      <a:pt x="4984" y="2129"/>
                    </a:cubicBezTo>
                    <a:cubicBezTo>
                      <a:pt x="4999" y="2136"/>
                      <a:pt x="5007" y="2136"/>
                      <a:pt x="5022" y="2136"/>
                    </a:cubicBezTo>
                    <a:cubicBezTo>
                      <a:pt x="5052" y="2144"/>
                      <a:pt x="5066" y="2159"/>
                      <a:pt x="5096" y="2174"/>
                    </a:cubicBezTo>
                    <a:cubicBezTo>
                      <a:pt x="5082" y="2166"/>
                      <a:pt x="5066" y="2159"/>
                      <a:pt x="5052" y="2159"/>
                    </a:cubicBezTo>
                    <a:cubicBezTo>
                      <a:pt x="5029" y="2159"/>
                      <a:pt x="5014" y="2159"/>
                      <a:pt x="4999" y="2151"/>
                    </a:cubicBezTo>
                    <a:cubicBezTo>
                      <a:pt x="4992" y="2151"/>
                      <a:pt x="4984" y="2144"/>
                      <a:pt x="4977" y="2144"/>
                    </a:cubicBezTo>
                    <a:cubicBezTo>
                      <a:pt x="4969" y="2144"/>
                      <a:pt x="4969" y="2144"/>
                      <a:pt x="4962" y="2144"/>
                    </a:cubicBezTo>
                    <a:cubicBezTo>
                      <a:pt x="4962" y="2159"/>
                      <a:pt x="4962" y="2166"/>
                      <a:pt x="4962" y="2174"/>
                    </a:cubicBezTo>
                    <a:cubicBezTo>
                      <a:pt x="4969" y="2196"/>
                      <a:pt x="4992" y="2211"/>
                      <a:pt x="5007" y="2226"/>
                    </a:cubicBezTo>
                    <a:cubicBezTo>
                      <a:pt x="5014" y="2234"/>
                      <a:pt x="5022" y="2241"/>
                      <a:pt x="5029" y="2248"/>
                    </a:cubicBezTo>
                    <a:cubicBezTo>
                      <a:pt x="5052" y="2271"/>
                      <a:pt x="5082" y="2286"/>
                      <a:pt x="5112" y="2286"/>
                    </a:cubicBezTo>
                    <a:cubicBezTo>
                      <a:pt x="5134" y="2286"/>
                      <a:pt x="5134" y="2271"/>
                      <a:pt x="5149" y="2271"/>
                    </a:cubicBezTo>
                    <a:cubicBezTo>
                      <a:pt x="5164" y="2271"/>
                      <a:pt x="5164" y="2278"/>
                      <a:pt x="5179" y="2286"/>
                    </a:cubicBezTo>
                    <a:cubicBezTo>
                      <a:pt x="5194" y="2286"/>
                      <a:pt x="5201" y="2286"/>
                      <a:pt x="5216" y="2294"/>
                    </a:cubicBezTo>
                    <a:cubicBezTo>
                      <a:pt x="5224" y="2294"/>
                      <a:pt x="5231" y="2294"/>
                      <a:pt x="5239" y="2294"/>
                    </a:cubicBezTo>
                    <a:cubicBezTo>
                      <a:pt x="5261" y="2294"/>
                      <a:pt x="5291" y="2286"/>
                      <a:pt x="5291" y="2264"/>
                    </a:cubicBezTo>
                    <a:cubicBezTo>
                      <a:pt x="5291" y="2248"/>
                      <a:pt x="5276" y="2241"/>
                      <a:pt x="5261" y="2234"/>
                    </a:cubicBezTo>
                    <a:cubicBezTo>
                      <a:pt x="5239" y="2219"/>
                      <a:pt x="5224" y="2211"/>
                      <a:pt x="5194" y="2204"/>
                    </a:cubicBezTo>
                    <a:cubicBezTo>
                      <a:pt x="5171" y="2196"/>
                      <a:pt x="5156" y="2196"/>
                      <a:pt x="5134" y="2189"/>
                    </a:cubicBezTo>
                    <a:cubicBezTo>
                      <a:pt x="5119" y="2181"/>
                      <a:pt x="5119" y="2174"/>
                      <a:pt x="5104" y="2166"/>
                    </a:cubicBezTo>
                    <a:cubicBezTo>
                      <a:pt x="5156" y="2174"/>
                      <a:pt x="5186" y="2189"/>
                      <a:pt x="5239" y="2204"/>
                    </a:cubicBezTo>
                    <a:cubicBezTo>
                      <a:pt x="5261" y="2219"/>
                      <a:pt x="5276" y="2219"/>
                      <a:pt x="5299" y="2234"/>
                    </a:cubicBezTo>
                    <a:cubicBezTo>
                      <a:pt x="5359" y="2241"/>
                      <a:pt x="5396" y="2241"/>
                      <a:pt x="5456" y="2256"/>
                    </a:cubicBezTo>
                    <a:cubicBezTo>
                      <a:pt x="5479" y="2264"/>
                      <a:pt x="5494" y="2264"/>
                      <a:pt x="5516" y="2278"/>
                    </a:cubicBezTo>
                    <a:cubicBezTo>
                      <a:pt x="5516" y="2286"/>
                      <a:pt x="5516" y="2294"/>
                      <a:pt x="5516" y="2294"/>
                    </a:cubicBezTo>
                    <a:cubicBezTo>
                      <a:pt x="5494" y="2301"/>
                      <a:pt x="5486" y="2301"/>
                      <a:pt x="5464" y="2316"/>
                    </a:cubicBezTo>
                    <a:cubicBezTo>
                      <a:pt x="5449" y="2324"/>
                      <a:pt x="5434" y="2331"/>
                      <a:pt x="5434" y="2354"/>
                    </a:cubicBezTo>
                    <a:cubicBezTo>
                      <a:pt x="5434" y="2376"/>
                      <a:pt x="5441" y="2384"/>
                      <a:pt x="5449" y="2406"/>
                    </a:cubicBezTo>
                    <a:cubicBezTo>
                      <a:pt x="5449" y="2413"/>
                      <a:pt x="5449" y="2428"/>
                      <a:pt x="5464" y="2428"/>
                    </a:cubicBezTo>
                    <a:cubicBezTo>
                      <a:pt x="5471" y="2428"/>
                      <a:pt x="5479" y="2421"/>
                      <a:pt x="5486" y="2421"/>
                    </a:cubicBezTo>
                    <a:cubicBezTo>
                      <a:pt x="5501" y="2413"/>
                      <a:pt x="5516" y="2406"/>
                      <a:pt x="5524" y="2391"/>
                    </a:cubicBezTo>
                    <a:cubicBezTo>
                      <a:pt x="5539" y="2376"/>
                      <a:pt x="5539" y="2354"/>
                      <a:pt x="5539" y="2331"/>
                    </a:cubicBezTo>
                    <a:cubicBezTo>
                      <a:pt x="5546" y="2308"/>
                      <a:pt x="5546" y="2301"/>
                      <a:pt x="5546" y="2278"/>
                    </a:cubicBezTo>
                    <a:cubicBezTo>
                      <a:pt x="5569" y="2286"/>
                      <a:pt x="5583" y="2278"/>
                      <a:pt x="5606" y="2278"/>
                    </a:cubicBezTo>
                    <a:cubicBezTo>
                      <a:pt x="5614" y="2308"/>
                      <a:pt x="5629" y="2324"/>
                      <a:pt x="5629" y="2354"/>
                    </a:cubicBezTo>
                    <a:cubicBezTo>
                      <a:pt x="5629" y="2361"/>
                      <a:pt x="5629" y="2368"/>
                      <a:pt x="5629" y="2368"/>
                    </a:cubicBezTo>
                    <a:cubicBezTo>
                      <a:pt x="5629" y="2384"/>
                      <a:pt x="5644" y="2391"/>
                      <a:pt x="5644" y="2406"/>
                    </a:cubicBezTo>
                    <a:cubicBezTo>
                      <a:pt x="5651" y="2428"/>
                      <a:pt x="5659" y="2436"/>
                      <a:pt x="5666" y="2458"/>
                    </a:cubicBezTo>
                    <a:cubicBezTo>
                      <a:pt x="5689" y="2488"/>
                      <a:pt x="5711" y="2503"/>
                      <a:pt x="5748" y="2526"/>
                    </a:cubicBezTo>
                    <a:cubicBezTo>
                      <a:pt x="5764" y="2526"/>
                      <a:pt x="5771" y="2533"/>
                      <a:pt x="5786" y="2533"/>
                    </a:cubicBezTo>
                    <a:cubicBezTo>
                      <a:pt x="5831" y="2548"/>
                      <a:pt x="5861" y="2556"/>
                      <a:pt x="5913" y="2556"/>
                    </a:cubicBezTo>
                    <a:cubicBezTo>
                      <a:pt x="5936" y="2556"/>
                      <a:pt x="5951" y="2563"/>
                      <a:pt x="5973" y="2563"/>
                    </a:cubicBezTo>
                    <a:cubicBezTo>
                      <a:pt x="6048" y="2563"/>
                      <a:pt x="6048" y="2563"/>
                      <a:pt x="6048" y="2563"/>
                    </a:cubicBezTo>
                    <a:cubicBezTo>
                      <a:pt x="6093" y="2563"/>
                      <a:pt x="6116" y="2563"/>
                      <a:pt x="6161" y="2556"/>
                    </a:cubicBezTo>
                    <a:cubicBezTo>
                      <a:pt x="6191" y="2556"/>
                      <a:pt x="6206" y="2556"/>
                      <a:pt x="6228" y="2548"/>
                    </a:cubicBezTo>
                    <a:cubicBezTo>
                      <a:pt x="6251" y="2541"/>
                      <a:pt x="6258" y="2526"/>
                      <a:pt x="6273" y="2511"/>
                    </a:cubicBezTo>
                    <a:cubicBezTo>
                      <a:pt x="6318" y="2488"/>
                      <a:pt x="6341" y="2473"/>
                      <a:pt x="6371" y="2436"/>
                    </a:cubicBezTo>
                    <a:cubicBezTo>
                      <a:pt x="6385" y="2421"/>
                      <a:pt x="6385" y="2413"/>
                      <a:pt x="6401" y="2398"/>
                    </a:cubicBezTo>
                    <a:cubicBezTo>
                      <a:pt x="6408" y="2391"/>
                      <a:pt x="6415" y="2384"/>
                      <a:pt x="6423" y="2376"/>
                    </a:cubicBezTo>
                    <a:cubicBezTo>
                      <a:pt x="6438" y="2346"/>
                      <a:pt x="6445" y="2324"/>
                      <a:pt x="6468" y="2301"/>
                    </a:cubicBezTo>
                    <a:cubicBezTo>
                      <a:pt x="6498" y="2271"/>
                      <a:pt x="6528" y="2264"/>
                      <a:pt x="6558" y="2241"/>
                    </a:cubicBezTo>
                    <a:cubicBezTo>
                      <a:pt x="6580" y="2211"/>
                      <a:pt x="6603" y="2204"/>
                      <a:pt x="6625" y="2181"/>
                    </a:cubicBezTo>
                    <a:cubicBezTo>
                      <a:pt x="6648" y="2159"/>
                      <a:pt x="6663" y="2144"/>
                      <a:pt x="6693" y="2129"/>
                    </a:cubicBezTo>
                    <a:cubicBezTo>
                      <a:pt x="6730" y="2106"/>
                      <a:pt x="6723" y="2061"/>
                      <a:pt x="6745" y="2016"/>
                    </a:cubicBezTo>
                    <a:cubicBezTo>
                      <a:pt x="6768" y="1964"/>
                      <a:pt x="6805" y="1956"/>
                      <a:pt x="6835" y="1904"/>
                    </a:cubicBezTo>
                    <a:cubicBezTo>
                      <a:pt x="6835" y="1904"/>
                      <a:pt x="6843" y="1904"/>
                      <a:pt x="6850" y="1904"/>
                    </a:cubicBezTo>
                    <a:cubicBezTo>
                      <a:pt x="6858" y="1919"/>
                      <a:pt x="6850" y="1934"/>
                      <a:pt x="6858" y="1956"/>
                    </a:cubicBezTo>
                    <a:cubicBezTo>
                      <a:pt x="6858" y="1971"/>
                      <a:pt x="6865" y="1979"/>
                      <a:pt x="6865" y="1994"/>
                    </a:cubicBezTo>
                    <a:cubicBezTo>
                      <a:pt x="6865" y="2054"/>
                      <a:pt x="6865" y="2054"/>
                      <a:pt x="6865" y="2054"/>
                    </a:cubicBezTo>
                    <a:cubicBezTo>
                      <a:pt x="6865" y="2061"/>
                      <a:pt x="6865" y="2061"/>
                      <a:pt x="6865" y="2069"/>
                    </a:cubicBezTo>
                    <a:cubicBezTo>
                      <a:pt x="6858" y="2106"/>
                      <a:pt x="6843" y="2121"/>
                      <a:pt x="6828" y="2159"/>
                    </a:cubicBezTo>
                    <a:cubicBezTo>
                      <a:pt x="6820" y="2166"/>
                      <a:pt x="6813" y="2181"/>
                      <a:pt x="6805" y="2196"/>
                    </a:cubicBezTo>
                    <a:cubicBezTo>
                      <a:pt x="6798" y="2204"/>
                      <a:pt x="6790" y="2204"/>
                      <a:pt x="6783" y="2211"/>
                    </a:cubicBezTo>
                    <a:cubicBezTo>
                      <a:pt x="6745" y="2241"/>
                      <a:pt x="6760" y="2278"/>
                      <a:pt x="6753" y="2324"/>
                    </a:cubicBezTo>
                    <a:cubicBezTo>
                      <a:pt x="6745" y="2338"/>
                      <a:pt x="6738" y="2346"/>
                      <a:pt x="6730" y="2361"/>
                    </a:cubicBezTo>
                    <a:cubicBezTo>
                      <a:pt x="6715" y="2391"/>
                      <a:pt x="6693" y="2406"/>
                      <a:pt x="6678" y="2436"/>
                    </a:cubicBezTo>
                    <a:cubicBezTo>
                      <a:pt x="6670" y="2451"/>
                      <a:pt x="6670" y="2458"/>
                      <a:pt x="6663" y="2473"/>
                    </a:cubicBezTo>
                    <a:cubicBezTo>
                      <a:pt x="6633" y="2526"/>
                      <a:pt x="6603" y="2541"/>
                      <a:pt x="6580" y="2601"/>
                    </a:cubicBezTo>
                    <a:cubicBezTo>
                      <a:pt x="6573" y="2616"/>
                      <a:pt x="6580" y="2638"/>
                      <a:pt x="6580" y="2661"/>
                    </a:cubicBezTo>
                    <a:cubicBezTo>
                      <a:pt x="6580" y="2683"/>
                      <a:pt x="6573" y="2698"/>
                      <a:pt x="6565" y="2721"/>
                    </a:cubicBezTo>
                    <a:cubicBezTo>
                      <a:pt x="6558" y="2736"/>
                      <a:pt x="6543" y="2743"/>
                      <a:pt x="6543" y="2758"/>
                    </a:cubicBezTo>
                    <a:cubicBezTo>
                      <a:pt x="6543" y="2803"/>
                      <a:pt x="6558" y="2833"/>
                      <a:pt x="6573" y="2871"/>
                    </a:cubicBezTo>
                    <a:cubicBezTo>
                      <a:pt x="6580" y="2893"/>
                      <a:pt x="6580" y="2908"/>
                      <a:pt x="6588" y="2923"/>
                    </a:cubicBezTo>
                    <a:cubicBezTo>
                      <a:pt x="6603" y="2946"/>
                      <a:pt x="6610" y="2960"/>
                      <a:pt x="6625" y="2983"/>
                    </a:cubicBezTo>
                    <a:cubicBezTo>
                      <a:pt x="6640" y="3006"/>
                      <a:pt x="6655" y="3006"/>
                      <a:pt x="6678" y="3020"/>
                    </a:cubicBezTo>
                    <a:cubicBezTo>
                      <a:pt x="6693" y="3028"/>
                      <a:pt x="6700" y="3050"/>
                      <a:pt x="6700" y="3066"/>
                    </a:cubicBezTo>
                    <a:cubicBezTo>
                      <a:pt x="6708" y="3088"/>
                      <a:pt x="6715" y="3103"/>
                      <a:pt x="6723" y="3133"/>
                    </a:cubicBezTo>
                    <a:cubicBezTo>
                      <a:pt x="6723" y="3148"/>
                      <a:pt x="6723" y="3163"/>
                      <a:pt x="6730" y="3178"/>
                    </a:cubicBezTo>
                    <a:cubicBezTo>
                      <a:pt x="6745" y="3215"/>
                      <a:pt x="6753" y="3230"/>
                      <a:pt x="6760" y="3268"/>
                    </a:cubicBezTo>
                    <a:cubicBezTo>
                      <a:pt x="6768" y="3313"/>
                      <a:pt x="6768" y="3343"/>
                      <a:pt x="6783" y="3380"/>
                    </a:cubicBezTo>
                    <a:close/>
                    <a:moveTo>
                      <a:pt x="1957" y="113"/>
                    </a:moveTo>
                    <a:lnTo>
                      <a:pt x="1957" y="113"/>
                    </a:lnTo>
                    <a:cubicBezTo>
                      <a:pt x="1949" y="120"/>
                      <a:pt x="1941" y="128"/>
                      <a:pt x="1934" y="135"/>
                    </a:cubicBezTo>
                    <a:cubicBezTo>
                      <a:pt x="1919" y="143"/>
                      <a:pt x="1911" y="135"/>
                      <a:pt x="1904" y="135"/>
                    </a:cubicBezTo>
                    <a:cubicBezTo>
                      <a:pt x="1904" y="150"/>
                      <a:pt x="1904" y="158"/>
                      <a:pt x="1904" y="173"/>
                    </a:cubicBezTo>
                    <a:cubicBezTo>
                      <a:pt x="1904" y="195"/>
                      <a:pt x="1897" y="210"/>
                      <a:pt x="1897" y="233"/>
                    </a:cubicBezTo>
                    <a:cubicBezTo>
                      <a:pt x="1897" y="248"/>
                      <a:pt x="1904" y="255"/>
                      <a:pt x="1911" y="263"/>
                    </a:cubicBezTo>
                    <a:cubicBezTo>
                      <a:pt x="1919" y="278"/>
                      <a:pt x="1919" y="293"/>
                      <a:pt x="1927" y="300"/>
                    </a:cubicBezTo>
                    <a:cubicBezTo>
                      <a:pt x="1927" y="308"/>
                      <a:pt x="1934" y="308"/>
                      <a:pt x="1934" y="315"/>
                    </a:cubicBezTo>
                    <a:cubicBezTo>
                      <a:pt x="1941" y="330"/>
                      <a:pt x="1934" y="338"/>
                      <a:pt x="1934" y="353"/>
                    </a:cubicBezTo>
                    <a:cubicBezTo>
                      <a:pt x="1934" y="360"/>
                      <a:pt x="1941" y="368"/>
                      <a:pt x="1934" y="375"/>
                    </a:cubicBezTo>
                    <a:cubicBezTo>
                      <a:pt x="1934" y="383"/>
                      <a:pt x="1934" y="383"/>
                      <a:pt x="1934" y="390"/>
                    </a:cubicBezTo>
                    <a:cubicBezTo>
                      <a:pt x="1934" y="398"/>
                      <a:pt x="1941" y="405"/>
                      <a:pt x="1949" y="405"/>
                    </a:cubicBezTo>
                    <a:cubicBezTo>
                      <a:pt x="1957" y="405"/>
                      <a:pt x="1964" y="398"/>
                      <a:pt x="1964" y="390"/>
                    </a:cubicBezTo>
                    <a:cubicBezTo>
                      <a:pt x="1964" y="390"/>
                      <a:pt x="1964" y="390"/>
                      <a:pt x="1964" y="383"/>
                    </a:cubicBezTo>
                    <a:cubicBezTo>
                      <a:pt x="1964" y="368"/>
                      <a:pt x="1964" y="368"/>
                      <a:pt x="1964" y="353"/>
                    </a:cubicBezTo>
                    <a:cubicBezTo>
                      <a:pt x="1971" y="323"/>
                      <a:pt x="1971" y="308"/>
                      <a:pt x="1971" y="285"/>
                    </a:cubicBezTo>
                    <a:cubicBezTo>
                      <a:pt x="1971" y="270"/>
                      <a:pt x="1979" y="263"/>
                      <a:pt x="1979" y="255"/>
                    </a:cubicBezTo>
                    <a:cubicBezTo>
                      <a:pt x="1979" y="188"/>
                      <a:pt x="1979" y="188"/>
                      <a:pt x="1979" y="188"/>
                    </a:cubicBezTo>
                    <a:cubicBezTo>
                      <a:pt x="1979" y="165"/>
                      <a:pt x="1979" y="150"/>
                      <a:pt x="1971" y="128"/>
                    </a:cubicBezTo>
                    <a:cubicBezTo>
                      <a:pt x="1971" y="120"/>
                      <a:pt x="1964" y="120"/>
                      <a:pt x="1957" y="113"/>
                    </a:cubicBezTo>
                    <a:close/>
                    <a:moveTo>
                      <a:pt x="2121" y="435"/>
                    </a:moveTo>
                    <a:lnTo>
                      <a:pt x="2121" y="435"/>
                    </a:lnTo>
                    <a:cubicBezTo>
                      <a:pt x="2114" y="443"/>
                      <a:pt x="2114" y="450"/>
                      <a:pt x="2106" y="458"/>
                    </a:cubicBezTo>
                    <a:cubicBezTo>
                      <a:pt x="2099" y="473"/>
                      <a:pt x="2084" y="473"/>
                      <a:pt x="2076" y="488"/>
                    </a:cubicBezTo>
                    <a:cubicBezTo>
                      <a:pt x="2069" y="502"/>
                      <a:pt x="2069" y="510"/>
                      <a:pt x="2069" y="525"/>
                    </a:cubicBezTo>
                    <a:cubicBezTo>
                      <a:pt x="2069" y="548"/>
                      <a:pt x="2069" y="555"/>
                      <a:pt x="2076" y="578"/>
                    </a:cubicBezTo>
                    <a:cubicBezTo>
                      <a:pt x="2076" y="592"/>
                      <a:pt x="2084" y="592"/>
                      <a:pt x="2099" y="608"/>
                    </a:cubicBezTo>
                    <a:lnTo>
                      <a:pt x="2099" y="615"/>
                    </a:lnTo>
                    <a:cubicBezTo>
                      <a:pt x="2114" y="637"/>
                      <a:pt x="2129" y="645"/>
                      <a:pt x="2144" y="660"/>
                    </a:cubicBezTo>
                    <a:cubicBezTo>
                      <a:pt x="2159" y="660"/>
                      <a:pt x="2166" y="667"/>
                      <a:pt x="2174" y="675"/>
                    </a:cubicBezTo>
                    <a:cubicBezTo>
                      <a:pt x="2181" y="682"/>
                      <a:pt x="2181" y="690"/>
                      <a:pt x="2189" y="690"/>
                    </a:cubicBezTo>
                    <a:cubicBezTo>
                      <a:pt x="2196" y="690"/>
                      <a:pt x="2196" y="682"/>
                      <a:pt x="2196" y="682"/>
                    </a:cubicBezTo>
                    <a:cubicBezTo>
                      <a:pt x="2204" y="682"/>
                      <a:pt x="2211" y="675"/>
                      <a:pt x="2219" y="667"/>
                    </a:cubicBezTo>
                    <a:cubicBezTo>
                      <a:pt x="2234" y="667"/>
                      <a:pt x="2241" y="660"/>
                      <a:pt x="2249" y="652"/>
                    </a:cubicBezTo>
                    <a:cubicBezTo>
                      <a:pt x="2249" y="652"/>
                      <a:pt x="2249" y="652"/>
                      <a:pt x="2256" y="645"/>
                    </a:cubicBezTo>
                    <a:cubicBezTo>
                      <a:pt x="2271" y="622"/>
                      <a:pt x="2279" y="608"/>
                      <a:pt x="2279" y="585"/>
                    </a:cubicBezTo>
                    <a:cubicBezTo>
                      <a:pt x="2279" y="578"/>
                      <a:pt x="2279" y="570"/>
                      <a:pt x="2271" y="562"/>
                    </a:cubicBezTo>
                    <a:cubicBezTo>
                      <a:pt x="2271" y="548"/>
                      <a:pt x="2271" y="532"/>
                      <a:pt x="2271" y="518"/>
                    </a:cubicBezTo>
                    <a:cubicBezTo>
                      <a:pt x="2264" y="510"/>
                      <a:pt x="2264" y="502"/>
                      <a:pt x="2264" y="488"/>
                    </a:cubicBezTo>
                    <a:cubicBezTo>
                      <a:pt x="2256" y="480"/>
                      <a:pt x="2249" y="480"/>
                      <a:pt x="2234" y="480"/>
                    </a:cubicBezTo>
                    <a:cubicBezTo>
                      <a:pt x="2211" y="473"/>
                      <a:pt x="2196" y="473"/>
                      <a:pt x="2181" y="450"/>
                    </a:cubicBezTo>
                    <a:cubicBezTo>
                      <a:pt x="2174" y="443"/>
                      <a:pt x="2166" y="443"/>
                      <a:pt x="2159" y="435"/>
                    </a:cubicBezTo>
                    <a:cubicBezTo>
                      <a:pt x="2144" y="428"/>
                      <a:pt x="2144" y="420"/>
                      <a:pt x="2129" y="420"/>
                    </a:cubicBezTo>
                    <a:cubicBezTo>
                      <a:pt x="2114" y="420"/>
                      <a:pt x="2114" y="420"/>
                      <a:pt x="2114" y="420"/>
                    </a:cubicBezTo>
                    <a:cubicBezTo>
                      <a:pt x="2121" y="435"/>
                      <a:pt x="2121" y="435"/>
                      <a:pt x="2121" y="435"/>
                    </a:cubicBezTo>
                    <a:close/>
                    <a:moveTo>
                      <a:pt x="16" y="6280"/>
                    </a:moveTo>
                    <a:lnTo>
                      <a:pt x="16" y="6280"/>
                    </a:lnTo>
                    <a:cubicBezTo>
                      <a:pt x="16" y="6280"/>
                      <a:pt x="16" y="6288"/>
                      <a:pt x="8" y="6288"/>
                    </a:cubicBezTo>
                    <a:cubicBezTo>
                      <a:pt x="8" y="6295"/>
                      <a:pt x="0" y="6295"/>
                      <a:pt x="0" y="6303"/>
                    </a:cubicBezTo>
                    <a:cubicBezTo>
                      <a:pt x="0" y="6318"/>
                      <a:pt x="8" y="6318"/>
                      <a:pt x="8" y="6333"/>
                    </a:cubicBezTo>
                    <a:cubicBezTo>
                      <a:pt x="16" y="6333"/>
                      <a:pt x="16" y="6333"/>
                      <a:pt x="16" y="6333"/>
                    </a:cubicBezTo>
                    <a:cubicBezTo>
                      <a:pt x="23" y="6333"/>
                      <a:pt x="23" y="6333"/>
                      <a:pt x="23" y="6333"/>
                    </a:cubicBezTo>
                    <a:cubicBezTo>
                      <a:pt x="46" y="6325"/>
                      <a:pt x="53" y="6318"/>
                      <a:pt x="68" y="6318"/>
                    </a:cubicBezTo>
                    <a:cubicBezTo>
                      <a:pt x="68" y="6303"/>
                      <a:pt x="68" y="6303"/>
                      <a:pt x="68" y="6303"/>
                    </a:cubicBezTo>
                    <a:cubicBezTo>
                      <a:pt x="53" y="6288"/>
                      <a:pt x="38" y="6280"/>
                      <a:pt x="16" y="6280"/>
                    </a:cubicBezTo>
                    <a:close/>
                    <a:moveTo>
                      <a:pt x="105" y="5306"/>
                    </a:moveTo>
                    <a:lnTo>
                      <a:pt x="105" y="5306"/>
                    </a:lnTo>
                    <a:cubicBezTo>
                      <a:pt x="105" y="5314"/>
                      <a:pt x="105" y="5314"/>
                      <a:pt x="113" y="5321"/>
                    </a:cubicBezTo>
                    <a:cubicBezTo>
                      <a:pt x="113" y="5329"/>
                      <a:pt x="113" y="5329"/>
                      <a:pt x="113" y="5336"/>
                    </a:cubicBezTo>
                    <a:cubicBezTo>
                      <a:pt x="105" y="5374"/>
                      <a:pt x="105" y="5374"/>
                      <a:pt x="105" y="5374"/>
                    </a:cubicBezTo>
                    <a:cubicBezTo>
                      <a:pt x="105" y="5381"/>
                      <a:pt x="113" y="5381"/>
                      <a:pt x="113" y="5388"/>
                    </a:cubicBezTo>
                    <a:cubicBezTo>
                      <a:pt x="113" y="5396"/>
                      <a:pt x="120" y="5396"/>
                      <a:pt x="120" y="5396"/>
                    </a:cubicBezTo>
                    <a:cubicBezTo>
                      <a:pt x="128" y="5404"/>
                      <a:pt x="128" y="5404"/>
                      <a:pt x="128" y="5411"/>
                    </a:cubicBezTo>
                    <a:cubicBezTo>
                      <a:pt x="128" y="5426"/>
                      <a:pt x="128" y="5441"/>
                      <a:pt x="135" y="5456"/>
                    </a:cubicBezTo>
                    <a:cubicBezTo>
                      <a:pt x="143" y="5448"/>
                      <a:pt x="150" y="5441"/>
                      <a:pt x="158" y="5441"/>
                    </a:cubicBezTo>
                    <a:cubicBezTo>
                      <a:pt x="165" y="5434"/>
                      <a:pt x="165" y="5434"/>
                      <a:pt x="173" y="5426"/>
                    </a:cubicBezTo>
                    <a:cubicBezTo>
                      <a:pt x="188" y="5426"/>
                      <a:pt x="195" y="5426"/>
                      <a:pt x="203" y="5411"/>
                    </a:cubicBezTo>
                    <a:cubicBezTo>
                      <a:pt x="203" y="5396"/>
                      <a:pt x="203" y="5388"/>
                      <a:pt x="210" y="5374"/>
                    </a:cubicBezTo>
                    <a:cubicBezTo>
                      <a:pt x="210" y="5359"/>
                      <a:pt x="210" y="5344"/>
                      <a:pt x="218" y="5329"/>
                    </a:cubicBezTo>
                    <a:cubicBezTo>
                      <a:pt x="218" y="5299"/>
                      <a:pt x="210" y="5276"/>
                      <a:pt x="233" y="5254"/>
                    </a:cubicBezTo>
                    <a:cubicBezTo>
                      <a:pt x="240" y="5246"/>
                      <a:pt x="248" y="5239"/>
                      <a:pt x="263" y="5224"/>
                    </a:cubicBezTo>
                    <a:cubicBezTo>
                      <a:pt x="270" y="5216"/>
                      <a:pt x="278" y="5209"/>
                      <a:pt x="278" y="5201"/>
                    </a:cubicBezTo>
                    <a:cubicBezTo>
                      <a:pt x="278" y="5194"/>
                      <a:pt x="263" y="5179"/>
                      <a:pt x="255" y="5186"/>
                    </a:cubicBezTo>
                    <a:lnTo>
                      <a:pt x="248" y="5194"/>
                    </a:lnTo>
                    <a:cubicBezTo>
                      <a:pt x="240" y="5201"/>
                      <a:pt x="233" y="5209"/>
                      <a:pt x="225" y="5209"/>
                    </a:cubicBezTo>
                    <a:cubicBezTo>
                      <a:pt x="210" y="5224"/>
                      <a:pt x="195" y="5224"/>
                      <a:pt x="173" y="5224"/>
                    </a:cubicBezTo>
                    <a:cubicBezTo>
                      <a:pt x="158" y="5224"/>
                      <a:pt x="143" y="5216"/>
                      <a:pt x="135" y="5224"/>
                    </a:cubicBezTo>
                    <a:cubicBezTo>
                      <a:pt x="128" y="5231"/>
                      <a:pt x="128" y="5239"/>
                      <a:pt x="128" y="5246"/>
                    </a:cubicBezTo>
                    <a:cubicBezTo>
                      <a:pt x="120" y="5254"/>
                      <a:pt x="120" y="5261"/>
                      <a:pt x="113" y="5269"/>
                    </a:cubicBezTo>
                    <a:cubicBezTo>
                      <a:pt x="105" y="5284"/>
                      <a:pt x="105" y="5291"/>
                      <a:pt x="105" y="5306"/>
                    </a:cubicBezTo>
                    <a:close/>
                  </a:path>
                </a:pathLst>
              </a:custGeom>
              <a:grpFill/>
              <a:ln w="6350"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a:latin typeface="Calibri" panose="020F0502020204030204" pitchFamily="34" charset="0"/>
                </a:endParaRPr>
              </a:p>
            </p:txBody>
          </p:sp>
        </p:grpSp>
        <p:pic>
          <p:nvPicPr>
            <p:cNvPr id="28" name="Graphic 27" descr="Marker with solid fill">
              <a:extLst>
                <a:ext uri="{FF2B5EF4-FFF2-40B4-BE49-F238E27FC236}">
                  <a16:creationId xmlns:a16="http://schemas.microsoft.com/office/drawing/2014/main" id="{704B4AB6-623F-E4A2-9FBB-8E845D6174AD}"/>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7855956" y="5473689"/>
              <a:ext cx="347398" cy="347398"/>
            </a:xfrm>
            <a:prstGeom prst="rect">
              <a:avLst/>
            </a:prstGeom>
          </p:spPr>
        </p:pic>
        <p:pic>
          <p:nvPicPr>
            <p:cNvPr id="30" name="Graphic 29" descr="Marker with solid fill">
              <a:extLst>
                <a:ext uri="{FF2B5EF4-FFF2-40B4-BE49-F238E27FC236}">
                  <a16:creationId xmlns:a16="http://schemas.microsoft.com/office/drawing/2014/main" id="{FA0417C0-E2DB-9EB9-519F-487DB799B17A}"/>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7768013" y="5051014"/>
              <a:ext cx="347398" cy="347398"/>
            </a:xfrm>
            <a:prstGeom prst="rect">
              <a:avLst/>
            </a:prstGeom>
          </p:spPr>
        </p:pic>
        <p:pic>
          <p:nvPicPr>
            <p:cNvPr id="31" name="Graphic 30" descr="Marker with solid fill">
              <a:extLst>
                <a:ext uri="{FF2B5EF4-FFF2-40B4-BE49-F238E27FC236}">
                  <a16:creationId xmlns:a16="http://schemas.microsoft.com/office/drawing/2014/main" id="{8889196D-781B-C389-6650-7759A8FF1981}"/>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8536210" y="4441534"/>
              <a:ext cx="347398" cy="347398"/>
            </a:xfrm>
            <a:prstGeom prst="rect">
              <a:avLst/>
            </a:prstGeom>
          </p:spPr>
        </p:pic>
        <p:pic>
          <p:nvPicPr>
            <p:cNvPr id="32" name="Graphic 31" descr="Marker with solid fill">
              <a:extLst>
                <a:ext uri="{FF2B5EF4-FFF2-40B4-BE49-F238E27FC236}">
                  <a16:creationId xmlns:a16="http://schemas.microsoft.com/office/drawing/2014/main" id="{8AA5635A-40AD-3E90-0C7E-B3A39FC17302}"/>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9154472" y="4449430"/>
              <a:ext cx="347398" cy="347398"/>
            </a:xfrm>
            <a:prstGeom prst="rect">
              <a:avLst/>
            </a:prstGeom>
          </p:spPr>
        </p:pic>
        <p:pic>
          <p:nvPicPr>
            <p:cNvPr id="33" name="Graphic 32" descr="Marker with solid fill">
              <a:extLst>
                <a:ext uri="{FF2B5EF4-FFF2-40B4-BE49-F238E27FC236}">
                  <a16:creationId xmlns:a16="http://schemas.microsoft.com/office/drawing/2014/main" id="{F882122F-94C3-2650-C3CA-689683467178}"/>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9186347" y="4461983"/>
              <a:ext cx="347398" cy="347398"/>
            </a:xfrm>
            <a:prstGeom prst="rect">
              <a:avLst/>
            </a:prstGeom>
          </p:spPr>
        </p:pic>
        <p:pic>
          <p:nvPicPr>
            <p:cNvPr id="34" name="Graphic 33" descr="Marker with solid fill">
              <a:extLst>
                <a:ext uri="{FF2B5EF4-FFF2-40B4-BE49-F238E27FC236}">
                  <a16:creationId xmlns:a16="http://schemas.microsoft.com/office/drawing/2014/main" id="{91887079-7A2B-2EF8-8C29-84DDA5E283DB}"/>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9232254" y="4442921"/>
              <a:ext cx="347398" cy="347398"/>
            </a:xfrm>
            <a:prstGeom prst="rect">
              <a:avLst/>
            </a:prstGeom>
          </p:spPr>
        </p:pic>
        <p:pic>
          <p:nvPicPr>
            <p:cNvPr id="35" name="Graphic 34" descr="Marker with solid fill">
              <a:extLst>
                <a:ext uri="{FF2B5EF4-FFF2-40B4-BE49-F238E27FC236}">
                  <a16:creationId xmlns:a16="http://schemas.microsoft.com/office/drawing/2014/main" id="{5863D420-F892-FEF9-808F-C958F70BB78F}"/>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8385095" y="5020811"/>
              <a:ext cx="347398" cy="347398"/>
            </a:xfrm>
            <a:prstGeom prst="rect">
              <a:avLst/>
            </a:prstGeom>
          </p:spPr>
        </p:pic>
        <p:pic>
          <p:nvPicPr>
            <p:cNvPr id="36" name="Graphic 35" descr="Marker with solid fill">
              <a:extLst>
                <a:ext uri="{FF2B5EF4-FFF2-40B4-BE49-F238E27FC236}">
                  <a16:creationId xmlns:a16="http://schemas.microsoft.com/office/drawing/2014/main" id="{28202BA8-3EAD-6CB2-4E49-BB84787DDF0F}"/>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10592504" y="3570858"/>
              <a:ext cx="347398" cy="347398"/>
            </a:xfrm>
            <a:prstGeom prst="rect">
              <a:avLst/>
            </a:prstGeom>
          </p:spPr>
        </p:pic>
        <p:cxnSp>
          <p:nvCxnSpPr>
            <p:cNvPr id="38" name="Straight Connector 37">
              <a:extLst>
                <a:ext uri="{FF2B5EF4-FFF2-40B4-BE49-F238E27FC236}">
                  <a16:creationId xmlns:a16="http://schemas.microsoft.com/office/drawing/2014/main" id="{7CA795E2-59CD-119A-7C10-4D1AAF2ED3A3}"/>
                </a:ext>
              </a:extLst>
            </p:cNvPr>
            <p:cNvCxnSpPr>
              <a:cxnSpLocks/>
            </p:cNvCxnSpPr>
            <p:nvPr/>
          </p:nvCxnSpPr>
          <p:spPr bwMode="gray">
            <a:xfrm>
              <a:off x="8063734" y="5726540"/>
              <a:ext cx="108554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6732699-A8EF-4369-D954-5D8E9587C271}"/>
                </a:ext>
              </a:extLst>
            </p:cNvPr>
            <p:cNvCxnSpPr>
              <a:cxnSpLocks/>
            </p:cNvCxnSpPr>
            <p:nvPr/>
          </p:nvCxnSpPr>
          <p:spPr bwMode="gray">
            <a:xfrm>
              <a:off x="8577259" y="5272794"/>
              <a:ext cx="966987" cy="1243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808F17A-4A16-B85A-3F77-83F7A259D00F}"/>
                </a:ext>
              </a:extLst>
            </p:cNvPr>
            <p:cNvCxnSpPr>
              <a:cxnSpLocks/>
            </p:cNvCxnSpPr>
            <p:nvPr/>
          </p:nvCxnSpPr>
          <p:spPr bwMode="gray">
            <a:xfrm>
              <a:off x="9369416" y="4738778"/>
              <a:ext cx="1376954" cy="2798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A9FDB1C-D8AF-A001-700F-C8A0C8C267E0}"/>
                </a:ext>
              </a:extLst>
            </p:cNvPr>
            <p:cNvCxnSpPr>
              <a:cxnSpLocks/>
            </p:cNvCxnSpPr>
            <p:nvPr/>
          </p:nvCxnSpPr>
          <p:spPr bwMode="gray">
            <a:xfrm flipH="1">
              <a:off x="8710409" y="3213137"/>
              <a:ext cx="289" cy="1284621"/>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C8F97D5-F43A-6F56-4433-C1B3CD18291A}"/>
                </a:ext>
              </a:extLst>
            </p:cNvPr>
            <p:cNvCxnSpPr>
              <a:cxnSpLocks/>
            </p:cNvCxnSpPr>
            <p:nvPr/>
          </p:nvCxnSpPr>
          <p:spPr bwMode="gray">
            <a:xfrm>
              <a:off x="9300677" y="2771072"/>
              <a:ext cx="1360" cy="172668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92012DEC-9214-D766-E981-619BA45AA9B0}"/>
                </a:ext>
              </a:extLst>
            </p:cNvPr>
            <p:cNvSpPr txBox="1"/>
            <p:nvPr/>
          </p:nvSpPr>
          <p:spPr bwMode="gray">
            <a:xfrm>
              <a:off x="9049580" y="5398412"/>
              <a:ext cx="2043539" cy="923330"/>
            </a:xfrm>
            <a:prstGeom prst="rect">
              <a:avLst/>
            </a:prstGeom>
            <a:noFill/>
            <a:ln>
              <a:noFill/>
            </a:ln>
          </p:spPr>
          <p:txBody>
            <a:bodyPr wrap="square" lIns="137160" tIns="137160" rIns="274320" bIns="137160" rtlCol="0">
              <a:spAutoFit/>
            </a:bodyPr>
            <a:lstStyle/>
            <a:p>
              <a:pPr marL="0" indent="0" algn="l">
                <a:spcBef>
                  <a:spcPts val="600"/>
                </a:spcBef>
                <a:spcAft>
                  <a:spcPts val="600"/>
                </a:spcAft>
                <a:buNone/>
              </a:pPr>
              <a:r>
                <a:rPr lang="en-US" sz="800" b="1" dirty="0"/>
                <a:t>Sendai 1</a:t>
              </a:r>
              <a:br>
                <a:rPr lang="en-US" sz="800" b="1" dirty="0"/>
              </a:br>
              <a:r>
                <a:rPr lang="en-US" sz="800" dirty="0"/>
                <a:t>2015, 0.89 GW</a:t>
              </a:r>
            </a:p>
            <a:p>
              <a:pPr marL="0" indent="0" algn="l">
                <a:spcBef>
                  <a:spcPts val="600"/>
                </a:spcBef>
                <a:spcAft>
                  <a:spcPts val="600"/>
                </a:spcAft>
                <a:buNone/>
              </a:pPr>
              <a:r>
                <a:rPr lang="en-US" sz="800" b="1" dirty="0"/>
                <a:t>Sendai 2</a:t>
              </a:r>
              <a:br>
                <a:rPr lang="en-US" sz="800" b="1" dirty="0"/>
              </a:br>
              <a:r>
                <a:rPr lang="en-US" sz="800" dirty="0"/>
                <a:t>2015, 0.89 GW</a:t>
              </a:r>
            </a:p>
          </p:txBody>
        </p:sp>
        <p:sp>
          <p:nvSpPr>
            <p:cNvPr id="53" name="TextBox 52">
              <a:extLst>
                <a:ext uri="{FF2B5EF4-FFF2-40B4-BE49-F238E27FC236}">
                  <a16:creationId xmlns:a16="http://schemas.microsoft.com/office/drawing/2014/main" id="{6EF0AD0D-FD90-E24C-4A60-00796B94878F}"/>
                </a:ext>
              </a:extLst>
            </p:cNvPr>
            <p:cNvSpPr txBox="1"/>
            <p:nvPr/>
          </p:nvSpPr>
          <p:spPr bwMode="gray">
            <a:xfrm>
              <a:off x="9467126" y="5029055"/>
              <a:ext cx="1395722" cy="523220"/>
            </a:xfrm>
            <a:prstGeom prst="rect">
              <a:avLst/>
            </a:prstGeom>
            <a:noFill/>
            <a:ln>
              <a:noFill/>
            </a:ln>
          </p:spPr>
          <p:txBody>
            <a:bodyPr wrap="square" lIns="137160" tIns="137160" rIns="274320" bIns="137160" rtlCol="0">
              <a:spAutoFit/>
            </a:bodyPr>
            <a:lstStyle/>
            <a:p>
              <a:pPr marL="0" indent="0" algn="l">
                <a:spcBef>
                  <a:spcPts val="600"/>
                </a:spcBef>
                <a:spcAft>
                  <a:spcPts val="600"/>
                </a:spcAft>
                <a:buNone/>
              </a:pPr>
              <a:r>
                <a:rPr lang="en-US" sz="800" b="1" dirty="0" err="1"/>
                <a:t>Ikata</a:t>
              </a:r>
              <a:r>
                <a:rPr lang="en-US" sz="800" b="1" dirty="0"/>
                <a:t> 3</a:t>
              </a:r>
              <a:br>
                <a:rPr lang="en-US" sz="800" b="1" dirty="0"/>
              </a:br>
              <a:r>
                <a:rPr lang="en-US" sz="800" dirty="0"/>
                <a:t>2018, 0.89 GW</a:t>
              </a:r>
            </a:p>
          </p:txBody>
        </p:sp>
        <p:sp>
          <p:nvSpPr>
            <p:cNvPr id="54" name="TextBox 53">
              <a:extLst>
                <a:ext uri="{FF2B5EF4-FFF2-40B4-BE49-F238E27FC236}">
                  <a16:creationId xmlns:a16="http://schemas.microsoft.com/office/drawing/2014/main" id="{27D3DA0E-B222-4E50-80D7-B683B06D8B1A}"/>
                </a:ext>
              </a:extLst>
            </p:cNvPr>
            <p:cNvSpPr txBox="1"/>
            <p:nvPr/>
          </p:nvSpPr>
          <p:spPr bwMode="gray">
            <a:xfrm>
              <a:off x="10673422" y="4505153"/>
              <a:ext cx="1396657" cy="1003320"/>
            </a:xfrm>
            <a:prstGeom prst="rect">
              <a:avLst/>
            </a:prstGeom>
            <a:noFill/>
            <a:ln>
              <a:noFill/>
            </a:ln>
          </p:spPr>
          <p:txBody>
            <a:bodyPr wrap="square" lIns="137160" tIns="137160" rIns="274320" bIns="137160" rtlCol="0">
              <a:spAutoFit/>
            </a:bodyPr>
            <a:lstStyle/>
            <a:p>
              <a:pPr marL="0" indent="0" algn="l">
                <a:spcBef>
                  <a:spcPts val="600"/>
                </a:spcBef>
                <a:spcAft>
                  <a:spcPts val="600"/>
                </a:spcAft>
                <a:buNone/>
              </a:pPr>
              <a:r>
                <a:rPr lang="en-US" sz="800" b="1" dirty="0"/>
                <a:t>Ohi 3</a:t>
              </a:r>
              <a:br>
                <a:rPr lang="en-US" sz="800" b="1" dirty="0"/>
              </a:br>
              <a:r>
                <a:rPr lang="en-US" sz="800" dirty="0"/>
                <a:t>2018. 1.18 GW</a:t>
              </a:r>
            </a:p>
            <a:p>
              <a:pPr marL="0" indent="0" algn="l">
                <a:spcBef>
                  <a:spcPts val="600"/>
                </a:spcBef>
                <a:spcAft>
                  <a:spcPts val="600"/>
                </a:spcAft>
                <a:buNone/>
              </a:pPr>
              <a:r>
                <a:rPr lang="en-US" sz="800" b="1" dirty="0"/>
                <a:t>Ohi 4</a:t>
              </a:r>
              <a:br>
                <a:rPr lang="en-US" sz="800" b="1" dirty="0"/>
              </a:br>
              <a:r>
                <a:rPr lang="en-US" sz="800" dirty="0"/>
                <a:t>2018, 1.18 GW</a:t>
              </a:r>
            </a:p>
          </p:txBody>
        </p:sp>
        <p:sp>
          <p:nvSpPr>
            <p:cNvPr id="55" name="TextBox 54">
              <a:extLst>
                <a:ext uri="{FF2B5EF4-FFF2-40B4-BE49-F238E27FC236}">
                  <a16:creationId xmlns:a16="http://schemas.microsoft.com/office/drawing/2014/main" id="{9B233074-10DA-2171-A65B-4A2C610BB95F}"/>
                </a:ext>
              </a:extLst>
            </p:cNvPr>
            <p:cNvSpPr txBox="1"/>
            <p:nvPr/>
          </p:nvSpPr>
          <p:spPr bwMode="gray">
            <a:xfrm>
              <a:off x="11006481" y="4243543"/>
              <a:ext cx="1296998" cy="568548"/>
            </a:xfrm>
            <a:prstGeom prst="rect">
              <a:avLst/>
            </a:prstGeom>
            <a:noFill/>
            <a:ln>
              <a:noFill/>
            </a:ln>
          </p:spPr>
          <p:txBody>
            <a:bodyPr wrap="square" lIns="137160" tIns="137160" rIns="274320" bIns="137160" rtlCol="0">
              <a:spAutoFit/>
            </a:bodyPr>
            <a:lstStyle/>
            <a:p>
              <a:pPr marL="0" indent="0" algn="l">
                <a:spcBef>
                  <a:spcPts val="600"/>
                </a:spcBef>
                <a:spcAft>
                  <a:spcPts val="600"/>
                </a:spcAft>
                <a:buNone/>
              </a:pPr>
              <a:r>
                <a:rPr lang="en-US" sz="800" b="1" dirty="0"/>
                <a:t>Mihama 3</a:t>
              </a:r>
              <a:br>
                <a:rPr lang="en-US" sz="800" b="1" dirty="0"/>
              </a:br>
              <a:r>
                <a:rPr lang="en-US" sz="800" dirty="0"/>
                <a:t>2021, 0.83 GW</a:t>
              </a:r>
            </a:p>
          </p:txBody>
        </p:sp>
        <p:sp>
          <p:nvSpPr>
            <p:cNvPr id="56" name="TextBox 55">
              <a:extLst>
                <a:ext uri="{FF2B5EF4-FFF2-40B4-BE49-F238E27FC236}">
                  <a16:creationId xmlns:a16="http://schemas.microsoft.com/office/drawing/2014/main" id="{2DB42340-90C2-6CA1-52ED-99DBDA953C75}"/>
                </a:ext>
              </a:extLst>
            </p:cNvPr>
            <p:cNvSpPr txBox="1"/>
            <p:nvPr/>
          </p:nvSpPr>
          <p:spPr bwMode="gray">
            <a:xfrm>
              <a:off x="10910948" y="3461214"/>
              <a:ext cx="1246195" cy="568548"/>
            </a:xfrm>
            <a:prstGeom prst="rect">
              <a:avLst/>
            </a:prstGeom>
            <a:noFill/>
            <a:ln>
              <a:noFill/>
            </a:ln>
          </p:spPr>
          <p:txBody>
            <a:bodyPr wrap="square" lIns="137160" tIns="137160" rIns="274320" bIns="137160" rtlCol="0">
              <a:spAutoFit/>
            </a:bodyPr>
            <a:lstStyle/>
            <a:p>
              <a:pPr marL="0" indent="0" algn="l">
                <a:spcBef>
                  <a:spcPts val="600"/>
                </a:spcBef>
                <a:spcAft>
                  <a:spcPts val="600"/>
                </a:spcAft>
                <a:buNone/>
              </a:pPr>
              <a:r>
                <a:rPr lang="en-US" sz="800" b="1" dirty="0" err="1"/>
                <a:t>Onagawa</a:t>
              </a:r>
              <a:r>
                <a:rPr lang="en-US" sz="800" b="1" dirty="0"/>
                <a:t> 2</a:t>
              </a:r>
              <a:br>
                <a:rPr lang="en-US" sz="800" b="1" dirty="0"/>
              </a:br>
              <a:r>
                <a:rPr lang="en-US" sz="800" dirty="0"/>
                <a:t>2024, 0.83 GW</a:t>
              </a:r>
            </a:p>
          </p:txBody>
        </p:sp>
        <p:sp>
          <p:nvSpPr>
            <p:cNvPr id="58" name="TextBox 57">
              <a:extLst>
                <a:ext uri="{FF2B5EF4-FFF2-40B4-BE49-F238E27FC236}">
                  <a16:creationId xmlns:a16="http://schemas.microsoft.com/office/drawing/2014/main" id="{F375BEEF-44B5-D4D3-1904-B8D1B847EE9A}"/>
                </a:ext>
              </a:extLst>
            </p:cNvPr>
            <p:cNvSpPr txBox="1"/>
            <p:nvPr/>
          </p:nvSpPr>
          <p:spPr bwMode="gray">
            <a:xfrm>
              <a:off x="8432982" y="1944991"/>
              <a:ext cx="1710205" cy="923330"/>
            </a:xfrm>
            <a:prstGeom prst="rect">
              <a:avLst/>
            </a:prstGeom>
            <a:noFill/>
            <a:ln>
              <a:noFill/>
            </a:ln>
          </p:spPr>
          <p:txBody>
            <a:bodyPr wrap="square" lIns="137160" tIns="137160" rIns="274320" bIns="137160" rtlCol="0">
              <a:spAutoFit/>
            </a:bodyPr>
            <a:lstStyle/>
            <a:p>
              <a:pPr marL="0" indent="0" algn="l">
                <a:spcBef>
                  <a:spcPts val="600"/>
                </a:spcBef>
                <a:spcAft>
                  <a:spcPts val="600"/>
                </a:spcAft>
                <a:buNone/>
              </a:pPr>
              <a:r>
                <a:rPr lang="en-US" sz="800" b="1" dirty="0"/>
                <a:t>Takahama 1</a:t>
              </a:r>
              <a:br>
                <a:rPr lang="en-US" sz="800" b="1" dirty="0"/>
              </a:br>
              <a:r>
                <a:rPr lang="en-US" sz="800" dirty="0"/>
                <a:t>2023, 0.83 GW</a:t>
              </a:r>
            </a:p>
            <a:p>
              <a:pPr marL="0" indent="0" algn="l">
                <a:spcBef>
                  <a:spcPts val="600"/>
                </a:spcBef>
                <a:spcAft>
                  <a:spcPts val="600"/>
                </a:spcAft>
                <a:buNone/>
              </a:pPr>
              <a:r>
                <a:rPr lang="en-US" sz="800" b="1" dirty="0"/>
                <a:t>Takahama 2</a:t>
              </a:r>
              <a:br>
                <a:rPr lang="en-US" sz="800" b="1" dirty="0"/>
              </a:br>
              <a:r>
                <a:rPr lang="en-US" sz="800" dirty="0"/>
                <a:t>2023, 0.83 GW</a:t>
              </a:r>
            </a:p>
          </p:txBody>
        </p:sp>
        <p:sp>
          <p:nvSpPr>
            <p:cNvPr id="59" name="TextBox 58">
              <a:extLst>
                <a:ext uri="{FF2B5EF4-FFF2-40B4-BE49-F238E27FC236}">
                  <a16:creationId xmlns:a16="http://schemas.microsoft.com/office/drawing/2014/main" id="{399F57C9-BA93-EBE9-7B53-DBABC4749945}"/>
                </a:ext>
              </a:extLst>
            </p:cNvPr>
            <p:cNvSpPr txBox="1"/>
            <p:nvPr/>
          </p:nvSpPr>
          <p:spPr bwMode="gray">
            <a:xfrm>
              <a:off x="8250966" y="2797297"/>
              <a:ext cx="1515332" cy="523220"/>
            </a:xfrm>
            <a:prstGeom prst="rect">
              <a:avLst/>
            </a:prstGeom>
            <a:noFill/>
            <a:ln>
              <a:noFill/>
            </a:ln>
          </p:spPr>
          <p:txBody>
            <a:bodyPr wrap="square" lIns="137160" tIns="137160" rIns="274320" bIns="137160" rtlCol="0">
              <a:spAutoFit/>
            </a:bodyPr>
            <a:lstStyle/>
            <a:p>
              <a:pPr marL="0" indent="0" algn="l">
                <a:spcBef>
                  <a:spcPts val="600"/>
                </a:spcBef>
                <a:spcAft>
                  <a:spcPts val="600"/>
                </a:spcAft>
                <a:buNone/>
              </a:pPr>
              <a:r>
                <a:rPr lang="en-US" sz="800" b="1" dirty="0"/>
                <a:t>Shimane 2</a:t>
              </a:r>
              <a:br>
                <a:rPr lang="en-US" sz="800" b="1" dirty="0"/>
              </a:br>
              <a:r>
                <a:rPr lang="en-US" sz="800" dirty="0"/>
                <a:t>2024, 0.82 GW</a:t>
              </a:r>
            </a:p>
          </p:txBody>
        </p:sp>
        <p:sp>
          <p:nvSpPr>
            <p:cNvPr id="61" name="TextBox 60">
              <a:extLst>
                <a:ext uri="{FF2B5EF4-FFF2-40B4-BE49-F238E27FC236}">
                  <a16:creationId xmlns:a16="http://schemas.microsoft.com/office/drawing/2014/main" id="{A22ECCF5-4C94-1AED-3AF1-ACA0700E89AD}"/>
                </a:ext>
              </a:extLst>
            </p:cNvPr>
            <p:cNvSpPr txBox="1"/>
            <p:nvPr/>
          </p:nvSpPr>
          <p:spPr bwMode="gray">
            <a:xfrm>
              <a:off x="7389961" y="3245148"/>
              <a:ext cx="1328415" cy="923330"/>
            </a:xfrm>
            <a:prstGeom prst="rect">
              <a:avLst/>
            </a:prstGeom>
            <a:noFill/>
            <a:ln>
              <a:noFill/>
            </a:ln>
          </p:spPr>
          <p:txBody>
            <a:bodyPr wrap="square" lIns="137160" tIns="137160" rIns="274320" bIns="137160" rtlCol="0">
              <a:spAutoFit/>
            </a:bodyPr>
            <a:lstStyle/>
            <a:p>
              <a:pPr marL="0" indent="0" algn="l">
                <a:spcBef>
                  <a:spcPts val="600"/>
                </a:spcBef>
                <a:spcAft>
                  <a:spcPts val="600"/>
                </a:spcAft>
                <a:buNone/>
              </a:pPr>
              <a:r>
                <a:rPr lang="en-US" sz="800" b="1" dirty="0"/>
                <a:t>Genkai 3</a:t>
              </a:r>
              <a:br>
                <a:rPr lang="en-US" sz="800" b="1" dirty="0"/>
              </a:br>
              <a:r>
                <a:rPr lang="en-US" sz="800" dirty="0"/>
                <a:t>2018, 1.18 GW</a:t>
              </a:r>
            </a:p>
            <a:p>
              <a:pPr marL="0" indent="0" algn="l">
                <a:spcBef>
                  <a:spcPts val="600"/>
                </a:spcBef>
                <a:spcAft>
                  <a:spcPts val="600"/>
                </a:spcAft>
                <a:buNone/>
              </a:pPr>
              <a:r>
                <a:rPr lang="en-US" sz="800" b="1" dirty="0"/>
                <a:t>Genkai 4</a:t>
              </a:r>
              <a:br>
                <a:rPr lang="en-US" sz="800" b="1" dirty="0"/>
              </a:br>
              <a:r>
                <a:rPr lang="en-US" sz="800" dirty="0"/>
                <a:t>2018, 1.18 GW </a:t>
              </a:r>
            </a:p>
          </p:txBody>
        </p:sp>
        <p:sp>
          <p:nvSpPr>
            <p:cNvPr id="27" name="TextBox 26">
              <a:extLst>
                <a:ext uri="{FF2B5EF4-FFF2-40B4-BE49-F238E27FC236}">
                  <a16:creationId xmlns:a16="http://schemas.microsoft.com/office/drawing/2014/main" id="{C6F1BF36-CB8A-5FE8-B7FA-A135D2420211}"/>
                </a:ext>
              </a:extLst>
            </p:cNvPr>
            <p:cNvSpPr txBox="1"/>
            <p:nvPr/>
          </p:nvSpPr>
          <p:spPr bwMode="gray">
            <a:xfrm>
              <a:off x="9208877" y="1944991"/>
              <a:ext cx="1653971" cy="923330"/>
            </a:xfrm>
            <a:prstGeom prst="rect">
              <a:avLst/>
            </a:prstGeom>
            <a:noFill/>
            <a:ln>
              <a:noFill/>
            </a:ln>
          </p:spPr>
          <p:txBody>
            <a:bodyPr wrap="square" lIns="137160" tIns="137160" rIns="274320" bIns="137160" rtlCol="0">
              <a:spAutoFit/>
            </a:bodyPr>
            <a:lstStyle/>
            <a:p>
              <a:pPr marL="0" indent="0" algn="l">
                <a:spcBef>
                  <a:spcPts val="600"/>
                </a:spcBef>
                <a:spcAft>
                  <a:spcPts val="600"/>
                </a:spcAft>
                <a:buNone/>
              </a:pPr>
              <a:r>
                <a:rPr lang="en-US" sz="800" b="1" dirty="0"/>
                <a:t>Takahama 3</a:t>
              </a:r>
              <a:br>
                <a:rPr lang="en-US" sz="800" b="1" dirty="0"/>
              </a:br>
              <a:r>
                <a:rPr lang="en-US" sz="800" dirty="0"/>
                <a:t>2016, 0.87 GW</a:t>
              </a:r>
            </a:p>
            <a:p>
              <a:pPr marL="0" indent="0" algn="l">
                <a:spcBef>
                  <a:spcPts val="600"/>
                </a:spcBef>
                <a:spcAft>
                  <a:spcPts val="600"/>
                </a:spcAft>
                <a:buNone/>
              </a:pPr>
              <a:r>
                <a:rPr lang="en-US" sz="800" b="1" dirty="0"/>
                <a:t>Takahama 4</a:t>
              </a:r>
              <a:br>
                <a:rPr lang="en-US" sz="800" b="1" dirty="0"/>
              </a:br>
              <a:r>
                <a:rPr lang="en-US" sz="800" dirty="0"/>
                <a:t>2017, 0.87 GW</a:t>
              </a:r>
            </a:p>
          </p:txBody>
        </p:sp>
        <p:cxnSp>
          <p:nvCxnSpPr>
            <p:cNvPr id="46" name="Straight Connector 45">
              <a:extLst>
                <a:ext uri="{FF2B5EF4-FFF2-40B4-BE49-F238E27FC236}">
                  <a16:creationId xmlns:a16="http://schemas.microsoft.com/office/drawing/2014/main" id="{357ADD54-96BF-20D6-2055-BC2572FC44E7}"/>
                </a:ext>
              </a:extLst>
            </p:cNvPr>
            <p:cNvCxnSpPr>
              <a:cxnSpLocks/>
              <a:stCxn id="21" idx="9"/>
            </p:cNvCxnSpPr>
            <p:nvPr/>
          </p:nvCxnSpPr>
          <p:spPr bwMode="gray">
            <a:xfrm flipV="1">
              <a:off x="9434991" y="4532702"/>
              <a:ext cx="1660579" cy="3931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A75D339C-8D47-A330-987C-FFD96C3E6CB0}"/>
                </a:ext>
              </a:extLst>
            </p:cNvPr>
            <p:cNvCxnSpPr>
              <a:cxnSpLocks/>
            </p:cNvCxnSpPr>
            <p:nvPr/>
          </p:nvCxnSpPr>
          <p:spPr bwMode="gray">
            <a:xfrm>
              <a:off x="10824076" y="3725324"/>
              <a:ext cx="18240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B807F026-48EE-C5B3-0416-0542BB6A96EB}"/>
              </a:ext>
            </a:extLst>
          </p:cNvPr>
          <p:cNvSpPr txBox="1"/>
          <p:nvPr/>
        </p:nvSpPr>
        <p:spPr bwMode="gray">
          <a:xfrm>
            <a:off x="7614497" y="1370459"/>
            <a:ext cx="4249950" cy="289310"/>
          </a:xfrm>
          <a:prstGeom prst="rect">
            <a:avLst/>
          </a:prstGeom>
          <a:noFill/>
        </p:spPr>
        <p:txBody>
          <a:bodyPr wrap="square" lIns="36576" tIns="36576" rIns="36576" bIns="36576">
            <a:spAutoFit/>
          </a:bodyPr>
          <a:lstStyle/>
          <a:p>
            <a:pPr marL="0" indent="0">
              <a:buNone/>
            </a:pPr>
            <a:r>
              <a:rPr lang="en-US" sz="1400" b="1" dirty="0"/>
              <a:t>Japan’s restarted nuclear reactors</a:t>
            </a:r>
          </a:p>
        </p:txBody>
      </p:sp>
      <p:cxnSp>
        <p:nvCxnSpPr>
          <p:cNvPr id="42" name="Straight Connector 41">
            <a:extLst>
              <a:ext uri="{FF2B5EF4-FFF2-40B4-BE49-F238E27FC236}">
                <a16:creationId xmlns:a16="http://schemas.microsoft.com/office/drawing/2014/main" id="{9F5F2B2E-9EE3-1E3D-96AA-24BE98C2C63B}"/>
              </a:ext>
            </a:extLst>
          </p:cNvPr>
          <p:cNvCxnSpPr/>
          <p:nvPr/>
        </p:nvCxnSpPr>
        <p:spPr bwMode="gray">
          <a:xfrm>
            <a:off x="7614497" y="1663156"/>
            <a:ext cx="420624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800180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B5C18C-2F3D-0437-61C1-33F022063BB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414DD79-08FD-4B79-C43E-81887526B0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a:extLst>
                          <a:ext uri="{FF2B5EF4-FFF2-40B4-BE49-F238E27FC236}">
                            <a16:creationId xmlns:a16="http://schemas.microsoft.com/office/drawing/2014/main" id="{3414DD79-08FD-4B79-C43E-81887526B03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3" name="Freeform 152">
            <a:extLst>
              <a:ext uri="{FF2B5EF4-FFF2-40B4-BE49-F238E27FC236}">
                <a16:creationId xmlns:a16="http://schemas.microsoft.com/office/drawing/2014/main" id="{C64D1B59-20C4-564D-FA8A-1FCFF4AE4327}"/>
              </a:ext>
            </a:extLst>
          </p:cNvPr>
          <p:cNvSpPr/>
          <p:nvPr/>
        </p:nvSpPr>
        <p:spPr bwMode="gray">
          <a:xfrm>
            <a:off x="3477638" y="3671606"/>
            <a:ext cx="69234" cy="360509"/>
          </a:xfrm>
          <a:custGeom>
            <a:avLst/>
            <a:gdLst>
              <a:gd name="connsiteX0" fmla="*/ 63230 w 63230"/>
              <a:gd name="connsiteY0" fmla="*/ 0 h 325877"/>
              <a:gd name="connsiteX1" fmla="*/ 43775 w 63230"/>
              <a:gd name="connsiteY1" fmla="*/ 24319 h 325877"/>
              <a:gd name="connsiteX2" fmla="*/ 19456 w 63230"/>
              <a:gd name="connsiteY2" fmla="*/ 53502 h 325877"/>
              <a:gd name="connsiteX3" fmla="*/ 4864 w 63230"/>
              <a:gd name="connsiteY3" fmla="*/ 97277 h 325877"/>
              <a:gd name="connsiteX4" fmla="*/ 0 w 63230"/>
              <a:gd name="connsiteY4" fmla="*/ 111868 h 325877"/>
              <a:gd name="connsiteX5" fmla="*/ 4864 w 63230"/>
              <a:gd name="connsiteY5" fmla="*/ 175098 h 325877"/>
              <a:gd name="connsiteX6" fmla="*/ 0 w 63230"/>
              <a:gd name="connsiteY6" fmla="*/ 204281 h 325877"/>
              <a:gd name="connsiteX7" fmla="*/ 4864 w 63230"/>
              <a:gd name="connsiteY7" fmla="*/ 301558 h 325877"/>
              <a:gd name="connsiteX8" fmla="*/ 14592 w 63230"/>
              <a:gd name="connsiteY8" fmla="*/ 316149 h 325877"/>
              <a:gd name="connsiteX9" fmla="*/ 29183 w 63230"/>
              <a:gd name="connsiteY9" fmla="*/ 325877 h 325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230" h="325877">
                <a:moveTo>
                  <a:pt x="63230" y="0"/>
                </a:moveTo>
                <a:cubicBezTo>
                  <a:pt x="56745" y="8106"/>
                  <a:pt x="50611" y="16506"/>
                  <a:pt x="43775" y="24319"/>
                </a:cubicBezTo>
                <a:cubicBezTo>
                  <a:pt x="33429" y="36143"/>
                  <a:pt x="25878" y="39052"/>
                  <a:pt x="19456" y="53502"/>
                </a:cubicBezTo>
                <a:cubicBezTo>
                  <a:pt x="19454" y="53507"/>
                  <a:pt x="7297" y="89979"/>
                  <a:pt x="4864" y="97277"/>
                </a:cubicBezTo>
                <a:lnTo>
                  <a:pt x="0" y="111868"/>
                </a:lnTo>
                <a:cubicBezTo>
                  <a:pt x="1621" y="132945"/>
                  <a:pt x="4864" y="153959"/>
                  <a:pt x="4864" y="175098"/>
                </a:cubicBezTo>
                <a:cubicBezTo>
                  <a:pt x="4864" y="184960"/>
                  <a:pt x="0" y="194419"/>
                  <a:pt x="0" y="204281"/>
                </a:cubicBezTo>
                <a:cubicBezTo>
                  <a:pt x="0" y="236747"/>
                  <a:pt x="665" y="269365"/>
                  <a:pt x="4864" y="301558"/>
                </a:cubicBezTo>
                <a:cubicBezTo>
                  <a:pt x="5620" y="307354"/>
                  <a:pt x="10459" y="312016"/>
                  <a:pt x="14592" y="316149"/>
                </a:cubicBezTo>
                <a:cubicBezTo>
                  <a:pt x="18725" y="320282"/>
                  <a:pt x="29183" y="325877"/>
                  <a:pt x="29183" y="325877"/>
                </a:cubicBezTo>
              </a:path>
            </a:pathLst>
          </a:custGeom>
          <a:ln w="9525">
            <a:solidFill>
              <a:schemeClr val="bg1">
                <a:lumMod val="75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89" name="Group 88">
            <a:extLst>
              <a:ext uri="{FF2B5EF4-FFF2-40B4-BE49-F238E27FC236}">
                <a16:creationId xmlns:a16="http://schemas.microsoft.com/office/drawing/2014/main" id="{F7F5BEE9-B245-5DB2-F372-32391864016C}"/>
              </a:ext>
            </a:extLst>
          </p:cNvPr>
          <p:cNvGrpSpPr/>
          <p:nvPr/>
        </p:nvGrpSpPr>
        <p:grpSpPr>
          <a:xfrm>
            <a:off x="4352925" y="1549906"/>
            <a:ext cx="7272336" cy="4563183"/>
            <a:chOff x="4262465" y="1582205"/>
            <a:chExt cx="7272336" cy="4563183"/>
          </a:xfrm>
        </p:grpSpPr>
        <p:sp>
          <p:nvSpPr>
            <p:cNvPr id="65" name="Rectangle 64">
              <a:extLst>
                <a:ext uri="{FF2B5EF4-FFF2-40B4-BE49-F238E27FC236}">
                  <a16:creationId xmlns:a16="http://schemas.microsoft.com/office/drawing/2014/main" id="{285631C7-009C-3CD0-987B-E53258B54C4B}"/>
                </a:ext>
              </a:extLst>
            </p:cNvPr>
            <p:cNvSpPr/>
            <p:nvPr/>
          </p:nvSpPr>
          <p:spPr bwMode="gray">
            <a:xfrm>
              <a:off x="4262465" y="1587424"/>
              <a:ext cx="3554027" cy="1404000"/>
            </a:xfrm>
            <a:prstGeom prst="rect">
              <a:avLst/>
            </a:prstGeom>
            <a:solidFill>
              <a:srgbClr val="E3E8EE"/>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2" name="Rectangle 81">
              <a:extLst>
                <a:ext uri="{FF2B5EF4-FFF2-40B4-BE49-F238E27FC236}">
                  <a16:creationId xmlns:a16="http://schemas.microsoft.com/office/drawing/2014/main" id="{73B23F45-2DA2-EE6E-C86A-88CF8480F8BD}"/>
                </a:ext>
              </a:extLst>
            </p:cNvPr>
            <p:cNvSpPr/>
            <p:nvPr/>
          </p:nvSpPr>
          <p:spPr bwMode="gray">
            <a:xfrm>
              <a:off x="7975270" y="4863388"/>
              <a:ext cx="3554027" cy="1276364"/>
            </a:xfrm>
            <a:prstGeom prst="rect">
              <a:avLst/>
            </a:prstGeom>
            <a:solidFill>
              <a:srgbClr val="E3E8EE"/>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4" name="Rectangle 83">
              <a:extLst>
                <a:ext uri="{FF2B5EF4-FFF2-40B4-BE49-F238E27FC236}">
                  <a16:creationId xmlns:a16="http://schemas.microsoft.com/office/drawing/2014/main" id="{9585DA51-6642-C0DD-1126-56069066F6D1}"/>
                </a:ext>
              </a:extLst>
            </p:cNvPr>
            <p:cNvSpPr/>
            <p:nvPr/>
          </p:nvSpPr>
          <p:spPr bwMode="gray">
            <a:xfrm>
              <a:off x="7980774" y="3209974"/>
              <a:ext cx="3554027" cy="1404000"/>
            </a:xfrm>
            <a:prstGeom prst="rect">
              <a:avLst/>
            </a:prstGeom>
            <a:solidFill>
              <a:srgbClr val="E3E8EE"/>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5" name="Rectangle 84">
              <a:extLst>
                <a:ext uri="{FF2B5EF4-FFF2-40B4-BE49-F238E27FC236}">
                  <a16:creationId xmlns:a16="http://schemas.microsoft.com/office/drawing/2014/main" id="{9181C34C-9652-E198-1ED0-4108A5C4481A}"/>
                </a:ext>
              </a:extLst>
            </p:cNvPr>
            <p:cNvSpPr/>
            <p:nvPr/>
          </p:nvSpPr>
          <p:spPr bwMode="gray">
            <a:xfrm>
              <a:off x="7980774" y="1582205"/>
              <a:ext cx="3554027" cy="1404000"/>
            </a:xfrm>
            <a:prstGeom prst="rect">
              <a:avLst/>
            </a:prstGeom>
            <a:solidFill>
              <a:srgbClr val="E3E8EE"/>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D97460D3-662F-EFAB-D323-961B2DC0E72B}"/>
                </a:ext>
              </a:extLst>
            </p:cNvPr>
            <p:cNvSpPr/>
            <p:nvPr/>
          </p:nvSpPr>
          <p:spPr bwMode="gray">
            <a:xfrm>
              <a:off x="4262465" y="3213734"/>
              <a:ext cx="3554027" cy="1404000"/>
            </a:xfrm>
            <a:prstGeom prst="rect">
              <a:avLst/>
            </a:prstGeom>
            <a:solidFill>
              <a:srgbClr val="E3E8EE"/>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7" name="Rectangle 86">
              <a:extLst>
                <a:ext uri="{FF2B5EF4-FFF2-40B4-BE49-F238E27FC236}">
                  <a16:creationId xmlns:a16="http://schemas.microsoft.com/office/drawing/2014/main" id="{26051D75-23E9-4760-A158-2CC7EBFD51CA}"/>
                </a:ext>
              </a:extLst>
            </p:cNvPr>
            <p:cNvSpPr/>
            <p:nvPr/>
          </p:nvSpPr>
          <p:spPr bwMode="gray">
            <a:xfrm>
              <a:off x="4262465" y="4869024"/>
              <a:ext cx="3554027" cy="1276364"/>
            </a:xfrm>
            <a:prstGeom prst="rect">
              <a:avLst/>
            </a:prstGeom>
            <a:solidFill>
              <a:srgbClr val="E3E8EE"/>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grpSp>
      <p:sp>
        <p:nvSpPr>
          <p:cNvPr id="6" name="Title 5">
            <a:extLst>
              <a:ext uri="{FF2B5EF4-FFF2-40B4-BE49-F238E27FC236}">
                <a16:creationId xmlns:a16="http://schemas.microsoft.com/office/drawing/2014/main" id="{F41BEEEE-E617-4972-F195-D74BA9503711}"/>
              </a:ext>
            </a:extLst>
          </p:cNvPr>
          <p:cNvSpPr>
            <a:spLocks noGrp="1"/>
          </p:cNvSpPr>
          <p:nvPr>
            <p:ph type="title"/>
          </p:nvPr>
        </p:nvSpPr>
        <p:spPr/>
        <p:txBody>
          <a:bodyPr vert="horz">
            <a:noAutofit/>
          </a:bodyPr>
          <a:lstStyle/>
          <a:p>
            <a:r>
              <a:rPr lang="en-US"/>
              <a:t>Many African countries are considering including nuclear power in their future energy mix; 8 plants are planned or under construction</a:t>
            </a:r>
          </a:p>
        </p:txBody>
      </p:sp>
      <p:sp>
        <p:nvSpPr>
          <p:cNvPr id="32" name="btfpNotesBox368131">
            <a:hlinkClick r:id="rId9"/>
            <a:extLst>
              <a:ext uri="{FF2B5EF4-FFF2-40B4-BE49-F238E27FC236}">
                <a16:creationId xmlns:a16="http://schemas.microsoft.com/office/drawing/2014/main" id="{86223EB1-7A42-2586-06F9-081808D2CB0B}"/>
              </a:ext>
            </a:extLst>
          </p:cNvPr>
          <p:cNvSpPr txBox="1"/>
          <p:nvPr>
            <p:custDataLst>
              <p:tags r:id="rId3"/>
            </p:custDataLst>
          </p:nvPr>
        </p:nvSpPr>
        <p:spPr bwMode="gray">
          <a:xfrm>
            <a:off x="330199" y="6309360"/>
            <a:ext cx="9079251" cy="49244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The Path to a New Era for Nuclear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5); IA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Argentina Country Highlight</a:t>
            </a:r>
            <a:r>
              <a:rPr kumimoji="0" lang="en-US" sz="800" b="0" i="0" u="none" strike="noStrike" kern="1200" cap="none" spc="0" normalizeH="0" baseline="0" noProof="0" dirty="0">
                <a:ln>
                  <a:noFill/>
                </a:ln>
                <a:solidFill>
                  <a:srgbClr val="000000"/>
                </a:solidFill>
                <a:effectLst/>
                <a:uLnTx/>
                <a:uFillTx/>
                <a:latin typeface="Arial"/>
                <a:ea typeface="+mn-ea"/>
                <a:cs typeface="+mn-cs"/>
              </a:rPr>
              <a:t> (2024); African Energy Newslette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More African governments consider nuclear power, but costs could scupper plans</a:t>
            </a:r>
            <a:r>
              <a:rPr kumimoji="0" lang="en-US" sz="800" b="0" i="0" u="none" strike="noStrike" kern="1200" cap="none" spc="0" normalizeH="0" baseline="0" noProof="0" dirty="0">
                <a:ln>
                  <a:noFill/>
                </a:ln>
                <a:solidFill>
                  <a:srgbClr val="000000"/>
                </a:solidFill>
                <a:effectLst/>
                <a:uLnTx/>
                <a:uFillTx/>
                <a:latin typeface="Arial"/>
                <a:ea typeface="+mn-ea"/>
                <a:cs typeface="+mn-cs"/>
              </a:rPr>
              <a:t> (2024); Energy for Growth Hub,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2023 Update: Who in Africa Is Ready for Nuclear Power?</a:t>
            </a:r>
            <a:r>
              <a:rPr kumimoji="0" lang="en-US" sz="800" b="0" i="0" u="none" strike="noStrike" kern="1200" cap="none" spc="0" normalizeH="0" baseline="0" noProof="0" dirty="0">
                <a:ln>
                  <a:noFill/>
                </a:ln>
                <a:solidFill>
                  <a:srgbClr val="000000"/>
                </a:solidFill>
                <a:effectLst/>
                <a:uLnTx/>
                <a:uFillTx/>
                <a:latin typeface="Arial"/>
                <a:ea typeface="+mn-ea"/>
                <a:cs typeface="+mn-cs"/>
              </a:rPr>
              <a:t> (2023); World Nuclear New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Permit Granted at El Dabaa</a:t>
            </a:r>
            <a:r>
              <a:rPr lang="en-US" sz="800" dirty="0">
                <a:solidFill>
                  <a:srgbClr val="000000"/>
                </a:solidFill>
                <a:latin typeface="Arial"/>
              </a:rPr>
              <a:t> (2025); Reuters, </a:t>
            </a:r>
            <a:r>
              <a:rPr lang="en-US" sz="800" dirty="0">
                <a:solidFill>
                  <a:srgbClr val="000000"/>
                </a:solidFill>
                <a:latin typeface="Arial"/>
                <a:hlinkClick r:id="rId15"/>
              </a:rPr>
              <a:t>Ghana signs agreement to build small NuScale nuclear reactor</a:t>
            </a:r>
            <a:r>
              <a:rPr lang="en-US" sz="800" dirty="0">
                <a:solidFill>
                  <a:srgbClr val="000000"/>
                </a:solidFill>
                <a:latin typeface="Arial"/>
              </a:rPr>
              <a:t> (2024); Nuclear Business Platform, </a:t>
            </a:r>
            <a:r>
              <a:rPr lang="en-US" sz="800" dirty="0">
                <a:solidFill>
                  <a:srgbClr val="000000"/>
                </a:solidFill>
                <a:latin typeface="Arial"/>
                <a:hlinkClick r:id="rId16"/>
              </a:rPr>
              <a:t>Nigeria’s Path to Nuclear Energy </a:t>
            </a:r>
            <a:r>
              <a:rPr lang="en-US" sz="800" dirty="0">
                <a:solidFill>
                  <a:srgbClr val="000000"/>
                </a:solidFill>
                <a:latin typeface="Arial"/>
              </a:rPr>
              <a:t>(2024).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inako Arai,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69" name="Rectangle 68">
            <a:extLst>
              <a:ext uri="{FF2B5EF4-FFF2-40B4-BE49-F238E27FC236}">
                <a16:creationId xmlns:a16="http://schemas.microsoft.com/office/drawing/2014/main" id="{F458FB18-C8A9-340B-EA7C-AB9ECE6CCDD1}"/>
              </a:ext>
            </a:extLst>
          </p:cNvPr>
          <p:cNvSpPr/>
          <p:nvPr/>
        </p:nvSpPr>
        <p:spPr bwMode="gray">
          <a:xfrm>
            <a:off x="4362152" y="4750035"/>
            <a:ext cx="1656000" cy="32033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   South Africa</a:t>
            </a:r>
          </a:p>
        </p:txBody>
      </p:sp>
      <p:sp>
        <p:nvSpPr>
          <p:cNvPr id="71" name="Rectangle 70">
            <a:extLst>
              <a:ext uri="{FF2B5EF4-FFF2-40B4-BE49-F238E27FC236}">
                <a16:creationId xmlns:a16="http://schemas.microsoft.com/office/drawing/2014/main" id="{EC468BAA-F7BE-919A-C7A5-092711A04DA1}"/>
              </a:ext>
            </a:extLst>
          </p:cNvPr>
          <p:cNvSpPr/>
          <p:nvPr/>
        </p:nvSpPr>
        <p:spPr bwMode="gray">
          <a:xfrm>
            <a:off x="8076107" y="1475399"/>
            <a:ext cx="1656000" cy="32033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       Egypt</a:t>
            </a:r>
          </a:p>
        </p:txBody>
      </p:sp>
      <p:sp>
        <p:nvSpPr>
          <p:cNvPr id="75" name="Rectangle 74">
            <a:extLst>
              <a:ext uri="{FF2B5EF4-FFF2-40B4-BE49-F238E27FC236}">
                <a16:creationId xmlns:a16="http://schemas.microsoft.com/office/drawing/2014/main" id="{7B998B14-FBFE-116E-5D5B-28E776F41285}"/>
              </a:ext>
            </a:extLst>
          </p:cNvPr>
          <p:cNvSpPr/>
          <p:nvPr/>
        </p:nvSpPr>
        <p:spPr bwMode="gray">
          <a:xfrm>
            <a:off x="4352924" y="1463759"/>
            <a:ext cx="1656000" cy="32033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      Ghana</a:t>
            </a:r>
          </a:p>
        </p:txBody>
      </p:sp>
      <p:sp>
        <p:nvSpPr>
          <p:cNvPr id="77" name="Rectangle 76">
            <a:extLst>
              <a:ext uri="{FF2B5EF4-FFF2-40B4-BE49-F238E27FC236}">
                <a16:creationId xmlns:a16="http://schemas.microsoft.com/office/drawing/2014/main" id="{E23169D2-7D4C-FD11-E9DA-5B7A71F0E924}"/>
              </a:ext>
            </a:extLst>
          </p:cNvPr>
          <p:cNvSpPr/>
          <p:nvPr/>
        </p:nvSpPr>
        <p:spPr bwMode="gray">
          <a:xfrm>
            <a:off x="4352925" y="3025200"/>
            <a:ext cx="1656000" cy="32033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      Nigeria</a:t>
            </a:r>
          </a:p>
        </p:txBody>
      </p:sp>
      <p:sp>
        <p:nvSpPr>
          <p:cNvPr id="79" name="Rectangle 78">
            <a:extLst>
              <a:ext uri="{FF2B5EF4-FFF2-40B4-BE49-F238E27FC236}">
                <a16:creationId xmlns:a16="http://schemas.microsoft.com/office/drawing/2014/main" id="{2CB8E553-52FE-EE68-B14F-97958099036A}"/>
              </a:ext>
            </a:extLst>
          </p:cNvPr>
          <p:cNvSpPr/>
          <p:nvPr/>
        </p:nvSpPr>
        <p:spPr bwMode="gray">
          <a:xfrm>
            <a:off x="8076302" y="3101519"/>
            <a:ext cx="1634328" cy="32033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      Uganda</a:t>
            </a:r>
          </a:p>
        </p:txBody>
      </p:sp>
      <p:sp>
        <p:nvSpPr>
          <p:cNvPr id="81" name="Rectangle 80">
            <a:extLst>
              <a:ext uri="{FF2B5EF4-FFF2-40B4-BE49-F238E27FC236}">
                <a16:creationId xmlns:a16="http://schemas.microsoft.com/office/drawing/2014/main" id="{A5724408-226A-A838-82B1-B5728620525B}"/>
              </a:ext>
            </a:extLst>
          </p:cNvPr>
          <p:cNvSpPr/>
          <p:nvPr/>
        </p:nvSpPr>
        <p:spPr bwMode="gray">
          <a:xfrm>
            <a:off x="8065730" y="4767299"/>
            <a:ext cx="1644900" cy="32033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      Rwanda   </a:t>
            </a:r>
          </a:p>
        </p:txBody>
      </p:sp>
      <p:grpSp>
        <p:nvGrpSpPr>
          <p:cNvPr id="64" name="Group 63">
            <a:extLst>
              <a:ext uri="{FF2B5EF4-FFF2-40B4-BE49-F238E27FC236}">
                <a16:creationId xmlns:a16="http://schemas.microsoft.com/office/drawing/2014/main" id="{B4548337-2346-5370-D788-C851F49E37F8}"/>
              </a:ext>
            </a:extLst>
          </p:cNvPr>
          <p:cNvGrpSpPr/>
          <p:nvPr/>
        </p:nvGrpSpPr>
        <p:grpSpPr>
          <a:xfrm>
            <a:off x="264977" y="1566255"/>
            <a:ext cx="3825942" cy="4536327"/>
            <a:chOff x="4352925" y="2289355"/>
            <a:chExt cx="3038630" cy="3602830"/>
          </a:xfrm>
        </p:grpSpPr>
        <p:grpSp>
          <p:nvGrpSpPr>
            <p:cNvPr id="2" name="Group 1">
              <a:extLst>
                <a:ext uri="{FF2B5EF4-FFF2-40B4-BE49-F238E27FC236}">
                  <a16:creationId xmlns:a16="http://schemas.microsoft.com/office/drawing/2014/main" id="{18A28226-6E13-58EE-D3FA-6982A1AB331E}"/>
                </a:ext>
              </a:extLst>
            </p:cNvPr>
            <p:cNvGrpSpPr>
              <a:grpSpLocks noChangeAspect="1"/>
            </p:cNvGrpSpPr>
            <p:nvPr/>
          </p:nvGrpSpPr>
          <p:grpSpPr>
            <a:xfrm>
              <a:off x="4352925" y="2289355"/>
              <a:ext cx="3038630" cy="3602830"/>
              <a:chOff x="5379804" y="3234493"/>
              <a:chExt cx="1766795" cy="2094846"/>
            </a:xfrm>
            <a:noFill/>
          </p:grpSpPr>
          <p:sp>
            <p:nvSpPr>
              <p:cNvPr id="3" name="Freeform 486">
                <a:extLst>
                  <a:ext uri="{FF2B5EF4-FFF2-40B4-BE49-F238E27FC236}">
                    <a16:creationId xmlns:a16="http://schemas.microsoft.com/office/drawing/2014/main" id="{6245C7A1-4D5B-A561-6763-8BD654CDA608}"/>
                  </a:ext>
                </a:extLst>
              </p:cNvPr>
              <p:cNvSpPr>
                <a:spLocks/>
              </p:cNvSpPr>
              <p:nvPr/>
            </p:nvSpPr>
            <p:spPr bwMode="auto">
              <a:xfrm>
                <a:off x="6932009" y="4657553"/>
                <a:ext cx="189554" cy="387933"/>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 name="Freeform 729">
                <a:extLst>
                  <a:ext uri="{FF2B5EF4-FFF2-40B4-BE49-F238E27FC236}">
                    <a16:creationId xmlns:a16="http://schemas.microsoft.com/office/drawing/2014/main" id="{A184A357-AC04-6845-215A-BC8F67F1A1FF}"/>
                  </a:ext>
                </a:extLst>
              </p:cNvPr>
              <p:cNvSpPr>
                <a:spLocks/>
              </p:cNvSpPr>
              <p:nvPr/>
            </p:nvSpPr>
            <p:spPr bwMode="auto">
              <a:xfrm>
                <a:off x="6597605" y="4600779"/>
                <a:ext cx="277180" cy="490123"/>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1" name="Freeform 730">
                <a:extLst>
                  <a:ext uri="{FF2B5EF4-FFF2-40B4-BE49-F238E27FC236}">
                    <a16:creationId xmlns:a16="http://schemas.microsoft.com/office/drawing/2014/main" id="{F30EB047-857B-AAA9-0C4D-889EF9A70E41}"/>
                  </a:ext>
                </a:extLst>
              </p:cNvPr>
              <p:cNvSpPr>
                <a:spLocks/>
              </p:cNvSpPr>
              <p:nvPr/>
            </p:nvSpPr>
            <p:spPr bwMode="auto">
              <a:xfrm>
                <a:off x="6660194" y="4585640"/>
                <a:ext cx="84048" cy="210054"/>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 name="Freeform 731">
                <a:extLst>
                  <a:ext uri="{FF2B5EF4-FFF2-40B4-BE49-F238E27FC236}">
                    <a16:creationId xmlns:a16="http://schemas.microsoft.com/office/drawing/2014/main" id="{585CAD36-0C5A-66DA-D672-5895FDBA3596}"/>
                  </a:ext>
                </a:extLst>
              </p:cNvPr>
              <p:cNvSpPr>
                <a:spLocks/>
              </p:cNvSpPr>
              <p:nvPr/>
            </p:nvSpPr>
            <p:spPr bwMode="auto">
              <a:xfrm>
                <a:off x="6375861" y="4545901"/>
                <a:ext cx="314732" cy="278179"/>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3" name="Freeform 732">
                <a:extLst>
                  <a:ext uri="{FF2B5EF4-FFF2-40B4-BE49-F238E27FC236}">
                    <a16:creationId xmlns:a16="http://schemas.microsoft.com/office/drawing/2014/main" id="{60A82427-5DB2-8A6C-CD36-2CC064495298}"/>
                  </a:ext>
                </a:extLst>
              </p:cNvPr>
              <p:cNvSpPr>
                <a:spLocks/>
              </p:cNvSpPr>
              <p:nvPr/>
            </p:nvSpPr>
            <p:spPr bwMode="auto">
              <a:xfrm>
                <a:off x="6136236" y="4795693"/>
                <a:ext cx="334403" cy="35008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4" name="Freeform 733">
                <a:extLst>
                  <a:ext uri="{FF2B5EF4-FFF2-40B4-BE49-F238E27FC236}">
                    <a16:creationId xmlns:a16="http://schemas.microsoft.com/office/drawing/2014/main" id="{10699EC9-F367-6FBD-F535-B5A4FBE02837}"/>
                  </a:ext>
                </a:extLst>
              </p:cNvPr>
              <p:cNvSpPr>
                <a:spLocks/>
              </p:cNvSpPr>
              <p:nvPr/>
            </p:nvSpPr>
            <p:spPr bwMode="auto">
              <a:xfrm>
                <a:off x="6145177" y="4167429"/>
                <a:ext cx="477465" cy="527971"/>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5" name="Freeform 734">
                <a:extLst>
                  <a:ext uri="{FF2B5EF4-FFF2-40B4-BE49-F238E27FC236}">
                    <a16:creationId xmlns:a16="http://schemas.microsoft.com/office/drawing/2014/main" id="{826408FE-4C8D-A044-0934-37BF790ABC7C}"/>
                  </a:ext>
                </a:extLst>
              </p:cNvPr>
              <p:cNvSpPr>
                <a:spLocks/>
              </p:cNvSpPr>
              <p:nvPr/>
            </p:nvSpPr>
            <p:spPr bwMode="auto">
              <a:xfrm>
                <a:off x="6139812" y="4479669"/>
                <a:ext cx="295062" cy="35008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6" name="Freeform 735">
                <a:extLst>
                  <a:ext uri="{FF2B5EF4-FFF2-40B4-BE49-F238E27FC236}">
                    <a16:creationId xmlns:a16="http://schemas.microsoft.com/office/drawing/2014/main" id="{74FA5EB1-EC1A-E757-34BE-7CC76DE156D0}"/>
                  </a:ext>
                </a:extLst>
              </p:cNvPr>
              <p:cNvSpPr>
                <a:spLocks/>
              </p:cNvSpPr>
              <p:nvPr/>
            </p:nvSpPr>
            <p:spPr bwMode="auto">
              <a:xfrm>
                <a:off x="6329368" y="4812725"/>
                <a:ext cx="241415" cy="266824"/>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7" name="Freeform 736">
                <a:extLst>
                  <a:ext uri="{FF2B5EF4-FFF2-40B4-BE49-F238E27FC236}">
                    <a16:creationId xmlns:a16="http://schemas.microsoft.com/office/drawing/2014/main" id="{DF6C3F8E-54A1-84D5-74A0-F38CE1BE06DF}"/>
                  </a:ext>
                </a:extLst>
              </p:cNvPr>
              <p:cNvSpPr>
                <a:spLocks/>
              </p:cNvSpPr>
              <p:nvPr/>
            </p:nvSpPr>
            <p:spPr bwMode="auto">
              <a:xfrm>
                <a:off x="6459909" y="4757845"/>
                <a:ext cx="205650" cy="193021"/>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8" name="Freeform 737">
                <a:extLst>
                  <a:ext uri="{FF2B5EF4-FFF2-40B4-BE49-F238E27FC236}">
                    <a16:creationId xmlns:a16="http://schemas.microsoft.com/office/drawing/2014/main" id="{76F63FF4-9C14-978B-A494-6A390E9C11BA}"/>
                  </a:ext>
                </a:extLst>
              </p:cNvPr>
              <p:cNvSpPr>
                <a:spLocks/>
              </p:cNvSpPr>
              <p:nvPr/>
            </p:nvSpPr>
            <p:spPr bwMode="auto">
              <a:xfrm>
                <a:off x="6597605" y="5045484"/>
                <a:ext cx="51859" cy="62449"/>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5" name="Freeform 738">
                <a:extLst>
                  <a:ext uri="{FF2B5EF4-FFF2-40B4-BE49-F238E27FC236}">
                    <a16:creationId xmlns:a16="http://schemas.microsoft.com/office/drawing/2014/main" id="{440B927E-EF96-87B5-3F6C-DC92A1553F3C}"/>
                  </a:ext>
                </a:extLst>
              </p:cNvPr>
              <p:cNvSpPr>
                <a:spLocks noEditPoints="1"/>
              </p:cNvSpPr>
              <p:nvPr/>
            </p:nvSpPr>
            <p:spPr bwMode="auto">
              <a:xfrm>
                <a:off x="6245319" y="4945190"/>
                <a:ext cx="414874" cy="384149"/>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solidFill>
                <a:schemeClr val="accent3"/>
              </a:solid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6" name="Freeform 739">
                <a:extLst>
                  <a:ext uri="{FF2B5EF4-FFF2-40B4-BE49-F238E27FC236}">
                    <a16:creationId xmlns:a16="http://schemas.microsoft.com/office/drawing/2014/main" id="{9EAA33F7-692C-1DDA-00C4-701AB6383AD6}"/>
                  </a:ext>
                </a:extLst>
              </p:cNvPr>
              <p:cNvSpPr>
                <a:spLocks/>
              </p:cNvSpPr>
              <p:nvPr/>
            </p:nvSpPr>
            <p:spPr bwMode="auto">
              <a:xfrm>
                <a:off x="6513556" y="5128749"/>
                <a:ext cx="67953" cy="73803"/>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7" name="Freeform 740">
                <a:extLst>
                  <a:ext uri="{FF2B5EF4-FFF2-40B4-BE49-F238E27FC236}">
                    <a16:creationId xmlns:a16="http://schemas.microsoft.com/office/drawing/2014/main" id="{93574419-4464-87F6-08FC-3018D8EDEDFC}"/>
                  </a:ext>
                </a:extLst>
              </p:cNvPr>
              <p:cNvSpPr>
                <a:spLocks/>
              </p:cNvSpPr>
              <p:nvPr/>
            </p:nvSpPr>
            <p:spPr bwMode="auto">
              <a:xfrm>
                <a:off x="6145177" y="4439927"/>
                <a:ext cx="26823" cy="45416"/>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8" name="Freeform 741">
                <a:extLst>
                  <a:ext uri="{FF2B5EF4-FFF2-40B4-BE49-F238E27FC236}">
                    <a16:creationId xmlns:a16="http://schemas.microsoft.com/office/drawing/2014/main" id="{466E6501-5AB5-93D1-97E2-51EC69840DC4}"/>
                  </a:ext>
                </a:extLst>
              </p:cNvPr>
              <p:cNvSpPr>
                <a:spLocks/>
              </p:cNvSpPr>
              <p:nvPr/>
            </p:nvSpPr>
            <p:spPr bwMode="auto">
              <a:xfrm>
                <a:off x="6120140" y="4212845"/>
                <a:ext cx="182402" cy="2497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9" name="Freeform 742">
                <a:extLst>
                  <a:ext uri="{FF2B5EF4-FFF2-40B4-BE49-F238E27FC236}">
                    <a16:creationId xmlns:a16="http://schemas.microsoft.com/office/drawing/2014/main" id="{9ED1776A-C094-5DE0-6254-D591FFB25E54}"/>
                  </a:ext>
                </a:extLst>
              </p:cNvPr>
              <p:cNvSpPr>
                <a:spLocks/>
              </p:cNvSpPr>
              <p:nvPr/>
            </p:nvSpPr>
            <p:spPr bwMode="auto">
              <a:xfrm>
                <a:off x="6198824" y="4012254"/>
                <a:ext cx="334403" cy="2497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0" name="Freeform 743">
                <a:extLst>
                  <a:ext uri="{FF2B5EF4-FFF2-40B4-BE49-F238E27FC236}">
                    <a16:creationId xmlns:a16="http://schemas.microsoft.com/office/drawing/2014/main" id="{FB7B30B9-A500-8414-2F5E-1E100343AA07}"/>
                  </a:ext>
                </a:extLst>
              </p:cNvPr>
              <p:cNvSpPr>
                <a:spLocks/>
              </p:cNvSpPr>
              <p:nvPr/>
            </p:nvSpPr>
            <p:spPr bwMode="auto">
              <a:xfrm>
                <a:off x="5826867" y="3656490"/>
                <a:ext cx="613372" cy="456060"/>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1" name="Freeform 744">
                <a:extLst>
                  <a:ext uri="{FF2B5EF4-FFF2-40B4-BE49-F238E27FC236}">
                    <a16:creationId xmlns:a16="http://schemas.microsoft.com/office/drawing/2014/main" id="{D0FE66F8-2DEE-7A12-37E0-C8C9626364C6}"/>
                  </a:ext>
                </a:extLst>
              </p:cNvPr>
              <p:cNvSpPr>
                <a:spLocks/>
              </p:cNvSpPr>
              <p:nvPr/>
            </p:nvSpPr>
            <p:spPr bwMode="auto">
              <a:xfrm>
                <a:off x="6381225" y="3667844"/>
                <a:ext cx="430969" cy="562032"/>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3" name="Freeform 745">
                <a:extLst>
                  <a:ext uri="{FF2B5EF4-FFF2-40B4-BE49-F238E27FC236}">
                    <a16:creationId xmlns:a16="http://schemas.microsoft.com/office/drawing/2014/main" id="{44F536AB-AC33-C1F7-DB61-B91CB02E6066}"/>
                  </a:ext>
                </a:extLst>
              </p:cNvPr>
              <p:cNvSpPr>
                <a:spLocks/>
              </p:cNvSpPr>
              <p:nvPr/>
            </p:nvSpPr>
            <p:spPr bwMode="auto">
              <a:xfrm>
                <a:off x="6758549" y="3811664"/>
                <a:ext cx="168096" cy="160852"/>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4" name="Freeform 746">
                <a:extLst>
                  <a:ext uri="{FF2B5EF4-FFF2-40B4-BE49-F238E27FC236}">
                    <a16:creationId xmlns:a16="http://schemas.microsoft.com/office/drawing/2014/main" id="{7116F166-E7CA-029C-3796-753F9AC21E7C}"/>
                  </a:ext>
                </a:extLst>
              </p:cNvPr>
              <p:cNvSpPr>
                <a:spLocks/>
              </p:cNvSpPr>
              <p:nvPr/>
            </p:nvSpPr>
            <p:spPr bwMode="auto">
              <a:xfrm>
                <a:off x="6670923" y="3889252"/>
                <a:ext cx="388051" cy="340625"/>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5" name="Freeform 747">
                <a:extLst>
                  <a:ext uri="{FF2B5EF4-FFF2-40B4-BE49-F238E27FC236}">
                    <a16:creationId xmlns:a16="http://schemas.microsoft.com/office/drawing/2014/main" id="{646539A2-E34D-B89F-6B06-3094BB8A1F69}"/>
                  </a:ext>
                </a:extLst>
              </p:cNvPr>
              <p:cNvSpPr>
                <a:spLocks/>
              </p:cNvSpPr>
              <p:nvPr/>
            </p:nvSpPr>
            <p:spPr bwMode="auto">
              <a:xfrm>
                <a:off x="6690594" y="3989547"/>
                <a:ext cx="456005" cy="461736"/>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6" name="Freeform 748">
                <a:extLst>
                  <a:ext uri="{FF2B5EF4-FFF2-40B4-BE49-F238E27FC236}">
                    <a16:creationId xmlns:a16="http://schemas.microsoft.com/office/drawing/2014/main" id="{40C05117-2DB0-0E6F-BF90-9EE749034C74}"/>
                  </a:ext>
                </a:extLst>
              </p:cNvPr>
              <p:cNvSpPr>
                <a:spLocks/>
              </p:cNvSpPr>
              <p:nvPr/>
            </p:nvSpPr>
            <p:spPr bwMode="auto">
              <a:xfrm>
                <a:off x="6896245" y="3963053"/>
                <a:ext cx="46495" cy="60555"/>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7" name="Freeform 749">
                <a:extLst>
                  <a:ext uri="{FF2B5EF4-FFF2-40B4-BE49-F238E27FC236}">
                    <a16:creationId xmlns:a16="http://schemas.microsoft.com/office/drawing/2014/main" id="{315029E4-AF82-679F-B1D4-603E8DDF1228}"/>
                  </a:ext>
                </a:extLst>
              </p:cNvPr>
              <p:cNvSpPr>
                <a:spLocks/>
              </p:cNvSpPr>
              <p:nvPr/>
            </p:nvSpPr>
            <p:spPr bwMode="auto">
              <a:xfrm>
                <a:off x="6581512" y="4207169"/>
                <a:ext cx="135906" cy="155174"/>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solidFill>
                <a:schemeClr val="accent3"/>
              </a:solid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8" name="Freeform 750">
                <a:extLst>
                  <a:ext uri="{FF2B5EF4-FFF2-40B4-BE49-F238E27FC236}">
                    <a16:creationId xmlns:a16="http://schemas.microsoft.com/office/drawing/2014/main" id="{E400675A-BFEC-B065-14D2-57DEB554E7EB}"/>
                  </a:ext>
                </a:extLst>
              </p:cNvPr>
              <p:cNvSpPr>
                <a:spLocks/>
              </p:cNvSpPr>
              <p:nvPr/>
            </p:nvSpPr>
            <p:spPr bwMode="auto">
              <a:xfrm>
                <a:off x="6565417" y="4385050"/>
                <a:ext cx="51859" cy="54878"/>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9" name="Freeform 751">
                <a:extLst>
                  <a:ext uri="{FF2B5EF4-FFF2-40B4-BE49-F238E27FC236}">
                    <a16:creationId xmlns:a16="http://schemas.microsoft.com/office/drawing/2014/main" id="{FC242DCB-6799-15F4-C8B7-CFEBC4B44589}"/>
                  </a:ext>
                </a:extLst>
              </p:cNvPr>
              <p:cNvSpPr>
                <a:spLocks/>
              </p:cNvSpPr>
              <p:nvPr/>
            </p:nvSpPr>
            <p:spPr bwMode="auto">
              <a:xfrm>
                <a:off x="6565417" y="4350989"/>
                <a:ext cx="57223" cy="51094"/>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solidFill>
                <a:schemeClr val="accent3"/>
              </a:solid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0" name="Freeform 752">
                <a:extLst>
                  <a:ext uri="{FF2B5EF4-FFF2-40B4-BE49-F238E27FC236}">
                    <a16:creationId xmlns:a16="http://schemas.microsoft.com/office/drawing/2014/main" id="{95458FF8-29EF-EF6F-990E-FBF54AD71F89}"/>
                  </a:ext>
                </a:extLst>
              </p:cNvPr>
              <p:cNvSpPr>
                <a:spLocks/>
              </p:cNvSpPr>
              <p:nvPr/>
            </p:nvSpPr>
            <p:spPr bwMode="auto">
              <a:xfrm>
                <a:off x="6576147" y="4333956"/>
                <a:ext cx="282545" cy="323595"/>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1" name="Freeform 753">
                <a:extLst>
                  <a:ext uri="{FF2B5EF4-FFF2-40B4-BE49-F238E27FC236}">
                    <a16:creationId xmlns:a16="http://schemas.microsoft.com/office/drawing/2014/main" id="{16890EF5-A1FF-1372-774C-476C3EF2787B}"/>
                  </a:ext>
                </a:extLst>
              </p:cNvPr>
              <p:cNvSpPr>
                <a:spLocks/>
              </p:cNvSpPr>
              <p:nvPr/>
            </p:nvSpPr>
            <p:spPr bwMode="auto">
              <a:xfrm>
                <a:off x="6062918" y="4256369"/>
                <a:ext cx="141272" cy="172206"/>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2" name="Freeform 754">
                <a:extLst>
                  <a:ext uri="{FF2B5EF4-FFF2-40B4-BE49-F238E27FC236}">
                    <a16:creationId xmlns:a16="http://schemas.microsoft.com/office/drawing/2014/main" id="{25AC75DD-748A-4E3D-A6C8-75F63F1EAF4A}"/>
                  </a:ext>
                </a:extLst>
              </p:cNvPr>
              <p:cNvSpPr>
                <a:spLocks/>
              </p:cNvSpPr>
              <p:nvPr/>
            </p:nvSpPr>
            <p:spPr bwMode="auto">
              <a:xfrm>
                <a:off x="6071859" y="4256369"/>
                <a:ext cx="59013" cy="39739"/>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3" name="Freeform 755">
                <a:extLst>
                  <a:ext uri="{FF2B5EF4-FFF2-40B4-BE49-F238E27FC236}">
                    <a16:creationId xmlns:a16="http://schemas.microsoft.com/office/drawing/2014/main" id="{0AB28A2C-0DCA-FA18-77E4-AF979F485B51}"/>
                  </a:ext>
                </a:extLst>
              </p:cNvPr>
              <p:cNvSpPr>
                <a:spLocks/>
              </p:cNvSpPr>
              <p:nvPr/>
            </p:nvSpPr>
            <p:spPr bwMode="auto">
              <a:xfrm>
                <a:off x="6052187" y="3957377"/>
                <a:ext cx="193132" cy="316025"/>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4" name="Freeform 756">
                <a:extLst>
                  <a:ext uri="{FF2B5EF4-FFF2-40B4-BE49-F238E27FC236}">
                    <a16:creationId xmlns:a16="http://schemas.microsoft.com/office/drawing/2014/main" id="{58F7B8C9-A4B9-93C5-FEB5-F69BCD3A0C2A}"/>
                  </a:ext>
                </a:extLst>
              </p:cNvPr>
              <p:cNvSpPr>
                <a:spLocks/>
              </p:cNvSpPr>
              <p:nvPr/>
            </p:nvSpPr>
            <p:spPr bwMode="auto">
              <a:xfrm>
                <a:off x="5846540" y="3972515"/>
                <a:ext cx="78683" cy="172206"/>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5" name="Freeform 757">
                <a:extLst>
                  <a:ext uri="{FF2B5EF4-FFF2-40B4-BE49-F238E27FC236}">
                    <a16:creationId xmlns:a16="http://schemas.microsoft.com/office/drawing/2014/main" id="{08FFD519-D5AD-B48E-A184-262071F53D63}"/>
                  </a:ext>
                </a:extLst>
              </p:cNvPr>
              <p:cNvSpPr>
                <a:spLocks/>
              </p:cNvSpPr>
              <p:nvPr/>
            </p:nvSpPr>
            <p:spPr bwMode="auto">
              <a:xfrm>
                <a:off x="5900187" y="3928989"/>
                <a:ext cx="309368" cy="283855"/>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solidFill>
                <a:schemeClr val="accent3"/>
              </a:solid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6" name="Freeform 758">
                <a:extLst>
                  <a:ext uri="{FF2B5EF4-FFF2-40B4-BE49-F238E27FC236}">
                    <a16:creationId xmlns:a16="http://schemas.microsoft.com/office/drawing/2014/main" id="{E56628D5-9734-3C42-B8B8-455C9DDC60E5}"/>
                  </a:ext>
                </a:extLst>
              </p:cNvPr>
              <p:cNvSpPr>
                <a:spLocks/>
              </p:cNvSpPr>
              <p:nvPr/>
            </p:nvSpPr>
            <p:spPr bwMode="auto">
              <a:xfrm>
                <a:off x="5678444" y="3894926"/>
                <a:ext cx="221744" cy="1665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7" name="Freeform 759">
                <a:extLst>
                  <a:ext uri="{FF2B5EF4-FFF2-40B4-BE49-F238E27FC236}">
                    <a16:creationId xmlns:a16="http://schemas.microsoft.com/office/drawing/2014/main" id="{9C81EDF8-FF7C-A71B-1E96-6E619A22DEB4}"/>
                  </a:ext>
                </a:extLst>
              </p:cNvPr>
              <p:cNvSpPr>
                <a:spLocks/>
              </p:cNvSpPr>
              <p:nvPr/>
            </p:nvSpPr>
            <p:spPr bwMode="auto">
              <a:xfrm>
                <a:off x="5826869" y="4017930"/>
                <a:ext cx="51859" cy="132467"/>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8" name="Freeform 760">
                <a:extLst>
                  <a:ext uri="{FF2B5EF4-FFF2-40B4-BE49-F238E27FC236}">
                    <a16:creationId xmlns:a16="http://schemas.microsoft.com/office/drawing/2014/main" id="{4354FE17-5B69-D79F-5DD3-ABE223B9927E}"/>
                  </a:ext>
                </a:extLst>
              </p:cNvPr>
              <p:cNvSpPr>
                <a:spLocks/>
              </p:cNvSpPr>
              <p:nvPr/>
            </p:nvSpPr>
            <p:spPr bwMode="auto">
              <a:xfrm>
                <a:off x="5601548" y="4023608"/>
                <a:ext cx="166307" cy="172206"/>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9" name="Freeform 761">
                <a:extLst>
                  <a:ext uri="{FF2B5EF4-FFF2-40B4-BE49-F238E27FC236}">
                    <a16:creationId xmlns:a16="http://schemas.microsoft.com/office/drawing/2014/main" id="{B5C1F51E-C89D-0DD4-019D-63E0241A0277}"/>
                  </a:ext>
                </a:extLst>
              </p:cNvPr>
              <p:cNvSpPr>
                <a:spLocks/>
              </p:cNvSpPr>
              <p:nvPr/>
            </p:nvSpPr>
            <p:spPr bwMode="auto">
              <a:xfrm>
                <a:off x="5742820" y="4017930"/>
                <a:ext cx="119815" cy="1665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solidFill>
                <a:schemeClr val="accent3"/>
              </a:solid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0" name="Freeform 762">
                <a:extLst>
                  <a:ext uri="{FF2B5EF4-FFF2-40B4-BE49-F238E27FC236}">
                    <a16:creationId xmlns:a16="http://schemas.microsoft.com/office/drawing/2014/main" id="{A7B1CCAF-3F2B-1360-1780-0221F230FEC6}"/>
                  </a:ext>
                </a:extLst>
              </p:cNvPr>
              <p:cNvSpPr>
                <a:spLocks/>
              </p:cNvSpPr>
              <p:nvPr/>
            </p:nvSpPr>
            <p:spPr bwMode="auto">
              <a:xfrm>
                <a:off x="5479947" y="4034961"/>
                <a:ext cx="78683" cy="100296"/>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1" name="Freeform 763">
                <a:extLst>
                  <a:ext uri="{FF2B5EF4-FFF2-40B4-BE49-F238E27FC236}">
                    <a16:creationId xmlns:a16="http://schemas.microsoft.com/office/drawing/2014/main" id="{C7160632-B01A-7E3C-DBD2-CF42C8D80EB9}"/>
                  </a:ext>
                </a:extLst>
              </p:cNvPr>
              <p:cNvSpPr>
                <a:spLocks/>
              </p:cNvSpPr>
              <p:nvPr/>
            </p:nvSpPr>
            <p:spPr bwMode="auto">
              <a:xfrm>
                <a:off x="5526441" y="4078486"/>
                <a:ext cx="116236" cy="117328"/>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2" name="Freeform 764">
                <a:extLst>
                  <a:ext uri="{FF2B5EF4-FFF2-40B4-BE49-F238E27FC236}">
                    <a16:creationId xmlns:a16="http://schemas.microsoft.com/office/drawing/2014/main" id="{B0E83E59-ED20-C6A3-87E6-6767FF86B1F4}"/>
                  </a:ext>
                </a:extLst>
              </p:cNvPr>
              <p:cNvSpPr>
                <a:spLocks/>
              </p:cNvSpPr>
              <p:nvPr/>
            </p:nvSpPr>
            <p:spPr bwMode="auto">
              <a:xfrm>
                <a:off x="5444181" y="3966838"/>
                <a:ext cx="182402" cy="162744"/>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3" name="Freeform 765">
                <a:extLst>
                  <a:ext uri="{FF2B5EF4-FFF2-40B4-BE49-F238E27FC236}">
                    <a16:creationId xmlns:a16="http://schemas.microsoft.com/office/drawing/2014/main" id="{22A23E3E-936E-CA7C-0760-E4FE979C7083}"/>
                  </a:ext>
                </a:extLst>
              </p:cNvPr>
              <p:cNvSpPr>
                <a:spLocks/>
              </p:cNvSpPr>
              <p:nvPr/>
            </p:nvSpPr>
            <p:spPr bwMode="auto">
              <a:xfrm>
                <a:off x="5395899" y="3972515"/>
                <a:ext cx="84048" cy="39739"/>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4" name="Freeform 766">
                <a:extLst>
                  <a:ext uri="{FF2B5EF4-FFF2-40B4-BE49-F238E27FC236}">
                    <a16:creationId xmlns:a16="http://schemas.microsoft.com/office/drawing/2014/main" id="{98878F3C-926A-2F30-DCED-724CD8682711}"/>
                  </a:ext>
                </a:extLst>
              </p:cNvPr>
              <p:cNvSpPr>
                <a:spLocks/>
              </p:cNvSpPr>
              <p:nvPr/>
            </p:nvSpPr>
            <p:spPr bwMode="auto">
              <a:xfrm>
                <a:off x="5390533" y="3934667"/>
                <a:ext cx="78683" cy="22709"/>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5" name="Freeform 767">
                <a:extLst>
                  <a:ext uri="{FF2B5EF4-FFF2-40B4-BE49-F238E27FC236}">
                    <a16:creationId xmlns:a16="http://schemas.microsoft.com/office/drawing/2014/main" id="{F568AD26-1CE8-4B66-4CA7-8DE7F563EF88}"/>
                  </a:ext>
                </a:extLst>
              </p:cNvPr>
              <p:cNvSpPr>
                <a:spLocks/>
              </p:cNvSpPr>
              <p:nvPr/>
            </p:nvSpPr>
            <p:spPr bwMode="auto">
              <a:xfrm>
                <a:off x="5379804" y="3544841"/>
                <a:ext cx="314732" cy="378471"/>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6" name="Freeform 768">
                <a:extLst>
                  <a:ext uri="{FF2B5EF4-FFF2-40B4-BE49-F238E27FC236}">
                    <a16:creationId xmlns:a16="http://schemas.microsoft.com/office/drawing/2014/main" id="{BF595803-6029-AFD6-3815-876039337582}"/>
                  </a:ext>
                </a:extLst>
              </p:cNvPr>
              <p:cNvSpPr>
                <a:spLocks/>
              </p:cNvSpPr>
              <p:nvPr/>
            </p:nvSpPr>
            <p:spPr bwMode="auto">
              <a:xfrm>
                <a:off x="5379804" y="3857080"/>
                <a:ext cx="152001" cy="126790"/>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7" name="Freeform 769">
                <a:extLst>
                  <a:ext uri="{FF2B5EF4-FFF2-40B4-BE49-F238E27FC236}">
                    <a16:creationId xmlns:a16="http://schemas.microsoft.com/office/drawing/2014/main" id="{9315D99B-F3B2-0CC5-4C0F-BDF35707EBA6}"/>
                  </a:ext>
                </a:extLst>
              </p:cNvPr>
              <p:cNvSpPr>
                <a:spLocks/>
              </p:cNvSpPr>
              <p:nvPr/>
            </p:nvSpPr>
            <p:spPr bwMode="auto">
              <a:xfrm>
                <a:off x="5512135" y="3607288"/>
                <a:ext cx="439910" cy="43335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8" name="Freeform 770">
                <a:extLst>
                  <a:ext uri="{FF2B5EF4-FFF2-40B4-BE49-F238E27FC236}">
                    <a16:creationId xmlns:a16="http://schemas.microsoft.com/office/drawing/2014/main" id="{19ABE2EF-28A2-5CDB-A067-CAA03CF87306}"/>
                  </a:ext>
                </a:extLst>
              </p:cNvPr>
              <p:cNvSpPr>
                <a:spLocks/>
              </p:cNvSpPr>
              <p:nvPr/>
            </p:nvSpPr>
            <p:spPr bwMode="auto">
              <a:xfrm>
                <a:off x="6454545" y="3406696"/>
                <a:ext cx="289696" cy="298994"/>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solidFill>
                <a:schemeClr val="accent3"/>
              </a:solid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9" name="Freeform 771">
                <a:extLst>
                  <a:ext uri="{FF2B5EF4-FFF2-40B4-BE49-F238E27FC236}">
                    <a16:creationId xmlns:a16="http://schemas.microsoft.com/office/drawing/2014/main" id="{2CFF611A-490B-2ACA-D55E-8287318B0585}"/>
                  </a:ext>
                </a:extLst>
              </p:cNvPr>
              <p:cNvSpPr>
                <a:spLocks/>
              </p:cNvSpPr>
              <p:nvPr/>
            </p:nvSpPr>
            <p:spPr bwMode="auto">
              <a:xfrm>
                <a:off x="6025363" y="3234493"/>
                <a:ext cx="105509" cy="215730"/>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60" name="Freeform 772">
                <a:extLst>
                  <a:ext uri="{FF2B5EF4-FFF2-40B4-BE49-F238E27FC236}">
                    <a16:creationId xmlns:a16="http://schemas.microsoft.com/office/drawing/2014/main" id="{CB402BEE-BFA3-D1C8-3246-3566E00782AD}"/>
                  </a:ext>
                </a:extLst>
              </p:cNvPr>
              <p:cNvSpPr>
                <a:spLocks/>
              </p:cNvSpPr>
              <p:nvPr/>
            </p:nvSpPr>
            <p:spPr bwMode="auto">
              <a:xfrm>
                <a:off x="6071860" y="3361280"/>
                <a:ext cx="398782" cy="406860"/>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61" name="Freeform 773">
                <a:extLst>
                  <a:ext uri="{FF2B5EF4-FFF2-40B4-BE49-F238E27FC236}">
                    <a16:creationId xmlns:a16="http://schemas.microsoft.com/office/drawing/2014/main" id="{FFB633EA-FB66-AD4C-C565-C4BCFBA4AABA}"/>
                  </a:ext>
                </a:extLst>
              </p:cNvPr>
              <p:cNvSpPr>
                <a:spLocks/>
              </p:cNvSpPr>
              <p:nvPr/>
            </p:nvSpPr>
            <p:spPr bwMode="auto">
              <a:xfrm>
                <a:off x="5385169" y="3533487"/>
                <a:ext cx="219956" cy="189237"/>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62" name="Freeform 774">
                <a:extLst>
                  <a:ext uri="{FF2B5EF4-FFF2-40B4-BE49-F238E27FC236}">
                    <a16:creationId xmlns:a16="http://schemas.microsoft.com/office/drawing/2014/main" id="{BC5C9616-DB43-0A80-776C-EE2E6CD1F0A7}"/>
                  </a:ext>
                </a:extLst>
              </p:cNvPr>
              <p:cNvSpPr>
                <a:spLocks/>
              </p:cNvSpPr>
              <p:nvPr/>
            </p:nvSpPr>
            <p:spPr bwMode="auto">
              <a:xfrm>
                <a:off x="5490676" y="3266662"/>
                <a:ext cx="314732" cy="266824"/>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63" name="Freeform 775">
                <a:extLst>
                  <a:ext uri="{FF2B5EF4-FFF2-40B4-BE49-F238E27FC236}">
                    <a16:creationId xmlns:a16="http://schemas.microsoft.com/office/drawing/2014/main" id="{A856AA32-A0EC-F009-BBEF-22F5067F2B03}"/>
                  </a:ext>
                </a:extLst>
              </p:cNvPr>
              <p:cNvSpPr>
                <a:spLocks/>
              </p:cNvSpPr>
              <p:nvPr/>
            </p:nvSpPr>
            <p:spPr bwMode="auto">
              <a:xfrm>
                <a:off x="5601549" y="3240170"/>
                <a:ext cx="543629" cy="548785"/>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3175" cap="flat">
                <a:solidFill>
                  <a:schemeClr val="bg1">
                    <a:lumMod val="75000"/>
                  </a:schemeClr>
                </a:solid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grpSp>
        <p:sp>
          <p:nvSpPr>
            <p:cNvPr id="83" name="Freeform 82">
              <a:extLst>
                <a:ext uri="{FF2B5EF4-FFF2-40B4-BE49-F238E27FC236}">
                  <a16:creationId xmlns:a16="http://schemas.microsoft.com/office/drawing/2014/main" id="{A5C8BCE8-BBED-AEA1-033A-0BB50D3FBB9D}"/>
                </a:ext>
              </a:extLst>
            </p:cNvPr>
            <p:cNvSpPr/>
            <p:nvPr/>
          </p:nvSpPr>
          <p:spPr bwMode="gray">
            <a:xfrm>
              <a:off x="6222626" y="3597088"/>
              <a:ext cx="393327" cy="198344"/>
            </a:xfrm>
            <a:custGeom>
              <a:avLst/>
              <a:gdLst>
                <a:gd name="connsiteX0" fmla="*/ 393327 w 393327"/>
                <a:gd name="connsiteY0" fmla="*/ 121024 h 198344"/>
                <a:gd name="connsiteX1" fmla="*/ 363071 w 393327"/>
                <a:gd name="connsiteY1" fmla="*/ 94130 h 198344"/>
                <a:gd name="connsiteX2" fmla="*/ 356348 w 393327"/>
                <a:gd name="connsiteY2" fmla="*/ 84044 h 198344"/>
                <a:gd name="connsiteX3" fmla="*/ 339539 w 393327"/>
                <a:gd name="connsiteY3" fmla="*/ 63874 h 198344"/>
                <a:gd name="connsiteX4" fmla="*/ 332815 w 393327"/>
                <a:gd name="connsiteY4" fmla="*/ 33618 h 198344"/>
                <a:gd name="connsiteX5" fmla="*/ 329453 w 393327"/>
                <a:gd name="connsiteY5" fmla="*/ 20171 h 198344"/>
                <a:gd name="connsiteX6" fmla="*/ 326092 w 393327"/>
                <a:gd name="connsiteY6" fmla="*/ 10086 h 198344"/>
                <a:gd name="connsiteX7" fmla="*/ 305921 w 393327"/>
                <a:gd name="connsiteY7" fmla="*/ 0 h 198344"/>
                <a:gd name="connsiteX8" fmla="*/ 292474 w 393327"/>
                <a:gd name="connsiteY8" fmla="*/ 3362 h 198344"/>
                <a:gd name="connsiteX9" fmla="*/ 295836 w 393327"/>
                <a:gd name="connsiteY9" fmla="*/ 16809 h 198344"/>
                <a:gd name="connsiteX10" fmla="*/ 302559 w 393327"/>
                <a:gd name="connsiteY10" fmla="*/ 36980 h 198344"/>
                <a:gd name="connsiteX11" fmla="*/ 305921 w 393327"/>
                <a:gd name="connsiteY11" fmla="*/ 47065 h 198344"/>
                <a:gd name="connsiteX12" fmla="*/ 309283 w 393327"/>
                <a:gd name="connsiteY12" fmla="*/ 57150 h 198344"/>
                <a:gd name="connsiteX13" fmla="*/ 305921 w 393327"/>
                <a:gd name="connsiteY13" fmla="*/ 87406 h 198344"/>
                <a:gd name="connsiteX14" fmla="*/ 299198 w 393327"/>
                <a:gd name="connsiteY14" fmla="*/ 97491 h 198344"/>
                <a:gd name="connsiteX15" fmla="*/ 279027 w 393327"/>
                <a:gd name="connsiteY15" fmla="*/ 104215 h 198344"/>
                <a:gd name="connsiteX16" fmla="*/ 255495 w 393327"/>
                <a:gd name="connsiteY16" fmla="*/ 114300 h 198344"/>
                <a:gd name="connsiteX17" fmla="*/ 245409 w 393327"/>
                <a:gd name="connsiteY17" fmla="*/ 117662 h 198344"/>
                <a:gd name="connsiteX18" fmla="*/ 201706 w 393327"/>
                <a:gd name="connsiteY18" fmla="*/ 110938 h 198344"/>
                <a:gd name="connsiteX19" fmla="*/ 198345 w 393327"/>
                <a:gd name="connsiteY19" fmla="*/ 137833 h 198344"/>
                <a:gd name="connsiteX20" fmla="*/ 171450 w 393327"/>
                <a:gd name="connsiteY20" fmla="*/ 151280 h 198344"/>
                <a:gd name="connsiteX21" fmla="*/ 161365 w 393327"/>
                <a:gd name="connsiteY21" fmla="*/ 158003 h 198344"/>
                <a:gd name="connsiteX22" fmla="*/ 151280 w 393327"/>
                <a:gd name="connsiteY22" fmla="*/ 161365 h 198344"/>
                <a:gd name="connsiteX23" fmla="*/ 121024 w 393327"/>
                <a:gd name="connsiteY23" fmla="*/ 154641 h 198344"/>
                <a:gd name="connsiteX24" fmla="*/ 110939 w 393327"/>
                <a:gd name="connsiteY24" fmla="*/ 147918 h 198344"/>
                <a:gd name="connsiteX25" fmla="*/ 107577 w 393327"/>
                <a:gd name="connsiteY25" fmla="*/ 137833 h 198344"/>
                <a:gd name="connsiteX26" fmla="*/ 87406 w 393327"/>
                <a:gd name="connsiteY26" fmla="*/ 127747 h 198344"/>
                <a:gd name="connsiteX27" fmla="*/ 67236 w 393327"/>
                <a:gd name="connsiteY27" fmla="*/ 131109 h 198344"/>
                <a:gd name="connsiteX28" fmla="*/ 60512 w 393327"/>
                <a:gd name="connsiteY28" fmla="*/ 151280 h 198344"/>
                <a:gd name="connsiteX29" fmla="*/ 43703 w 393327"/>
                <a:gd name="connsiteY29" fmla="*/ 174812 h 198344"/>
                <a:gd name="connsiteX30" fmla="*/ 36980 w 393327"/>
                <a:gd name="connsiteY30" fmla="*/ 184897 h 198344"/>
                <a:gd name="connsiteX31" fmla="*/ 16809 w 393327"/>
                <a:gd name="connsiteY31" fmla="*/ 198344 h 198344"/>
                <a:gd name="connsiteX32" fmla="*/ 0 w 393327"/>
                <a:gd name="connsiteY32" fmla="*/ 188259 h 19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93327" h="198344">
                  <a:moveTo>
                    <a:pt x="393327" y="121024"/>
                  </a:moveTo>
                  <a:cubicBezTo>
                    <a:pt x="385848" y="114792"/>
                    <a:pt x="370467" y="103005"/>
                    <a:pt x="363071" y="94130"/>
                  </a:cubicBezTo>
                  <a:cubicBezTo>
                    <a:pt x="360484" y="91026"/>
                    <a:pt x="358935" y="87148"/>
                    <a:pt x="356348" y="84044"/>
                  </a:cubicBezTo>
                  <a:cubicBezTo>
                    <a:pt x="347052" y="72888"/>
                    <a:pt x="345800" y="76397"/>
                    <a:pt x="339539" y="63874"/>
                  </a:cubicBezTo>
                  <a:cubicBezTo>
                    <a:pt x="335177" y="55150"/>
                    <a:pt x="334537" y="42227"/>
                    <a:pt x="332815" y="33618"/>
                  </a:cubicBezTo>
                  <a:cubicBezTo>
                    <a:pt x="331909" y="29087"/>
                    <a:pt x="330722" y="24614"/>
                    <a:pt x="329453" y="20171"/>
                  </a:cubicBezTo>
                  <a:cubicBezTo>
                    <a:pt x="328480" y="16764"/>
                    <a:pt x="328306" y="12853"/>
                    <a:pt x="326092" y="10086"/>
                  </a:cubicBezTo>
                  <a:cubicBezTo>
                    <a:pt x="321353" y="4162"/>
                    <a:pt x="312565" y="2215"/>
                    <a:pt x="305921" y="0"/>
                  </a:cubicBezTo>
                  <a:cubicBezTo>
                    <a:pt x="301439" y="1121"/>
                    <a:pt x="294851" y="-600"/>
                    <a:pt x="292474" y="3362"/>
                  </a:cubicBezTo>
                  <a:cubicBezTo>
                    <a:pt x="290097" y="7324"/>
                    <a:pt x="294508" y="12384"/>
                    <a:pt x="295836" y="16809"/>
                  </a:cubicBezTo>
                  <a:cubicBezTo>
                    <a:pt x="297872" y="23597"/>
                    <a:pt x="300318" y="30256"/>
                    <a:pt x="302559" y="36980"/>
                  </a:cubicBezTo>
                  <a:lnTo>
                    <a:pt x="305921" y="47065"/>
                  </a:lnTo>
                  <a:lnTo>
                    <a:pt x="309283" y="57150"/>
                  </a:lnTo>
                  <a:cubicBezTo>
                    <a:pt x="308162" y="67235"/>
                    <a:pt x="308382" y="77562"/>
                    <a:pt x="305921" y="87406"/>
                  </a:cubicBezTo>
                  <a:cubicBezTo>
                    <a:pt x="304941" y="91326"/>
                    <a:pt x="302624" y="95350"/>
                    <a:pt x="299198" y="97491"/>
                  </a:cubicBezTo>
                  <a:cubicBezTo>
                    <a:pt x="293188" y="101247"/>
                    <a:pt x="285751" y="101974"/>
                    <a:pt x="279027" y="104215"/>
                  </a:cubicBezTo>
                  <a:cubicBezTo>
                    <a:pt x="255375" y="112100"/>
                    <a:pt x="284575" y="101838"/>
                    <a:pt x="255495" y="114300"/>
                  </a:cubicBezTo>
                  <a:cubicBezTo>
                    <a:pt x="252238" y="115696"/>
                    <a:pt x="248771" y="116541"/>
                    <a:pt x="245409" y="117662"/>
                  </a:cubicBezTo>
                  <a:cubicBezTo>
                    <a:pt x="235741" y="103159"/>
                    <a:pt x="230698" y="89194"/>
                    <a:pt x="201706" y="110938"/>
                  </a:cubicBezTo>
                  <a:cubicBezTo>
                    <a:pt x="194478" y="116359"/>
                    <a:pt x="203766" y="130605"/>
                    <a:pt x="198345" y="137833"/>
                  </a:cubicBezTo>
                  <a:cubicBezTo>
                    <a:pt x="192331" y="145852"/>
                    <a:pt x="179790" y="145720"/>
                    <a:pt x="171450" y="151280"/>
                  </a:cubicBezTo>
                  <a:cubicBezTo>
                    <a:pt x="168088" y="153521"/>
                    <a:pt x="164979" y="156196"/>
                    <a:pt x="161365" y="158003"/>
                  </a:cubicBezTo>
                  <a:cubicBezTo>
                    <a:pt x="158196" y="159588"/>
                    <a:pt x="154642" y="160244"/>
                    <a:pt x="151280" y="161365"/>
                  </a:cubicBezTo>
                  <a:cubicBezTo>
                    <a:pt x="143530" y="160073"/>
                    <a:pt x="129301" y="158780"/>
                    <a:pt x="121024" y="154641"/>
                  </a:cubicBezTo>
                  <a:cubicBezTo>
                    <a:pt x="117410" y="152834"/>
                    <a:pt x="114301" y="150159"/>
                    <a:pt x="110939" y="147918"/>
                  </a:cubicBezTo>
                  <a:cubicBezTo>
                    <a:pt x="109818" y="144556"/>
                    <a:pt x="109791" y="140600"/>
                    <a:pt x="107577" y="137833"/>
                  </a:cubicBezTo>
                  <a:cubicBezTo>
                    <a:pt x="102837" y="131908"/>
                    <a:pt x="94051" y="129962"/>
                    <a:pt x="87406" y="127747"/>
                  </a:cubicBezTo>
                  <a:cubicBezTo>
                    <a:pt x="80683" y="128868"/>
                    <a:pt x="72366" y="126620"/>
                    <a:pt x="67236" y="131109"/>
                  </a:cubicBezTo>
                  <a:cubicBezTo>
                    <a:pt x="61902" y="135776"/>
                    <a:pt x="64443" y="145383"/>
                    <a:pt x="60512" y="151280"/>
                  </a:cubicBezTo>
                  <a:cubicBezTo>
                    <a:pt x="44668" y="175047"/>
                    <a:pt x="64552" y="145624"/>
                    <a:pt x="43703" y="174812"/>
                  </a:cubicBezTo>
                  <a:cubicBezTo>
                    <a:pt x="41355" y="178100"/>
                    <a:pt x="40021" y="182237"/>
                    <a:pt x="36980" y="184897"/>
                  </a:cubicBezTo>
                  <a:cubicBezTo>
                    <a:pt x="30899" y="190218"/>
                    <a:pt x="16809" y="198344"/>
                    <a:pt x="16809" y="198344"/>
                  </a:cubicBezTo>
                  <a:cubicBezTo>
                    <a:pt x="931" y="194375"/>
                    <a:pt x="5428" y="199115"/>
                    <a:pt x="0" y="188259"/>
                  </a:cubicBezTo>
                </a:path>
              </a:pathLst>
            </a:cu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6D6D6"/>
                </a:solidFill>
                <a:effectLst/>
                <a:uLnTx/>
                <a:uFillTx/>
                <a:latin typeface="Arial"/>
                <a:ea typeface="+mn-ea"/>
                <a:cs typeface="+mn-cs"/>
              </a:endParaRPr>
            </a:p>
          </p:txBody>
        </p:sp>
      </p:grpSp>
      <p:sp>
        <p:nvSpPr>
          <p:cNvPr id="91" name="TextBox 90">
            <a:extLst>
              <a:ext uri="{FF2B5EF4-FFF2-40B4-BE49-F238E27FC236}">
                <a16:creationId xmlns:a16="http://schemas.microsoft.com/office/drawing/2014/main" id="{F4BDDC1A-9C03-180E-4BFA-923AF3FDFCA7}"/>
              </a:ext>
            </a:extLst>
          </p:cNvPr>
          <p:cNvSpPr txBox="1"/>
          <p:nvPr/>
        </p:nvSpPr>
        <p:spPr bwMode="gray">
          <a:xfrm>
            <a:off x="4469794" y="1894097"/>
            <a:ext cx="3272126" cy="1007968"/>
          </a:xfrm>
          <a:prstGeom prst="rect">
            <a:avLst/>
          </a:prstGeom>
          <a:noFill/>
        </p:spPr>
        <p:txBody>
          <a:bodyPr wrap="square" lIns="0" tIns="0" rIns="0" bIns="0" rtlCol="0">
            <a:spAutoFit/>
          </a:bodyPr>
          <a:lstStyle/>
          <a:p>
            <a:pPr marL="171450" marR="0" lvl="1" indent="-1714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Under the </a:t>
            </a:r>
            <a:r>
              <a:rPr kumimoji="0" lang="en-US" sz="1050" b="1" i="0" u="none" strike="noStrike" kern="1200" cap="none" spc="0" normalizeH="0" baseline="0" noProof="0">
                <a:ln>
                  <a:noFill/>
                </a:ln>
                <a:solidFill>
                  <a:srgbClr val="000000"/>
                </a:solidFill>
                <a:effectLst/>
                <a:uLnTx/>
                <a:uFillTx/>
                <a:latin typeface="Arial"/>
                <a:ea typeface="+mn-ea"/>
                <a:cs typeface="+mn-cs"/>
              </a:rPr>
              <a:t>Ghana Nuclear Power Program</a:t>
            </a:r>
            <a:r>
              <a:rPr kumimoji="0" lang="en-US" sz="1050" b="0" i="0" u="none" strike="noStrike" kern="1200" cap="none" spc="0" normalizeH="0" baseline="0" noProof="0">
                <a:ln>
                  <a:noFill/>
                </a:ln>
                <a:solidFill>
                  <a:srgbClr val="000000"/>
                </a:solidFill>
                <a:effectLst/>
                <a:uLnTx/>
                <a:uFillTx/>
                <a:latin typeface="Arial"/>
                <a:ea typeface="+mn-ea"/>
                <a:cs typeface="+mn-cs"/>
              </a:rPr>
              <a:t>, the country is in a preparatory work for the construction of its first nuclear power plant. </a:t>
            </a:r>
          </a:p>
          <a:p>
            <a:pPr marL="171450" marR="0" lvl="1" indent="-1714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It signed an agreement with a U.S. SMR developer, Regnum Technology Group, in 2024, to </a:t>
            </a:r>
            <a:r>
              <a:rPr kumimoji="0" lang="en-US" sz="1050" b="1" i="0" u="none" strike="noStrike" kern="1200" cap="none" spc="0" normalizeH="0" baseline="0" noProof="0">
                <a:ln>
                  <a:noFill/>
                </a:ln>
                <a:solidFill>
                  <a:srgbClr val="000000"/>
                </a:solidFill>
                <a:effectLst/>
                <a:uLnTx/>
                <a:uFillTx/>
                <a:latin typeface="Arial"/>
                <a:ea typeface="+mn-ea"/>
                <a:cs typeface="+mn-cs"/>
              </a:rPr>
              <a:t>deploy 12 SMRs.</a:t>
            </a:r>
            <a:r>
              <a:rPr kumimoji="0" lang="en-US" sz="1050" b="0" i="0" u="none" strike="noStrike" kern="1200" cap="none" spc="0" normalizeH="0" baseline="0" noProof="0">
                <a:ln>
                  <a:noFill/>
                </a:ln>
                <a:solidFill>
                  <a:srgbClr val="000000"/>
                </a:solidFill>
                <a:effectLst/>
                <a:uLnTx/>
                <a:uFillTx/>
                <a:latin typeface="Arial"/>
                <a:ea typeface="+mn-ea"/>
                <a:cs typeface="+mn-cs"/>
              </a:rPr>
              <a:t> </a:t>
            </a:r>
          </a:p>
        </p:txBody>
      </p:sp>
      <p:sp>
        <p:nvSpPr>
          <p:cNvPr id="93" name="TextBox 92">
            <a:extLst>
              <a:ext uri="{FF2B5EF4-FFF2-40B4-BE49-F238E27FC236}">
                <a16:creationId xmlns:a16="http://schemas.microsoft.com/office/drawing/2014/main" id="{705F7313-E9B9-7FB7-36C5-DE021662161A}"/>
              </a:ext>
            </a:extLst>
          </p:cNvPr>
          <p:cNvSpPr txBox="1"/>
          <p:nvPr/>
        </p:nvSpPr>
        <p:spPr bwMode="gray">
          <a:xfrm>
            <a:off x="4469794" y="3555410"/>
            <a:ext cx="3272126" cy="1007968"/>
          </a:xfrm>
          <a:prstGeom prst="rect">
            <a:avLst/>
          </a:prstGeom>
          <a:noFill/>
        </p:spPr>
        <p:txBody>
          <a:bodyPr wrap="square" lIns="0" tIns="0" rIns="0" bIns="0" rtlCol="0">
            <a:spAutoFit/>
          </a:bodyPr>
          <a:lstStyle/>
          <a:p>
            <a:pPr marL="171450" marR="0" lvl="1" indent="-1714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The country </a:t>
            </a:r>
            <a:r>
              <a:rPr lang="en-US" sz="1050">
                <a:solidFill>
                  <a:srgbClr val="000000"/>
                </a:solidFill>
                <a:latin typeface="Arial"/>
                <a:cs typeface="Arial"/>
              </a:rPr>
              <a:t>a</a:t>
            </a:r>
            <a:r>
              <a:rPr kumimoji="0" lang="en-US" sz="1050" b="0" i="0" u="none" strike="noStrike" kern="1200" cap="none" spc="0" normalizeH="0" baseline="0" noProof="0" err="1">
                <a:ln>
                  <a:noFill/>
                </a:ln>
                <a:solidFill>
                  <a:srgbClr val="000000"/>
                </a:solidFill>
                <a:effectLst/>
                <a:uLnTx/>
                <a:uFillTx/>
                <a:latin typeface="Arial"/>
                <a:ea typeface="+mn-ea"/>
                <a:cs typeface="Arial"/>
              </a:rPr>
              <a:t>ims</a:t>
            </a:r>
            <a:r>
              <a:rPr kumimoji="0" lang="en-US" sz="1050" b="0" i="0" u="none" strike="noStrike" kern="1200" cap="none" spc="0" normalizeH="0" baseline="0" noProof="0">
                <a:ln>
                  <a:noFill/>
                </a:ln>
                <a:solidFill>
                  <a:srgbClr val="000000"/>
                </a:solidFill>
                <a:effectLst/>
                <a:uLnTx/>
                <a:uFillTx/>
                <a:latin typeface="Arial"/>
                <a:ea typeface="+mn-ea"/>
                <a:cs typeface="Arial"/>
              </a:rPr>
              <a:t> to have </a:t>
            </a:r>
            <a:r>
              <a:rPr kumimoji="0" lang="en-US" sz="1050" b="1" i="0" u="none" strike="noStrike" kern="1200" cap="none" spc="0" normalizeH="0" baseline="0" noProof="0">
                <a:ln>
                  <a:noFill/>
                </a:ln>
                <a:solidFill>
                  <a:srgbClr val="000000"/>
                </a:solidFill>
                <a:effectLst/>
                <a:uLnTx/>
                <a:uFillTx/>
                <a:latin typeface="Arial"/>
                <a:ea typeface="+mn-ea"/>
                <a:cs typeface="Arial"/>
              </a:rPr>
              <a:t>29.7 GW</a:t>
            </a:r>
            <a:r>
              <a:rPr kumimoji="0" lang="en-US" sz="1050" b="0" i="0" u="none" strike="noStrike" kern="1200" cap="none" spc="0" normalizeH="0" baseline="0" noProof="0">
                <a:ln>
                  <a:noFill/>
                </a:ln>
                <a:solidFill>
                  <a:srgbClr val="000000"/>
                </a:solidFill>
                <a:effectLst/>
                <a:uLnTx/>
                <a:uFillTx/>
                <a:latin typeface="Arial"/>
                <a:ea typeface="+mn-ea"/>
                <a:cs typeface="Arial"/>
              </a:rPr>
              <a:t> of energy capacity by 2030, of which it plans to power 8% from nuclear power.</a:t>
            </a:r>
          </a:p>
          <a:p>
            <a:pPr marL="171450" marR="0" lvl="1" indent="-1714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a:rPr>
              <a:t>It </a:t>
            </a:r>
            <a:r>
              <a:rPr lang="en-US" sz="1050" b="1">
                <a:solidFill>
                  <a:srgbClr val="000000"/>
                </a:solidFill>
                <a:latin typeface="Arial"/>
                <a:cs typeface="Arial"/>
              </a:rPr>
              <a:t>is c</a:t>
            </a:r>
            <a:r>
              <a:rPr kumimoji="0" lang="en-US" sz="1050" b="1" i="0" u="none" strike="noStrike" kern="1200" cap="none" spc="0" normalizeH="0" baseline="0" noProof="0" err="1">
                <a:ln>
                  <a:noFill/>
                </a:ln>
                <a:solidFill>
                  <a:srgbClr val="000000"/>
                </a:solidFill>
                <a:effectLst/>
                <a:uLnTx/>
                <a:uFillTx/>
                <a:latin typeface="Arial"/>
                <a:ea typeface="+mn-ea"/>
                <a:cs typeface="Arial"/>
              </a:rPr>
              <a:t>onstructing</a:t>
            </a:r>
            <a:r>
              <a:rPr kumimoji="0" lang="en-US" sz="1050" b="1" i="0" u="none" strike="noStrike" kern="1200" cap="none" spc="0" normalizeH="0" baseline="0" noProof="0">
                <a:ln>
                  <a:noFill/>
                </a:ln>
                <a:solidFill>
                  <a:srgbClr val="000000"/>
                </a:solidFill>
                <a:effectLst/>
                <a:uLnTx/>
                <a:uFillTx/>
                <a:latin typeface="Arial"/>
                <a:ea typeface="+mn-ea"/>
                <a:cs typeface="Arial"/>
              </a:rPr>
              <a:t> its first nuclear power plant,</a:t>
            </a:r>
            <a:r>
              <a:rPr kumimoji="0" lang="en-US" sz="1050" b="0" i="0" u="none" strike="noStrike" kern="1200" cap="none" spc="0" normalizeH="0" baseline="0" noProof="0">
                <a:ln>
                  <a:noFill/>
                </a:ln>
                <a:solidFill>
                  <a:srgbClr val="000000"/>
                </a:solidFill>
                <a:effectLst/>
                <a:uLnTx/>
                <a:uFillTx/>
                <a:latin typeface="Arial"/>
                <a:ea typeface="+mn-ea"/>
                <a:cs typeface="Arial"/>
              </a:rPr>
              <a:t> partnering with key nuclear leading countries such as Russia and China. </a:t>
            </a:r>
          </a:p>
        </p:txBody>
      </p:sp>
      <p:sp>
        <p:nvSpPr>
          <p:cNvPr id="94" name="TextBox 93">
            <a:extLst>
              <a:ext uri="{FF2B5EF4-FFF2-40B4-BE49-F238E27FC236}">
                <a16:creationId xmlns:a16="http://schemas.microsoft.com/office/drawing/2014/main" id="{9823C0B4-E90C-2B49-A866-8C4D7541F7F4}"/>
              </a:ext>
            </a:extLst>
          </p:cNvPr>
          <p:cNvSpPr txBox="1"/>
          <p:nvPr/>
        </p:nvSpPr>
        <p:spPr bwMode="gray">
          <a:xfrm>
            <a:off x="4525732" y="5161000"/>
            <a:ext cx="3272126" cy="80791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Two reactors are in operation</a:t>
            </a:r>
            <a:r>
              <a:rPr lang="en-US" sz="1050" dirty="0">
                <a:solidFill>
                  <a:srgbClr val="000000"/>
                </a:solidFill>
                <a:latin typeface="Arial"/>
                <a:cs typeface="Arial"/>
              </a:rPr>
              <a:t>, with a</a:t>
            </a:r>
            <a:r>
              <a:rPr kumimoji="0" lang="en-US" sz="1050" b="0" i="0" u="none" strike="noStrike" kern="1200" cap="none" spc="0" normalizeH="0" baseline="0" noProof="0" dirty="0">
                <a:ln>
                  <a:noFill/>
                </a:ln>
                <a:solidFill>
                  <a:srgbClr val="000000"/>
                </a:solidFill>
                <a:effectLst/>
                <a:uLnTx/>
                <a:uFillTx/>
                <a:latin typeface="Arial"/>
                <a:ea typeface="+mn-ea"/>
                <a:cs typeface="Arial"/>
              </a:rPr>
              <a:t> nuclear capacity of 1.8 G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a:rPr>
              <a:t>The operational lifetime of the Koeberg Unit 1 nuclear plant was extended for 20 years, until 2044.</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a:rPr>
              <a:t>Plan to develop two SMR designs.</a:t>
            </a:r>
          </a:p>
        </p:txBody>
      </p:sp>
      <p:sp>
        <p:nvSpPr>
          <p:cNvPr id="96" name="TextBox 95">
            <a:extLst>
              <a:ext uri="{FF2B5EF4-FFF2-40B4-BE49-F238E27FC236}">
                <a16:creationId xmlns:a16="http://schemas.microsoft.com/office/drawing/2014/main" id="{DF84EE0C-4554-AA67-A7A9-F7132A7447C5}"/>
              </a:ext>
            </a:extLst>
          </p:cNvPr>
          <p:cNvSpPr txBox="1"/>
          <p:nvPr/>
        </p:nvSpPr>
        <p:spPr bwMode="gray">
          <a:xfrm>
            <a:off x="8206680" y="1904719"/>
            <a:ext cx="3272126" cy="846386"/>
          </a:xfrm>
          <a:prstGeom prst="rect">
            <a:avLst/>
          </a:prstGeom>
          <a:noFill/>
        </p:spPr>
        <p:txBody>
          <a:bodyPr wrap="square" lIns="0" tIns="0" rIns="0" bIns="0" rtlCol="0">
            <a:spAutoFit/>
          </a:bodyPr>
          <a:lstStyle/>
          <a:p>
            <a:pPr marL="171450" marR="0" lvl="1" indent="-1714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Aims to have 9% of electricity generated by nuclear by 2030.</a:t>
            </a:r>
          </a:p>
          <a:p>
            <a:pPr marL="171450" marR="0" lvl="1" indent="-1714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a:rPr>
              <a:t>4.8 GW power plant began construction </a:t>
            </a:r>
            <a:r>
              <a:rPr kumimoji="0" lang="en-US" sz="1050" b="0" i="0" u="none" strike="noStrike" kern="1200" cap="none" spc="0" normalizeH="0" baseline="0" noProof="0">
                <a:ln>
                  <a:noFill/>
                </a:ln>
                <a:solidFill>
                  <a:srgbClr val="000000"/>
                </a:solidFill>
                <a:effectLst/>
                <a:uLnTx/>
                <a:uFillTx/>
                <a:latin typeface="Arial"/>
                <a:ea typeface="+mn-ea"/>
                <a:cs typeface="Arial"/>
              </a:rPr>
              <a:t>in November 2022 and is expected to be complete in 2028. The plant uses four large Russian reactors.</a:t>
            </a:r>
          </a:p>
        </p:txBody>
      </p:sp>
      <p:sp>
        <p:nvSpPr>
          <p:cNvPr id="97" name="TextBox 96">
            <a:extLst>
              <a:ext uri="{FF2B5EF4-FFF2-40B4-BE49-F238E27FC236}">
                <a16:creationId xmlns:a16="http://schemas.microsoft.com/office/drawing/2014/main" id="{7469089A-82E0-06E3-9167-D26D7636F66B}"/>
              </a:ext>
            </a:extLst>
          </p:cNvPr>
          <p:cNvSpPr txBox="1"/>
          <p:nvPr/>
        </p:nvSpPr>
        <p:spPr bwMode="gray">
          <a:xfrm>
            <a:off x="8212184" y="3526240"/>
            <a:ext cx="3272126" cy="969496"/>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a:rPr>
              <a:t>Uganda Vision 2040</a:t>
            </a:r>
            <a:r>
              <a:rPr kumimoji="0" lang="en-US" sz="1050" b="0" i="0" u="none" strike="noStrike" kern="1200" cap="none" spc="0" normalizeH="0" baseline="0" noProof="0">
                <a:ln>
                  <a:noFill/>
                </a:ln>
                <a:solidFill>
                  <a:srgbClr val="000000"/>
                </a:solidFill>
                <a:effectLst/>
                <a:uLnTx/>
                <a:uFillTx/>
                <a:latin typeface="Arial"/>
                <a:ea typeface="+mn-ea"/>
                <a:cs typeface="Arial"/>
              </a:rPr>
              <a:t>, created in April 2013, lays out the development of significant nuclear capacity for the country’s future energy mi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Uganda has signed agreements with both Russia (Rosatom) and China (China National Nuclear Corporation).</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98" name="TextBox 97">
            <a:extLst>
              <a:ext uri="{FF2B5EF4-FFF2-40B4-BE49-F238E27FC236}">
                <a16:creationId xmlns:a16="http://schemas.microsoft.com/office/drawing/2014/main" id="{7CDD2489-CC32-7B0B-6388-1159CCCE59EC}"/>
              </a:ext>
            </a:extLst>
          </p:cNvPr>
          <p:cNvSpPr txBox="1"/>
          <p:nvPr/>
        </p:nvSpPr>
        <p:spPr bwMode="gray">
          <a:xfrm>
            <a:off x="8203951" y="5109992"/>
            <a:ext cx="3272126" cy="1169551"/>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In 2019, Rwanda decided to </a:t>
            </a:r>
            <a:r>
              <a:rPr kumimoji="0" lang="en-US" sz="1050" b="1" i="0" u="none" strike="noStrike" kern="1200" cap="none" spc="0" normalizeH="0" baseline="0" noProof="0">
                <a:ln>
                  <a:noFill/>
                </a:ln>
                <a:solidFill>
                  <a:srgbClr val="000000"/>
                </a:solidFill>
                <a:effectLst/>
                <a:uLnTx/>
                <a:uFillTx/>
                <a:latin typeface="Arial"/>
                <a:ea typeface="+mn-ea"/>
                <a:cs typeface="Arial"/>
              </a:rPr>
              <a:t>collaborate with Russia </a:t>
            </a:r>
            <a:r>
              <a:rPr kumimoji="0" lang="en-US" sz="1050" b="0" i="0" u="none" strike="noStrike" kern="1200" cap="none" spc="0" normalizeH="0" baseline="0" noProof="0">
                <a:ln>
                  <a:noFill/>
                </a:ln>
                <a:solidFill>
                  <a:srgbClr val="000000"/>
                </a:solidFill>
                <a:effectLst/>
                <a:uLnTx/>
                <a:uFillTx/>
                <a:latin typeface="Arial"/>
                <a:ea typeface="+mn-ea"/>
                <a:cs typeface="Arial"/>
              </a:rPr>
              <a:t>to build its first nuclear power pla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In September 2023, Rwanda’s atomic energy board </a:t>
            </a:r>
            <a:r>
              <a:rPr kumimoji="0" lang="en-US" sz="1050" b="1" i="0" u="none" strike="noStrike" kern="1200" cap="none" spc="0" normalizeH="0" baseline="0" noProof="0">
                <a:ln>
                  <a:noFill/>
                </a:ln>
                <a:solidFill>
                  <a:srgbClr val="000000"/>
                </a:solidFill>
                <a:effectLst/>
                <a:uLnTx/>
                <a:uFillTx/>
                <a:latin typeface="Arial"/>
                <a:ea typeface="+mn-ea"/>
                <a:cs typeface="Arial"/>
              </a:rPr>
              <a:t>signed a deal with a Canadian-German startup,</a:t>
            </a:r>
            <a:r>
              <a:rPr kumimoji="0" lang="en-US" sz="1050" b="0" i="0" u="none" strike="noStrike" kern="1200" cap="none" spc="0" normalizeH="0" baseline="0" noProof="0">
                <a:ln>
                  <a:noFill/>
                </a:ln>
                <a:solidFill>
                  <a:srgbClr val="000000"/>
                </a:solidFill>
                <a:effectLst/>
                <a:uLnTx/>
                <a:uFillTx/>
                <a:latin typeface="Arial"/>
                <a:ea typeface="+mn-ea"/>
                <a:cs typeface="Arial"/>
              </a:rPr>
              <a:t> Dual Fluid Energy, to build a demonstration nuclear reactor. </a:t>
            </a:r>
          </a:p>
          <a:p>
            <a:pPr marL="171450" marR="0" lvl="1" indent="-171450" algn="l" defTabSz="7112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grpSp>
        <p:nvGrpSpPr>
          <p:cNvPr id="107" name="Group 106">
            <a:extLst>
              <a:ext uri="{FF2B5EF4-FFF2-40B4-BE49-F238E27FC236}">
                <a16:creationId xmlns:a16="http://schemas.microsoft.com/office/drawing/2014/main" id="{CE20D94D-E666-FBB0-8618-8F0295547383}"/>
              </a:ext>
            </a:extLst>
          </p:cNvPr>
          <p:cNvGrpSpPr/>
          <p:nvPr/>
        </p:nvGrpSpPr>
        <p:grpSpPr>
          <a:xfrm>
            <a:off x="2765884" y="1846930"/>
            <a:ext cx="350152" cy="469359"/>
            <a:chOff x="493386" y="4744454"/>
            <a:chExt cx="350152" cy="469359"/>
          </a:xfrm>
        </p:grpSpPr>
        <p:sp>
          <p:nvSpPr>
            <p:cNvPr id="108" name="Oval 107">
              <a:extLst>
                <a:ext uri="{FF2B5EF4-FFF2-40B4-BE49-F238E27FC236}">
                  <a16:creationId xmlns:a16="http://schemas.microsoft.com/office/drawing/2014/main" id="{22FDB8DF-11B4-45DF-967C-DF8874389229}"/>
                </a:ext>
              </a:extLst>
            </p:cNvPr>
            <p:cNvSpPr/>
            <p:nvPr/>
          </p:nvSpPr>
          <p:spPr bwMode="gray">
            <a:xfrm>
              <a:off x="521364" y="4844825"/>
              <a:ext cx="254032" cy="254032"/>
            </a:xfrm>
            <a:prstGeom prst="ellipse">
              <a:avLst/>
            </a:pr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9" name="TextBox 108">
              <a:extLst>
                <a:ext uri="{FF2B5EF4-FFF2-40B4-BE49-F238E27FC236}">
                  <a16:creationId xmlns:a16="http://schemas.microsoft.com/office/drawing/2014/main" id="{6E0D44E7-13A7-F0A1-2D34-F195BD4E2239}"/>
                </a:ext>
              </a:extLst>
            </p:cNvPr>
            <p:cNvSpPr txBox="1"/>
            <p:nvPr/>
          </p:nvSpPr>
          <p:spPr bwMode="gray">
            <a:xfrm>
              <a:off x="493386" y="4744454"/>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805BC9"/>
                  </a:solidFill>
                  <a:effectLst/>
                  <a:uLnTx/>
                  <a:uFillTx/>
                  <a:latin typeface="Arial"/>
                  <a:ea typeface="+mn-ea"/>
                  <a:cs typeface="+mn-cs"/>
                </a:rPr>
                <a:t>N</a:t>
              </a:r>
            </a:p>
          </p:txBody>
        </p:sp>
      </p:grpSp>
      <p:grpSp>
        <p:nvGrpSpPr>
          <p:cNvPr id="110" name="Group 109">
            <a:extLst>
              <a:ext uri="{FF2B5EF4-FFF2-40B4-BE49-F238E27FC236}">
                <a16:creationId xmlns:a16="http://schemas.microsoft.com/office/drawing/2014/main" id="{7196C1E1-EE8D-4361-C014-BF5BA5CB55D6}"/>
              </a:ext>
            </a:extLst>
          </p:cNvPr>
          <p:cNvGrpSpPr/>
          <p:nvPr/>
        </p:nvGrpSpPr>
        <p:grpSpPr>
          <a:xfrm>
            <a:off x="331792" y="4261057"/>
            <a:ext cx="350152" cy="469359"/>
            <a:chOff x="493386" y="4744454"/>
            <a:chExt cx="350152" cy="469359"/>
          </a:xfrm>
        </p:grpSpPr>
        <p:sp>
          <p:nvSpPr>
            <p:cNvPr id="111" name="Oval 110">
              <a:extLst>
                <a:ext uri="{FF2B5EF4-FFF2-40B4-BE49-F238E27FC236}">
                  <a16:creationId xmlns:a16="http://schemas.microsoft.com/office/drawing/2014/main" id="{CEB1B6D5-6C1D-3F71-477B-7B321C99F2E5}"/>
                </a:ext>
              </a:extLst>
            </p:cNvPr>
            <p:cNvSpPr/>
            <p:nvPr/>
          </p:nvSpPr>
          <p:spPr bwMode="gray">
            <a:xfrm>
              <a:off x="521364" y="4844825"/>
              <a:ext cx="254032" cy="254032"/>
            </a:xfrm>
            <a:prstGeom prst="ellipse">
              <a:avLst/>
            </a:pr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12" name="TextBox 111">
              <a:extLst>
                <a:ext uri="{FF2B5EF4-FFF2-40B4-BE49-F238E27FC236}">
                  <a16:creationId xmlns:a16="http://schemas.microsoft.com/office/drawing/2014/main" id="{0D568123-4578-9F04-E4E1-3BA85E1408A7}"/>
                </a:ext>
              </a:extLst>
            </p:cNvPr>
            <p:cNvSpPr txBox="1"/>
            <p:nvPr/>
          </p:nvSpPr>
          <p:spPr bwMode="gray">
            <a:xfrm>
              <a:off x="493386" y="4744454"/>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805BC9"/>
                  </a:solidFill>
                  <a:effectLst/>
                  <a:uLnTx/>
                  <a:uFillTx/>
                  <a:latin typeface="Arial"/>
                  <a:ea typeface="+mn-ea"/>
                  <a:cs typeface="+mn-cs"/>
                </a:rPr>
                <a:t>N</a:t>
              </a:r>
            </a:p>
          </p:txBody>
        </p:sp>
      </p:grpSp>
      <p:grpSp>
        <p:nvGrpSpPr>
          <p:cNvPr id="113" name="Group 112">
            <a:extLst>
              <a:ext uri="{FF2B5EF4-FFF2-40B4-BE49-F238E27FC236}">
                <a16:creationId xmlns:a16="http://schemas.microsoft.com/office/drawing/2014/main" id="{7DCD8C93-D71E-636B-094E-78C598E55226}"/>
              </a:ext>
            </a:extLst>
          </p:cNvPr>
          <p:cNvGrpSpPr/>
          <p:nvPr/>
        </p:nvGrpSpPr>
        <p:grpSpPr>
          <a:xfrm>
            <a:off x="331792" y="4838080"/>
            <a:ext cx="350152" cy="469359"/>
            <a:chOff x="493386" y="4737161"/>
            <a:chExt cx="350152" cy="469359"/>
          </a:xfrm>
        </p:grpSpPr>
        <p:sp>
          <p:nvSpPr>
            <p:cNvPr id="114" name="Oval 113">
              <a:extLst>
                <a:ext uri="{FF2B5EF4-FFF2-40B4-BE49-F238E27FC236}">
                  <a16:creationId xmlns:a16="http://schemas.microsoft.com/office/drawing/2014/main" id="{AAB34295-9573-013C-8986-DCCBFD4E8C42}"/>
                </a:ext>
              </a:extLst>
            </p:cNvPr>
            <p:cNvSpPr/>
            <p:nvPr/>
          </p:nvSpPr>
          <p:spPr bwMode="gray">
            <a:xfrm>
              <a:off x="521364" y="4844825"/>
              <a:ext cx="254032" cy="254032"/>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15" name="TextBox 114">
              <a:extLst>
                <a:ext uri="{FF2B5EF4-FFF2-40B4-BE49-F238E27FC236}">
                  <a16:creationId xmlns:a16="http://schemas.microsoft.com/office/drawing/2014/main" id="{D25B55FA-696B-9976-DA50-0CDEB1021E36}"/>
                </a:ext>
              </a:extLst>
            </p:cNvPr>
            <p:cNvSpPr txBox="1"/>
            <p:nvPr/>
          </p:nvSpPr>
          <p:spPr bwMode="gray">
            <a:xfrm>
              <a:off x="493386" y="4737161"/>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FFC000"/>
                  </a:solidFill>
                  <a:effectLst/>
                  <a:uLnTx/>
                  <a:uFillTx/>
                  <a:latin typeface="Arial"/>
                  <a:ea typeface="+mn-ea"/>
                  <a:cs typeface="+mn-cs"/>
                </a:rPr>
                <a:t>N</a:t>
              </a:r>
            </a:p>
          </p:txBody>
        </p:sp>
      </p:grpSp>
      <p:grpSp>
        <p:nvGrpSpPr>
          <p:cNvPr id="119" name="Group 118">
            <a:extLst>
              <a:ext uri="{FF2B5EF4-FFF2-40B4-BE49-F238E27FC236}">
                <a16:creationId xmlns:a16="http://schemas.microsoft.com/office/drawing/2014/main" id="{B8AD3D53-5D74-5BE6-B59E-955B5144458C}"/>
              </a:ext>
            </a:extLst>
          </p:cNvPr>
          <p:cNvGrpSpPr/>
          <p:nvPr/>
        </p:nvGrpSpPr>
        <p:grpSpPr>
          <a:xfrm>
            <a:off x="1254073" y="1663594"/>
            <a:ext cx="350152" cy="469359"/>
            <a:chOff x="493386" y="4737161"/>
            <a:chExt cx="350152" cy="469359"/>
          </a:xfrm>
        </p:grpSpPr>
        <p:sp>
          <p:nvSpPr>
            <p:cNvPr id="120" name="Oval 119">
              <a:extLst>
                <a:ext uri="{FF2B5EF4-FFF2-40B4-BE49-F238E27FC236}">
                  <a16:creationId xmlns:a16="http://schemas.microsoft.com/office/drawing/2014/main" id="{BBF954CB-E6A1-CB5C-1300-854CD82FA91D}"/>
                </a:ext>
              </a:extLst>
            </p:cNvPr>
            <p:cNvSpPr/>
            <p:nvPr/>
          </p:nvSpPr>
          <p:spPr bwMode="gray">
            <a:xfrm>
              <a:off x="521364" y="4844825"/>
              <a:ext cx="254032" cy="254032"/>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1" name="TextBox 120">
              <a:extLst>
                <a:ext uri="{FF2B5EF4-FFF2-40B4-BE49-F238E27FC236}">
                  <a16:creationId xmlns:a16="http://schemas.microsoft.com/office/drawing/2014/main" id="{53A4B19E-D90B-3DD7-E2C7-4566E8B999B3}"/>
                </a:ext>
              </a:extLst>
            </p:cNvPr>
            <p:cNvSpPr txBox="1"/>
            <p:nvPr/>
          </p:nvSpPr>
          <p:spPr bwMode="gray">
            <a:xfrm>
              <a:off x="493386" y="4737161"/>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FFC000"/>
                  </a:solidFill>
                  <a:effectLst/>
                  <a:uLnTx/>
                  <a:uFillTx/>
                  <a:latin typeface="Arial"/>
                  <a:ea typeface="+mn-ea"/>
                  <a:cs typeface="+mn-cs"/>
                </a:rPr>
                <a:t>N</a:t>
              </a:r>
            </a:p>
          </p:txBody>
        </p:sp>
      </p:grpSp>
      <p:grpSp>
        <p:nvGrpSpPr>
          <p:cNvPr id="122" name="Group 121">
            <a:extLst>
              <a:ext uri="{FF2B5EF4-FFF2-40B4-BE49-F238E27FC236}">
                <a16:creationId xmlns:a16="http://schemas.microsoft.com/office/drawing/2014/main" id="{FCA39E90-02DF-F9E1-57B9-52E52A571237}"/>
              </a:ext>
            </a:extLst>
          </p:cNvPr>
          <p:cNvGrpSpPr/>
          <p:nvPr/>
        </p:nvGrpSpPr>
        <p:grpSpPr>
          <a:xfrm>
            <a:off x="1213890" y="1404574"/>
            <a:ext cx="350152" cy="469359"/>
            <a:chOff x="493386" y="4737161"/>
            <a:chExt cx="350152" cy="469359"/>
          </a:xfrm>
        </p:grpSpPr>
        <p:sp>
          <p:nvSpPr>
            <p:cNvPr id="123" name="Oval 122">
              <a:extLst>
                <a:ext uri="{FF2B5EF4-FFF2-40B4-BE49-F238E27FC236}">
                  <a16:creationId xmlns:a16="http://schemas.microsoft.com/office/drawing/2014/main" id="{F2F33746-3AE0-BF89-417D-596B94F521D1}"/>
                </a:ext>
              </a:extLst>
            </p:cNvPr>
            <p:cNvSpPr/>
            <p:nvPr/>
          </p:nvSpPr>
          <p:spPr bwMode="gray">
            <a:xfrm>
              <a:off x="521364" y="4844825"/>
              <a:ext cx="254032" cy="254032"/>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4" name="TextBox 123">
              <a:extLst>
                <a:ext uri="{FF2B5EF4-FFF2-40B4-BE49-F238E27FC236}">
                  <a16:creationId xmlns:a16="http://schemas.microsoft.com/office/drawing/2014/main" id="{9F3A587F-7293-557D-9B75-3012E9518F2D}"/>
                </a:ext>
              </a:extLst>
            </p:cNvPr>
            <p:cNvSpPr txBox="1"/>
            <p:nvPr/>
          </p:nvSpPr>
          <p:spPr bwMode="gray">
            <a:xfrm>
              <a:off x="493386" y="4737161"/>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FFC000"/>
                  </a:solidFill>
                  <a:effectLst/>
                  <a:uLnTx/>
                  <a:uFillTx/>
                  <a:latin typeface="Arial"/>
                  <a:ea typeface="+mn-ea"/>
                  <a:cs typeface="+mn-cs"/>
                </a:rPr>
                <a:t>N</a:t>
              </a:r>
            </a:p>
          </p:txBody>
        </p:sp>
      </p:grpSp>
      <p:grpSp>
        <p:nvGrpSpPr>
          <p:cNvPr id="128" name="Group 127">
            <a:extLst>
              <a:ext uri="{FF2B5EF4-FFF2-40B4-BE49-F238E27FC236}">
                <a16:creationId xmlns:a16="http://schemas.microsoft.com/office/drawing/2014/main" id="{147DEFDB-5472-55EE-63D6-D22CE328092E}"/>
              </a:ext>
            </a:extLst>
          </p:cNvPr>
          <p:cNvGrpSpPr/>
          <p:nvPr/>
        </p:nvGrpSpPr>
        <p:grpSpPr>
          <a:xfrm>
            <a:off x="1872804" y="1774625"/>
            <a:ext cx="350152" cy="469359"/>
            <a:chOff x="493386" y="4737161"/>
            <a:chExt cx="350152" cy="469359"/>
          </a:xfrm>
        </p:grpSpPr>
        <p:sp>
          <p:nvSpPr>
            <p:cNvPr id="129" name="Oval 128">
              <a:extLst>
                <a:ext uri="{FF2B5EF4-FFF2-40B4-BE49-F238E27FC236}">
                  <a16:creationId xmlns:a16="http://schemas.microsoft.com/office/drawing/2014/main" id="{55A05237-1E5C-9F4E-DCB6-43A55228017A}"/>
                </a:ext>
              </a:extLst>
            </p:cNvPr>
            <p:cNvSpPr/>
            <p:nvPr/>
          </p:nvSpPr>
          <p:spPr bwMode="gray">
            <a:xfrm>
              <a:off x="521364" y="4844825"/>
              <a:ext cx="254032" cy="254032"/>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30" name="TextBox 129">
              <a:extLst>
                <a:ext uri="{FF2B5EF4-FFF2-40B4-BE49-F238E27FC236}">
                  <a16:creationId xmlns:a16="http://schemas.microsoft.com/office/drawing/2014/main" id="{3D75B994-CF90-0EE3-DB61-1C6A52391002}"/>
                </a:ext>
              </a:extLst>
            </p:cNvPr>
            <p:cNvSpPr txBox="1"/>
            <p:nvPr/>
          </p:nvSpPr>
          <p:spPr bwMode="gray">
            <a:xfrm>
              <a:off x="493386" y="4737161"/>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FFC000"/>
                  </a:solidFill>
                  <a:effectLst/>
                  <a:uLnTx/>
                  <a:uFillTx/>
                  <a:latin typeface="Arial"/>
                  <a:ea typeface="+mn-ea"/>
                  <a:cs typeface="+mn-cs"/>
                </a:rPr>
                <a:t>N</a:t>
              </a:r>
            </a:p>
          </p:txBody>
        </p:sp>
      </p:grpSp>
      <p:grpSp>
        <p:nvGrpSpPr>
          <p:cNvPr id="131" name="Group 130">
            <a:extLst>
              <a:ext uri="{FF2B5EF4-FFF2-40B4-BE49-F238E27FC236}">
                <a16:creationId xmlns:a16="http://schemas.microsoft.com/office/drawing/2014/main" id="{49A40D90-FAC2-4C64-AB23-CB51B2E3B016}"/>
              </a:ext>
            </a:extLst>
          </p:cNvPr>
          <p:cNvGrpSpPr/>
          <p:nvPr/>
        </p:nvGrpSpPr>
        <p:grpSpPr>
          <a:xfrm>
            <a:off x="618210" y="1605525"/>
            <a:ext cx="350152" cy="469359"/>
            <a:chOff x="493386" y="4737161"/>
            <a:chExt cx="350152" cy="469359"/>
          </a:xfrm>
        </p:grpSpPr>
        <p:sp>
          <p:nvSpPr>
            <p:cNvPr id="132" name="Oval 131">
              <a:extLst>
                <a:ext uri="{FF2B5EF4-FFF2-40B4-BE49-F238E27FC236}">
                  <a16:creationId xmlns:a16="http://schemas.microsoft.com/office/drawing/2014/main" id="{F6B9E0F5-17B3-1FE7-7A4D-14D1B78D13F4}"/>
                </a:ext>
              </a:extLst>
            </p:cNvPr>
            <p:cNvSpPr/>
            <p:nvPr/>
          </p:nvSpPr>
          <p:spPr bwMode="gray">
            <a:xfrm>
              <a:off x="521364" y="4844825"/>
              <a:ext cx="254032" cy="254032"/>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33" name="TextBox 132">
              <a:extLst>
                <a:ext uri="{FF2B5EF4-FFF2-40B4-BE49-F238E27FC236}">
                  <a16:creationId xmlns:a16="http://schemas.microsoft.com/office/drawing/2014/main" id="{688B363E-1BA2-14AF-6898-6A8718C56C99}"/>
                </a:ext>
              </a:extLst>
            </p:cNvPr>
            <p:cNvSpPr txBox="1"/>
            <p:nvPr/>
          </p:nvSpPr>
          <p:spPr bwMode="gray">
            <a:xfrm>
              <a:off x="493386" y="4737161"/>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FFC000"/>
                  </a:solidFill>
                  <a:effectLst/>
                  <a:uLnTx/>
                  <a:uFillTx/>
                  <a:latin typeface="Arial"/>
                  <a:ea typeface="+mn-ea"/>
                  <a:cs typeface="+mn-cs"/>
                </a:rPr>
                <a:t>N</a:t>
              </a:r>
            </a:p>
          </p:txBody>
        </p:sp>
      </p:grpSp>
      <p:grpSp>
        <p:nvGrpSpPr>
          <p:cNvPr id="138" name="Group 137">
            <a:extLst>
              <a:ext uri="{FF2B5EF4-FFF2-40B4-BE49-F238E27FC236}">
                <a16:creationId xmlns:a16="http://schemas.microsoft.com/office/drawing/2014/main" id="{98D68A68-673C-C0B5-55B0-35651425A559}"/>
              </a:ext>
            </a:extLst>
          </p:cNvPr>
          <p:cNvGrpSpPr/>
          <p:nvPr/>
        </p:nvGrpSpPr>
        <p:grpSpPr>
          <a:xfrm>
            <a:off x="331792" y="3963708"/>
            <a:ext cx="350152" cy="469359"/>
            <a:chOff x="487804" y="4731428"/>
            <a:chExt cx="350152" cy="469359"/>
          </a:xfrm>
        </p:grpSpPr>
        <p:sp>
          <p:nvSpPr>
            <p:cNvPr id="139" name="Oval 138">
              <a:extLst>
                <a:ext uri="{FF2B5EF4-FFF2-40B4-BE49-F238E27FC236}">
                  <a16:creationId xmlns:a16="http://schemas.microsoft.com/office/drawing/2014/main" id="{A6927EB3-E529-96AC-2858-2DF3184EE631}"/>
                </a:ext>
              </a:extLst>
            </p:cNvPr>
            <p:cNvSpPr/>
            <p:nvPr/>
          </p:nvSpPr>
          <p:spPr bwMode="gray">
            <a:xfrm>
              <a:off x="521364" y="4844825"/>
              <a:ext cx="254032" cy="25403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40" name="TextBox 139">
              <a:extLst>
                <a:ext uri="{FF2B5EF4-FFF2-40B4-BE49-F238E27FC236}">
                  <a16:creationId xmlns:a16="http://schemas.microsoft.com/office/drawing/2014/main" id="{E29E04FB-332A-F2EA-0710-81C99B1A5408}"/>
                </a:ext>
              </a:extLst>
            </p:cNvPr>
            <p:cNvSpPr txBox="1"/>
            <p:nvPr/>
          </p:nvSpPr>
          <p:spPr bwMode="gray">
            <a:xfrm>
              <a:off x="487804" y="4731428"/>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FFFFFF"/>
                  </a:solidFill>
                  <a:effectLst/>
                  <a:uLnTx/>
                  <a:uFillTx/>
                  <a:latin typeface="Arial"/>
                  <a:ea typeface="+mn-ea"/>
                  <a:cs typeface="+mn-cs"/>
                </a:rPr>
                <a:t>N</a:t>
              </a:r>
            </a:p>
          </p:txBody>
        </p:sp>
      </p:grpSp>
      <p:grpSp>
        <p:nvGrpSpPr>
          <p:cNvPr id="141" name="Group 140">
            <a:extLst>
              <a:ext uri="{FF2B5EF4-FFF2-40B4-BE49-F238E27FC236}">
                <a16:creationId xmlns:a16="http://schemas.microsoft.com/office/drawing/2014/main" id="{D9F0F9DC-D91C-A415-06B2-5D1A39186EF0}"/>
              </a:ext>
            </a:extLst>
          </p:cNvPr>
          <p:cNvGrpSpPr/>
          <p:nvPr/>
        </p:nvGrpSpPr>
        <p:grpSpPr>
          <a:xfrm>
            <a:off x="331792" y="4538591"/>
            <a:ext cx="350152" cy="469359"/>
            <a:chOff x="486129" y="4737161"/>
            <a:chExt cx="350152" cy="469359"/>
          </a:xfrm>
        </p:grpSpPr>
        <p:sp>
          <p:nvSpPr>
            <p:cNvPr id="142" name="Oval 141">
              <a:extLst>
                <a:ext uri="{FF2B5EF4-FFF2-40B4-BE49-F238E27FC236}">
                  <a16:creationId xmlns:a16="http://schemas.microsoft.com/office/drawing/2014/main" id="{82D9BD41-7FDC-D518-66B9-41A1D98EAA63}"/>
                </a:ext>
              </a:extLst>
            </p:cNvPr>
            <p:cNvSpPr/>
            <p:nvPr/>
          </p:nvSpPr>
          <p:spPr bwMode="gray">
            <a:xfrm>
              <a:off x="521364" y="4844825"/>
              <a:ext cx="254032" cy="254032"/>
            </a:xfrm>
            <a:prstGeom prst="ellipse">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43" name="TextBox 142">
              <a:extLst>
                <a:ext uri="{FF2B5EF4-FFF2-40B4-BE49-F238E27FC236}">
                  <a16:creationId xmlns:a16="http://schemas.microsoft.com/office/drawing/2014/main" id="{135A8791-2063-912E-C9D8-B227299BDB6A}"/>
                </a:ext>
              </a:extLst>
            </p:cNvPr>
            <p:cNvSpPr txBox="1"/>
            <p:nvPr/>
          </p:nvSpPr>
          <p:spPr bwMode="gray">
            <a:xfrm>
              <a:off x="486129" y="4737161"/>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805BC9"/>
                  </a:solidFill>
                  <a:effectLst/>
                  <a:uLnTx/>
                  <a:uFillTx/>
                  <a:latin typeface="Arial"/>
                  <a:ea typeface="+mn-ea"/>
                  <a:cs typeface="+mn-cs"/>
                </a:rPr>
                <a:t>N</a:t>
              </a:r>
            </a:p>
          </p:txBody>
        </p:sp>
      </p:grpSp>
      <p:grpSp>
        <p:nvGrpSpPr>
          <p:cNvPr id="144" name="Group 143">
            <a:extLst>
              <a:ext uri="{FF2B5EF4-FFF2-40B4-BE49-F238E27FC236}">
                <a16:creationId xmlns:a16="http://schemas.microsoft.com/office/drawing/2014/main" id="{867FC25D-4CDC-DEAC-FAB4-430E722F6C05}"/>
              </a:ext>
            </a:extLst>
          </p:cNvPr>
          <p:cNvGrpSpPr/>
          <p:nvPr/>
        </p:nvGrpSpPr>
        <p:grpSpPr>
          <a:xfrm>
            <a:off x="1437303" y="3157743"/>
            <a:ext cx="350152" cy="469359"/>
            <a:chOff x="486129" y="4737161"/>
            <a:chExt cx="350152" cy="469359"/>
          </a:xfrm>
        </p:grpSpPr>
        <p:sp>
          <p:nvSpPr>
            <p:cNvPr id="145" name="Oval 144">
              <a:extLst>
                <a:ext uri="{FF2B5EF4-FFF2-40B4-BE49-F238E27FC236}">
                  <a16:creationId xmlns:a16="http://schemas.microsoft.com/office/drawing/2014/main" id="{4A6F37FF-9AC7-BEB5-1E5D-129DBB146330}"/>
                </a:ext>
              </a:extLst>
            </p:cNvPr>
            <p:cNvSpPr/>
            <p:nvPr/>
          </p:nvSpPr>
          <p:spPr bwMode="gray">
            <a:xfrm>
              <a:off x="521364" y="4844825"/>
              <a:ext cx="254032" cy="254032"/>
            </a:xfrm>
            <a:prstGeom prst="ellipse">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46" name="TextBox 145">
              <a:extLst>
                <a:ext uri="{FF2B5EF4-FFF2-40B4-BE49-F238E27FC236}">
                  <a16:creationId xmlns:a16="http://schemas.microsoft.com/office/drawing/2014/main" id="{459ED30C-3C32-E60F-969A-C0EAF10593C0}"/>
                </a:ext>
              </a:extLst>
            </p:cNvPr>
            <p:cNvSpPr txBox="1"/>
            <p:nvPr/>
          </p:nvSpPr>
          <p:spPr bwMode="gray">
            <a:xfrm>
              <a:off x="486129" y="4737161"/>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805BC9"/>
                  </a:solidFill>
                  <a:effectLst/>
                  <a:uLnTx/>
                  <a:uFillTx/>
                  <a:latin typeface="Arial"/>
                  <a:ea typeface="+mn-ea"/>
                  <a:cs typeface="+mn-cs"/>
                </a:rPr>
                <a:t>N</a:t>
              </a:r>
            </a:p>
          </p:txBody>
        </p:sp>
      </p:grpSp>
      <p:grpSp>
        <p:nvGrpSpPr>
          <p:cNvPr id="147" name="Group 146">
            <a:extLst>
              <a:ext uri="{FF2B5EF4-FFF2-40B4-BE49-F238E27FC236}">
                <a16:creationId xmlns:a16="http://schemas.microsoft.com/office/drawing/2014/main" id="{F5EE0CD8-64E9-A91E-60D7-D0F703D7D1F8}"/>
              </a:ext>
            </a:extLst>
          </p:cNvPr>
          <p:cNvGrpSpPr/>
          <p:nvPr/>
        </p:nvGrpSpPr>
        <p:grpSpPr>
          <a:xfrm>
            <a:off x="1586729" y="3355848"/>
            <a:ext cx="350152" cy="469359"/>
            <a:chOff x="486129" y="4737161"/>
            <a:chExt cx="350152" cy="469359"/>
          </a:xfrm>
        </p:grpSpPr>
        <p:sp>
          <p:nvSpPr>
            <p:cNvPr id="148" name="Oval 147">
              <a:extLst>
                <a:ext uri="{FF2B5EF4-FFF2-40B4-BE49-F238E27FC236}">
                  <a16:creationId xmlns:a16="http://schemas.microsoft.com/office/drawing/2014/main" id="{2A2CE5CB-AEC1-4BF6-49CC-1C28AF94714C}"/>
                </a:ext>
              </a:extLst>
            </p:cNvPr>
            <p:cNvSpPr/>
            <p:nvPr/>
          </p:nvSpPr>
          <p:spPr bwMode="gray">
            <a:xfrm>
              <a:off x="521364" y="4844825"/>
              <a:ext cx="254032" cy="254032"/>
            </a:xfrm>
            <a:prstGeom prst="ellipse">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49" name="TextBox 148">
              <a:extLst>
                <a:ext uri="{FF2B5EF4-FFF2-40B4-BE49-F238E27FC236}">
                  <a16:creationId xmlns:a16="http://schemas.microsoft.com/office/drawing/2014/main" id="{9903099F-A9E5-DA4A-714A-4B802E09F8ED}"/>
                </a:ext>
              </a:extLst>
            </p:cNvPr>
            <p:cNvSpPr txBox="1"/>
            <p:nvPr/>
          </p:nvSpPr>
          <p:spPr bwMode="gray">
            <a:xfrm>
              <a:off x="486129" y="4737161"/>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805BC9"/>
                  </a:solidFill>
                  <a:effectLst/>
                  <a:uLnTx/>
                  <a:uFillTx/>
                  <a:latin typeface="Arial"/>
                  <a:ea typeface="+mn-ea"/>
                  <a:cs typeface="+mn-cs"/>
                </a:rPr>
                <a:t>N</a:t>
              </a:r>
            </a:p>
          </p:txBody>
        </p:sp>
      </p:grpSp>
      <p:grpSp>
        <p:nvGrpSpPr>
          <p:cNvPr id="150" name="Group 149">
            <a:extLst>
              <a:ext uri="{FF2B5EF4-FFF2-40B4-BE49-F238E27FC236}">
                <a16:creationId xmlns:a16="http://schemas.microsoft.com/office/drawing/2014/main" id="{E89AC98C-914C-68BE-4171-A020AE258992}"/>
              </a:ext>
            </a:extLst>
          </p:cNvPr>
          <p:cNvGrpSpPr/>
          <p:nvPr/>
        </p:nvGrpSpPr>
        <p:grpSpPr>
          <a:xfrm>
            <a:off x="3239143" y="3802033"/>
            <a:ext cx="350152" cy="469359"/>
            <a:chOff x="486129" y="4737161"/>
            <a:chExt cx="350152" cy="469359"/>
          </a:xfrm>
        </p:grpSpPr>
        <p:sp>
          <p:nvSpPr>
            <p:cNvPr id="151" name="Oval 150">
              <a:extLst>
                <a:ext uri="{FF2B5EF4-FFF2-40B4-BE49-F238E27FC236}">
                  <a16:creationId xmlns:a16="http://schemas.microsoft.com/office/drawing/2014/main" id="{3E337EB1-5BD3-6EC0-595E-C778C21E24C8}"/>
                </a:ext>
              </a:extLst>
            </p:cNvPr>
            <p:cNvSpPr/>
            <p:nvPr/>
          </p:nvSpPr>
          <p:spPr bwMode="gray">
            <a:xfrm>
              <a:off x="521364" y="4844825"/>
              <a:ext cx="254032" cy="254032"/>
            </a:xfrm>
            <a:prstGeom prst="ellipse">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52" name="TextBox 151">
              <a:extLst>
                <a:ext uri="{FF2B5EF4-FFF2-40B4-BE49-F238E27FC236}">
                  <a16:creationId xmlns:a16="http://schemas.microsoft.com/office/drawing/2014/main" id="{74720BAD-D530-4ED0-A695-2D27CD0E2067}"/>
                </a:ext>
              </a:extLst>
            </p:cNvPr>
            <p:cNvSpPr txBox="1"/>
            <p:nvPr/>
          </p:nvSpPr>
          <p:spPr bwMode="gray">
            <a:xfrm>
              <a:off x="486129" y="4737161"/>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805BC9"/>
                  </a:solidFill>
                  <a:effectLst/>
                  <a:uLnTx/>
                  <a:uFillTx/>
                  <a:latin typeface="Arial"/>
                  <a:ea typeface="+mn-ea"/>
                  <a:cs typeface="+mn-cs"/>
                </a:rPr>
                <a:t>N</a:t>
              </a:r>
            </a:p>
          </p:txBody>
        </p:sp>
      </p:grpSp>
      <p:grpSp>
        <p:nvGrpSpPr>
          <p:cNvPr id="154" name="Group 153">
            <a:extLst>
              <a:ext uri="{FF2B5EF4-FFF2-40B4-BE49-F238E27FC236}">
                <a16:creationId xmlns:a16="http://schemas.microsoft.com/office/drawing/2014/main" id="{4F7BCAFD-FA72-ADEB-8E97-F32D2A17293F}"/>
              </a:ext>
            </a:extLst>
          </p:cNvPr>
          <p:cNvGrpSpPr/>
          <p:nvPr/>
        </p:nvGrpSpPr>
        <p:grpSpPr>
          <a:xfrm>
            <a:off x="2503257" y="5766834"/>
            <a:ext cx="350152" cy="469359"/>
            <a:chOff x="486129" y="4737161"/>
            <a:chExt cx="350152" cy="469359"/>
          </a:xfrm>
        </p:grpSpPr>
        <p:sp>
          <p:nvSpPr>
            <p:cNvPr id="155" name="Oval 154">
              <a:extLst>
                <a:ext uri="{FF2B5EF4-FFF2-40B4-BE49-F238E27FC236}">
                  <a16:creationId xmlns:a16="http://schemas.microsoft.com/office/drawing/2014/main" id="{7DC82344-7ED6-CF01-8AAF-F88BCCA6E15B}"/>
                </a:ext>
              </a:extLst>
            </p:cNvPr>
            <p:cNvSpPr/>
            <p:nvPr/>
          </p:nvSpPr>
          <p:spPr bwMode="gray">
            <a:xfrm>
              <a:off x="521364" y="4844825"/>
              <a:ext cx="254032" cy="254032"/>
            </a:xfrm>
            <a:prstGeom prst="ellipse">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56" name="TextBox 155">
              <a:extLst>
                <a:ext uri="{FF2B5EF4-FFF2-40B4-BE49-F238E27FC236}">
                  <a16:creationId xmlns:a16="http://schemas.microsoft.com/office/drawing/2014/main" id="{54DE1690-B7EA-0DBC-9D21-E9546139E969}"/>
                </a:ext>
              </a:extLst>
            </p:cNvPr>
            <p:cNvSpPr txBox="1"/>
            <p:nvPr/>
          </p:nvSpPr>
          <p:spPr bwMode="gray">
            <a:xfrm>
              <a:off x="486129" y="4737161"/>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805BC9"/>
                  </a:solidFill>
                  <a:effectLst/>
                  <a:uLnTx/>
                  <a:uFillTx/>
                  <a:latin typeface="Arial"/>
                  <a:ea typeface="+mn-ea"/>
                  <a:cs typeface="+mn-cs"/>
                </a:rPr>
                <a:t>N</a:t>
              </a:r>
            </a:p>
          </p:txBody>
        </p:sp>
      </p:grpSp>
      <p:grpSp>
        <p:nvGrpSpPr>
          <p:cNvPr id="157" name="Group 156">
            <a:extLst>
              <a:ext uri="{FF2B5EF4-FFF2-40B4-BE49-F238E27FC236}">
                <a16:creationId xmlns:a16="http://schemas.microsoft.com/office/drawing/2014/main" id="{BA8F8DA4-39B1-584A-25DD-7908FFB9CF57}"/>
              </a:ext>
            </a:extLst>
          </p:cNvPr>
          <p:cNvGrpSpPr/>
          <p:nvPr/>
        </p:nvGrpSpPr>
        <p:grpSpPr>
          <a:xfrm>
            <a:off x="2269565" y="5607217"/>
            <a:ext cx="350152" cy="469359"/>
            <a:chOff x="486129" y="4737161"/>
            <a:chExt cx="350152" cy="469359"/>
          </a:xfrm>
        </p:grpSpPr>
        <p:sp>
          <p:nvSpPr>
            <p:cNvPr id="158" name="Oval 157">
              <a:extLst>
                <a:ext uri="{FF2B5EF4-FFF2-40B4-BE49-F238E27FC236}">
                  <a16:creationId xmlns:a16="http://schemas.microsoft.com/office/drawing/2014/main" id="{95A793FE-E920-CD45-E4D0-056D2FB95AB6}"/>
                </a:ext>
              </a:extLst>
            </p:cNvPr>
            <p:cNvSpPr/>
            <p:nvPr/>
          </p:nvSpPr>
          <p:spPr bwMode="gray">
            <a:xfrm>
              <a:off x="521364" y="4844825"/>
              <a:ext cx="254032" cy="254032"/>
            </a:xfrm>
            <a:prstGeom prst="ellipse">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59" name="TextBox 158">
              <a:extLst>
                <a:ext uri="{FF2B5EF4-FFF2-40B4-BE49-F238E27FC236}">
                  <a16:creationId xmlns:a16="http://schemas.microsoft.com/office/drawing/2014/main" id="{EBDE3C13-F7E7-526B-8C00-9FCB083ACC53}"/>
                </a:ext>
              </a:extLst>
            </p:cNvPr>
            <p:cNvSpPr txBox="1"/>
            <p:nvPr/>
          </p:nvSpPr>
          <p:spPr bwMode="gray">
            <a:xfrm>
              <a:off x="486129" y="4737161"/>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805BC9"/>
                  </a:solidFill>
                  <a:effectLst/>
                  <a:uLnTx/>
                  <a:uFillTx/>
                  <a:latin typeface="Arial"/>
                  <a:ea typeface="+mn-ea"/>
                  <a:cs typeface="+mn-cs"/>
                </a:rPr>
                <a:t>N</a:t>
              </a:r>
            </a:p>
          </p:txBody>
        </p:sp>
      </p:grpSp>
      <p:grpSp>
        <p:nvGrpSpPr>
          <p:cNvPr id="161" name="Group 160">
            <a:extLst>
              <a:ext uri="{FF2B5EF4-FFF2-40B4-BE49-F238E27FC236}">
                <a16:creationId xmlns:a16="http://schemas.microsoft.com/office/drawing/2014/main" id="{F6D86A88-8D73-DC1B-53AB-E4D611D7B236}"/>
              </a:ext>
            </a:extLst>
          </p:cNvPr>
          <p:cNvGrpSpPr/>
          <p:nvPr/>
        </p:nvGrpSpPr>
        <p:grpSpPr>
          <a:xfrm>
            <a:off x="2678333" y="5219829"/>
            <a:ext cx="350152" cy="469359"/>
            <a:chOff x="486517" y="4731750"/>
            <a:chExt cx="350152" cy="469359"/>
          </a:xfrm>
        </p:grpSpPr>
        <p:sp>
          <p:nvSpPr>
            <p:cNvPr id="162" name="Oval 161">
              <a:extLst>
                <a:ext uri="{FF2B5EF4-FFF2-40B4-BE49-F238E27FC236}">
                  <a16:creationId xmlns:a16="http://schemas.microsoft.com/office/drawing/2014/main" id="{EBA12F50-D9E8-FA0C-3054-5E3BB6C889F0}"/>
                </a:ext>
              </a:extLst>
            </p:cNvPr>
            <p:cNvSpPr/>
            <p:nvPr/>
          </p:nvSpPr>
          <p:spPr bwMode="gray">
            <a:xfrm>
              <a:off x="521364" y="4844825"/>
              <a:ext cx="254032" cy="254032"/>
            </a:xfrm>
            <a:prstGeom prst="ellipse">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63" name="TextBox 162">
              <a:extLst>
                <a:ext uri="{FF2B5EF4-FFF2-40B4-BE49-F238E27FC236}">
                  <a16:creationId xmlns:a16="http://schemas.microsoft.com/office/drawing/2014/main" id="{F9FC1A9B-2DAD-1896-4A6D-0E5363A5393C}"/>
                </a:ext>
              </a:extLst>
            </p:cNvPr>
            <p:cNvSpPr txBox="1"/>
            <p:nvPr/>
          </p:nvSpPr>
          <p:spPr bwMode="gray">
            <a:xfrm>
              <a:off x="486517" y="4731750"/>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FFC000"/>
                  </a:solidFill>
                  <a:effectLst/>
                  <a:uLnTx/>
                  <a:uFillTx/>
                  <a:latin typeface="Arial"/>
                  <a:ea typeface="+mn-ea"/>
                  <a:cs typeface="+mn-cs"/>
                </a:rPr>
                <a:t>N</a:t>
              </a:r>
            </a:p>
          </p:txBody>
        </p:sp>
      </p:grpSp>
      <p:grpSp>
        <p:nvGrpSpPr>
          <p:cNvPr id="116" name="Group 115">
            <a:extLst>
              <a:ext uri="{FF2B5EF4-FFF2-40B4-BE49-F238E27FC236}">
                <a16:creationId xmlns:a16="http://schemas.microsoft.com/office/drawing/2014/main" id="{AB21DF83-8C44-55EA-6542-9A934BDD7F09}"/>
              </a:ext>
            </a:extLst>
          </p:cNvPr>
          <p:cNvGrpSpPr/>
          <p:nvPr/>
        </p:nvGrpSpPr>
        <p:grpSpPr>
          <a:xfrm>
            <a:off x="2085435" y="5601661"/>
            <a:ext cx="350152" cy="469359"/>
            <a:chOff x="488030" y="4731605"/>
            <a:chExt cx="350152" cy="469359"/>
          </a:xfrm>
        </p:grpSpPr>
        <p:sp>
          <p:nvSpPr>
            <p:cNvPr id="117" name="Oval 116">
              <a:extLst>
                <a:ext uri="{FF2B5EF4-FFF2-40B4-BE49-F238E27FC236}">
                  <a16:creationId xmlns:a16="http://schemas.microsoft.com/office/drawing/2014/main" id="{AE78A97A-6EB5-E0A6-DD7D-0320CB470951}"/>
                </a:ext>
              </a:extLst>
            </p:cNvPr>
            <p:cNvSpPr/>
            <p:nvPr/>
          </p:nvSpPr>
          <p:spPr bwMode="gray">
            <a:xfrm>
              <a:off x="521364" y="4844825"/>
              <a:ext cx="254032" cy="254032"/>
            </a:xfrm>
            <a:prstGeom prst="ellipse">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18" name="TextBox 117">
              <a:extLst>
                <a:ext uri="{FF2B5EF4-FFF2-40B4-BE49-F238E27FC236}">
                  <a16:creationId xmlns:a16="http://schemas.microsoft.com/office/drawing/2014/main" id="{A62E6FF7-71C6-EC9F-F1BF-CF9A5C40F9D1}"/>
                </a:ext>
              </a:extLst>
            </p:cNvPr>
            <p:cNvSpPr txBox="1"/>
            <p:nvPr/>
          </p:nvSpPr>
          <p:spPr bwMode="gray">
            <a:xfrm>
              <a:off x="488030" y="4731605"/>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FFFFFF"/>
                  </a:solidFill>
                  <a:effectLst/>
                  <a:uLnTx/>
                  <a:uFillTx/>
                  <a:latin typeface="Arial"/>
                  <a:ea typeface="+mn-ea"/>
                  <a:cs typeface="+mn-cs"/>
                </a:rPr>
                <a:t>N</a:t>
              </a:r>
            </a:p>
          </p:txBody>
        </p:sp>
      </p:grpSp>
      <p:grpSp>
        <p:nvGrpSpPr>
          <p:cNvPr id="164" name="Group 163">
            <a:extLst>
              <a:ext uri="{FF2B5EF4-FFF2-40B4-BE49-F238E27FC236}">
                <a16:creationId xmlns:a16="http://schemas.microsoft.com/office/drawing/2014/main" id="{D080D18B-9F31-666C-55F8-3DE63D1F7231}"/>
              </a:ext>
            </a:extLst>
          </p:cNvPr>
          <p:cNvGrpSpPr/>
          <p:nvPr/>
        </p:nvGrpSpPr>
        <p:grpSpPr>
          <a:xfrm>
            <a:off x="2513461" y="1846930"/>
            <a:ext cx="350152" cy="469359"/>
            <a:chOff x="486129" y="4737161"/>
            <a:chExt cx="350152" cy="469359"/>
          </a:xfrm>
        </p:grpSpPr>
        <p:sp>
          <p:nvSpPr>
            <p:cNvPr id="165" name="Oval 164">
              <a:extLst>
                <a:ext uri="{FF2B5EF4-FFF2-40B4-BE49-F238E27FC236}">
                  <a16:creationId xmlns:a16="http://schemas.microsoft.com/office/drawing/2014/main" id="{015B8A9D-D596-0D10-2A5C-FD1CAD6EB4A7}"/>
                </a:ext>
              </a:extLst>
            </p:cNvPr>
            <p:cNvSpPr/>
            <p:nvPr/>
          </p:nvSpPr>
          <p:spPr bwMode="gray">
            <a:xfrm>
              <a:off x="521364" y="4844825"/>
              <a:ext cx="254032" cy="254032"/>
            </a:xfrm>
            <a:prstGeom prst="ellipse">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66" name="TextBox 165">
              <a:extLst>
                <a:ext uri="{FF2B5EF4-FFF2-40B4-BE49-F238E27FC236}">
                  <a16:creationId xmlns:a16="http://schemas.microsoft.com/office/drawing/2014/main" id="{ED5DEE15-0663-1242-3709-60B0F6C71AB3}"/>
                </a:ext>
              </a:extLst>
            </p:cNvPr>
            <p:cNvSpPr txBox="1"/>
            <p:nvPr/>
          </p:nvSpPr>
          <p:spPr bwMode="gray">
            <a:xfrm>
              <a:off x="486129" y="4737161"/>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805BC9"/>
                  </a:solidFill>
                  <a:effectLst/>
                  <a:uLnTx/>
                  <a:uFillTx/>
                  <a:latin typeface="Arial"/>
                  <a:ea typeface="+mn-ea"/>
                  <a:cs typeface="+mn-cs"/>
                </a:rPr>
                <a:t>N</a:t>
              </a:r>
            </a:p>
          </p:txBody>
        </p:sp>
      </p:grpSp>
      <p:sp>
        <p:nvSpPr>
          <p:cNvPr id="168" name="TextBox 167">
            <a:extLst>
              <a:ext uri="{FF2B5EF4-FFF2-40B4-BE49-F238E27FC236}">
                <a16:creationId xmlns:a16="http://schemas.microsoft.com/office/drawing/2014/main" id="{68FDC29E-8EB0-3304-8A1F-0DD57C3D4988}"/>
              </a:ext>
            </a:extLst>
          </p:cNvPr>
          <p:cNvSpPr txBox="1"/>
          <p:nvPr/>
        </p:nvSpPr>
        <p:spPr bwMode="gray">
          <a:xfrm>
            <a:off x="698983" y="4105052"/>
            <a:ext cx="1605817" cy="161583"/>
          </a:xfrm>
          <a:prstGeom prst="rect">
            <a:avLst/>
          </a:prstGeom>
          <a:noFill/>
        </p:spPr>
        <p:txBody>
          <a:bodyPr wrap="square" lIns="0" tIns="0" rIns="0" bIns="0" rtlCol="0">
            <a:spAutoFit/>
          </a:bodyPr>
          <a:lstStyle/>
          <a:p>
            <a:pPr marL="0" marR="0" lvl="1" indent="0" algn="l" defTabSz="711200"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Operating nuclear plant</a:t>
            </a:r>
          </a:p>
        </p:txBody>
      </p:sp>
      <p:sp>
        <p:nvSpPr>
          <p:cNvPr id="169" name="TextBox 168">
            <a:extLst>
              <a:ext uri="{FF2B5EF4-FFF2-40B4-BE49-F238E27FC236}">
                <a16:creationId xmlns:a16="http://schemas.microsoft.com/office/drawing/2014/main" id="{C9E58A43-DF06-BB34-078E-ABF791A4579F}"/>
              </a:ext>
            </a:extLst>
          </p:cNvPr>
          <p:cNvSpPr txBox="1"/>
          <p:nvPr/>
        </p:nvSpPr>
        <p:spPr bwMode="gray">
          <a:xfrm>
            <a:off x="698999" y="4422203"/>
            <a:ext cx="1605817" cy="161583"/>
          </a:xfrm>
          <a:prstGeom prst="rect">
            <a:avLst/>
          </a:prstGeom>
          <a:noFill/>
        </p:spPr>
        <p:txBody>
          <a:bodyPr wrap="square" lIns="0" tIns="0" rIns="0" bIns="0" rtlCol="0">
            <a:spAutoFit/>
          </a:bodyPr>
          <a:lstStyle/>
          <a:p>
            <a:pPr marL="0" marR="0" lvl="1" indent="0" algn="l" defTabSz="711200"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Plant under construction</a:t>
            </a:r>
          </a:p>
        </p:txBody>
      </p:sp>
      <p:sp>
        <p:nvSpPr>
          <p:cNvPr id="170" name="TextBox 169">
            <a:extLst>
              <a:ext uri="{FF2B5EF4-FFF2-40B4-BE49-F238E27FC236}">
                <a16:creationId xmlns:a16="http://schemas.microsoft.com/office/drawing/2014/main" id="{0DE9DCB3-B91A-91D5-63FD-F66E8A20C39E}"/>
              </a:ext>
            </a:extLst>
          </p:cNvPr>
          <p:cNvSpPr txBox="1"/>
          <p:nvPr/>
        </p:nvSpPr>
        <p:spPr bwMode="gray">
          <a:xfrm>
            <a:off x="709501" y="4708243"/>
            <a:ext cx="1605817" cy="161583"/>
          </a:xfrm>
          <a:prstGeom prst="rect">
            <a:avLst/>
          </a:prstGeom>
          <a:noFill/>
        </p:spPr>
        <p:txBody>
          <a:bodyPr wrap="square" lIns="0" tIns="0" rIns="0" bIns="0" rtlCol="0">
            <a:spAutoFit/>
          </a:bodyPr>
          <a:lstStyle/>
          <a:p>
            <a:pPr marL="0" marR="0" lvl="1" indent="0" algn="l" defTabSz="711200"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Plant planned</a:t>
            </a:r>
          </a:p>
        </p:txBody>
      </p:sp>
      <p:sp>
        <p:nvSpPr>
          <p:cNvPr id="171" name="TextBox 170">
            <a:extLst>
              <a:ext uri="{FF2B5EF4-FFF2-40B4-BE49-F238E27FC236}">
                <a16:creationId xmlns:a16="http://schemas.microsoft.com/office/drawing/2014/main" id="{8B6A47F8-E917-3282-C38A-8DB9DE0D9F89}"/>
              </a:ext>
            </a:extLst>
          </p:cNvPr>
          <p:cNvSpPr txBox="1"/>
          <p:nvPr/>
        </p:nvSpPr>
        <p:spPr bwMode="gray">
          <a:xfrm>
            <a:off x="681944" y="4976706"/>
            <a:ext cx="1831517" cy="161583"/>
          </a:xfrm>
          <a:prstGeom prst="rect">
            <a:avLst/>
          </a:prstGeom>
          <a:noFill/>
        </p:spPr>
        <p:txBody>
          <a:bodyPr wrap="square" lIns="0" tIns="0" rIns="0" bIns="0" rtlCol="0">
            <a:spAutoFit/>
          </a:bodyPr>
          <a:lstStyle/>
          <a:p>
            <a:pPr marL="0" marR="0" lvl="1" indent="0" algn="l" defTabSz="711200"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Research reactor operating</a:t>
            </a:r>
          </a:p>
        </p:txBody>
      </p:sp>
      <p:grpSp>
        <p:nvGrpSpPr>
          <p:cNvPr id="172" name="Group 171">
            <a:extLst>
              <a:ext uri="{FF2B5EF4-FFF2-40B4-BE49-F238E27FC236}">
                <a16:creationId xmlns:a16="http://schemas.microsoft.com/office/drawing/2014/main" id="{7EF5701A-6A94-B456-02A9-3A079040F145}"/>
              </a:ext>
            </a:extLst>
          </p:cNvPr>
          <p:cNvGrpSpPr/>
          <p:nvPr/>
        </p:nvGrpSpPr>
        <p:grpSpPr>
          <a:xfrm>
            <a:off x="1076468" y="3325979"/>
            <a:ext cx="350152" cy="469359"/>
            <a:chOff x="486129" y="4737161"/>
            <a:chExt cx="350152" cy="469359"/>
          </a:xfrm>
        </p:grpSpPr>
        <p:sp>
          <p:nvSpPr>
            <p:cNvPr id="173" name="Oval 172">
              <a:extLst>
                <a:ext uri="{FF2B5EF4-FFF2-40B4-BE49-F238E27FC236}">
                  <a16:creationId xmlns:a16="http://schemas.microsoft.com/office/drawing/2014/main" id="{0703D4BB-F661-5643-4520-05EC03DE942B}"/>
                </a:ext>
              </a:extLst>
            </p:cNvPr>
            <p:cNvSpPr/>
            <p:nvPr/>
          </p:nvSpPr>
          <p:spPr bwMode="gray">
            <a:xfrm>
              <a:off x="521364" y="4844825"/>
              <a:ext cx="254032" cy="254032"/>
            </a:xfrm>
            <a:prstGeom prst="ellipse">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74" name="TextBox 173">
              <a:extLst>
                <a:ext uri="{FF2B5EF4-FFF2-40B4-BE49-F238E27FC236}">
                  <a16:creationId xmlns:a16="http://schemas.microsoft.com/office/drawing/2014/main" id="{5C6A5D46-E86B-9CF1-B3E2-C4700AA52D7A}"/>
                </a:ext>
              </a:extLst>
            </p:cNvPr>
            <p:cNvSpPr txBox="1"/>
            <p:nvPr/>
          </p:nvSpPr>
          <p:spPr bwMode="gray">
            <a:xfrm>
              <a:off x="486129" y="4737161"/>
              <a:ext cx="350152" cy="469359"/>
            </a:xfrm>
            <a:prstGeom prst="rect">
              <a:avLst/>
            </a:prstGeom>
            <a:noFill/>
            <a:ln>
              <a:noFill/>
            </a:ln>
          </p:spPr>
          <p:txBody>
            <a:bodyPr wrap="square" lIns="137160" tIns="137160" rIns="274320" bIns="13716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805BC9"/>
                  </a:solidFill>
                  <a:effectLst/>
                  <a:uLnTx/>
                  <a:uFillTx/>
                  <a:latin typeface="Arial"/>
                  <a:ea typeface="+mn-ea"/>
                  <a:cs typeface="+mn-cs"/>
                </a:rPr>
                <a:t>N</a:t>
              </a:r>
            </a:p>
          </p:txBody>
        </p:sp>
      </p:grpSp>
      <p:pic>
        <p:nvPicPr>
          <p:cNvPr id="1026" name="Picture 2" descr="Flag of Ghana">
            <a:extLst>
              <a:ext uri="{FF2B5EF4-FFF2-40B4-BE49-F238E27FC236}">
                <a16:creationId xmlns:a16="http://schemas.microsoft.com/office/drawing/2014/main" id="{8C1E89F6-D99C-29AF-53D3-17C5E329E111}"/>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5412769" y="1515655"/>
            <a:ext cx="340177" cy="22689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Flag of Egypt">
            <a:extLst>
              <a:ext uri="{FF2B5EF4-FFF2-40B4-BE49-F238E27FC236}">
                <a16:creationId xmlns:a16="http://schemas.microsoft.com/office/drawing/2014/main" id="{C2605BCA-0B5C-59D2-05AE-B9539768266F}"/>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9074401" y="1522558"/>
            <a:ext cx="335049" cy="22346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lag of Nigeria">
            <a:extLst>
              <a:ext uri="{FF2B5EF4-FFF2-40B4-BE49-F238E27FC236}">
                <a16:creationId xmlns:a16="http://schemas.microsoft.com/office/drawing/2014/main" id="{1D8F4BB3-2017-A246-49A6-E7AEE22D1F10}"/>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5412769" y="3075167"/>
            <a:ext cx="427550" cy="21377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Flag of Uganda">
            <a:extLst>
              <a:ext uri="{FF2B5EF4-FFF2-40B4-BE49-F238E27FC236}">
                <a16:creationId xmlns:a16="http://schemas.microsoft.com/office/drawing/2014/main" id="{C268D425-1FE1-D820-715B-00370016E223}"/>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9112187" y="3129077"/>
            <a:ext cx="330955" cy="22073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Flag of South Africa">
            <a:extLst>
              <a:ext uri="{FF2B5EF4-FFF2-40B4-BE49-F238E27FC236}">
                <a16:creationId xmlns:a16="http://schemas.microsoft.com/office/drawing/2014/main" id="{AB020E2E-48A1-6117-0D7F-B7CDD212CAC9}"/>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5600091" y="4786548"/>
            <a:ext cx="342561" cy="22848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Flag of Rwanda">
            <a:extLst>
              <a:ext uri="{FF2B5EF4-FFF2-40B4-BE49-F238E27FC236}">
                <a16:creationId xmlns:a16="http://schemas.microsoft.com/office/drawing/2014/main" id="{4F0CA7F9-F50A-5DB6-3DF8-4D8DD3F32B57}"/>
              </a:ext>
            </a:extLst>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9154681" y="4806249"/>
            <a:ext cx="341011" cy="22744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8746F7AE-115B-465F-59CE-E5469CFF2704}"/>
              </a:ext>
            </a:extLst>
          </p:cNvPr>
          <p:cNvSpPr/>
          <p:nvPr/>
        </p:nvSpPr>
        <p:spPr bwMode="gray">
          <a:xfrm>
            <a:off x="0" y="0"/>
            <a:ext cx="2926080" cy="382208"/>
          </a:xfrm>
          <a:prstGeom prst="rect">
            <a:avLst/>
          </a:prstGeom>
          <a:solidFill>
            <a:srgbClr val="805BC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bg1"/>
                </a:solidFill>
              </a:rPr>
              <a:t>Emerging Nuclear Energy Countries</a:t>
            </a:r>
          </a:p>
        </p:txBody>
      </p:sp>
    </p:spTree>
    <p:custDataLst>
      <p:tags r:id="rId1"/>
    </p:custDataLst>
    <p:extLst>
      <p:ext uri="{BB962C8B-B14F-4D97-AF65-F5344CB8AC3E}">
        <p14:creationId xmlns:p14="http://schemas.microsoft.com/office/powerpoint/2010/main" val="2807645790"/>
      </p:ext>
    </p:extLst>
  </p:cSld>
  <p:clrMapOvr>
    <a:masterClrMapping/>
  </p:clrMapOvr>
  <p:extLst>
    <p:ext uri="{6950BFC3-D8DA-4A85-94F7-54DA5524770B}">
      <p188:commentRel xmlns:p188="http://schemas.microsoft.com/office/powerpoint/2018/8/main" r:id="rId6"/>
    </p:ext>
  </p:extLst>
</p:sld>
</file>

<file path=ppt/slides/slide55.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FC5949C2-C689-FAB2-CDB5-2C894ECE9CCC}"/>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5FBD793-0949-F9E9-E168-7759BD94D98E}"/>
              </a:ext>
            </a:extLst>
          </p:cNvPr>
          <p:cNvGraphicFramePr>
            <a:graphicFrameLocks noChangeAspect="1"/>
          </p:cNvGraphicFramePr>
          <p:nvPr>
            <p:custDataLst>
              <p:tags r:id="rId2"/>
            </p:custDataLst>
            <p:extLst>
              <p:ext uri="{D42A27DB-BD31-4B8C-83A1-F6EECF244321}">
                <p14:modId xmlns:p14="http://schemas.microsoft.com/office/powerpoint/2010/main" val="1968484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6" name="think-cell data - do not delete" hidden="1">
                        <a:extLst>
                          <a:ext uri="{FF2B5EF4-FFF2-40B4-BE49-F238E27FC236}">
                            <a16:creationId xmlns:a16="http://schemas.microsoft.com/office/drawing/2014/main" id="{556251B3-3245-F8BB-78FC-DD6F62D4C0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494F444-395A-953F-D191-8B1077CA72C8}"/>
              </a:ext>
            </a:extLst>
          </p:cNvPr>
          <p:cNvSpPr>
            <a:spLocks noGrp="1"/>
          </p:cNvSpPr>
          <p:nvPr>
            <p:ph type="title"/>
          </p:nvPr>
        </p:nvSpPr>
        <p:spPr>
          <a:xfrm>
            <a:off x="838200" y="3680200"/>
            <a:ext cx="10515600" cy="2436792"/>
          </a:xfrm>
        </p:spPr>
        <p:txBody>
          <a:bodyPr vert="horz"/>
          <a:lstStyle/>
          <a:p>
            <a:r>
              <a:rPr lang="en-US">
                <a:effectLst>
                  <a:outerShdw blurRad="50800" dist="38100" dir="8100000" algn="tr" rotWithShape="0">
                    <a:prstClr val="black">
                      <a:alpha val="40000"/>
                    </a:prstClr>
                  </a:outerShdw>
                </a:effectLst>
              </a:rPr>
              <a:t>Fusion Technology</a:t>
            </a:r>
          </a:p>
        </p:txBody>
      </p:sp>
    </p:spTree>
    <p:custDataLst>
      <p:tags r:id="rId1"/>
    </p:custDataLst>
    <p:extLst>
      <p:ext uri="{BB962C8B-B14F-4D97-AF65-F5344CB8AC3E}">
        <p14:creationId xmlns:p14="http://schemas.microsoft.com/office/powerpoint/2010/main" val="30305759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48E9E0-EC62-F2FB-5CB5-22244F88F51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C6C18F9-DE2D-D928-3FF3-D4BBA81FD2F1}"/>
              </a:ext>
            </a:extLst>
          </p:cNvPr>
          <p:cNvGraphicFramePr>
            <a:graphicFrameLocks noChangeAspect="1"/>
          </p:cNvGraphicFramePr>
          <p:nvPr>
            <p:custDataLst>
              <p:tags r:id="rId2"/>
            </p:custDataLst>
            <p:extLst>
              <p:ext uri="{D42A27DB-BD31-4B8C-83A1-F6EECF244321}">
                <p14:modId xmlns:p14="http://schemas.microsoft.com/office/powerpoint/2010/main" val="664776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15" name="Picture 2">
            <a:extLst>
              <a:ext uri="{FF2B5EF4-FFF2-40B4-BE49-F238E27FC236}">
                <a16:creationId xmlns:a16="http://schemas.microsoft.com/office/drawing/2014/main" id="{1BE3E409-6915-AA56-E69A-70118AE4C806}"/>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499908" y="693807"/>
            <a:ext cx="3510672" cy="5277859"/>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2">
            <a:extLst>
              <a:ext uri="{FF2B5EF4-FFF2-40B4-BE49-F238E27FC236}">
                <a16:creationId xmlns:a16="http://schemas.microsoft.com/office/drawing/2014/main" id="{EF52BF11-E3B8-7443-D8FA-83EDA2BBD4A8}"/>
              </a:ext>
            </a:extLst>
          </p:cNvPr>
          <p:cNvSpPr txBox="1">
            <a:spLocks/>
          </p:cNvSpPr>
          <p:nvPr/>
        </p:nvSpPr>
        <p:spPr>
          <a:xfrm>
            <a:off x="659596" y="5094417"/>
            <a:ext cx="3165987" cy="784830"/>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p>
          <a:p>
            <a:pPr marL="0" indent="0">
              <a:defRPr/>
            </a:pPr>
            <a:r>
              <a:rPr lang="en-US" sz="2400" b="0">
                <a:solidFill>
                  <a:srgbClr val="FFFFFF"/>
                </a:solidFill>
                <a:latin typeface="Arial"/>
              </a:rPr>
              <a:t>Fusion Technology</a:t>
            </a:r>
          </a:p>
        </p:txBody>
      </p:sp>
      <p:cxnSp>
        <p:nvCxnSpPr>
          <p:cNvPr id="6" name="Straight Connector 5">
            <a:extLst>
              <a:ext uri="{FF2B5EF4-FFF2-40B4-BE49-F238E27FC236}">
                <a16:creationId xmlns:a16="http://schemas.microsoft.com/office/drawing/2014/main" id="{3D888ADC-E075-D5D4-FEB5-2DEA07D556C0}"/>
              </a:ext>
            </a:extLst>
          </p:cNvPr>
          <p:cNvCxnSpPr>
            <a:cxnSpLocks/>
          </p:cNvCxnSpPr>
          <p:nvPr/>
        </p:nvCxnSpPr>
        <p:spPr bwMode="gray">
          <a:xfrm>
            <a:off x="4188030" y="180378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btfpBulletedList771181">
            <a:extLst>
              <a:ext uri="{FF2B5EF4-FFF2-40B4-BE49-F238E27FC236}">
                <a16:creationId xmlns:a16="http://schemas.microsoft.com/office/drawing/2014/main" id="{0D07B01F-BF75-8428-20E1-FB3575A3CC0F}"/>
              </a:ext>
            </a:extLst>
          </p:cNvPr>
          <p:cNvSpPr txBox="1"/>
          <p:nvPr>
            <p:custDataLst>
              <p:tags r:id="rId3"/>
            </p:custDataLst>
          </p:nvPr>
        </p:nvSpPr>
        <p:spPr bwMode="gray">
          <a:xfrm>
            <a:off x="4230892" y="832352"/>
            <a:ext cx="7507288" cy="965255"/>
          </a:xfrm>
          <a:prstGeom prst="rect">
            <a:avLst/>
          </a:prstGeom>
          <a:noFill/>
        </p:spPr>
        <p:txBody>
          <a:bodyPr vert="horz" wrap="square" lIns="36000" tIns="36000" rIns="36000" bIns="36000" rtlCol="0" anchor="t">
            <a:spAutoFit/>
          </a:bodyPr>
          <a:lstStyle>
            <a:defPPr>
              <a:defRPr lang="en-US"/>
            </a:defPPr>
            <a:lvl2pPr marL="49213" lvl="1" defTabSz="711200">
              <a:spcBef>
                <a:spcPts val="600"/>
              </a:spcBef>
              <a:defRPr sz="1200" b="1">
                <a:solidFill>
                  <a:srgbClr val="000000"/>
                </a:solidFill>
                <a:latin typeface="Arial" panose="020B0604020202020204" pitchFamily="34" charset="0"/>
              </a:defRPr>
            </a:lvl2pPr>
          </a:lstStyle>
          <a:p>
            <a:pPr marL="49213" lvl="1" defTabSz="711200">
              <a:spcBef>
                <a:spcPts val="600"/>
              </a:spcBef>
              <a:defRPr/>
            </a:pPr>
            <a:r>
              <a:rPr lang="en-US" sz="1200" b="1"/>
              <a:t>Fusion provides energy by fusing two nuclei instead of splitting an atom as in fission.</a:t>
            </a:r>
            <a:endParaRPr lang="en-US" sz="1200" b="1">
              <a:solidFill>
                <a:srgbClr val="000000"/>
              </a:solidFill>
              <a:latin typeface="Arial" panose="020B0604020202020204" pitchFamily="34" charset="0"/>
            </a:endParaRPr>
          </a:p>
          <a:p>
            <a:pPr marL="355600" lvl="1" indent="-177800" defTabSz="711200">
              <a:spcBef>
                <a:spcPts val="600"/>
              </a:spcBef>
              <a:buFontTx/>
              <a:buChar char="–"/>
              <a:defRPr/>
            </a:pPr>
            <a:r>
              <a:rPr lang="en-US" sz="1200" b="0">
                <a:solidFill>
                  <a:srgbClr val="000000"/>
                </a:solidFill>
              </a:rPr>
              <a:t>Fusion can generate 8x as much energy as fission from 1 kilogram of fuel and without carbon emissions. </a:t>
            </a:r>
          </a:p>
          <a:p>
            <a:pPr marL="355600" lvl="1" indent="-177800" defTabSz="711200">
              <a:spcBef>
                <a:spcPts val="600"/>
              </a:spcBef>
              <a:buFontTx/>
              <a:buChar char="–"/>
              <a:defRPr/>
            </a:pPr>
            <a:r>
              <a:rPr lang="en-US" sz="1200" b="0">
                <a:solidFill>
                  <a:srgbClr val="000000"/>
                </a:solidFill>
              </a:rPr>
              <a:t>It could theoretically be deployed anywhere in the world, as fuel (deuterium-tritium) is found in seawater and could be produced as a byproduct of fusion.</a:t>
            </a:r>
          </a:p>
        </p:txBody>
      </p:sp>
      <p:cxnSp>
        <p:nvCxnSpPr>
          <p:cNvPr id="12" name="Straight Connector 11">
            <a:extLst>
              <a:ext uri="{FF2B5EF4-FFF2-40B4-BE49-F238E27FC236}">
                <a16:creationId xmlns:a16="http://schemas.microsoft.com/office/drawing/2014/main" id="{47251326-2FB2-6110-BC28-70F8420F2519}"/>
              </a:ext>
            </a:extLst>
          </p:cNvPr>
          <p:cNvCxnSpPr>
            <a:cxnSpLocks/>
          </p:cNvCxnSpPr>
          <p:nvPr/>
        </p:nvCxnSpPr>
        <p:spPr bwMode="gray">
          <a:xfrm>
            <a:off x="4188030" y="3827842"/>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BulletedList771181">
            <a:extLst>
              <a:ext uri="{FF2B5EF4-FFF2-40B4-BE49-F238E27FC236}">
                <a16:creationId xmlns:a16="http://schemas.microsoft.com/office/drawing/2014/main" id="{6A5E9EBC-EC8D-F663-9566-5EA564C15208}"/>
              </a:ext>
            </a:extLst>
          </p:cNvPr>
          <p:cNvSpPr txBox="1"/>
          <p:nvPr>
            <p:custDataLst>
              <p:tags r:id="rId4"/>
            </p:custDataLst>
          </p:nvPr>
        </p:nvSpPr>
        <p:spPr bwMode="gray">
          <a:xfrm>
            <a:off x="4230892" y="3834022"/>
            <a:ext cx="7507288" cy="892552"/>
          </a:xfrm>
          <a:prstGeom prst="rect">
            <a:avLst/>
          </a:prstGeom>
          <a:noFill/>
        </p:spPr>
        <p:txBody>
          <a:bodyPr vert="horz" wrap="square" lIns="0" tIns="0" rIns="0" bIns="0" rtlCol="0" anchor="t">
            <a:spAutoFit/>
          </a:bodyPr>
          <a:lstStyle/>
          <a:p>
            <a:pPr marL="49213" lvl="1" defTabSz="711200">
              <a:spcBef>
                <a:spcPts val="600"/>
              </a:spcBef>
              <a:defRPr/>
            </a:pPr>
            <a:r>
              <a:rPr lang="en-US" sz="1200" b="1">
                <a:solidFill>
                  <a:srgbClr val="000000"/>
                </a:solidFill>
                <a:latin typeface="Arial" panose="020B0604020202020204" pitchFamily="34" charset="0"/>
              </a:rPr>
              <a:t>There are two main approaches to fusion energy: magnetic confinement fusion (MCF) and inertial confinement fusion (ICF).</a:t>
            </a:r>
          </a:p>
          <a:p>
            <a:pPr marL="355600" lvl="1" indent="-177800" defTabSz="711200">
              <a:spcBef>
                <a:spcPts val="600"/>
              </a:spcBef>
              <a:buFontTx/>
              <a:buChar char="–"/>
              <a:defRPr/>
            </a:pPr>
            <a:r>
              <a:rPr lang="en-US" sz="1200">
                <a:solidFill>
                  <a:srgbClr val="000000"/>
                </a:solidFill>
              </a:rPr>
              <a:t>MCF uses magnets to confine and control the plasma as it heats up to the point of fusion.</a:t>
            </a:r>
          </a:p>
          <a:p>
            <a:pPr marL="355600" lvl="1" indent="-177800" defTabSz="711200">
              <a:spcBef>
                <a:spcPts val="600"/>
              </a:spcBef>
              <a:buFontTx/>
              <a:buChar char="–"/>
              <a:defRPr/>
            </a:pPr>
            <a:r>
              <a:rPr lang="en-US" sz="1200">
                <a:solidFill>
                  <a:srgbClr val="000000"/>
                </a:solidFill>
                <a:latin typeface="Arial"/>
              </a:rPr>
              <a:t>ICF uses lasers to heat up a fuel pellet and create enough density to create a plasma and initiate fusion.</a:t>
            </a:r>
            <a:endParaRPr lang="en-US" sz="1200">
              <a:solidFill>
                <a:srgbClr val="000000"/>
              </a:solidFill>
              <a:latin typeface="Arial" panose="020B0604020202020204" pitchFamily="34" charset="0"/>
            </a:endParaRPr>
          </a:p>
        </p:txBody>
      </p:sp>
      <p:sp>
        <p:nvSpPr>
          <p:cNvPr id="3" name="btfpNotesBox111697">
            <a:extLst>
              <a:ext uri="{FF2B5EF4-FFF2-40B4-BE49-F238E27FC236}">
                <a16:creationId xmlns:a16="http://schemas.microsoft.com/office/drawing/2014/main" id="{DA88231F-F7EE-E7F2-CA8C-A0685425F1F3}"/>
              </a:ext>
            </a:extLst>
          </p:cNvPr>
          <p:cNvSpPr txBox="1"/>
          <p:nvPr>
            <p:custDataLst>
              <p:tags r:id="rId5"/>
            </p:custDataLst>
          </p:nvPr>
        </p:nvSpPr>
        <p:spPr bwMode="gray">
          <a:xfrm>
            <a:off x="330200" y="6492240"/>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8" name="btfpBulletedList771181">
            <a:extLst>
              <a:ext uri="{FF2B5EF4-FFF2-40B4-BE49-F238E27FC236}">
                <a16:creationId xmlns:a16="http://schemas.microsoft.com/office/drawing/2014/main" id="{113D642B-BF8D-629A-EE29-D6526413F1AA}"/>
              </a:ext>
            </a:extLst>
          </p:cNvPr>
          <p:cNvSpPr txBox="1"/>
          <p:nvPr>
            <p:custDataLst>
              <p:tags r:id="rId6"/>
            </p:custDataLst>
          </p:nvPr>
        </p:nvSpPr>
        <p:spPr bwMode="gray">
          <a:xfrm>
            <a:off x="4230892" y="1809967"/>
            <a:ext cx="7507288" cy="2011695"/>
          </a:xfrm>
          <a:prstGeom prst="rect">
            <a:avLst/>
          </a:prstGeom>
          <a:noFill/>
        </p:spPr>
        <p:txBody>
          <a:bodyPr vert="horz" wrap="square" lIns="36000" tIns="36000" rIns="36000" bIns="36000" rtlCol="0" anchor="t">
            <a:spAutoFit/>
          </a:bodyPr>
          <a:lstStyle>
            <a:defPPr>
              <a:defRPr lang="en-US"/>
            </a:defPPr>
            <a:lvl2pPr marL="49213" lvl="1" defTabSz="711200">
              <a:spcBef>
                <a:spcPts val="600"/>
              </a:spcBef>
              <a:defRPr sz="1200" b="1">
                <a:solidFill>
                  <a:srgbClr val="000000"/>
                </a:solidFill>
                <a:latin typeface="Arial" panose="020B0604020202020204" pitchFamily="34" charset="0"/>
              </a:defRPr>
            </a:lvl2pPr>
          </a:lstStyle>
          <a:p>
            <a:r>
              <a:rPr lang="en-US" sz="1200" b="1"/>
              <a:t>There are six stages to get to commercial fusion; the world is currently in phase four:</a:t>
            </a:r>
          </a:p>
          <a:p>
            <a:pPr marL="406400" lvl="1" indent="-228600">
              <a:buFont typeface="+mj-lt"/>
              <a:buAutoNum type="arabicPeriod"/>
              <a:defRPr/>
            </a:pPr>
            <a:r>
              <a:rPr lang="en-US">
                <a:latin typeface="+mn-lt"/>
              </a:rPr>
              <a:t>Fusion starts by forming a plasma, </a:t>
            </a:r>
            <a:r>
              <a:rPr lang="en-US" b="0">
                <a:latin typeface="+mn-lt"/>
              </a:rPr>
              <a:t>the fourth form of matter besides gas, liquid, and solid.</a:t>
            </a:r>
          </a:p>
          <a:p>
            <a:pPr marL="406400" lvl="1" indent="-228600">
              <a:buFont typeface="+mj-lt"/>
              <a:buAutoNum type="arabicPeriod"/>
              <a:defRPr/>
            </a:pPr>
            <a:r>
              <a:rPr lang="en-US">
                <a:latin typeface="+mn-lt"/>
              </a:rPr>
              <a:t>The plasma needs to reach 100 million °C </a:t>
            </a:r>
            <a:r>
              <a:rPr lang="en-US" b="0">
                <a:latin typeface="+mn-lt"/>
              </a:rPr>
              <a:t>to ensure sufficient energy to enable fusion.</a:t>
            </a:r>
          </a:p>
          <a:p>
            <a:pPr marL="406400" lvl="1" indent="-228600">
              <a:buFont typeface="+mj-lt"/>
              <a:buAutoNum type="arabicPeriod"/>
              <a:defRPr/>
            </a:pPr>
            <a:r>
              <a:rPr lang="en-US">
                <a:latin typeface="+mn-lt"/>
              </a:rPr>
              <a:t>The plasma needs to become sufficiently dense and be sustained.</a:t>
            </a:r>
          </a:p>
          <a:p>
            <a:pPr marL="406400" lvl="1" indent="-228600">
              <a:buFont typeface="+mj-lt"/>
              <a:buAutoNum type="arabicPeriod"/>
              <a:defRPr/>
            </a:pPr>
            <a:r>
              <a:rPr lang="en-US">
                <a:latin typeface="+mn-lt"/>
              </a:rPr>
              <a:t>The reaction should get to a net energy gain; </a:t>
            </a:r>
            <a:r>
              <a:rPr lang="en-US" b="0">
                <a:latin typeface="+mn-lt"/>
              </a:rPr>
              <a:t>the energy output exceeds the energy input needed to start and sustain the plasma.</a:t>
            </a:r>
          </a:p>
          <a:p>
            <a:pPr marL="406400" lvl="1" indent="-228600">
              <a:buFont typeface="+mj-lt"/>
              <a:buAutoNum type="arabicPeriod"/>
              <a:defRPr/>
            </a:pPr>
            <a:r>
              <a:rPr lang="en-US">
                <a:latin typeface="+mn-lt"/>
              </a:rPr>
              <a:t>The reactor then has to generate exportable electricity.</a:t>
            </a:r>
          </a:p>
          <a:p>
            <a:pPr marL="406400" lvl="1" indent="-228600">
              <a:buFont typeface="+mj-lt"/>
              <a:buAutoNum type="arabicPeriod"/>
              <a:defRPr/>
            </a:pPr>
            <a:r>
              <a:rPr lang="en-US">
                <a:latin typeface="+mn-lt"/>
              </a:rPr>
              <a:t>Finally, fusion energy needs to be commercially competitive.</a:t>
            </a:r>
          </a:p>
        </p:txBody>
      </p:sp>
      <p:cxnSp>
        <p:nvCxnSpPr>
          <p:cNvPr id="17" name="Straight Connector 16">
            <a:extLst>
              <a:ext uri="{FF2B5EF4-FFF2-40B4-BE49-F238E27FC236}">
                <a16:creationId xmlns:a16="http://schemas.microsoft.com/office/drawing/2014/main" id="{69A88BA1-3A97-1DB2-E9A9-792DC4C9146A}"/>
              </a:ext>
            </a:extLst>
          </p:cNvPr>
          <p:cNvCxnSpPr>
            <a:cxnSpLocks/>
          </p:cNvCxnSpPr>
          <p:nvPr/>
        </p:nvCxnSpPr>
        <p:spPr bwMode="gray">
          <a:xfrm>
            <a:off x="4188030" y="473275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BulletedList771181">
            <a:extLst>
              <a:ext uri="{FF2B5EF4-FFF2-40B4-BE49-F238E27FC236}">
                <a16:creationId xmlns:a16="http://schemas.microsoft.com/office/drawing/2014/main" id="{6CED0F59-CCF9-97C0-E462-4E5AF874DCBC}"/>
              </a:ext>
            </a:extLst>
          </p:cNvPr>
          <p:cNvSpPr txBox="1"/>
          <p:nvPr>
            <p:custDataLst>
              <p:tags r:id="rId7"/>
            </p:custDataLst>
          </p:nvPr>
        </p:nvSpPr>
        <p:spPr bwMode="gray">
          <a:xfrm>
            <a:off x="4230892" y="4738934"/>
            <a:ext cx="7507288" cy="892552"/>
          </a:xfrm>
          <a:prstGeom prst="rect">
            <a:avLst/>
          </a:prstGeom>
          <a:noFill/>
        </p:spPr>
        <p:txBody>
          <a:bodyPr vert="horz" wrap="square" lIns="0" tIns="0" rIns="0" bIns="0" rtlCol="0" anchor="t">
            <a:spAutoFit/>
          </a:bodyPr>
          <a:lstStyle/>
          <a:p>
            <a:pPr marL="49213" lvl="1" defTabSz="711200">
              <a:spcBef>
                <a:spcPts val="600"/>
              </a:spcBef>
              <a:defRPr/>
            </a:pPr>
            <a:r>
              <a:rPr lang="en-US" sz="1200" b="1">
                <a:solidFill>
                  <a:srgbClr val="000000"/>
                </a:solidFill>
                <a:latin typeface="Arial" panose="020B0604020202020204" pitchFamily="34" charset="0"/>
              </a:rPr>
              <a:t>Recent years have seen an enormous increase in commercial fusion businesses,</a:t>
            </a:r>
            <a:r>
              <a:rPr lang="en-US" sz="1200">
                <a:solidFill>
                  <a:srgbClr val="000000"/>
                </a:solidFill>
                <a:latin typeface="Arial" panose="020B0604020202020204" pitchFamily="34" charset="0"/>
              </a:rPr>
              <a:t> from 23 startups in 2021 to 43 in 2024, with a total of $7.1 billion in funding.</a:t>
            </a:r>
            <a:endParaRPr lang="en-US" sz="1200" b="1">
              <a:solidFill>
                <a:srgbClr val="000000"/>
              </a:solidFill>
              <a:latin typeface="Arial" panose="020B0604020202020204" pitchFamily="34" charset="0"/>
            </a:endParaRPr>
          </a:p>
          <a:p>
            <a:pPr marL="355600" lvl="1" indent="-177800" defTabSz="711200">
              <a:spcBef>
                <a:spcPts val="600"/>
              </a:spcBef>
              <a:buFontTx/>
              <a:buChar char="–"/>
              <a:defRPr/>
            </a:pPr>
            <a:r>
              <a:rPr lang="en-US" sz="1200">
                <a:solidFill>
                  <a:srgbClr val="000000"/>
                </a:solidFill>
              </a:rPr>
              <a:t>Commonwealth Fusion Systems has received ~$2 billion in funding and is leading in MCF technology.</a:t>
            </a:r>
          </a:p>
          <a:p>
            <a:pPr marL="355600" lvl="1" indent="-177800" defTabSz="711200">
              <a:spcBef>
                <a:spcPts val="600"/>
              </a:spcBef>
              <a:buFontTx/>
              <a:buChar char="–"/>
              <a:defRPr/>
            </a:pPr>
            <a:r>
              <a:rPr lang="en-US" sz="1200">
                <a:solidFill>
                  <a:srgbClr val="000000"/>
                </a:solidFill>
                <a:latin typeface="Arial"/>
              </a:rPr>
              <a:t>Marvel Fusion has received ~$350 million in funding and is leading in ICF technology.</a:t>
            </a:r>
            <a:endParaRPr lang="en-US" sz="1200">
              <a:solidFill>
                <a:srgbClr val="000000"/>
              </a:solidFill>
              <a:latin typeface="Arial" panose="020B0604020202020204" pitchFamily="34" charset="0"/>
            </a:endParaRPr>
          </a:p>
        </p:txBody>
      </p:sp>
      <p:sp>
        <p:nvSpPr>
          <p:cNvPr id="19" name="btfpBulletedList771181">
            <a:extLst>
              <a:ext uri="{FF2B5EF4-FFF2-40B4-BE49-F238E27FC236}">
                <a16:creationId xmlns:a16="http://schemas.microsoft.com/office/drawing/2014/main" id="{2469225B-F4EB-925A-C57F-15CB690D4923}"/>
              </a:ext>
            </a:extLst>
          </p:cNvPr>
          <p:cNvSpPr txBox="1"/>
          <p:nvPr>
            <p:custDataLst>
              <p:tags r:id="rId8"/>
            </p:custDataLst>
          </p:nvPr>
        </p:nvSpPr>
        <p:spPr bwMode="gray">
          <a:xfrm>
            <a:off x="4230892" y="5643847"/>
            <a:ext cx="7507288" cy="184666"/>
          </a:xfrm>
          <a:prstGeom prst="rect">
            <a:avLst/>
          </a:prstGeom>
          <a:noFill/>
        </p:spPr>
        <p:txBody>
          <a:bodyPr vert="horz" wrap="square" lIns="0" tIns="0" rIns="0" bIns="0" rtlCol="0" anchor="t">
            <a:spAutoFit/>
          </a:bodyPr>
          <a:lstStyle/>
          <a:p>
            <a:pPr marL="49213" lvl="1" defTabSz="711200">
              <a:spcBef>
                <a:spcPts val="600"/>
              </a:spcBef>
              <a:defRPr/>
            </a:pPr>
            <a:r>
              <a:rPr lang="en-US" sz="1200" b="1">
                <a:solidFill>
                  <a:srgbClr val="000000"/>
                </a:solidFill>
                <a:latin typeface="Arial" panose="020B0604020202020204" pitchFamily="34" charset="0"/>
              </a:rPr>
              <a:t>Most companies hope to have commercial fusion technology by 2035, although experts are skeptical.</a:t>
            </a:r>
            <a:endParaRPr lang="en-US" sz="1200">
              <a:solidFill>
                <a:srgbClr val="000000"/>
              </a:solidFill>
              <a:latin typeface="Arial" panose="020B0604020202020204" pitchFamily="34" charset="0"/>
            </a:endParaRPr>
          </a:p>
        </p:txBody>
      </p:sp>
      <p:cxnSp>
        <p:nvCxnSpPr>
          <p:cNvPr id="21" name="Straight Connector 20">
            <a:extLst>
              <a:ext uri="{FF2B5EF4-FFF2-40B4-BE49-F238E27FC236}">
                <a16:creationId xmlns:a16="http://schemas.microsoft.com/office/drawing/2014/main" id="{1BA63DEF-CE83-0040-B710-BF443EA20225}"/>
              </a:ext>
            </a:extLst>
          </p:cNvPr>
          <p:cNvCxnSpPr>
            <a:cxnSpLocks/>
          </p:cNvCxnSpPr>
          <p:nvPr/>
        </p:nvCxnSpPr>
        <p:spPr bwMode="gray">
          <a:xfrm>
            <a:off x="4188030" y="5637666"/>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24414764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D5F0740-E609-26A3-D3A9-5C1F13A66098}"/>
              </a:ext>
            </a:extLst>
          </p:cNvPr>
          <p:cNvGraphicFramePr>
            <a:graphicFrameLocks noChangeAspect="1"/>
          </p:cNvGraphicFramePr>
          <p:nvPr>
            <p:custDataLst>
              <p:tags r:id="rId1"/>
            </p:custDataLst>
            <p:extLst>
              <p:ext uri="{D42A27DB-BD31-4B8C-83A1-F6EECF244321}">
                <p14:modId xmlns:p14="http://schemas.microsoft.com/office/powerpoint/2010/main" val="3144660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4" imgW="7772400" imgH="10058400" progId="TCLayout.ActiveDocument.1">
                  <p:embed/>
                </p:oleObj>
              </mc:Choice>
              <mc:Fallback>
                <p:oleObj name="think-cell Slide" r:id="rId44" imgW="7772400" imgH="10058400" progId="TCLayout.ActiveDocument.1">
                  <p:embed/>
                  <p:pic>
                    <p:nvPicPr>
                      <p:cNvPr id="12" name="think-cell data - do not delete" hidden="1">
                        <a:extLst>
                          <a:ext uri="{FF2B5EF4-FFF2-40B4-BE49-F238E27FC236}">
                            <a16:creationId xmlns:a16="http://schemas.microsoft.com/office/drawing/2014/main" id="{DD5F0740-E609-26A3-D3A9-5C1F13A66098}"/>
                          </a:ext>
                        </a:extLst>
                      </p:cNvPr>
                      <p:cNvPicPr/>
                      <p:nvPr/>
                    </p:nvPicPr>
                    <p:blipFill>
                      <a:blip r:embed="rId45"/>
                      <a:stretch>
                        <a:fillRect/>
                      </a:stretch>
                    </p:blipFill>
                    <p:spPr>
                      <a:xfrm>
                        <a:off x="1588" y="1588"/>
                        <a:ext cx="1227" cy="1588"/>
                      </a:xfrm>
                      <a:prstGeom prst="rect">
                        <a:avLst/>
                      </a:prstGeom>
                    </p:spPr>
                  </p:pic>
                </p:oleObj>
              </mc:Fallback>
            </mc:AlternateContent>
          </a:graphicData>
        </a:graphic>
      </p:graphicFrame>
      <p:graphicFrame>
        <p:nvGraphicFramePr>
          <p:cNvPr id="259" name="Chart 258">
            <a:extLst>
              <a:ext uri="{FF2B5EF4-FFF2-40B4-BE49-F238E27FC236}">
                <a16:creationId xmlns:a16="http://schemas.microsoft.com/office/drawing/2014/main" id="{97D21311-AC5E-D605-89DB-7F9C38E13DBD}"/>
              </a:ext>
            </a:extLst>
          </p:cNvPr>
          <p:cNvGraphicFramePr/>
          <p:nvPr>
            <p:custDataLst>
              <p:tags r:id="rId2"/>
            </p:custDataLst>
            <p:extLst>
              <p:ext uri="{D42A27DB-BD31-4B8C-83A1-F6EECF244321}">
                <p14:modId xmlns:p14="http://schemas.microsoft.com/office/powerpoint/2010/main" val="2368771937"/>
              </p:ext>
            </p:extLst>
          </p:nvPr>
        </p:nvGraphicFramePr>
        <p:xfrm>
          <a:off x="4060825" y="2205038"/>
          <a:ext cx="4727575" cy="3829050"/>
        </p:xfrm>
        <a:graphic>
          <a:graphicData uri="http://schemas.openxmlformats.org/drawingml/2006/chart">
            <c:chart xmlns:c="http://schemas.openxmlformats.org/drawingml/2006/chart" xmlns:r="http://schemas.openxmlformats.org/officeDocument/2006/relationships" r:id="rId46"/>
          </a:graphicData>
        </a:graphic>
      </p:graphicFrame>
      <p:sp useBgFill="1">
        <p:nvSpPr>
          <p:cNvPr id="250" name="Freeform: Shape 249">
            <a:extLst>
              <a:ext uri="{FF2B5EF4-FFF2-40B4-BE49-F238E27FC236}">
                <a16:creationId xmlns:a16="http://schemas.microsoft.com/office/drawing/2014/main" id="{F9E5246A-6F06-1315-7D54-8EAB20F13C53}"/>
              </a:ext>
            </a:extLst>
          </p:cNvPr>
          <p:cNvSpPr/>
          <p:nvPr>
            <p:custDataLst>
              <p:tags r:id="rId3"/>
            </p:custDataLst>
          </p:nvPr>
        </p:nvSpPr>
        <p:spPr bwMode="auto">
          <a:xfrm>
            <a:off x="7764463" y="3090863"/>
            <a:ext cx="741363" cy="257176"/>
          </a:xfrm>
          <a:custGeom>
            <a:avLst/>
            <a:gdLst/>
            <a:ahLst/>
            <a:cxnLst/>
            <a:rect l="0" t="0" r="0" b="0"/>
            <a:pathLst>
              <a:path w="741363" h="257176">
                <a:moveTo>
                  <a:pt x="0" y="200025"/>
                </a:moveTo>
                <a:lnTo>
                  <a:pt x="741362" y="0"/>
                </a:lnTo>
                <a:lnTo>
                  <a:pt x="741362" y="57150"/>
                </a:lnTo>
                <a:lnTo>
                  <a:pt x="0" y="257175"/>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useBgFill="1">
        <p:nvSpPr>
          <p:cNvPr id="253" name="Freeform: Shape 252">
            <a:extLst>
              <a:ext uri="{FF2B5EF4-FFF2-40B4-BE49-F238E27FC236}">
                <a16:creationId xmlns:a16="http://schemas.microsoft.com/office/drawing/2014/main" id="{D771DABC-AD81-473B-6CC3-3A887D62CB95}"/>
              </a:ext>
            </a:extLst>
          </p:cNvPr>
          <p:cNvSpPr/>
          <p:nvPr>
            <p:custDataLst>
              <p:tags r:id="rId4"/>
            </p:custDataLst>
          </p:nvPr>
        </p:nvSpPr>
        <p:spPr bwMode="auto">
          <a:xfrm>
            <a:off x="6623050" y="4333875"/>
            <a:ext cx="742951" cy="257176"/>
          </a:xfrm>
          <a:custGeom>
            <a:avLst/>
            <a:gdLst/>
            <a:ahLst/>
            <a:cxnLst/>
            <a:rect l="0" t="0" r="0" b="0"/>
            <a:pathLst>
              <a:path w="742951" h="257176">
                <a:moveTo>
                  <a:pt x="0" y="200025"/>
                </a:moveTo>
                <a:lnTo>
                  <a:pt x="742950" y="0"/>
                </a:lnTo>
                <a:lnTo>
                  <a:pt x="742950" y="57150"/>
                </a:lnTo>
                <a:lnTo>
                  <a:pt x="0" y="257175"/>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useBgFill="1">
        <p:nvSpPr>
          <p:cNvPr id="256" name="Freeform: Shape 255">
            <a:extLst>
              <a:ext uri="{FF2B5EF4-FFF2-40B4-BE49-F238E27FC236}">
                <a16:creationId xmlns:a16="http://schemas.microsoft.com/office/drawing/2014/main" id="{F4D416B8-4ED0-F11B-F95A-E3EE5D9C3E6D}"/>
              </a:ext>
            </a:extLst>
          </p:cNvPr>
          <p:cNvSpPr/>
          <p:nvPr>
            <p:custDataLst>
              <p:tags r:id="rId5"/>
            </p:custDataLst>
          </p:nvPr>
        </p:nvSpPr>
        <p:spPr bwMode="auto">
          <a:xfrm>
            <a:off x="7764463" y="4333875"/>
            <a:ext cx="741363" cy="257176"/>
          </a:xfrm>
          <a:custGeom>
            <a:avLst/>
            <a:gdLst/>
            <a:ahLst/>
            <a:cxnLst/>
            <a:rect l="0" t="0" r="0" b="0"/>
            <a:pathLst>
              <a:path w="741363" h="257176">
                <a:moveTo>
                  <a:pt x="0" y="200025"/>
                </a:moveTo>
                <a:lnTo>
                  <a:pt x="741362" y="0"/>
                </a:lnTo>
                <a:lnTo>
                  <a:pt x="741362" y="57150"/>
                </a:lnTo>
                <a:lnTo>
                  <a:pt x="0" y="257175"/>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48" name="Freeform: Shape 247">
            <a:extLst>
              <a:ext uri="{FF2B5EF4-FFF2-40B4-BE49-F238E27FC236}">
                <a16:creationId xmlns:a16="http://schemas.microsoft.com/office/drawing/2014/main" id="{69B8569A-6453-CF4E-3DAA-6BC5B12F2A68}"/>
              </a:ext>
            </a:extLst>
          </p:cNvPr>
          <p:cNvSpPr/>
          <p:nvPr>
            <p:custDataLst>
              <p:tags r:id="rId6"/>
            </p:custDataLst>
          </p:nvPr>
        </p:nvSpPr>
        <p:spPr bwMode="auto">
          <a:xfrm>
            <a:off x="7764463" y="3090863"/>
            <a:ext cx="741363" cy="200026"/>
          </a:xfrm>
          <a:custGeom>
            <a:avLst/>
            <a:gdLst/>
            <a:ahLst/>
            <a:cxnLst/>
            <a:rect l="0" t="0" r="0" b="0"/>
            <a:pathLst>
              <a:path w="741363" h="200026">
                <a:moveTo>
                  <a:pt x="0" y="200025"/>
                </a:moveTo>
                <a:lnTo>
                  <a:pt x="741362"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9" name="Freeform: Shape 248">
            <a:extLst>
              <a:ext uri="{FF2B5EF4-FFF2-40B4-BE49-F238E27FC236}">
                <a16:creationId xmlns:a16="http://schemas.microsoft.com/office/drawing/2014/main" id="{BEE4A9A9-4C01-7246-365B-EED2463BA287}"/>
              </a:ext>
            </a:extLst>
          </p:cNvPr>
          <p:cNvSpPr/>
          <p:nvPr>
            <p:custDataLst>
              <p:tags r:id="rId7"/>
            </p:custDataLst>
          </p:nvPr>
        </p:nvSpPr>
        <p:spPr bwMode="auto">
          <a:xfrm>
            <a:off x="7764463" y="3148013"/>
            <a:ext cx="741363" cy="200026"/>
          </a:xfrm>
          <a:custGeom>
            <a:avLst/>
            <a:gdLst/>
            <a:ahLst/>
            <a:cxnLst/>
            <a:rect l="0" t="0" r="0" b="0"/>
            <a:pathLst>
              <a:path w="741363" h="200026">
                <a:moveTo>
                  <a:pt x="0" y="200025"/>
                </a:moveTo>
                <a:lnTo>
                  <a:pt x="741362"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1" name="Freeform: Shape 250">
            <a:extLst>
              <a:ext uri="{FF2B5EF4-FFF2-40B4-BE49-F238E27FC236}">
                <a16:creationId xmlns:a16="http://schemas.microsoft.com/office/drawing/2014/main" id="{81D96FCB-CD3B-BB4C-2023-58097B1C97F5}"/>
              </a:ext>
            </a:extLst>
          </p:cNvPr>
          <p:cNvSpPr/>
          <p:nvPr>
            <p:custDataLst>
              <p:tags r:id="rId8"/>
            </p:custDataLst>
          </p:nvPr>
        </p:nvSpPr>
        <p:spPr bwMode="auto">
          <a:xfrm>
            <a:off x="6623050" y="4333875"/>
            <a:ext cx="742951" cy="200026"/>
          </a:xfrm>
          <a:custGeom>
            <a:avLst/>
            <a:gdLst/>
            <a:ahLst/>
            <a:cxnLst/>
            <a:rect l="0" t="0" r="0" b="0"/>
            <a:pathLst>
              <a:path w="742951" h="200026">
                <a:moveTo>
                  <a:pt x="0" y="200025"/>
                </a:moveTo>
                <a:lnTo>
                  <a:pt x="7429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2" name="Freeform: Shape 251">
            <a:extLst>
              <a:ext uri="{FF2B5EF4-FFF2-40B4-BE49-F238E27FC236}">
                <a16:creationId xmlns:a16="http://schemas.microsoft.com/office/drawing/2014/main" id="{C535B6F8-E5A3-BE59-798C-080FEE977EF8}"/>
              </a:ext>
            </a:extLst>
          </p:cNvPr>
          <p:cNvSpPr/>
          <p:nvPr>
            <p:custDataLst>
              <p:tags r:id="rId9"/>
            </p:custDataLst>
          </p:nvPr>
        </p:nvSpPr>
        <p:spPr bwMode="auto">
          <a:xfrm>
            <a:off x="6623050" y="4391025"/>
            <a:ext cx="742951" cy="200026"/>
          </a:xfrm>
          <a:custGeom>
            <a:avLst/>
            <a:gdLst/>
            <a:ahLst/>
            <a:cxnLst/>
            <a:rect l="0" t="0" r="0" b="0"/>
            <a:pathLst>
              <a:path w="742951" h="200026">
                <a:moveTo>
                  <a:pt x="0" y="200025"/>
                </a:moveTo>
                <a:lnTo>
                  <a:pt x="7429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4" name="Freeform: Shape 253">
            <a:extLst>
              <a:ext uri="{FF2B5EF4-FFF2-40B4-BE49-F238E27FC236}">
                <a16:creationId xmlns:a16="http://schemas.microsoft.com/office/drawing/2014/main" id="{44F84E76-626A-A88F-5C6E-71D3ED9C8924}"/>
              </a:ext>
            </a:extLst>
          </p:cNvPr>
          <p:cNvSpPr/>
          <p:nvPr>
            <p:custDataLst>
              <p:tags r:id="rId10"/>
            </p:custDataLst>
          </p:nvPr>
        </p:nvSpPr>
        <p:spPr bwMode="auto">
          <a:xfrm>
            <a:off x="7764463" y="4333875"/>
            <a:ext cx="741363" cy="200026"/>
          </a:xfrm>
          <a:custGeom>
            <a:avLst/>
            <a:gdLst/>
            <a:ahLst/>
            <a:cxnLst/>
            <a:rect l="0" t="0" r="0" b="0"/>
            <a:pathLst>
              <a:path w="741363" h="200026">
                <a:moveTo>
                  <a:pt x="0" y="200025"/>
                </a:moveTo>
                <a:lnTo>
                  <a:pt x="741362"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5" name="Freeform: Shape 254">
            <a:extLst>
              <a:ext uri="{FF2B5EF4-FFF2-40B4-BE49-F238E27FC236}">
                <a16:creationId xmlns:a16="http://schemas.microsoft.com/office/drawing/2014/main" id="{24F63AD8-F02E-26D3-05C5-D9DE1C753A54}"/>
              </a:ext>
            </a:extLst>
          </p:cNvPr>
          <p:cNvSpPr/>
          <p:nvPr>
            <p:custDataLst>
              <p:tags r:id="rId11"/>
            </p:custDataLst>
          </p:nvPr>
        </p:nvSpPr>
        <p:spPr bwMode="auto">
          <a:xfrm>
            <a:off x="7764463" y="4391025"/>
            <a:ext cx="741363" cy="200026"/>
          </a:xfrm>
          <a:custGeom>
            <a:avLst/>
            <a:gdLst/>
            <a:ahLst/>
            <a:cxnLst/>
            <a:rect l="0" t="0" r="0" b="0"/>
            <a:pathLst>
              <a:path w="741363" h="200026">
                <a:moveTo>
                  <a:pt x="0" y="200025"/>
                </a:moveTo>
                <a:lnTo>
                  <a:pt x="741362"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85" name="Straight Connector 184">
            <a:extLst>
              <a:ext uri="{FF2B5EF4-FFF2-40B4-BE49-F238E27FC236}">
                <a16:creationId xmlns:a16="http://schemas.microsoft.com/office/drawing/2014/main" id="{B81E35DE-8460-71BD-D5B2-537CAE39FC9B}"/>
              </a:ext>
            </a:extLst>
          </p:cNvPr>
          <p:cNvCxnSpPr>
            <a:cxnSpLocks/>
          </p:cNvCxnSpPr>
          <p:nvPr>
            <p:custDataLst>
              <p:tags r:id="rId12"/>
            </p:custDataLst>
          </p:nvPr>
        </p:nvCxnSpPr>
        <p:spPr bwMode="auto">
          <a:xfrm flipH="1">
            <a:off x="6951663" y="2511425"/>
            <a:ext cx="866775"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6" name="Straight Connector 185">
            <a:extLst>
              <a:ext uri="{FF2B5EF4-FFF2-40B4-BE49-F238E27FC236}">
                <a16:creationId xmlns:a16="http://schemas.microsoft.com/office/drawing/2014/main" id="{7956CE9B-57AF-9390-561C-7F893945B122}"/>
              </a:ext>
            </a:extLst>
          </p:cNvPr>
          <p:cNvCxnSpPr/>
          <p:nvPr>
            <p:custDataLst>
              <p:tags r:id="rId13"/>
            </p:custDataLst>
          </p:nvPr>
        </p:nvCxnSpPr>
        <p:spPr bwMode="auto">
          <a:xfrm flipV="1">
            <a:off x="6994525" y="2508251"/>
            <a:ext cx="0" cy="120332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E92A76AC-D2BD-F243-9EEB-86DFD18D0FF5}"/>
              </a:ext>
            </a:extLst>
          </p:cNvPr>
          <p:cNvCxnSpPr>
            <a:cxnSpLocks/>
          </p:cNvCxnSpPr>
          <p:nvPr>
            <p:custDataLst>
              <p:tags r:id="rId14"/>
            </p:custDataLst>
          </p:nvPr>
        </p:nvCxnSpPr>
        <p:spPr bwMode="auto">
          <a:xfrm flipH="1">
            <a:off x="4670425" y="2511425"/>
            <a:ext cx="31480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8CD3974D-E4B9-FC22-92C5-6A64439EFE16}"/>
              </a:ext>
            </a:extLst>
          </p:cNvPr>
          <p:cNvCxnSpPr/>
          <p:nvPr>
            <p:custDataLst>
              <p:tags r:id="rId15"/>
            </p:custDataLst>
          </p:nvPr>
        </p:nvCxnSpPr>
        <p:spPr bwMode="auto">
          <a:xfrm flipV="1">
            <a:off x="4713288" y="2508250"/>
            <a:ext cx="0" cy="25146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5" name="Text Placeholder 2">
            <a:extLst>
              <a:ext uri="{FF2B5EF4-FFF2-40B4-BE49-F238E27FC236}">
                <a16:creationId xmlns:a16="http://schemas.microsoft.com/office/drawing/2014/main" id="{C92669DE-88EE-80C7-B11D-0F8C37D34C51}"/>
              </a:ext>
            </a:extLst>
          </p:cNvPr>
          <p:cNvSpPr txBox="1">
            <a:spLocks/>
          </p:cNvSpPr>
          <p:nvPr>
            <p:custDataLst>
              <p:tags r:id="rId16"/>
            </p:custDataLst>
          </p:nvPr>
        </p:nvSpPr>
        <p:spPr bwMode="auto">
          <a:xfrm>
            <a:off x="4500563" y="5786438"/>
            <a:ext cx="4270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2D78F21-A078-49F9-9740-1CBD72B54052}" type="datetime'''C''''''''o''a''''''''''''''''''l '''''">
              <a:rPr lang="en-US" altLang="en-US" sz="1400" smtClean="0"/>
              <a:pPr marL="0" indent="0" algn="ctr">
                <a:spcBef>
                  <a:spcPct val="0"/>
                </a:spcBef>
                <a:spcAft>
                  <a:spcPct val="0"/>
                </a:spcAft>
                <a:buNone/>
              </a:pPr>
              <a:t>Coal </a:t>
            </a:fld>
            <a:endParaRPr lang="en-US" sz="1400"/>
          </a:p>
        </p:txBody>
      </p:sp>
      <p:sp>
        <p:nvSpPr>
          <p:cNvPr id="38" name="Text Placeholder 2">
            <a:extLst>
              <a:ext uri="{FF2B5EF4-FFF2-40B4-BE49-F238E27FC236}">
                <a16:creationId xmlns:a16="http://schemas.microsoft.com/office/drawing/2014/main" id="{DF34CFBC-A34A-FC6F-28C8-BF2FA1F135D8}"/>
              </a:ext>
            </a:extLst>
          </p:cNvPr>
          <p:cNvSpPr txBox="1">
            <a:spLocks/>
          </p:cNvSpPr>
          <p:nvPr>
            <p:custDataLst>
              <p:tags r:id="rId17"/>
            </p:custDataLst>
          </p:nvPr>
        </p:nvSpPr>
        <p:spPr bwMode="auto">
          <a:xfrm>
            <a:off x="5422900" y="5786438"/>
            <a:ext cx="8604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t>Mineral oil</a:t>
            </a:r>
            <a:endParaRPr lang="en-US" sz="1400"/>
          </a:p>
        </p:txBody>
      </p:sp>
      <p:sp>
        <p:nvSpPr>
          <p:cNvPr id="16" name="Text Placeholder 2">
            <a:extLst>
              <a:ext uri="{FF2B5EF4-FFF2-40B4-BE49-F238E27FC236}">
                <a16:creationId xmlns:a16="http://schemas.microsoft.com/office/drawing/2014/main" id="{33FFEA40-E1AC-4800-B5CE-E835151E87AA}"/>
              </a:ext>
            </a:extLst>
          </p:cNvPr>
          <p:cNvSpPr txBox="1">
            <a:spLocks/>
          </p:cNvSpPr>
          <p:nvPr>
            <p:custDataLst>
              <p:tags r:id="rId18"/>
            </p:custDataLst>
          </p:nvPr>
        </p:nvSpPr>
        <p:spPr bwMode="auto">
          <a:xfrm>
            <a:off x="6688139" y="5786438"/>
            <a:ext cx="612775"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effectLst/>
              </a:rPr>
              <a:t>Fission</a:t>
            </a:r>
            <a:br>
              <a:rPr lang="en-US" altLang="en-US" sz="1400">
                <a:effectLst/>
              </a:rPr>
            </a:br>
            <a:r>
              <a:rPr lang="en-US" altLang="en-US" sz="1400">
                <a:effectLst/>
              </a:rPr>
              <a:t>(U-235)</a:t>
            </a:r>
            <a:endParaRPr lang="en-US" sz="1400"/>
          </a:p>
        </p:txBody>
      </p:sp>
      <p:sp>
        <p:nvSpPr>
          <p:cNvPr id="19" name="Text Placeholder 2">
            <a:extLst>
              <a:ext uri="{FF2B5EF4-FFF2-40B4-BE49-F238E27FC236}">
                <a16:creationId xmlns:a16="http://schemas.microsoft.com/office/drawing/2014/main" id="{26A4413F-80C6-71D8-9261-D433A8A3FF0B}"/>
              </a:ext>
            </a:extLst>
          </p:cNvPr>
          <p:cNvSpPr txBox="1">
            <a:spLocks/>
          </p:cNvSpPr>
          <p:nvPr>
            <p:custDataLst>
              <p:tags r:id="rId19"/>
            </p:custDataLst>
          </p:nvPr>
        </p:nvSpPr>
        <p:spPr bwMode="auto">
          <a:xfrm>
            <a:off x="7756525" y="5786438"/>
            <a:ext cx="757238"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t>Fusion</a:t>
            </a:r>
            <a:br>
              <a:rPr lang="en-US" altLang="en-US" sz="1400"/>
            </a:br>
            <a:r>
              <a:rPr lang="en-US" altLang="en-US" sz="1400"/>
              <a:t>(D-T fuel)</a:t>
            </a:r>
            <a:endParaRPr lang="en-US" sz="1400"/>
          </a:p>
        </p:txBody>
      </p:sp>
      <p:sp>
        <p:nvSpPr>
          <p:cNvPr id="28" name="Text Placeholder 2">
            <a:extLst>
              <a:ext uri="{FF2B5EF4-FFF2-40B4-BE49-F238E27FC236}">
                <a16:creationId xmlns:a16="http://schemas.microsoft.com/office/drawing/2014/main" id="{866C06DC-77BF-1B4B-EA08-63DF93D72CAC}"/>
              </a:ext>
            </a:extLst>
          </p:cNvPr>
          <p:cNvSpPr txBox="1">
            <a:spLocks/>
          </p:cNvSpPr>
          <p:nvPr>
            <p:custDataLst>
              <p:tags r:id="rId20"/>
            </p:custDataLst>
          </p:nvPr>
        </p:nvSpPr>
        <p:spPr bwMode="gray">
          <a:xfrm>
            <a:off x="6526213" y="3711575"/>
            <a:ext cx="9366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868D7C6-512D-4CF6-B23D-3BF05DF48484}" type="datetime'''''24.''''''''''00''''''''0''''.''0''''''0''''''''''''''0'''">
              <a:rPr lang="en-US" altLang="en-US" sz="1400" smtClean="0"/>
              <a:pPr marL="0" indent="0" algn="ctr">
                <a:spcBef>
                  <a:spcPct val="0"/>
                </a:spcBef>
                <a:spcAft>
                  <a:spcPct val="0"/>
                </a:spcAft>
                <a:buNone/>
              </a:pPr>
              <a:t>24.000.000</a:t>
            </a:fld>
            <a:endParaRPr lang="en-US" sz="1400"/>
          </a:p>
        </p:txBody>
      </p:sp>
      <p:sp>
        <p:nvSpPr>
          <p:cNvPr id="139" name="Text Placeholder 2">
            <a:extLst>
              <a:ext uri="{FF2B5EF4-FFF2-40B4-BE49-F238E27FC236}">
                <a16:creationId xmlns:a16="http://schemas.microsoft.com/office/drawing/2014/main" id="{C8E134B1-1793-2A97-DB0A-DB6B9B84B6B0}"/>
              </a:ext>
            </a:extLst>
          </p:cNvPr>
          <p:cNvSpPr txBox="1">
            <a:spLocks/>
          </p:cNvSpPr>
          <p:nvPr>
            <p:custDataLst>
              <p:tags r:id="rId21"/>
            </p:custDataLst>
          </p:nvPr>
        </p:nvSpPr>
        <p:spPr bwMode="gray">
          <a:xfrm>
            <a:off x="7666038" y="2293938"/>
            <a:ext cx="9366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3BA02F6-DE97-460A-879A-58A59E9152F5}" type="datetime'''''9''''''''''''''''''6.0''''''0''''0.''0''''0''''''''''''0'">
              <a:rPr lang="en-US" altLang="en-US" sz="1400" smtClean="0"/>
              <a:pPr marL="0" indent="0" algn="ctr">
                <a:spcBef>
                  <a:spcPct val="0"/>
                </a:spcBef>
                <a:spcAft>
                  <a:spcPct val="0"/>
                </a:spcAft>
                <a:buNone/>
              </a:pPr>
              <a:t>96.000.000</a:t>
            </a:fld>
            <a:endParaRPr lang="en-US" sz="1400"/>
          </a:p>
        </p:txBody>
      </p:sp>
      <p:sp>
        <p:nvSpPr>
          <p:cNvPr id="183"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6746875" y="3003550"/>
            <a:ext cx="495300"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400" b="1">
                <a:effectLst/>
              </a:rPr>
              <a:t>~4 x</a:t>
            </a:r>
            <a:endParaRPr lang="en-US" sz="1400" b="1"/>
          </a:p>
        </p:txBody>
      </p:sp>
      <p:sp>
        <p:nvSpPr>
          <p:cNvPr id="191"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4365625" y="3659188"/>
            <a:ext cx="696913"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400" b="1"/>
              <a:t>12M</a:t>
            </a:r>
            <a:r>
              <a:rPr lang="en-US" altLang="en-US" sz="1400" b="1">
                <a:effectLst/>
              </a:rPr>
              <a:t> x</a:t>
            </a:r>
            <a:endParaRPr lang="en-US" sz="1400" b="1"/>
          </a:p>
        </p:txBody>
      </p:sp>
      <p:sp>
        <p:nvSpPr>
          <p:cNvPr id="49" name="TextBox 48">
            <a:extLst>
              <a:ext uri="{FF2B5EF4-FFF2-40B4-BE49-F238E27FC236}">
                <a16:creationId xmlns:a16="http://schemas.microsoft.com/office/drawing/2014/main" id="{908981E7-D81E-B246-1703-61225E390F75}"/>
              </a:ext>
            </a:extLst>
          </p:cNvPr>
          <p:cNvSpPr txBox="1"/>
          <p:nvPr>
            <p:custDataLst>
              <p:tags r:id="rId24"/>
            </p:custDataLst>
          </p:nvPr>
        </p:nvSpPr>
        <p:spPr bwMode="gray">
          <a:xfrm>
            <a:off x="4178546" y="1711641"/>
            <a:ext cx="4492131" cy="215444"/>
          </a:xfrm>
          <a:prstGeom prst="rect">
            <a:avLst/>
          </a:prstGeom>
          <a:noFill/>
        </p:spPr>
        <p:txBody>
          <a:bodyPr wrap="square" lIns="0" tIns="0" rIns="0" bIns="0" rtlCol="0">
            <a:spAutoFit/>
          </a:bodyPr>
          <a:lstStyle/>
          <a:p>
            <a:pPr marL="0" indent="0">
              <a:spcBef>
                <a:spcPts val="600"/>
              </a:spcBef>
              <a:spcAft>
                <a:spcPts val="600"/>
              </a:spcAft>
              <a:buNone/>
            </a:pPr>
            <a:r>
              <a:rPr lang="en-US" sz="1400" b="1"/>
              <a:t>Energy density for different energy sources</a:t>
            </a:r>
            <a:r>
              <a:rPr lang="en-US" sz="1400"/>
              <a:t>, kWh</a:t>
            </a:r>
            <a:endParaRPr lang="en-US" sz="1400" b="1"/>
          </a:p>
        </p:txBody>
      </p:sp>
      <p:sp>
        <p:nvSpPr>
          <p:cNvPr id="54" name="btfpNotesBox368131">
            <a:hlinkClick r:id="rId47"/>
            <a:extLst>
              <a:ext uri="{FF2B5EF4-FFF2-40B4-BE49-F238E27FC236}">
                <a16:creationId xmlns:a16="http://schemas.microsoft.com/office/drawing/2014/main" id="{BC5C2CBC-7D75-3C26-CD5D-FF6D5082F752}"/>
              </a:ext>
            </a:extLst>
          </p:cNvPr>
          <p:cNvSpPr txBox="1"/>
          <p:nvPr>
            <p:custDataLst>
              <p:tags r:id="rId25"/>
            </p:custDataLst>
          </p:nvPr>
        </p:nvSpPr>
        <p:spPr bwMode="gray">
          <a:xfrm>
            <a:off x="329184" y="6309360"/>
            <a:ext cx="912316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b="0" i="0" u="none" strike="noStrike" dirty="0">
                <a:solidFill>
                  <a:srgbClr val="000000"/>
                </a:solidFill>
                <a:effectLst/>
                <a:latin typeface="Arial" panose="020B0604020202020204" pitchFamily="34" charset="0"/>
              </a:rPr>
              <a:t>European Nuclear Society, </a:t>
            </a:r>
            <a:r>
              <a:rPr lang="en-US" sz="800" b="0" i="0" u="sng" strike="noStrike" dirty="0">
                <a:solidFill>
                  <a:srgbClr val="1155CC"/>
                </a:solidFill>
                <a:effectLst/>
                <a:latin typeface="Arial" panose="020B0604020202020204" pitchFamily="34" charset="0"/>
                <a:hlinkClick r:id="rId48"/>
              </a:rPr>
              <a:t>Fuel comparison </a:t>
            </a:r>
            <a:r>
              <a:rPr lang="en-US" sz="800" b="0" i="0" u="none" strike="noStrike" dirty="0">
                <a:solidFill>
                  <a:srgbClr val="000000"/>
                </a:solidFill>
                <a:effectLst/>
                <a:latin typeface="Arial" panose="020B0604020202020204" pitchFamily="34" charset="0"/>
              </a:rPr>
              <a:t>(2025);</a:t>
            </a:r>
            <a:r>
              <a:rPr lang="en-US" sz="800" dirty="0"/>
              <a:t> U</a:t>
            </a:r>
            <a:r>
              <a:rPr lang="en-US" sz="800" b="0" i="0" u="none" strike="noStrike" dirty="0">
                <a:solidFill>
                  <a:srgbClr val="000000"/>
                </a:solidFill>
                <a:effectLst/>
                <a:latin typeface="Arial" panose="020B0604020202020204" pitchFamily="34" charset="0"/>
              </a:rPr>
              <a:t>niversity of Leipzig</a:t>
            </a:r>
            <a:r>
              <a:rPr lang="en-US" sz="800" dirty="0">
                <a:solidFill>
                  <a:srgbClr val="000000"/>
                </a:solidFill>
                <a:latin typeface="Arial" panose="020B0604020202020204" pitchFamily="34" charset="0"/>
              </a:rPr>
              <a:t>,</a:t>
            </a:r>
            <a:r>
              <a:rPr lang="en-US" sz="800" b="0" i="0" u="none" strike="noStrike" dirty="0">
                <a:solidFill>
                  <a:srgbClr val="000000"/>
                </a:solidFill>
                <a:effectLst/>
                <a:latin typeface="Arial" panose="020B0604020202020204" pitchFamily="34" charset="0"/>
              </a:rPr>
              <a:t> </a:t>
            </a:r>
            <a:r>
              <a:rPr lang="en-US" sz="800" b="0" i="0" u="sng" strike="noStrike" dirty="0">
                <a:solidFill>
                  <a:srgbClr val="1155CC"/>
                </a:solidFill>
                <a:effectLst/>
                <a:latin typeface="Arial" panose="020B0604020202020204" pitchFamily="34" charset="0"/>
                <a:hlinkClick r:id="rId49"/>
              </a:rPr>
              <a:t>Energy </a:t>
            </a:r>
            <a:r>
              <a:rPr lang="en-US" sz="800" b="0" i="0" strike="noStrike" dirty="0">
                <a:solidFill>
                  <a:srgbClr val="1155CC"/>
                </a:solidFill>
                <a:effectLst/>
                <a:latin typeface="Arial" panose="020B0604020202020204" pitchFamily="34" charset="0"/>
                <a:hlinkClick r:id="rId49"/>
              </a:rPr>
              <a:t>fundamentals</a:t>
            </a:r>
            <a:r>
              <a:rPr lang="en-US" sz="800" dirty="0">
                <a:solidFill>
                  <a:srgbClr val="1155CC"/>
                </a:solidFill>
                <a:latin typeface="Arial" panose="020B0604020202020204" pitchFamily="34" charset="0"/>
              </a:rPr>
              <a:t> </a:t>
            </a:r>
            <a:r>
              <a:rPr lang="en-US" sz="800" dirty="0">
                <a:solidFill>
                  <a:srgbClr val="000000"/>
                </a:solidFill>
                <a:latin typeface="Arial" panose="020B0604020202020204" pitchFamily="34" charset="0"/>
              </a:rPr>
              <a:t>(2025); G</a:t>
            </a:r>
            <a:r>
              <a:rPr lang="en-US" sz="800" b="0" i="0" strike="noStrike" dirty="0">
                <a:solidFill>
                  <a:srgbClr val="000000"/>
                </a:solidFill>
                <a:effectLst/>
                <a:latin typeface="Arial" panose="020B0604020202020204" pitchFamily="34" charset="0"/>
              </a:rPr>
              <a:t>reenly</a:t>
            </a:r>
            <a:r>
              <a:rPr lang="en-US" sz="800" dirty="0">
                <a:solidFill>
                  <a:srgbClr val="000000"/>
                </a:solidFill>
                <a:latin typeface="Arial" panose="020B0604020202020204" pitchFamily="34" charset="0"/>
              </a:rPr>
              <a:t>,</a:t>
            </a:r>
            <a:r>
              <a:rPr lang="en-US" sz="800" b="0" i="0" u="none" strike="noStrike" dirty="0">
                <a:solidFill>
                  <a:srgbClr val="000000"/>
                </a:solidFill>
                <a:effectLst/>
                <a:latin typeface="Arial" panose="020B0604020202020204" pitchFamily="34" charset="0"/>
              </a:rPr>
              <a:t> </a:t>
            </a:r>
            <a:r>
              <a:rPr lang="en-US" sz="800" b="0" i="0" u="sng" strike="noStrike" dirty="0">
                <a:solidFill>
                  <a:srgbClr val="1155CC"/>
                </a:solidFill>
                <a:effectLst/>
                <a:latin typeface="Arial" panose="020B0604020202020204" pitchFamily="34" charset="0"/>
                <a:hlinkClick r:id="rId50"/>
              </a:rPr>
              <a:t>Will nuclear fusion help solve our future energy needs?</a:t>
            </a:r>
            <a:r>
              <a:rPr lang="en-US" sz="800" b="0" i="0" u="none" strike="noStrike" dirty="0">
                <a:solidFill>
                  <a:srgbClr val="000000"/>
                </a:solidFill>
                <a:effectLst/>
                <a:latin typeface="Arial" panose="020B0604020202020204" pitchFamily="34" charset="0"/>
              </a:rPr>
              <a:t> (2024);</a:t>
            </a:r>
            <a:r>
              <a:rPr lang="en-US" sz="800" dirty="0"/>
              <a:t> </a:t>
            </a:r>
            <a:br>
              <a:rPr lang="en-US" sz="800" dirty="0"/>
            </a:br>
            <a:r>
              <a:rPr lang="en-US" sz="800" b="0" i="0" u="none" strike="noStrike" dirty="0" err="1">
                <a:solidFill>
                  <a:srgbClr val="000000"/>
                </a:solidFill>
                <a:effectLst/>
                <a:latin typeface="Arial" panose="020B0604020202020204" pitchFamily="34" charset="0"/>
              </a:rPr>
              <a:t>Baojie</a:t>
            </a:r>
            <a:r>
              <a:rPr lang="en-US" sz="800" b="0" i="0" u="none" strike="noStrike" dirty="0">
                <a:solidFill>
                  <a:srgbClr val="000000"/>
                </a:solidFill>
                <a:effectLst/>
                <a:latin typeface="Arial" panose="020B0604020202020204" pitchFamily="34" charset="0"/>
              </a:rPr>
              <a:t> </a:t>
            </a:r>
            <a:r>
              <a:rPr lang="en-US" sz="800" b="0" i="0" u="none" strike="noStrike" dirty="0" err="1">
                <a:solidFill>
                  <a:srgbClr val="000000"/>
                </a:solidFill>
                <a:effectLst/>
                <a:latin typeface="Arial" panose="020B0604020202020204" pitchFamily="34" charset="0"/>
              </a:rPr>
              <a:t>Nie</a:t>
            </a:r>
            <a:r>
              <a:rPr lang="en-US" sz="800" b="0" i="0" u="none" strike="noStrike" dirty="0">
                <a:solidFill>
                  <a:srgbClr val="000000"/>
                </a:solidFill>
                <a:effectLst/>
                <a:latin typeface="Arial" panose="020B0604020202020204" pitchFamily="34" charset="0"/>
              </a:rPr>
              <a:t>, </a:t>
            </a:r>
            <a:r>
              <a:rPr lang="en-US" sz="800" b="0" i="0" u="sng" strike="noStrike" dirty="0">
                <a:solidFill>
                  <a:srgbClr val="1155CC"/>
                </a:solidFill>
                <a:effectLst/>
                <a:latin typeface="Arial" panose="020B0604020202020204" pitchFamily="34" charset="0"/>
                <a:hlinkClick r:id="rId51"/>
              </a:rPr>
              <a:t>Nuclear fusion energy research</a:t>
            </a:r>
            <a:r>
              <a:rPr lang="en-US" sz="800" b="0" i="0" u="none" strike="noStrike" dirty="0">
                <a:solidFill>
                  <a:srgbClr val="000000"/>
                </a:solidFill>
                <a:effectLst/>
                <a:latin typeface="Arial" panose="020B0604020202020204" pitchFamily="34" charset="0"/>
              </a:rPr>
              <a:t> (2024); ITER, </a:t>
            </a:r>
            <a:r>
              <a:rPr lang="en-US" sz="800" b="0" i="0" u="sng" strike="noStrike" dirty="0">
                <a:solidFill>
                  <a:srgbClr val="1155CC"/>
                </a:solidFill>
                <a:effectLst/>
                <a:latin typeface="Arial" panose="020B0604020202020204" pitchFamily="34" charset="0"/>
                <a:hlinkClick r:id="rId52"/>
              </a:rPr>
              <a:t>Advantages of fusion energy</a:t>
            </a:r>
            <a:r>
              <a:rPr lang="en-US" sz="800" b="0" i="0" u="none" strike="noStrike" dirty="0">
                <a:solidFill>
                  <a:srgbClr val="000000"/>
                </a:solidFill>
                <a:effectLst/>
                <a:latin typeface="Arial" panose="020B0604020202020204" pitchFamily="34" charset="0"/>
              </a:rPr>
              <a:t> (2025); ITER </a:t>
            </a:r>
            <a:r>
              <a:rPr lang="en-US" sz="800" b="0" i="0" u="none" strike="noStrike" dirty="0">
                <a:solidFill>
                  <a:srgbClr val="000000"/>
                </a:solidFill>
                <a:effectLst/>
                <a:latin typeface="Arial" panose="020B0604020202020204" pitchFamily="34" charset="0"/>
                <a:hlinkClick r:id="rId53"/>
              </a:rPr>
              <a:t>Tritium Breeding</a:t>
            </a:r>
            <a:r>
              <a:rPr lang="en-US" sz="800" dirty="0">
                <a:solidFill>
                  <a:srgbClr val="000000"/>
                </a:solidFill>
                <a:latin typeface="Arial" panose="020B0604020202020204" pitchFamily="34" charset="0"/>
              </a:rPr>
              <a:t>; DOE, </a:t>
            </a:r>
            <a:r>
              <a:rPr lang="de-DE" sz="800" dirty="0">
                <a:solidFill>
                  <a:srgbClr val="000000"/>
                </a:solidFill>
                <a:latin typeface="Arial" panose="020B0604020202020204" pitchFamily="34" charset="0"/>
                <a:hlinkClick r:id="rId54"/>
              </a:rPr>
              <a:t>DOE Explains...Deuterium-Tritium Fusion Fuel</a:t>
            </a:r>
            <a:r>
              <a:rPr lang="en-US" sz="800" b="0" i="0" u="none" strike="noStrike" dirty="0">
                <a:solidFill>
                  <a:srgbClr val="000000"/>
                </a:solidFill>
                <a:effectLst/>
                <a:latin typeface="Arial" panose="020B0604020202020204" pitchFamily="34" charset="0"/>
              </a:rPr>
              <a:t>.</a:t>
            </a:r>
            <a:br>
              <a:rPr lang="en-US" sz="800" dirty="0">
                <a:solidFill>
                  <a:srgbClr val="000000"/>
                </a:solidFill>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5"/>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6"/>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101" name="TextBox 100">
            <a:extLst>
              <a:ext uri="{FF2B5EF4-FFF2-40B4-BE49-F238E27FC236}">
                <a16:creationId xmlns:a16="http://schemas.microsoft.com/office/drawing/2014/main" id="{F49B3AAC-AD5C-6EC5-6206-0EF6CA811E85}"/>
              </a:ext>
            </a:extLst>
          </p:cNvPr>
          <p:cNvSpPr txBox="1"/>
          <p:nvPr/>
        </p:nvSpPr>
        <p:spPr>
          <a:xfrm>
            <a:off x="8788400" y="1529586"/>
            <a:ext cx="3218413" cy="4716676"/>
          </a:xfrm>
          <a:prstGeom prst="rect">
            <a:avLst/>
          </a:prstGeom>
          <a:solidFill>
            <a:srgbClr val="E3E9EE"/>
          </a:solidFill>
        </p:spPr>
        <p:txBody>
          <a:bodyPr wrap="square" lIns="137160" tIns="137160" rIns="274320" bIns="137160" rtlCol="0">
            <a:spAutoFit/>
          </a:bodyPr>
          <a:lstStyle/>
          <a:p>
            <a:pPr>
              <a:spcBef>
                <a:spcPts val="600"/>
              </a:spcBef>
            </a:pPr>
            <a:r>
              <a:rPr lang="en-US" sz="1200" b="1"/>
              <a:t>Observations</a:t>
            </a:r>
            <a:endParaRPr lang="en-US" sz="1200"/>
          </a:p>
          <a:p>
            <a:pPr marL="285750" indent="-285750">
              <a:spcBef>
                <a:spcPts val="600"/>
              </a:spcBef>
              <a:buFont typeface="Arial" panose="020B0604020202020204" pitchFamily="34" charset="0"/>
              <a:buChar char="•"/>
            </a:pPr>
            <a:r>
              <a:rPr lang="en-US" sz="1050"/>
              <a:t>The two nuclear energy types, </a:t>
            </a:r>
            <a:r>
              <a:rPr lang="en-US" sz="1050" b="1"/>
              <a:t>fission and fusion, split and fuse nuclei</a:t>
            </a:r>
            <a:r>
              <a:rPr lang="en-US" sz="1050"/>
              <a:t>, respectively, to release energy.</a:t>
            </a:r>
          </a:p>
          <a:p>
            <a:pPr marL="285750" indent="-285750">
              <a:spcBef>
                <a:spcPts val="600"/>
              </a:spcBef>
              <a:buFont typeface="Arial" panose="020B0604020202020204" pitchFamily="34" charset="0"/>
              <a:buChar char="•"/>
            </a:pPr>
            <a:r>
              <a:rPr lang="en-US" sz="1050"/>
              <a:t>Out of all energy sources, nuclear </a:t>
            </a:r>
            <a:r>
              <a:rPr lang="en-US" sz="1050" b="1"/>
              <a:t>fusion produces the most energy per kilogram of fuel, </a:t>
            </a:r>
            <a:r>
              <a:rPr lang="en-US" sz="1050"/>
              <a:t>even more than uranium-235.</a:t>
            </a:r>
          </a:p>
          <a:p>
            <a:pPr marL="285750" indent="-285750">
              <a:spcBef>
                <a:spcPts val="600"/>
              </a:spcBef>
              <a:buFont typeface="Arial" panose="020B0604020202020204" pitchFamily="34" charset="0"/>
              <a:buChar char="•"/>
            </a:pPr>
            <a:r>
              <a:rPr lang="en-US" sz="1050"/>
              <a:t>Unlike fossil fuels but like fission, fusion generates </a:t>
            </a:r>
            <a:r>
              <a:rPr lang="en-US" sz="1050" b="1"/>
              <a:t>zero CO₂ emissions during operation.</a:t>
            </a:r>
          </a:p>
          <a:p>
            <a:pPr marL="285750" indent="-285750">
              <a:spcBef>
                <a:spcPts val="600"/>
              </a:spcBef>
              <a:buFont typeface="Arial" panose="020B0604020202020204" pitchFamily="34" charset="0"/>
              <a:buChar char="•"/>
            </a:pPr>
            <a:r>
              <a:rPr lang="en-US" sz="1050"/>
              <a:t>Fusion reactors </a:t>
            </a:r>
            <a:r>
              <a:rPr lang="en-US" sz="1050" b="1"/>
              <a:t>cannot melt down or explode</a:t>
            </a:r>
            <a:r>
              <a:rPr lang="en-US" sz="1050"/>
              <a:t> and </a:t>
            </a:r>
            <a:r>
              <a:rPr lang="en-US" sz="1050" b="1"/>
              <a:t>produce no long-lived radioactive waste,</a:t>
            </a:r>
            <a:r>
              <a:rPr lang="en-US" sz="1050"/>
              <a:t> making them </a:t>
            </a:r>
            <a:r>
              <a:rPr lang="en-US" sz="1050" b="1"/>
              <a:t>safer</a:t>
            </a:r>
            <a:r>
              <a:rPr lang="en-US" sz="1050"/>
              <a:t> than fission and fossil fuel plants.</a:t>
            </a:r>
          </a:p>
          <a:p>
            <a:pPr marL="285750" indent="-285750">
              <a:spcBef>
                <a:spcPts val="600"/>
              </a:spcBef>
              <a:buFont typeface="Arial" panose="020B0604020202020204" pitchFamily="34" charset="0"/>
              <a:buChar char="•"/>
            </a:pPr>
            <a:r>
              <a:rPr lang="en-US" sz="1050"/>
              <a:t>In theory, </a:t>
            </a:r>
            <a:r>
              <a:rPr lang="en-US" sz="1050" b="1"/>
              <a:t>fusion fuel could be generated anywhere in the world from seawater. </a:t>
            </a:r>
          </a:p>
          <a:p>
            <a:pPr marL="285750" indent="-285750">
              <a:spcBef>
                <a:spcPts val="600"/>
              </a:spcBef>
              <a:buFont typeface="Arial" panose="020B0604020202020204" pitchFamily="34" charset="0"/>
              <a:buChar char="•"/>
            </a:pPr>
            <a:r>
              <a:rPr lang="en-US" sz="1050" b="1"/>
              <a:t>Deuterium isotopes are naturally present in seawater.</a:t>
            </a:r>
          </a:p>
          <a:p>
            <a:pPr marL="285750" indent="-285750">
              <a:spcBef>
                <a:spcPts val="600"/>
              </a:spcBef>
              <a:buFont typeface="Arial" panose="020B0604020202020204" pitchFamily="34" charset="0"/>
              <a:buChar char="•"/>
            </a:pPr>
            <a:r>
              <a:rPr lang="en-US" sz="1050" b="1"/>
              <a:t>Tritium</a:t>
            </a:r>
            <a:r>
              <a:rPr lang="en-US" sz="1050"/>
              <a:t> (hydrogen isotopes) </a:t>
            </a:r>
            <a:r>
              <a:rPr lang="en-US" sz="1050" b="1"/>
              <a:t>is a byproduct of some fission reactors </a:t>
            </a:r>
            <a:r>
              <a:rPr lang="en-US" sz="1050"/>
              <a:t>and </a:t>
            </a:r>
            <a:r>
              <a:rPr lang="en-US" sz="1050" b="1"/>
              <a:t>could be a byproduct of fusion,</a:t>
            </a:r>
            <a:r>
              <a:rPr lang="en-US" sz="1050"/>
              <a:t> although experiments are still underway for this.</a:t>
            </a:r>
          </a:p>
        </p:txBody>
      </p:sp>
      <p:sp>
        <p:nvSpPr>
          <p:cNvPr id="108" name="Title 1">
            <a:extLst>
              <a:ext uri="{FF2B5EF4-FFF2-40B4-BE49-F238E27FC236}">
                <a16:creationId xmlns:a16="http://schemas.microsoft.com/office/drawing/2014/main" id="{0A5B0528-6E38-B7B9-DA4F-24A2E696A357}"/>
              </a:ext>
            </a:extLst>
          </p:cNvPr>
          <p:cNvSpPr>
            <a:spLocks noGrp="1"/>
          </p:cNvSpPr>
          <p:nvPr>
            <p:ph type="title"/>
          </p:nvPr>
        </p:nvSpPr>
        <p:spPr>
          <a:xfrm>
            <a:off x="329184" y="521208"/>
            <a:ext cx="11531600" cy="523220"/>
          </a:xfrm>
        </p:spPr>
        <p:txBody>
          <a:bodyPr vert="horz">
            <a:noAutofit/>
          </a:bodyPr>
          <a:lstStyle/>
          <a:p>
            <a:r>
              <a:rPr lang="en-US"/>
              <a:t>In fusion, two light nuclei fuse release energy without highly radioactive byproducts or emissions</a:t>
            </a:r>
          </a:p>
        </p:txBody>
      </p:sp>
      <p:cxnSp>
        <p:nvCxnSpPr>
          <p:cNvPr id="110" name="btfpColumnHeaderBoxLine223027">
            <a:extLst>
              <a:ext uri="{FF2B5EF4-FFF2-40B4-BE49-F238E27FC236}">
                <a16:creationId xmlns:a16="http://schemas.microsoft.com/office/drawing/2014/main" id="{C6587251-5655-FBAB-F143-AAB9C9D8251F}"/>
              </a:ext>
            </a:extLst>
          </p:cNvPr>
          <p:cNvCxnSpPr>
            <a:cxnSpLocks/>
          </p:cNvCxnSpPr>
          <p:nvPr/>
        </p:nvCxnSpPr>
        <p:spPr bwMode="gray">
          <a:xfrm>
            <a:off x="412854" y="1986486"/>
            <a:ext cx="357494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62" name="TextBox 261">
            <a:extLst>
              <a:ext uri="{FF2B5EF4-FFF2-40B4-BE49-F238E27FC236}">
                <a16:creationId xmlns:a16="http://schemas.microsoft.com/office/drawing/2014/main" id="{D327902E-6573-43E6-1F58-7F538925A1BF}"/>
              </a:ext>
            </a:extLst>
          </p:cNvPr>
          <p:cNvSpPr txBox="1"/>
          <p:nvPr>
            <p:custDataLst>
              <p:tags r:id="rId26"/>
            </p:custDataLst>
          </p:nvPr>
        </p:nvSpPr>
        <p:spPr bwMode="gray">
          <a:xfrm>
            <a:off x="412855" y="1711641"/>
            <a:ext cx="3574946" cy="215444"/>
          </a:xfrm>
          <a:prstGeom prst="rect">
            <a:avLst/>
          </a:prstGeom>
          <a:noFill/>
        </p:spPr>
        <p:txBody>
          <a:bodyPr wrap="square" lIns="0" tIns="0" rIns="0" bIns="0" rtlCol="0">
            <a:spAutoFit/>
          </a:bodyPr>
          <a:lstStyle/>
          <a:p>
            <a:pPr marL="0" indent="0">
              <a:spcBef>
                <a:spcPts val="600"/>
              </a:spcBef>
              <a:spcAft>
                <a:spcPts val="600"/>
              </a:spcAft>
              <a:buNone/>
            </a:pPr>
            <a:r>
              <a:rPr lang="en-US" sz="1400" b="1"/>
              <a:t>In fission, one heavy atom is split…</a:t>
            </a:r>
          </a:p>
        </p:txBody>
      </p:sp>
      <p:sp>
        <p:nvSpPr>
          <p:cNvPr id="263" name="TextBox 262">
            <a:extLst>
              <a:ext uri="{FF2B5EF4-FFF2-40B4-BE49-F238E27FC236}">
                <a16:creationId xmlns:a16="http://schemas.microsoft.com/office/drawing/2014/main" id="{58E571A5-37A4-7ECB-B181-5E250EFEC51B}"/>
              </a:ext>
            </a:extLst>
          </p:cNvPr>
          <p:cNvSpPr txBox="1"/>
          <p:nvPr>
            <p:custDataLst>
              <p:tags r:id="rId27"/>
            </p:custDataLst>
          </p:nvPr>
        </p:nvSpPr>
        <p:spPr bwMode="gray">
          <a:xfrm>
            <a:off x="412855" y="3919027"/>
            <a:ext cx="3647970" cy="215444"/>
          </a:xfrm>
          <a:prstGeom prst="rect">
            <a:avLst/>
          </a:prstGeom>
          <a:noFill/>
        </p:spPr>
        <p:txBody>
          <a:bodyPr wrap="square" lIns="0" tIns="0" rIns="0" bIns="0" rtlCol="0">
            <a:spAutoFit/>
          </a:bodyPr>
          <a:lstStyle/>
          <a:p>
            <a:pPr marL="0" indent="0">
              <a:spcBef>
                <a:spcPts val="600"/>
              </a:spcBef>
              <a:spcAft>
                <a:spcPts val="600"/>
              </a:spcAft>
              <a:buNone/>
            </a:pPr>
            <a:r>
              <a:rPr lang="en-US" sz="1400" b="1"/>
              <a:t>…while in fusion, two light nuclei are fused</a:t>
            </a:r>
          </a:p>
        </p:txBody>
      </p:sp>
      <p:cxnSp>
        <p:nvCxnSpPr>
          <p:cNvPr id="268" name="btfpColumnHeaderBoxLine223027">
            <a:extLst>
              <a:ext uri="{FF2B5EF4-FFF2-40B4-BE49-F238E27FC236}">
                <a16:creationId xmlns:a16="http://schemas.microsoft.com/office/drawing/2014/main" id="{90CB6178-9B04-46A9-9F85-07F9D2289658}"/>
              </a:ext>
            </a:extLst>
          </p:cNvPr>
          <p:cNvCxnSpPr>
            <a:cxnSpLocks/>
          </p:cNvCxnSpPr>
          <p:nvPr/>
        </p:nvCxnSpPr>
        <p:spPr bwMode="gray">
          <a:xfrm>
            <a:off x="4189517" y="1986486"/>
            <a:ext cx="448116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71" name="btfpColumnHeaderBoxLine223027">
            <a:extLst>
              <a:ext uri="{FF2B5EF4-FFF2-40B4-BE49-F238E27FC236}">
                <a16:creationId xmlns:a16="http://schemas.microsoft.com/office/drawing/2014/main" id="{F435F466-1ABD-8B32-318A-D49F0B7588C7}"/>
              </a:ext>
            </a:extLst>
          </p:cNvPr>
          <p:cNvCxnSpPr>
            <a:cxnSpLocks/>
          </p:cNvCxnSpPr>
          <p:nvPr/>
        </p:nvCxnSpPr>
        <p:spPr bwMode="gray">
          <a:xfrm>
            <a:off x="412854" y="4164633"/>
            <a:ext cx="357494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58" name="Group 157">
            <a:extLst>
              <a:ext uri="{FF2B5EF4-FFF2-40B4-BE49-F238E27FC236}">
                <a16:creationId xmlns:a16="http://schemas.microsoft.com/office/drawing/2014/main" id="{448DD62F-4FC2-B9C6-36D7-D0DBD9C3D207}"/>
              </a:ext>
            </a:extLst>
          </p:cNvPr>
          <p:cNvGrpSpPr/>
          <p:nvPr/>
        </p:nvGrpSpPr>
        <p:grpSpPr>
          <a:xfrm>
            <a:off x="659901" y="2032795"/>
            <a:ext cx="3068379" cy="1858475"/>
            <a:chOff x="709575" y="2024583"/>
            <a:chExt cx="3226971" cy="1954532"/>
          </a:xfrm>
        </p:grpSpPr>
        <p:grpSp>
          <p:nvGrpSpPr>
            <p:cNvPr id="47" name="Group 46">
              <a:extLst>
                <a:ext uri="{FF2B5EF4-FFF2-40B4-BE49-F238E27FC236}">
                  <a16:creationId xmlns:a16="http://schemas.microsoft.com/office/drawing/2014/main" id="{ADF933DB-B67F-C293-FB71-8B10D584B4D6}"/>
                </a:ext>
              </a:extLst>
            </p:cNvPr>
            <p:cNvGrpSpPr/>
            <p:nvPr/>
          </p:nvGrpSpPr>
          <p:grpSpPr>
            <a:xfrm>
              <a:off x="1585915" y="2649044"/>
              <a:ext cx="741866" cy="717470"/>
              <a:chOff x="867586" y="2499343"/>
              <a:chExt cx="741866" cy="717470"/>
            </a:xfrm>
          </p:grpSpPr>
          <p:sp>
            <p:nvSpPr>
              <p:cNvPr id="3" name="Oval 2">
                <a:extLst>
                  <a:ext uri="{FF2B5EF4-FFF2-40B4-BE49-F238E27FC236}">
                    <a16:creationId xmlns:a16="http://schemas.microsoft.com/office/drawing/2014/main" id="{AF0EEDB8-6A99-54C5-1FA6-7D75B207B171}"/>
                  </a:ext>
                </a:extLst>
              </p:cNvPr>
              <p:cNvSpPr/>
              <p:nvPr/>
            </p:nvSpPr>
            <p:spPr bwMode="gray">
              <a:xfrm>
                <a:off x="1268320" y="2561793"/>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 name="Oval 4">
                <a:extLst>
                  <a:ext uri="{FF2B5EF4-FFF2-40B4-BE49-F238E27FC236}">
                    <a16:creationId xmlns:a16="http://schemas.microsoft.com/office/drawing/2014/main" id="{53E017AD-0734-565E-B53B-6A8FEDF47FDC}"/>
                  </a:ext>
                </a:extLst>
              </p:cNvPr>
              <p:cNvSpPr/>
              <p:nvPr/>
            </p:nvSpPr>
            <p:spPr bwMode="gray">
              <a:xfrm>
                <a:off x="1268320" y="2680995"/>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 name="Oval 5">
                <a:extLst>
                  <a:ext uri="{FF2B5EF4-FFF2-40B4-BE49-F238E27FC236}">
                    <a16:creationId xmlns:a16="http://schemas.microsoft.com/office/drawing/2014/main" id="{1E9EE387-7C33-4C64-70CD-85E8A9AC0D9D}"/>
                  </a:ext>
                </a:extLst>
              </p:cNvPr>
              <p:cNvSpPr/>
              <p:nvPr/>
            </p:nvSpPr>
            <p:spPr bwMode="gray">
              <a:xfrm>
                <a:off x="985371" y="2865639"/>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 name="Oval 8">
                <a:extLst>
                  <a:ext uri="{FF2B5EF4-FFF2-40B4-BE49-F238E27FC236}">
                    <a16:creationId xmlns:a16="http://schemas.microsoft.com/office/drawing/2014/main" id="{8D201EF5-FD25-3428-D211-4F8BA1A2BE13}"/>
                  </a:ext>
                </a:extLst>
              </p:cNvPr>
              <p:cNvSpPr/>
              <p:nvPr/>
            </p:nvSpPr>
            <p:spPr bwMode="gray">
              <a:xfrm>
                <a:off x="1431240" y="2826971"/>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 name="Oval 9">
                <a:extLst>
                  <a:ext uri="{FF2B5EF4-FFF2-40B4-BE49-F238E27FC236}">
                    <a16:creationId xmlns:a16="http://schemas.microsoft.com/office/drawing/2014/main" id="{B354D9BD-4B69-759D-C23F-C223AACF3278}"/>
                  </a:ext>
                </a:extLst>
              </p:cNvPr>
              <p:cNvSpPr/>
              <p:nvPr/>
            </p:nvSpPr>
            <p:spPr bwMode="gray">
              <a:xfrm>
                <a:off x="943619" y="2645820"/>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 name="Oval 1">
                <a:extLst>
                  <a:ext uri="{FF2B5EF4-FFF2-40B4-BE49-F238E27FC236}">
                    <a16:creationId xmlns:a16="http://schemas.microsoft.com/office/drawing/2014/main" id="{AAD73BB9-4B51-0330-5076-1C4A791D2E66}"/>
                  </a:ext>
                </a:extLst>
              </p:cNvPr>
              <p:cNvSpPr/>
              <p:nvPr/>
            </p:nvSpPr>
            <p:spPr bwMode="gray">
              <a:xfrm>
                <a:off x="966283" y="2718797"/>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4" name="Oval 13">
                <a:extLst>
                  <a:ext uri="{FF2B5EF4-FFF2-40B4-BE49-F238E27FC236}">
                    <a16:creationId xmlns:a16="http://schemas.microsoft.com/office/drawing/2014/main" id="{C2CF8070-34A7-D969-5215-67A528D48F72}"/>
                  </a:ext>
                </a:extLst>
              </p:cNvPr>
              <p:cNvSpPr/>
              <p:nvPr/>
            </p:nvSpPr>
            <p:spPr bwMode="gray">
              <a:xfrm>
                <a:off x="943619" y="2774545"/>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7" name="Oval 6">
                <a:extLst>
                  <a:ext uri="{FF2B5EF4-FFF2-40B4-BE49-F238E27FC236}">
                    <a16:creationId xmlns:a16="http://schemas.microsoft.com/office/drawing/2014/main" id="{FF4746E1-B64F-A483-DFCB-0CF0B3F9C26F}"/>
                  </a:ext>
                </a:extLst>
              </p:cNvPr>
              <p:cNvSpPr/>
              <p:nvPr/>
            </p:nvSpPr>
            <p:spPr bwMode="gray">
              <a:xfrm>
                <a:off x="975827" y="2762800"/>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5" name="Oval 14">
                <a:extLst>
                  <a:ext uri="{FF2B5EF4-FFF2-40B4-BE49-F238E27FC236}">
                    <a16:creationId xmlns:a16="http://schemas.microsoft.com/office/drawing/2014/main" id="{863BFCA0-A167-EB6D-5A55-8DEE8B163140}"/>
                  </a:ext>
                </a:extLst>
              </p:cNvPr>
              <p:cNvSpPr/>
              <p:nvPr/>
            </p:nvSpPr>
            <p:spPr bwMode="gray">
              <a:xfrm>
                <a:off x="1100858" y="2796035"/>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7" name="Oval 16">
                <a:extLst>
                  <a:ext uri="{FF2B5EF4-FFF2-40B4-BE49-F238E27FC236}">
                    <a16:creationId xmlns:a16="http://schemas.microsoft.com/office/drawing/2014/main" id="{94C89D15-5207-686A-B9F3-1F950050243C}"/>
                  </a:ext>
                </a:extLst>
              </p:cNvPr>
              <p:cNvSpPr/>
              <p:nvPr/>
            </p:nvSpPr>
            <p:spPr bwMode="gray">
              <a:xfrm>
                <a:off x="1077521" y="2629691"/>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8" name="Oval 17">
                <a:extLst>
                  <a:ext uri="{FF2B5EF4-FFF2-40B4-BE49-F238E27FC236}">
                    <a16:creationId xmlns:a16="http://schemas.microsoft.com/office/drawing/2014/main" id="{7EE0DC8F-DD13-E948-F4C1-4E9EC2798B1F}"/>
                  </a:ext>
                </a:extLst>
              </p:cNvPr>
              <p:cNvSpPr/>
              <p:nvPr/>
            </p:nvSpPr>
            <p:spPr bwMode="gray">
              <a:xfrm>
                <a:off x="999238" y="2538597"/>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20" name="Oval 19">
                <a:extLst>
                  <a:ext uri="{FF2B5EF4-FFF2-40B4-BE49-F238E27FC236}">
                    <a16:creationId xmlns:a16="http://schemas.microsoft.com/office/drawing/2014/main" id="{F84ECE45-A628-51EE-482B-9917F39CBDCB}"/>
                  </a:ext>
                </a:extLst>
              </p:cNvPr>
              <p:cNvSpPr/>
              <p:nvPr/>
            </p:nvSpPr>
            <p:spPr bwMode="gray">
              <a:xfrm>
                <a:off x="1144288" y="2499343"/>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21" name="Oval 20">
                <a:extLst>
                  <a:ext uri="{FF2B5EF4-FFF2-40B4-BE49-F238E27FC236}">
                    <a16:creationId xmlns:a16="http://schemas.microsoft.com/office/drawing/2014/main" id="{575AA82B-0576-6F0B-8B1B-2748D4BD48B8}"/>
                  </a:ext>
                </a:extLst>
              </p:cNvPr>
              <p:cNvSpPr/>
              <p:nvPr/>
            </p:nvSpPr>
            <p:spPr bwMode="gray">
              <a:xfrm>
                <a:off x="1369070" y="2594852"/>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22" name="Oval 21">
                <a:extLst>
                  <a:ext uri="{FF2B5EF4-FFF2-40B4-BE49-F238E27FC236}">
                    <a16:creationId xmlns:a16="http://schemas.microsoft.com/office/drawing/2014/main" id="{367D3A87-7187-9C23-4AB0-6F0D03989607}"/>
                  </a:ext>
                </a:extLst>
              </p:cNvPr>
              <p:cNvSpPr/>
              <p:nvPr/>
            </p:nvSpPr>
            <p:spPr bwMode="gray">
              <a:xfrm>
                <a:off x="1429038" y="2735092"/>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23" name="Oval 22">
                <a:extLst>
                  <a:ext uri="{FF2B5EF4-FFF2-40B4-BE49-F238E27FC236}">
                    <a16:creationId xmlns:a16="http://schemas.microsoft.com/office/drawing/2014/main" id="{E9D36132-B97E-057C-042D-08642901EAA5}"/>
                  </a:ext>
                </a:extLst>
              </p:cNvPr>
              <p:cNvSpPr/>
              <p:nvPr/>
            </p:nvSpPr>
            <p:spPr bwMode="gray">
              <a:xfrm>
                <a:off x="1409607" y="2912651"/>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24" name="Oval 23">
                <a:extLst>
                  <a:ext uri="{FF2B5EF4-FFF2-40B4-BE49-F238E27FC236}">
                    <a16:creationId xmlns:a16="http://schemas.microsoft.com/office/drawing/2014/main" id="{0254FE32-37C2-206F-EB5B-FA0F7467C689}"/>
                  </a:ext>
                </a:extLst>
              </p:cNvPr>
              <p:cNvSpPr/>
              <p:nvPr/>
            </p:nvSpPr>
            <p:spPr bwMode="gray">
              <a:xfrm>
                <a:off x="1311182" y="2795355"/>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25" name="Oval 24">
                <a:extLst>
                  <a:ext uri="{FF2B5EF4-FFF2-40B4-BE49-F238E27FC236}">
                    <a16:creationId xmlns:a16="http://schemas.microsoft.com/office/drawing/2014/main" id="{FAD28CC0-0BD8-9D81-468F-085620B45DAF}"/>
                  </a:ext>
                </a:extLst>
              </p:cNvPr>
              <p:cNvSpPr/>
              <p:nvPr/>
            </p:nvSpPr>
            <p:spPr bwMode="gray">
              <a:xfrm>
                <a:off x="1146259" y="2634440"/>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27" name="Oval 26">
                <a:extLst>
                  <a:ext uri="{FF2B5EF4-FFF2-40B4-BE49-F238E27FC236}">
                    <a16:creationId xmlns:a16="http://schemas.microsoft.com/office/drawing/2014/main" id="{CB89229A-737C-9C38-820F-3F2796F121E0}"/>
                  </a:ext>
                </a:extLst>
              </p:cNvPr>
              <p:cNvSpPr/>
              <p:nvPr/>
            </p:nvSpPr>
            <p:spPr bwMode="gray">
              <a:xfrm>
                <a:off x="1155737" y="2929608"/>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29" name="Oval 28">
                <a:extLst>
                  <a:ext uri="{FF2B5EF4-FFF2-40B4-BE49-F238E27FC236}">
                    <a16:creationId xmlns:a16="http://schemas.microsoft.com/office/drawing/2014/main" id="{322669DB-1087-D8E3-579D-01B1120F6D8A}"/>
                  </a:ext>
                </a:extLst>
              </p:cNvPr>
              <p:cNvSpPr/>
              <p:nvPr/>
            </p:nvSpPr>
            <p:spPr bwMode="gray">
              <a:xfrm>
                <a:off x="963173" y="2959589"/>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31" name="Oval 30">
                <a:extLst>
                  <a:ext uri="{FF2B5EF4-FFF2-40B4-BE49-F238E27FC236}">
                    <a16:creationId xmlns:a16="http://schemas.microsoft.com/office/drawing/2014/main" id="{0DED205B-A2E3-4BE5-F7E1-F45F84AD5EDF}"/>
                  </a:ext>
                </a:extLst>
              </p:cNvPr>
              <p:cNvSpPr/>
              <p:nvPr/>
            </p:nvSpPr>
            <p:spPr bwMode="gray">
              <a:xfrm>
                <a:off x="1274660" y="2907572"/>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33" name="Oval 32">
                <a:extLst>
                  <a:ext uri="{FF2B5EF4-FFF2-40B4-BE49-F238E27FC236}">
                    <a16:creationId xmlns:a16="http://schemas.microsoft.com/office/drawing/2014/main" id="{E9520E8D-EE25-EC15-74D4-BE9B88BB31A7}"/>
                  </a:ext>
                </a:extLst>
              </p:cNvPr>
              <p:cNvSpPr/>
              <p:nvPr/>
            </p:nvSpPr>
            <p:spPr bwMode="gray">
              <a:xfrm>
                <a:off x="1134484" y="3031697"/>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34" name="Oval 33">
                <a:extLst>
                  <a:ext uri="{FF2B5EF4-FFF2-40B4-BE49-F238E27FC236}">
                    <a16:creationId xmlns:a16="http://schemas.microsoft.com/office/drawing/2014/main" id="{03ECBD87-906A-32B7-CFC9-CBF1FAC4C73B}"/>
                  </a:ext>
                </a:extLst>
              </p:cNvPr>
              <p:cNvSpPr/>
              <p:nvPr/>
            </p:nvSpPr>
            <p:spPr bwMode="gray">
              <a:xfrm>
                <a:off x="1060105" y="3016928"/>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36" name="Oval 35">
                <a:extLst>
                  <a:ext uri="{FF2B5EF4-FFF2-40B4-BE49-F238E27FC236}">
                    <a16:creationId xmlns:a16="http://schemas.microsoft.com/office/drawing/2014/main" id="{3C7DC1A4-E600-3B46-3D50-A0FBBDDDFC46}"/>
                  </a:ext>
                </a:extLst>
              </p:cNvPr>
              <p:cNvSpPr/>
              <p:nvPr/>
            </p:nvSpPr>
            <p:spPr bwMode="gray">
              <a:xfrm>
                <a:off x="888715" y="2841361"/>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37" name="Oval 36">
                <a:extLst>
                  <a:ext uri="{FF2B5EF4-FFF2-40B4-BE49-F238E27FC236}">
                    <a16:creationId xmlns:a16="http://schemas.microsoft.com/office/drawing/2014/main" id="{2B616E46-31E3-FB64-2B2B-9F36293E8977}"/>
                  </a:ext>
                </a:extLst>
              </p:cNvPr>
              <p:cNvSpPr/>
              <p:nvPr/>
            </p:nvSpPr>
            <p:spPr bwMode="gray">
              <a:xfrm>
                <a:off x="867586" y="2734926"/>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39" name="Oval 38">
                <a:extLst>
                  <a:ext uri="{FF2B5EF4-FFF2-40B4-BE49-F238E27FC236}">
                    <a16:creationId xmlns:a16="http://schemas.microsoft.com/office/drawing/2014/main" id="{AEFA07FD-30C6-9E0C-0B45-BDDD56C98ABC}"/>
                  </a:ext>
                </a:extLst>
              </p:cNvPr>
              <p:cNvSpPr/>
              <p:nvPr/>
            </p:nvSpPr>
            <p:spPr bwMode="gray">
              <a:xfrm>
                <a:off x="1109789" y="2893846"/>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0" name="Oval 39">
                <a:extLst>
                  <a:ext uri="{FF2B5EF4-FFF2-40B4-BE49-F238E27FC236}">
                    <a16:creationId xmlns:a16="http://schemas.microsoft.com/office/drawing/2014/main" id="{C91D5E97-843A-8C7D-8193-948463DCDC54}"/>
                  </a:ext>
                </a:extLst>
              </p:cNvPr>
              <p:cNvSpPr/>
              <p:nvPr/>
            </p:nvSpPr>
            <p:spPr bwMode="gray">
              <a:xfrm>
                <a:off x="1085166" y="2557157"/>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1" name="Oval 40">
                <a:extLst>
                  <a:ext uri="{FF2B5EF4-FFF2-40B4-BE49-F238E27FC236}">
                    <a16:creationId xmlns:a16="http://schemas.microsoft.com/office/drawing/2014/main" id="{D177E91C-1DC4-A5AE-C36D-73596A79A7AA}"/>
                  </a:ext>
                </a:extLst>
              </p:cNvPr>
              <p:cNvSpPr/>
              <p:nvPr/>
            </p:nvSpPr>
            <p:spPr bwMode="gray">
              <a:xfrm>
                <a:off x="1224248" y="2865661"/>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 name="Oval 41">
                <a:extLst>
                  <a:ext uri="{FF2B5EF4-FFF2-40B4-BE49-F238E27FC236}">
                    <a16:creationId xmlns:a16="http://schemas.microsoft.com/office/drawing/2014/main" id="{C62D9C2A-ACCF-90A6-95C3-79BDA3C1E0D2}"/>
                  </a:ext>
                </a:extLst>
              </p:cNvPr>
              <p:cNvSpPr/>
              <p:nvPr/>
            </p:nvSpPr>
            <p:spPr bwMode="gray">
              <a:xfrm>
                <a:off x="1139310" y="2716911"/>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6" name="Oval 25">
                <a:extLst>
                  <a:ext uri="{FF2B5EF4-FFF2-40B4-BE49-F238E27FC236}">
                    <a16:creationId xmlns:a16="http://schemas.microsoft.com/office/drawing/2014/main" id="{9A955DE1-28C6-D073-76C5-9B00466B4CE6}"/>
                  </a:ext>
                </a:extLst>
              </p:cNvPr>
              <p:cNvSpPr/>
              <p:nvPr/>
            </p:nvSpPr>
            <p:spPr bwMode="gray">
              <a:xfrm>
                <a:off x="1211423" y="2783437"/>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43" name="Oval 42">
                <a:extLst>
                  <a:ext uri="{FF2B5EF4-FFF2-40B4-BE49-F238E27FC236}">
                    <a16:creationId xmlns:a16="http://schemas.microsoft.com/office/drawing/2014/main" id="{D55D6A42-D1D7-BE55-A3A8-FE96BA01E77C}"/>
                  </a:ext>
                </a:extLst>
              </p:cNvPr>
              <p:cNvSpPr/>
              <p:nvPr/>
            </p:nvSpPr>
            <p:spPr bwMode="gray">
              <a:xfrm>
                <a:off x="1358285" y="2707324"/>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4" name="Oval 43">
                <a:extLst>
                  <a:ext uri="{FF2B5EF4-FFF2-40B4-BE49-F238E27FC236}">
                    <a16:creationId xmlns:a16="http://schemas.microsoft.com/office/drawing/2014/main" id="{3986A00E-7C90-DF3A-E573-4D4F152EC43E}"/>
                  </a:ext>
                </a:extLst>
              </p:cNvPr>
              <p:cNvSpPr/>
              <p:nvPr/>
            </p:nvSpPr>
            <p:spPr bwMode="gray">
              <a:xfrm>
                <a:off x="920141" y="2914716"/>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 name="Oval 29">
                <a:extLst>
                  <a:ext uri="{FF2B5EF4-FFF2-40B4-BE49-F238E27FC236}">
                    <a16:creationId xmlns:a16="http://schemas.microsoft.com/office/drawing/2014/main" id="{61380F37-D84E-426A-A2A2-BB5E33A01BF3}"/>
                  </a:ext>
                </a:extLst>
              </p:cNvPr>
              <p:cNvSpPr/>
              <p:nvPr/>
            </p:nvSpPr>
            <p:spPr bwMode="gray">
              <a:xfrm>
                <a:off x="1074477" y="2944200"/>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45" name="Oval 44">
                <a:extLst>
                  <a:ext uri="{FF2B5EF4-FFF2-40B4-BE49-F238E27FC236}">
                    <a16:creationId xmlns:a16="http://schemas.microsoft.com/office/drawing/2014/main" id="{B5D3EE79-40CA-E523-11DA-9C7413D10599}"/>
                  </a:ext>
                </a:extLst>
              </p:cNvPr>
              <p:cNvSpPr/>
              <p:nvPr/>
            </p:nvSpPr>
            <p:spPr bwMode="gray">
              <a:xfrm>
                <a:off x="1107570" y="3017304"/>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 name="Oval 7">
                <a:extLst>
                  <a:ext uri="{FF2B5EF4-FFF2-40B4-BE49-F238E27FC236}">
                    <a16:creationId xmlns:a16="http://schemas.microsoft.com/office/drawing/2014/main" id="{F94B02B7-15F7-D1A7-AB20-62D6D7386F61}"/>
                  </a:ext>
                </a:extLst>
              </p:cNvPr>
              <p:cNvSpPr/>
              <p:nvPr/>
            </p:nvSpPr>
            <p:spPr bwMode="gray">
              <a:xfrm>
                <a:off x="1268320" y="3038601"/>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 name="Oval 45">
                <a:extLst>
                  <a:ext uri="{FF2B5EF4-FFF2-40B4-BE49-F238E27FC236}">
                    <a16:creationId xmlns:a16="http://schemas.microsoft.com/office/drawing/2014/main" id="{2335C170-6CE2-42F0-1551-11A015DBF0C3}"/>
                  </a:ext>
                </a:extLst>
              </p:cNvPr>
              <p:cNvSpPr/>
              <p:nvPr/>
            </p:nvSpPr>
            <p:spPr bwMode="gray">
              <a:xfrm>
                <a:off x="1401410" y="2872405"/>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 name="Oval 31">
                <a:extLst>
                  <a:ext uri="{FF2B5EF4-FFF2-40B4-BE49-F238E27FC236}">
                    <a16:creationId xmlns:a16="http://schemas.microsoft.com/office/drawing/2014/main" id="{3A487550-D532-694E-7CF0-3DABD6330CA0}"/>
                  </a:ext>
                </a:extLst>
              </p:cNvPr>
              <p:cNvSpPr/>
              <p:nvPr/>
            </p:nvSpPr>
            <p:spPr bwMode="gray">
              <a:xfrm>
                <a:off x="1317522" y="2998311"/>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grpSp>
        <p:grpSp>
          <p:nvGrpSpPr>
            <p:cNvPr id="48" name="Group 47">
              <a:extLst>
                <a:ext uri="{FF2B5EF4-FFF2-40B4-BE49-F238E27FC236}">
                  <a16:creationId xmlns:a16="http://schemas.microsoft.com/office/drawing/2014/main" id="{1F6DED14-D03D-E473-4F76-9C5D9A20429C}"/>
                </a:ext>
              </a:extLst>
            </p:cNvPr>
            <p:cNvGrpSpPr/>
            <p:nvPr/>
          </p:nvGrpSpPr>
          <p:grpSpPr>
            <a:xfrm>
              <a:off x="2846333" y="2024583"/>
              <a:ext cx="741866" cy="608477"/>
              <a:chOff x="867586" y="2499343"/>
              <a:chExt cx="741866" cy="608477"/>
            </a:xfrm>
          </p:grpSpPr>
          <p:sp>
            <p:nvSpPr>
              <p:cNvPr id="50" name="Oval 49">
                <a:extLst>
                  <a:ext uri="{FF2B5EF4-FFF2-40B4-BE49-F238E27FC236}">
                    <a16:creationId xmlns:a16="http://schemas.microsoft.com/office/drawing/2014/main" id="{D5C7C7D1-587A-7798-B764-89180901C78D}"/>
                  </a:ext>
                </a:extLst>
              </p:cNvPr>
              <p:cNvSpPr/>
              <p:nvPr/>
            </p:nvSpPr>
            <p:spPr bwMode="gray">
              <a:xfrm>
                <a:off x="1268320" y="2561793"/>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 name="Oval 50">
                <a:extLst>
                  <a:ext uri="{FF2B5EF4-FFF2-40B4-BE49-F238E27FC236}">
                    <a16:creationId xmlns:a16="http://schemas.microsoft.com/office/drawing/2014/main" id="{2FEF5C96-B798-6DEE-78C0-6635ECB98720}"/>
                  </a:ext>
                </a:extLst>
              </p:cNvPr>
              <p:cNvSpPr/>
              <p:nvPr/>
            </p:nvSpPr>
            <p:spPr bwMode="gray">
              <a:xfrm>
                <a:off x="1268320" y="2680995"/>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2" name="Oval 51">
                <a:extLst>
                  <a:ext uri="{FF2B5EF4-FFF2-40B4-BE49-F238E27FC236}">
                    <a16:creationId xmlns:a16="http://schemas.microsoft.com/office/drawing/2014/main" id="{DD591576-EA3E-8B40-B391-D4776593814F}"/>
                  </a:ext>
                </a:extLst>
              </p:cNvPr>
              <p:cNvSpPr/>
              <p:nvPr/>
            </p:nvSpPr>
            <p:spPr bwMode="gray">
              <a:xfrm>
                <a:off x="985371" y="2865639"/>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3" name="Oval 52">
                <a:extLst>
                  <a:ext uri="{FF2B5EF4-FFF2-40B4-BE49-F238E27FC236}">
                    <a16:creationId xmlns:a16="http://schemas.microsoft.com/office/drawing/2014/main" id="{F22A2103-AD1D-A255-A842-5BF06141E7B9}"/>
                  </a:ext>
                </a:extLst>
              </p:cNvPr>
              <p:cNvSpPr/>
              <p:nvPr/>
            </p:nvSpPr>
            <p:spPr bwMode="gray">
              <a:xfrm>
                <a:off x="1431240" y="2826971"/>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5" name="Oval 54">
                <a:extLst>
                  <a:ext uri="{FF2B5EF4-FFF2-40B4-BE49-F238E27FC236}">
                    <a16:creationId xmlns:a16="http://schemas.microsoft.com/office/drawing/2014/main" id="{49BA1253-CCCC-38B5-E304-856037E0DCB0}"/>
                  </a:ext>
                </a:extLst>
              </p:cNvPr>
              <p:cNvSpPr/>
              <p:nvPr/>
            </p:nvSpPr>
            <p:spPr bwMode="gray">
              <a:xfrm>
                <a:off x="943619" y="2645820"/>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6" name="Oval 55">
                <a:extLst>
                  <a:ext uri="{FF2B5EF4-FFF2-40B4-BE49-F238E27FC236}">
                    <a16:creationId xmlns:a16="http://schemas.microsoft.com/office/drawing/2014/main" id="{9019F092-1645-22FF-57EB-BCC31E96B92F}"/>
                  </a:ext>
                </a:extLst>
              </p:cNvPr>
              <p:cNvSpPr/>
              <p:nvPr/>
            </p:nvSpPr>
            <p:spPr bwMode="gray">
              <a:xfrm>
                <a:off x="966283" y="2718797"/>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57" name="Oval 56">
                <a:extLst>
                  <a:ext uri="{FF2B5EF4-FFF2-40B4-BE49-F238E27FC236}">
                    <a16:creationId xmlns:a16="http://schemas.microsoft.com/office/drawing/2014/main" id="{D612CFE8-0B0E-095F-4CDB-54F6A5BD117E}"/>
                  </a:ext>
                </a:extLst>
              </p:cNvPr>
              <p:cNvSpPr/>
              <p:nvPr/>
            </p:nvSpPr>
            <p:spPr bwMode="gray">
              <a:xfrm>
                <a:off x="943619" y="2774545"/>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58" name="Oval 57">
                <a:extLst>
                  <a:ext uri="{FF2B5EF4-FFF2-40B4-BE49-F238E27FC236}">
                    <a16:creationId xmlns:a16="http://schemas.microsoft.com/office/drawing/2014/main" id="{36DABF38-B3A0-1789-478B-C78DD928AA15}"/>
                  </a:ext>
                </a:extLst>
              </p:cNvPr>
              <p:cNvSpPr/>
              <p:nvPr/>
            </p:nvSpPr>
            <p:spPr bwMode="gray">
              <a:xfrm>
                <a:off x="975827" y="2762800"/>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9" name="Oval 58">
                <a:extLst>
                  <a:ext uri="{FF2B5EF4-FFF2-40B4-BE49-F238E27FC236}">
                    <a16:creationId xmlns:a16="http://schemas.microsoft.com/office/drawing/2014/main" id="{31225536-0E9B-7C81-BE0F-EF50F384DAF1}"/>
                  </a:ext>
                </a:extLst>
              </p:cNvPr>
              <p:cNvSpPr/>
              <p:nvPr/>
            </p:nvSpPr>
            <p:spPr bwMode="gray">
              <a:xfrm>
                <a:off x="1100858" y="2796035"/>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60" name="Oval 59">
                <a:extLst>
                  <a:ext uri="{FF2B5EF4-FFF2-40B4-BE49-F238E27FC236}">
                    <a16:creationId xmlns:a16="http://schemas.microsoft.com/office/drawing/2014/main" id="{30D80DED-5E41-98A5-EBAF-F7B6AA4612A6}"/>
                  </a:ext>
                </a:extLst>
              </p:cNvPr>
              <p:cNvSpPr/>
              <p:nvPr/>
            </p:nvSpPr>
            <p:spPr bwMode="gray">
              <a:xfrm>
                <a:off x="1077521" y="2629691"/>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61" name="Oval 60">
                <a:extLst>
                  <a:ext uri="{FF2B5EF4-FFF2-40B4-BE49-F238E27FC236}">
                    <a16:creationId xmlns:a16="http://schemas.microsoft.com/office/drawing/2014/main" id="{55EA5650-CD95-B649-6FF1-F4757B538D7B}"/>
                  </a:ext>
                </a:extLst>
              </p:cNvPr>
              <p:cNvSpPr/>
              <p:nvPr/>
            </p:nvSpPr>
            <p:spPr bwMode="gray">
              <a:xfrm>
                <a:off x="999238" y="2538597"/>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62" name="Oval 61">
                <a:extLst>
                  <a:ext uri="{FF2B5EF4-FFF2-40B4-BE49-F238E27FC236}">
                    <a16:creationId xmlns:a16="http://schemas.microsoft.com/office/drawing/2014/main" id="{4BCDE779-2AF8-626B-578B-B2048954FA16}"/>
                  </a:ext>
                </a:extLst>
              </p:cNvPr>
              <p:cNvSpPr/>
              <p:nvPr/>
            </p:nvSpPr>
            <p:spPr bwMode="gray">
              <a:xfrm>
                <a:off x="1144288" y="2499343"/>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63" name="Oval 62">
                <a:extLst>
                  <a:ext uri="{FF2B5EF4-FFF2-40B4-BE49-F238E27FC236}">
                    <a16:creationId xmlns:a16="http://schemas.microsoft.com/office/drawing/2014/main" id="{1D7BD3A2-2662-7926-BDF2-F6E1DA10C36C}"/>
                  </a:ext>
                </a:extLst>
              </p:cNvPr>
              <p:cNvSpPr/>
              <p:nvPr/>
            </p:nvSpPr>
            <p:spPr bwMode="gray">
              <a:xfrm>
                <a:off x="1369070" y="2594852"/>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64" name="Oval 63">
                <a:extLst>
                  <a:ext uri="{FF2B5EF4-FFF2-40B4-BE49-F238E27FC236}">
                    <a16:creationId xmlns:a16="http://schemas.microsoft.com/office/drawing/2014/main" id="{543B551B-F483-F076-C231-C83BA2968523}"/>
                  </a:ext>
                </a:extLst>
              </p:cNvPr>
              <p:cNvSpPr/>
              <p:nvPr/>
            </p:nvSpPr>
            <p:spPr bwMode="gray">
              <a:xfrm>
                <a:off x="1429038" y="2735092"/>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66" name="Oval 65">
                <a:extLst>
                  <a:ext uri="{FF2B5EF4-FFF2-40B4-BE49-F238E27FC236}">
                    <a16:creationId xmlns:a16="http://schemas.microsoft.com/office/drawing/2014/main" id="{B9709175-EA15-1280-7B74-3CA6F6D55B67}"/>
                  </a:ext>
                </a:extLst>
              </p:cNvPr>
              <p:cNvSpPr/>
              <p:nvPr/>
            </p:nvSpPr>
            <p:spPr bwMode="gray">
              <a:xfrm>
                <a:off x="1311182" y="2795355"/>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67" name="Oval 66">
                <a:extLst>
                  <a:ext uri="{FF2B5EF4-FFF2-40B4-BE49-F238E27FC236}">
                    <a16:creationId xmlns:a16="http://schemas.microsoft.com/office/drawing/2014/main" id="{43E2EC4D-94B1-E123-3277-E42E22B9614F}"/>
                  </a:ext>
                </a:extLst>
              </p:cNvPr>
              <p:cNvSpPr/>
              <p:nvPr/>
            </p:nvSpPr>
            <p:spPr bwMode="gray">
              <a:xfrm>
                <a:off x="1146259" y="2634440"/>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68" name="Oval 67">
                <a:extLst>
                  <a:ext uri="{FF2B5EF4-FFF2-40B4-BE49-F238E27FC236}">
                    <a16:creationId xmlns:a16="http://schemas.microsoft.com/office/drawing/2014/main" id="{9CB996A5-706D-A47C-8BD3-599A58930D68}"/>
                  </a:ext>
                </a:extLst>
              </p:cNvPr>
              <p:cNvSpPr/>
              <p:nvPr/>
            </p:nvSpPr>
            <p:spPr bwMode="gray">
              <a:xfrm>
                <a:off x="1155737" y="2929608"/>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70" name="Oval 69">
                <a:extLst>
                  <a:ext uri="{FF2B5EF4-FFF2-40B4-BE49-F238E27FC236}">
                    <a16:creationId xmlns:a16="http://schemas.microsoft.com/office/drawing/2014/main" id="{30E6E08D-3AD3-F0EF-3AD9-929B897842E7}"/>
                  </a:ext>
                </a:extLst>
              </p:cNvPr>
              <p:cNvSpPr/>
              <p:nvPr/>
            </p:nvSpPr>
            <p:spPr bwMode="gray">
              <a:xfrm>
                <a:off x="1274660" y="2907572"/>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73" name="Oval 72">
                <a:extLst>
                  <a:ext uri="{FF2B5EF4-FFF2-40B4-BE49-F238E27FC236}">
                    <a16:creationId xmlns:a16="http://schemas.microsoft.com/office/drawing/2014/main" id="{2599BFF0-4399-8018-871D-39451107FD43}"/>
                  </a:ext>
                </a:extLst>
              </p:cNvPr>
              <p:cNvSpPr/>
              <p:nvPr/>
            </p:nvSpPr>
            <p:spPr bwMode="gray">
              <a:xfrm>
                <a:off x="888715" y="2841361"/>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74" name="Oval 73">
                <a:extLst>
                  <a:ext uri="{FF2B5EF4-FFF2-40B4-BE49-F238E27FC236}">
                    <a16:creationId xmlns:a16="http://schemas.microsoft.com/office/drawing/2014/main" id="{E0AAB960-C7C6-2988-E32D-0433F2EF6FF2}"/>
                  </a:ext>
                </a:extLst>
              </p:cNvPr>
              <p:cNvSpPr/>
              <p:nvPr/>
            </p:nvSpPr>
            <p:spPr bwMode="gray">
              <a:xfrm>
                <a:off x="867586" y="2734926"/>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75" name="Oval 74">
                <a:extLst>
                  <a:ext uri="{FF2B5EF4-FFF2-40B4-BE49-F238E27FC236}">
                    <a16:creationId xmlns:a16="http://schemas.microsoft.com/office/drawing/2014/main" id="{D8318EA3-BC6E-35A5-1477-FA8BEA56CC20}"/>
                  </a:ext>
                </a:extLst>
              </p:cNvPr>
              <p:cNvSpPr/>
              <p:nvPr/>
            </p:nvSpPr>
            <p:spPr bwMode="gray">
              <a:xfrm>
                <a:off x="1109789" y="2893846"/>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6" name="Oval 75">
                <a:extLst>
                  <a:ext uri="{FF2B5EF4-FFF2-40B4-BE49-F238E27FC236}">
                    <a16:creationId xmlns:a16="http://schemas.microsoft.com/office/drawing/2014/main" id="{A4212F81-8979-1AB0-7FFE-8EC6267A7876}"/>
                  </a:ext>
                </a:extLst>
              </p:cNvPr>
              <p:cNvSpPr/>
              <p:nvPr/>
            </p:nvSpPr>
            <p:spPr bwMode="gray">
              <a:xfrm>
                <a:off x="1085166" y="2557157"/>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7" name="Oval 76">
                <a:extLst>
                  <a:ext uri="{FF2B5EF4-FFF2-40B4-BE49-F238E27FC236}">
                    <a16:creationId xmlns:a16="http://schemas.microsoft.com/office/drawing/2014/main" id="{8740DF62-FE82-1C25-2285-D5CBE4055BDC}"/>
                  </a:ext>
                </a:extLst>
              </p:cNvPr>
              <p:cNvSpPr/>
              <p:nvPr/>
            </p:nvSpPr>
            <p:spPr bwMode="gray">
              <a:xfrm>
                <a:off x="1224248" y="2865661"/>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8" name="Oval 77">
                <a:extLst>
                  <a:ext uri="{FF2B5EF4-FFF2-40B4-BE49-F238E27FC236}">
                    <a16:creationId xmlns:a16="http://schemas.microsoft.com/office/drawing/2014/main" id="{AF4041C4-48D3-1A0A-BE92-8A1AE1E5660C}"/>
                  </a:ext>
                </a:extLst>
              </p:cNvPr>
              <p:cNvSpPr/>
              <p:nvPr/>
            </p:nvSpPr>
            <p:spPr bwMode="gray">
              <a:xfrm>
                <a:off x="1139310" y="2716911"/>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0" name="Oval 79">
                <a:extLst>
                  <a:ext uri="{FF2B5EF4-FFF2-40B4-BE49-F238E27FC236}">
                    <a16:creationId xmlns:a16="http://schemas.microsoft.com/office/drawing/2014/main" id="{1B1DFFB2-7078-F715-0F59-694BB7EBDE43}"/>
                  </a:ext>
                </a:extLst>
              </p:cNvPr>
              <p:cNvSpPr/>
              <p:nvPr/>
            </p:nvSpPr>
            <p:spPr bwMode="gray">
              <a:xfrm>
                <a:off x="1358285" y="2707324"/>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1" name="Oval 80">
                <a:extLst>
                  <a:ext uri="{FF2B5EF4-FFF2-40B4-BE49-F238E27FC236}">
                    <a16:creationId xmlns:a16="http://schemas.microsoft.com/office/drawing/2014/main" id="{37B53895-E68D-BAFB-8FFE-6A1948D9BC4E}"/>
                  </a:ext>
                </a:extLst>
              </p:cNvPr>
              <p:cNvSpPr/>
              <p:nvPr/>
            </p:nvSpPr>
            <p:spPr bwMode="gray">
              <a:xfrm>
                <a:off x="971494" y="2890292"/>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87" name="Group 86">
              <a:extLst>
                <a:ext uri="{FF2B5EF4-FFF2-40B4-BE49-F238E27FC236}">
                  <a16:creationId xmlns:a16="http://schemas.microsoft.com/office/drawing/2014/main" id="{980D1E93-6805-9FB5-9590-017492244CC1}"/>
                </a:ext>
              </a:extLst>
            </p:cNvPr>
            <p:cNvGrpSpPr/>
            <p:nvPr/>
          </p:nvGrpSpPr>
          <p:grpSpPr>
            <a:xfrm rot="19730730">
              <a:off x="2768032" y="3391993"/>
              <a:ext cx="720233" cy="587122"/>
              <a:chOff x="867586" y="2629691"/>
              <a:chExt cx="720233" cy="587122"/>
            </a:xfrm>
          </p:grpSpPr>
          <p:sp>
            <p:nvSpPr>
              <p:cNvPr id="89" name="Oval 88">
                <a:extLst>
                  <a:ext uri="{FF2B5EF4-FFF2-40B4-BE49-F238E27FC236}">
                    <a16:creationId xmlns:a16="http://schemas.microsoft.com/office/drawing/2014/main" id="{96FF49DD-5FE8-5825-70AE-2A2D08CA30E8}"/>
                  </a:ext>
                </a:extLst>
              </p:cNvPr>
              <p:cNvSpPr/>
              <p:nvPr/>
            </p:nvSpPr>
            <p:spPr bwMode="gray">
              <a:xfrm>
                <a:off x="1268320" y="2680995"/>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0" name="Oval 89">
                <a:extLst>
                  <a:ext uri="{FF2B5EF4-FFF2-40B4-BE49-F238E27FC236}">
                    <a16:creationId xmlns:a16="http://schemas.microsoft.com/office/drawing/2014/main" id="{6B2FF31D-BC9F-9730-3CF6-264055536AED}"/>
                  </a:ext>
                </a:extLst>
              </p:cNvPr>
              <p:cNvSpPr/>
              <p:nvPr/>
            </p:nvSpPr>
            <p:spPr bwMode="gray">
              <a:xfrm>
                <a:off x="985371" y="2865639"/>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2" name="Oval 91">
                <a:extLst>
                  <a:ext uri="{FF2B5EF4-FFF2-40B4-BE49-F238E27FC236}">
                    <a16:creationId xmlns:a16="http://schemas.microsoft.com/office/drawing/2014/main" id="{BF1F35BC-825D-04BC-A706-C80789D4BECD}"/>
                  </a:ext>
                </a:extLst>
              </p:cNvPr>
              <p:cNvSpPr/>
              <p:nvPr/>
            </p:nvSpPr>
            <p:spPr bwMode="gray">
              <a:xfrm>
                <a:off x="943619" y="2645820"/>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3" name="Oval 92">
                <a:extLst>
                  <a:ext uri="{FF2B5EF4-FFF2-40B4-BE49-F238E27FC236}">
                    <a16:creationId xmlns:a16="http://schemas.microsoft.com/office/drawing/2014/main" id="{4135B475-6BBD-68FD-C041-25A4A68C1086}"/>
                  </a:ext>
                </a:extLst>
              </p:cNvPr>
              <p:cNvSpPr/>
              <p:nvPr/>
            </p:nvSpPr>
            <p:spPr bwMode="gray">
              <a:xfrm>
                <a:off x="966283" y="2718797"/>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94" name="Oval 93">
                <a:extLst>
                  <a:ext uri="{FF2B5EF4-FFF2-40B4-BE49-F238E27FC236}">
                    <a16:creationId xmlns:a16="http://schemas.microsoft.com/office/drawing/2014/main" id="{5B1296A4-3C6A-95FC-4839-8F3C2D1F95B8}"/>
                  </a:ext>
                </a:extLst>
              </p:cNvPr>
              <p:cNvSpPr/>
              <p:nvPr/>
            </p:nvSpPr>
            <p:spPr bwMode="gray">
              <a:xfrm>
                <a:off x="943619" y="2774545"/>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95" name="Oval 94">
                <a:extLst>
                  <a:ext uri="{FF2B5EF4-FFF2-40B4-BE49-F238E27FC236}">
                    <a16:creationId xmlns:a16="http://schemas.microsoft.com/office/drawing/2014/main" id="{D155BC43-1E78-4547-88B4-BFF4C86DCDC9}"/>
                  </a:ext>
                </a:extLst>
              </p:cNvPr>
              <p:cNvSpPr/>
              <p:nvPr/>
            </p:nvSpPr>
            <p:spPr bwMode="gray">
              <a:xfrm>
                <a:off x="975827" y="2762800"/>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6" name="Oval 95">
                <a:extLst>
                  <a:ext uri="{FF2B5EF4-FFF2-40B4-BE49-F238E27FC236}">
                    <a16:creationId xmlns:a16="http://schemas.microsoft.com/office/drawing/2014/main" id="{493B3E28-6446-8CE7-C5E0-13DEE3E13F42}"/>
                  </a:ext>
                </a:extLst>
              </p:cNvPr>
              <p:cNvSpPr/>
              <p:nvPr/>
            </p:nvSpPr>
            <p:spPr bwMode="gray">
              <a:xfrm>
                <a:off x="1100858" y="2796035"/>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97" name="Oval 96">
                <a:extLst>
                  <a:ext uri="{FF2B5EF4-FFF2-40B4-BE49-F238E27FC236}">
                    <a16:creationId xmlns:a16="http://schemas.microsoft.com/office/drawing/2014/main" id="{90B2EDBD-862F-D55D-082E-3F8BCBAEBBA2}"/>
                  </a:ext>
                </a:extLst>
              </p:cNvPr>
              <p:cNvSpPr/>
              <p:nvPr/>
            </p:nvSpPr>
            <p:spPr bwMode="gray">
              <a:xfrm>
                <a:off x="1077521" y="2629691"/>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03" name="Oval 102">
                <a:extLst>
                  <a:ext uri="{FF2B5EF4-FFF2-40B4-BE49-F238E27FC236}">
                    <a16:creationId xmlns:a16="http://schemas.microsoft.com/office/drawing/2014/main" id="{4F673ACB-4DDD-0720-2EA2-E24108B5DB85}"/>
                  </a:ext>
                </a:extLst>
              </p:cNvPr>
              <p:cNvSpPr/>
              <p:nvPr/>
            </p:nvSpPr>
            <p:spPr bwMode="gray">
              <a:xfrm>
                <a:off x="1409607" y="2912651"/>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04" name="Oval 103">
                <a:extLst>
                  <a:ext uri="{FF2B5EF4-FFF2-40B4-BE49-F238E27FC236}">
                    <a16:creationId xmlns:a16="http://schemas.microsoft.com/office/drawing/2014/main" id="{97C443DF-2F93-B42E-1506-B06D913E415C}"/>
                  </a:ext>
                </a:extLst>
              </p:cNvPr>
              <p:cNvSpPr/>
              <p:nvPr/>
            </p:nvSpPr>
            <p:spPr bwMode="gray">
              <a:xfrm>
                <a:off x="1311182" y="2795355"/>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05" name="Oval 104">
                <a:extLst>
                  <a:ext uri="{FF2B5EF4-FFF2-40B4-BE49-F238E27FC236}">
                    <a16:creationId xmlns:a16="http://schemas.microsoft.com/office/drawing/2014/main" id="{B35F2633-15FE-9287-94D5-DF179C86423B}"/>
                  </a:ext>
                </a:extLst>
              </p:cNvPr>
              <p:cNvSpPr/>
              <p:nvPr/>
            </p:nvSpPr>
            <p:spPr bwMode="gray">
              <a:xfrm>
                <a:off x="1146259" y="2634440"/>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06" name="Oval 105">
                <a:extLst>
                  <a:ext uri="{FF2B5EF4-FFF2-40B4-BE49-F238E27FC236}">
                    <a16:creationId xmlns:a16="http://schemas.microsoft.com/office/drawing/2014/main" id="{AAE0B11B-693D-DEC0-701A-F0D0DB29A4C0}"/>
                  </a:ext>
                </a:extLst>
              </p:cNvPr>
              <p:cNvSpPr/>
              <p:nvPr/>
            </p:nvSpPr>
            <p:spPr bwMode="gray">
              <a:xfrm>
                <a:off x="1155737" y="2929608"/>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07" name="Oval 106">
                <a:extLst>
                  <a:ext uri="{FF2B5EF4-FFF2-40B4-BE49-F238E27FC236}">
                    <a16:creationId xmlns:a16="http://schemas.microsoft.com/office/drawing/2014/main" id="{2D754383-FF12-4BE6-7F6D-A1AC86FBCB0D}"/>
                  </a:ext>
                </a:extLst>
              </p:cNvPr>
              <p:cNvSpPr/>
              <p:nvPr/>
            </p:nvSpPr>
            <p:spPr bwMode="gray">
              <a:xfrm>
                <a:off x="963173" y="2959589"/>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09" name="Oval 108">
                <a:extLst>
                  <a:ext uri="{FF2B5EF4-FFF2-40B4-BE49-F238E27FC236}">
                    <a16:creationId xmlns:a16="http://schemas.microsoft.com/office/drawing/2014/main" id="{5A41B902-B156-DC78-48DE-504162EB0205}"/>
                  </a:ext>
                </a:extLst>
              </p:cNvPr>
              <p:cNvSpPr/>
              <p:nvPr/>
            </p:nvSpPr>
            <p:spPr bwMode="gray">
              <a:xfrm>
                <a:off x="1274660" y="2907572"/>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11" name="Oval 110">
                <a:extLst>
                  <a:ext uri="{FF2B5EF4-FFF2-40B4-BE49-F238E27FC236}">
                    <a16:creationId xmlns:a16="http://schemas.microsoft.com/office/drawing/2014/main" id="{A81F6D70-27D7-260A-8A46-19966BB8AA13}"/>
                  </a:ext>
                </a:extLst>
              </p:cNvPr>
              <p:cNvSpPr/>
              <p:nvPr/>
            </p:nvSpPr>
            <p:spPr bwMode="gray">
              <a:xfrm>
                <a:off x="1134484" y="3031697"/>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12" name="Oval 111">
                <a:extLst>
                  <a:ext uri="{FF2B5EF4-FFF2-40B4-BE49-F238E27FC236}">
                    <a16:creationId xmlns:a16="http://schemas.microsoft.com/office/drawing/2014/main" id="{5073F1D6-01D8-61B5-7273-44089C8EDB36}"/>
                  </a:ext>
                </a:extLst>
              </p:cNvPr>
              <p:cNvSpPr/>
              <p:nvPr/>
            </p:nvSpPr>
            <p:spPr bwMode="gray">
              <a:xfrm>
                <a:off x="1060105" y="3016928"/>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13" name="Oval 112">
                <a:extLst>
                  <a:ext uri="{FF2B5EF4-FFF2-40B4-BE49-F238E27FC236}">
                    <a16:creationId xmlns:a16="http://schemas.microsoft.com/office/drawing/2014/main" id="{4BF9EB29-B70B-E832-89F7-8DC006B5B26C}"/>
                  </a:ext>
                </a:extLst>
              </p:cNvPr>
              <p:cNvSpPr/>
              <p:nvPr/>
            </p:nvSpPr>
            <p:spPr bwMode="gray">
              <a:xfrm>
                <a:off x="888715" y="2841361"/>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14" name="Oval 113">
                <a:extLst>
                  <a:ext uri="{FF2B5EF4-FFF2-40B4-BE49-F238E27FC236}">
                    <a16:creationId xmlns:a16="http://schemas.microsoft.com/office/drawing/2014/main" id="{B4B98C2E-DBC7-A39A-9582-C3CCFCA3D4A1}"/>
                  </a:ext>
                </a:extLst>
              </p:cNvPr>
              <p:cNvSpPr/>
              <p:nvPr/>
            </p:nvSpPr>
            <p:spPr bwMode="gray">
              <a:xfrm>
                <a:off x="867586" y="2734926"/>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15" name="Oval 114">
                <a:extLst>
                  <a:ext uri="{FF2B5EF4-FFF2-40B4-BE49-F238E27FC236}">
                    <a16:creationId xmlns:a16="http://schemas.microsoft.com/office/drawing/2014/main" id="{2304D59B-09C2-9242-870E-B3B4BF846C23}"/>
                  </a:ext>
                </a:extLst>
              </p:cNvPr>
              <p:cNvSpPr/>
              <p:nvPr/>
            </p:nvSpPr>
            <p:spPr bwMode="gray">
              <a:xfrm>
                <a:off x="1109789" y="2893846"/>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7" name="Oval 116">
                <a:extLst>
                  <a:ext uri="{FF2B5EF4-FFF2-40B4-BE49-F238E27FC236}">
                    <a16:creationId xmlns:a16="http://schemas.microsoft.com/office/drawing/2014/main" id="{8224F509-E95E-27E0-46FA-8306219B0D4C}"/>
                  </a:ext>
                </a:extLst>
              </p:cNvPr>
              <p:cNvSpPr/>
              <p:nvPr/>
            </p:nvSpPr>
            <p:spPr bwMode="gray">
              <a:xfrm>
                <a:off x="1224248" y="2865661"/>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8" name="Oval 117">
                <a:extLst>
                  <a:ext uri="{FF2B5EF4-FFF2-40B4-BE49-F238E27FC236}">
                    <a16:creationId xmlns:a16="http://schemas.microsoft.com/office/drawing/2014/main" id="{0E2C98C8-E0AF-6798-EE15-B3174C3BD721}"/>
                  </a:ext>
                </a:extLst>
              </p:cNvPr>
              <p:cNvSpPr/>
              <p:nvPr/>
            </p:nvSpPr>
            <p:spPr bwMode="gray">
              <a:xfrm>
                <a:off x="1139310" y="2716911"/>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1" name="Oval 120">
                <a:extLst>
                  <a:ext uri="{FF2B5EF4-FFF2-40B4-BE49-F238E27FC236}">
                    <a16:creationId xmlns:a16="http://schemas.microsoft.com/office/drawing/2014/main" id="{DF788FA7-C8EF-D70B-1FEA-09A32CA7B915}"/>
                  </a:ext>
                </a:extLst>
              </p:cNvPr>
              <p:cNvSpPr/>
              <p:nvPr/>
            </p:nvSpPr>
            <p:spPr bwMode="gray">
              <a:xfrm>
                <a:off x="920141" y="2914716"/>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2" name="Oval 121">
                <a:extLst>
                  <a:ext uri="{FF2B5EF4-FFF2-40B4-BE49-F238E27FC236}">
                    <a16:creationId xmlns:a16="http://schemas.microsoft.com/office/drawing/2014/main" id="{174ABFEC-41F9-9935-90E0-E96F6243E340}"/>
                  </a:ext>
                </a:extLst>
              </p:cNvPr>
              <p:cNvSpPr/>
              <p:nvPr/>
            </p:nvSpPr>
            <p:spPr bwMode="gray">
              <a:xfrm>
                <a:off x="1074477" y="2944200"/>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23" name="Oval 122">
                <a:extLst>
                  <a:ext uri="{FF2B5EF4-FFF2-40B4-BE49-F238E27FC236}">
                    <a16:creationId xmlns:a16="http://schemas.microsoft.com/office/drawing/2014/main" id="{40B620EB-6147-B66B-DB95-DB4B6D6817BE}"/>
                  </a:ext>
                </a:extLst>
              </p:cNvPr>
              <p:cNvSpPr/>
              <p:nvPr/>
            </p:nvSpPr>
            <p:spPr bwMode="gray">
              <a:xfrm>
                <a:off x="1107570" y="3017304"/>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4" name="Oval 123">
                <a:extLst>
                  <a:ext uri="{FF2B5EF4-FFF2-40B4-BE49-F238E27FC236}">
                    <a16:creationId xmlns:a16="http://schemas.microsoft.com/office/drawing/2014/main" id="{DC125C52-3D58-3A00-73D2-015E1731206D}"/>
                  </a:ext>
                </a:extLst>
              </p:cNvPr>
              <p:cNvSpPr/>
              <p:nvPr/>
            </p:nvSpPr>
            <p:spPr bwMode="gray">
              <a:xfrm>
                <a:off x="1268320" y="3038601"/>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6" name="Oval 125">
                <a:extLst>
                  <a:ext uri="{FF2B5EF4-FFF2-40B4-BE49-F238E27FC236}">
                    <a16:creationId xmlns:a16="http://schemas.microsoft.com/office/drawing/2014/main" id="{52FA8B00-598A-F3E0-2C8D-FED0D70C59FA}"/>
                  </a:ext>
                </a:extLst>
              </p:cNvPr>
              <p:cNvSpPr/>
              <p:nvPr/>
            </p:nvSpPr>
            <p:spPr bwMode="gray">
              <a:xfrm>
                <a:off x="1317522" y="2998311"/>
                <a:ext cx="178212" cy="178212"/>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grpSp>
        <p:sp>
          <p:nvSpPr>
            <p:cNvPr id="128" name="Oval 127">
              <a:extLst>
                <a:ext uri="{FF2B5EF4-FFF2-40B4-BE49-F238E27FC236}">
                  <a16:creationId xmlns:a16="http://schemas.microsoft.com/office/drawing/2014/main" id="{1A977EB0-AA08-88B1-4702-6D186622717D}"/>
                </a:ext>
              </a:extLst>
            </p:cNvPr>
            <p:cNvSpPr/>
            <p:nvPr/>
          </p:nvSpPr>
          <p:spPr bwMode="gray">
            <a:xfrm>
              <a:off x="709575" y="2955546"/>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3" name="Oval 132">
              <a:extLst>
                <a:ext uri="{FF2B5EF4-FFF2-40B4-BE49-F238E27FC236}">
                  <a16:creationId xmlns:a16="http://schemas.microsoft.com/office/drawing/2014/main" id="{4345008B-91F9-B3E9-4E50-FDCA6BA70586}"/>
                </a:ext>
              </a:extLst>
            </p:cNvPr>
            <p:cNvSpPr/>
            <p:nvPr/>
          </p:nvSpPr>
          <p:spPr bwMode="gray">
            <a:xfrm>
              <a:off x="3394458" y="2668977"/>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4" name="Oval 133">
              <a:extLst>
                <a:ext uri="{FF2B5EF4-FFF2-40B4-BE49-F238E27FC236}">
                  <a16:creationId xmlns:a16="http://schemas.microsoft.com/office/drawing/2014/main" id="{E02E3E7C-390A-0E34-8440-7596B46C1DFC}"/>
                </a:ext>
              </a:extLst>
            </p:cNvPr>
            <p:cNvSpPr/>
            <p:nvPr/>
          </p:nvSpPr>
          <p:spPr bwMode="gray">
            <a:xfrm>
              <a:off x="3514135" y="2955546"/>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5" name="Oval 134">
              <a:extLst>
                <a:ext uri="{FF2B5EF4-FFF2-40B4-BE49-F238E27FC236}">
                  <a16:creationId xmlns:a16="http://schemas.microsoft.com/office/drawing/2014/main" id="{70A3B39E-6636-310A-FC9F-C721FB77E8F3}"/>
                </a:ext>
              </a:extLst>
            </p:cNvPr>
            <p:cNvSpPr/>
            <p:nvPr/>
          </p:nvSpPr>
          <p:spPr bwMode="gray">
            <a:xfrm>
              <a:off x="3394458" y="3271255"/>
              <a:ext cx="178212" cy="178212"/>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7" name="TextBox 136">
              <a:extLst>
                <a:ext uri="{FF2B5EF4-FFF2-40B4-BE49-F238E27FC236}">
                  <a16:creationId xmlns:a16="http://schemas.microsoft.com/office/drawing/2014/main" id="{90A19B9D-798F-DA5A-A8C1-E0D0DF80FDC7}"/>
                </a:ext>
              </a:extLst>
            </p:cNvPr>
            <p:cNvSpPr txBox="1"/>
            <p:nvPr>
              <p:custDataLst>
                <p:tags r:id="rId34"/>
              </p:custDataLst>
            </p:nvPr>
          </p:nvSpPr>
          <p:spPr bwMode="gray">
            <a:xfrm>
              <a:off x="844777" y="2936930"/>
              <a:ext cx="277166" cy="215444"/>
            </a:xfrm>
            <a:prstGeom prst="rect">
              <a:avLst/>
            </a:prstGeom>
            <a:noFill/>
          </p:spPr>
          <p:txBody>
            <a:bodyPr wrap="square" lIns="0" tIns="0" rIns="0" bIns="0" rtlCol="0">
              <a:spAutoFit/>
            </a:bodyPr>
            <a:lstStyle/>
            <a:p>
              <a:pPr marL="0" indent="0" algn="ctr">
                <a:buNone/>
              </a:pPr>
              <a:r>
                <a:rPr lang="en-US" sz="1400">
                  <a:solidFill>
                    <a:schemeClr val="tx1"/>
                  </a:solidFill>
                </a:rPr>
                <a:t>n</a:t>
              </a:r>
            </a:p>
          </p:txBody>
        </p:sp>
        <p:sp>
          <p:nvSpPr>
            <p:cNvPr id="138" name="TextBox 137">
              <a:extLst>
                <a:ext uri="{FF2B5EF4-FFF2-40B4-BE49-F238E27FC236}">
                  <a16:creationId xmlns:a16="http://schemas.microsoft.com/office/drawing/2014/main" id="{E2432A69-32CC-1E25-7820-2ECC890A5CE7}"/>
                </a:ext>
              </a:extLst>
            </p:cNvPr>
            <p:cNvSpPr txBox="1"/>
            <p:nvPr>
              <p:custDataLst>
                <p:tags r:id="rId35"/>
              </p:custDataLst>
            </p:nvPr>
          </p:nvSpPr>
          <p:spPr bwMode="gray">
            <a:xfrm>
              <a:off x="3514827" y="2640574"/>
              <a:ext cx="277166" cy="215444"/>
            </a:xfrm>
            <a:prstGeom prst="rect">
              <a:avLst/>
            </a:prstGeom>
            <a:noFill/>
          </p:spPr>
          <p:txBody>
            <a:bodyPr wrap="square" lIns="0" tIns="0" rIns="0" bIns="0" rtlCol="0">
              <a:spAutoFit/>
            </a:bodyPr>
            <a:lstStyle/>
            <a:p>
              <a:pPr marL="0" indent="0" algn="ctr">
                <a:buNone/>
              </a:pPr>
              <a:r>
                <a:rPr lang="en-US" sz="1400">
                  <a:solidFill>
                    <a:schemeClr val="tx1"/>
                  </a:solidFill>
                </a:rPr>
                <a:t>n</a:t>
              </a:r>
            </a:p>
          </p:txBody>
        </p:sp>
        <p:sp>
          <p:nvSpPr>
            <p:cNvPr id="140" name="TextBox 139">
              <a:extLst>
                <a:ext uri="{FF2B5EF4-FFF2-40B4-BE49-F238E27FC236}">
                  <a16:creationId xmlns:a16="http://schemas.microsoft.com/office/drawing/2014/main" id="{77CEF2C8-7B4B-5C4D-71B2-0F6B608443DC}"/>
                </a:ext>
              </a:extLst>
            </p:cNvPr>
            <p:cNvSpPr txBox="1"/>
            <p:nvPr>
              <p:custDataLst>
                <p:tags r:id="rId36"/>
              </p:custDataLst>
            </p:nvPr>
          </p:nvSpPr>
          <p:spPr bwMode="gray">
            <a:xfrm>
              <a:off x="3659380" y="2936930"/>
              <a:ext cx="277166" cy="215444"/>
            </a:xfrm>
            <a:prstGeom prst="rect">
              <a:avLst/>
            </a:prstGeom>
            <a:noFill/>
          </p:spPr>
          <p:txBody>
            <a:bodyPr wrap="square" lIns="0" tIns="0" rIns="0" bIns="0" rtlCol="0">
              <a:spAutoFit/>
            </a:bodyPr>
            <a:lstStyle/>
            <a:p>
              <a:pPr marL="0" indent="0" algn="ctr">
                <a:buNone/>
              </a:pPr>
              <a:r>
                <a:rPr lang="en-US" sz="1400">
                  <a:solidFill>
                    <a:schemeClr val="tx1"/>
                  </a:solidFill>
                </a:rPr>
                <a:t>n</a:t>
              </a:r>
            </a:p>
          </p:txBody>
        </p:sp>
        <p:sp>
          <p:nvSpPr>
            <p:cNvPr id="141" name="TextBox 140">
              <a:extLst>
                <a:ext uri="{FF2B5EF4-FFF2-40B4-BE49-F238E27FC236}">
                  <a16:creationId xmlns:a16="http://schemas.microsoft.com/office/drawing/2014/main" id="{B8FD0BFC-E5A0-94AE-5DBC-1CA3BA80B816}"/>
                </a:ext>
              </a:extLst>
            </p:cNvPr>
            <p:cNvSpPr txBox="1"/>
            <p:nvPr>
              <p:custDataLst>
                <p:tags r:id="rId37"/>
              </p:custDataLst>
            </p:nvPr>
          </p:nvSpPr>
          <p:spPr bwMode="gray">
            <a:xfrm>
              <a:off x="3523085" y="3260839"/>
              <a:ext cx="277166" cy="215444"/>
            </a:xfrm>
            <a:prstGeom prst="rect">
              <a:avLst/>
            </a:prstGeom>
            <a:noFill/>
          </p:spPr>
          <p:txBody>
            <a:bodyPr wrap="square" lIns="0" tIns="0" rIns="0" bIns="0" rtlCol="0">
              <a:spAutoFit/>
            </a:bodyPr>
            <a:lstStyle/>
            <a:p>
              <a:pPr marL="0" indent="0" algn="ctr">
                <a:buNone/>
              </a:pPr>
              <a:r>
                <a:rPr lang="en-US" sz="1400">
                  <a:solidFill>
                    <a:schemeClr val="tx1"/>
                  </a:solidFill>
                </a:rPr>
                <a:t>n</a:t>
              </a:r>
            </a:p>
          </p:txBody>
        </p:sp>
        <p:sp>
          <p:nvSpPr>
            <p:cNvPr id="143" name="TextBox 142">
              <a:extLst>
                <a:ext uri="{FF2B5EF4-FFF2-40B4-BE49-F238E27FC236}">
                  <a16:creationId xmlns:a16="http://schemas.microsoft.com/office/drawing/2014/main" id="{64421FB3-046F-C692-6DE9-C7698D61E1CE}"/>
                </a:ext>
              </a:extLst>
            </p:cNvPr>
            <p:cNvSpPr txBox="1"/>
            <p:nvPr>
              <p:custDataLst>
                <p:tags r:id="rId38"/>
              </p:custDataLst>
            </p:nvPr>
          </p:nvSpPr>
          <p:spPr bwMode="gray">
            <a:xfrm>
              <a:off x="3592480" y="2225925"/>
              <a:ext cx="277166" cy="215444"/>
            </a:xfrm>
            <a:prstGeom prst="rect">
              <a:avLst/>
            </a:prstGeom>
            <a:noFill/>
          </p:spPr>
          <p:txBody>
            <a:bodyPr wrap="square" lIns="0" tIns="0" rIns="0" bIns="0" rtlCol="0">
              <a:spAutoFit/>
            </a:bodyPr>
            <a:lstStyle/>
            <a:p>
              <a:pPr marL="0" indent="0" algn="ctr">
                <a:buNone/>
              </a:pPr>
              <a:r>
                <a:rPr lang="en-US" sz="1400">
                  <a:solidFill>
                    <a:schemeClr val="tx1"/>
                  </a:solidFill>
                </a:rPr>
                <a:t>Ba</a:t>
              </a:r>
            </a:p>
          </p:txBody>
        </p:sp>
        <p:sp>
          <p:nvSpPr>
            <p:cNvPr id="144" name="TextBox 143">
              <a:extLst>
                <a:ext uri="{FF2B5EF4-FFF2-40B4-BE49-F238E27FC236}">
                  <a16:creationId xmlns:a16="http://schemas.microsoft.com/office/drawing/2014/main" id="{EDD280F0-A3D9-223B-B32E-4CFCCD7A107A}"/>
                </a:ext>
              </a:extLst>
            </p:cNvPr>
            <p:cNvSpPr txBox="1"/>
            <p:nvPr>
              <p:custDataLst>
                <p:tags r:id="rId39"/>
              </p:custDataLst>
            </p:nvPr>
          </p:nvSpPr>
          <p:spPr bwMode="gray">
            <a:xfrm>
              <a:off x="3471245" y="3627609"/>
              <a:ext cx="277166" cy="215444"/>
            </a:xfrm>
            <a:prstGeom prst="rect">
              <a:avLst/>
            </a:prstGeom>
            <a:noFill/>
          </p:spPr>
          <p:txBody>
            <a:bodyPr wrap="square" lIns="0" tIns="0" rIns="0" bIns="0" rtlCol="0">
              <a:spAutoFit/>
            </a:bodyPr>
            <a:lstStyle/>
            <a:p>
              <a:pPr marL="0" indent="0" algn="ctr">
                <a:buNone/>
              </a:pPr>
              <a:r>
                <a:rPr lang="en-US" sz="1400">
                  <a:solidFill>
                    <a:schemeClr val="tx1"/>
                  </a:solidFill>
                </a:rPr>
                <a:t>Kr</a:t>
              </a:r>
            </a:p>
          </p:txBody>
        </p:sp>
        <p:sp>
          <p:nvSpPr>
            <p:cNvPr id="145" name="TextBox 144">
              <a:extLst>
                <a:ext uri="{FF2B5EF4-FFF2-40B4-BE49-F238E27FC236}">
                  <a16:creationId xmlns:a16="http://schemas.microsoft.com/office/drawing/2014/main" id="{1E0A23EE-31DC-063A-3DA9-D836AFC7622B}"/>
                </a:ext>
              </a:extLst>
            </p:cNvPr>
            <p:cNvSpPr txBox="1"/>
            <p:nvPr>
              <p:custDataLst>
                <p:tags r:id="rId40"/>
              </p:custDataLst>
            </p:nvPr>
          </p:nvSpPr>
          <p:spPr bwMode="gray">
            <a:xfrm>
              <a:off x="1632257" y="2398321"/>
              <a:ext cx="540119" cy="646331"/>
            </a:xfrm>
            <a:prstGeom prst="rect">
              <a:avLst/>
            </a:prstGeom>
            <a:noFill/>
          </p:spPr>
          <p:txBody>
            <a:bodyPr wrap="square" lIns="0" tIns="0" rIns="0" bIns="0" rtlCol="0">
              <a:spAutoFit/>
            </a:bodyPr>
            <a:lstStyle/>
            <a:p>
              <a:pPr marL="0" indent="0" algn="ctr">
                <a:buNone/>
              </a:pPr>
              <a:r>
                <a:rPr lang="en-US" sz="1400">
                  <a:solidFill>
                    <a:schemeClr val="tx1"/>
                  </a:solidFill>
                </a:rPr>
                <a:t>U-235</a:t>
              </a:r>
            </a:p>
          </p:txBody>
        </p:sp>
        <p:cxnSp>
          <p:nvCxnSpPr>
            <p:cNvPr id="147" name="Straight Arrow Connector 146">
              <a:extLst>
                <a:ext uri="{FF2B5EF4-FFF2-40B4-BE49-F238E27FC236}">
                  <a16:creationId xmlns:a16="http://schemas.microsoft.com/office/drawing/2014/main" id="{6AAEAB42-5B88-98E0-C618-B71ED394CC42}"/>
                </a:ext>
              </a:extLst>
            </p:cNvPr>
            <p:cNvCxnSpPr>
              <a:stCxn id="137" idx="3"/>
              <a:endCxn id="37" idx="3"/>
            </p:cNvCxnSpPr>
            <p:nvPr/>
          </p:nvCxnSpPr>
          <p:spPr bwMode="gray">
            <a:xfrm>
              <a:off x="1121943" y="3044652"/>
              <a:ext cx="381737" cy="0"/>
            </a:xfrm>
            <a:prstGeom prst="straightConnector1">
              <a:avLst/>
            </a:prstGeom>
            <a:ln w="127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id="{C393455E-4664-F39F-9D07-190DB81F58D3}"/>
                </a:ext>
              </a:extLst>
            </p:cNvPr>
            <p:cNvCxnSpPr>
              <a:cxnSpLocks/>
            </p:cNvCxnSpPr>
            <p:nvPr/>
          </p:nvCxnSpPr>
          <p:spPr bwMode="gray">
            <a:xfrm flipV="1">
              <a:off x="2407183" y="2486026"/>
              <a:ext cx="315697" cy="182951"/>
            </a:xfrm>
            <a:prstGeom prst="straightConnector1">
              <a:avLst/>
            </a:prstGeom>
            <a:ln w="127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AB27BABF-1A46-F9F7-EFFD-276CA0885627}"/>
                </a:ext>
              </a:extLst>
            </p:cNvPr>
            <p:cNvCxnSpPr>
              <a:cxnSpLocks/>
            </p:cNvCxnSpPr>
            <p:nvPr/>
          </p:nvCxnSpPr>
          <p:spPr bwMode="gray">
            <a:xfrm>
              <a:off x="2407183" y="3337524"/>
              <a:ext cx="315697" cy="182951"/>
            </a:xfrm>
            <a:prstGeom prst="straightConnector1">
              <a:avLst/>
            </a:prstGeom>
            <a:ln w="127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8CC7B5F4-DA92-782E-00E6-4BDB45CCE49A}"/>
                </a:ext>
              </a:extLst>
            </p:cNvPr>
            <p:cNvCxnSpPr>
              <a:cxnSpLocks/>
            </p:cNvCxnSpPr>
            <p:nvPr/>
          </p:nvCxnSpPr>
          <p:spPr bwMode="gray">
            <a:xfrm flipV="1">
              <a:off x="2512369" y="3051359"/>
              <a:ext cx="920517" cy="22547"/>
            </a:xfrm>
            <a:prstGeom prst="straightConnector1">
              <a:avLst/>
            </a:prstGeom>
            <a:ln w="127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9E1193A4-9E3A-5588-583F-789075093E28}"/>
                </a:ext>
              </a:extLst>
            </p:cNvPr>
            <p:cNvCxnSpPr>
              <a:cxnSpLocks/>
            </p:cNvCxnSpPr>
            <p:nvPr/>
          </p:nvCxnSpPr>
          <p:spPr bwMode="gray">
            <a:xfrm flipV="1">
              <a:off x="2512369" y="2771215"/>
              <a:ext cx="747673" cy="161380"/>
            </a:xfrm>
            <a:prstGeom prst="straightConnector1">
              <a:avLst/>
            </a:prstGeom>
            <a:ln w="127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57462FA1-C049-606A-D1F4-4BC3F8DE0CBF}"/>
                </a:ext>
              </a:extLst>
            </p:cNvPr>
            <p:cNvCxnSpPr>
              <a:cxnSpLocks/>
            </p:cNvCxnSpPr>
            <p:nvPr/>
          </p:nvCxnSpPr>
          <p:spPr bwMode="gray">
            <a:xfrm>
              <a:off x="2512369" y="3168230"/>
              <a:ext cx="747673" cy="161380"/>
            </a:xfrm>
            <a:prstGeom prst="straightConnector1">
              <a:avLst/>
            </a:prstGeom>
            <a:ln w="127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132" name="Group 131">
              <a:extLst>
                <a:ext uri="{FF2B5EF4-FFF2-40B4-BE49-F238E27FC236}">
                  <a16:creationId xmlns:a16="http://schemas.microsoft.com/office/drawing/2014/main" id="{4A8CAA75-75D2-FF9F-F6BF-AA6FB243D54D}"/>
                </a:ext>
              </a:extLst>
            </p:cNvPr>
            <p:cNvGrpSpPr/>
            <p:nvPr/>
          </p:nvGrpSpPr>
          <p:grpSpPr>
            <a:xfrm>
              <a:off x="2007629" y="2621892"/>
              <a:ext cx="1013942" cy="715632"/>
              <a:chOff x="2172731" y="2712354"/>
              <a:chExt cx="1013942" cy="715632"/>
            </a:xfrm>
          </p:grpSpPr>
          <p:sp>
            <p:nvSpPr>
              <p:cNvPr id="129" name="Explosion: 8 Points 128">
                <a:extLst>
                  <a:ext uri="{FF2B5EF4-FFF2-40B4-BE49-F238E27FC236}">
                    <a16:creationId xmlns:a16="http://schemas.microsoft.com/office/drawing/2014/main" id="{06C0BD6B-903A-BECD-7D31-843B595CF3E1}"/>
                  </a:ext>
                </a:extLst>
              </p:cNvPr>
              <p:cNvSpPr/>
              <p:nvPr/>
            </p:nvSpPr>
            <p:spPr bwMode="gray">
              <a:xfrm>
                <a:off x="2172731" y="2712354"/>
                <a:ext cx="1013942" cy="715632"/>
              </a:xfrm>
              <a:prstGeom prst="irregularSeal1">
                <a:avLst/>
              </a:prstGeom>
              <a:gradFill flip="none" rotWithShape="1">
                <a:gsLst>
                  <a:gs pos="0">
                    <a:srgbClr val="FFFF00"/>
                  </a:gs>
                  <a:gs pos="100000">
                    <a:srgbClr val="FFC000"/>
                  </a:gs>
                </a:gsLst>
                <a:path path="shape">
                  <a:fillToRect l="50000" t="50000" r="50000" b="50000"/>
                </a:path>
                <a:tileRect/>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en-US" sz="1200">
                  <a:solidFill>
                    <a:schemeClr val="tx1"/>
                  </a:solidFill>
                </a:endParaRPr>
              </a:p>
            </p:txBody>
          </p:sp>
          <p:sp>
            <p:nvSpPr>
              <p:cNvPr id="131" name="TextBox 130">
                <a:extLst>
                  <a:ext uri="{FF2B5EF4-FFF2-40B4-BE49-F238E27FC236}">
                    <a16:creationId xmlns:a16="http://schemas.microsoft.com/office/drawing/2014/main" id="{2E542D58-D9AD-4872-41F0-DDC979BD2A3D}"/>
                  </a:ext>
                </a:extLst>
              </p:cNvPr>
              <p:cNvSpPr txBox="1"/>
              <p:nvPr>
                <p:custDataLst>
                  <p:tags r:id="rId41"/>
                </p:custDataLst>
              </p:nvPr>
            </p:nvSpPr>
            <p:spPr bwMode="gray">
              <a:xfrm>
                <a:off x="2236840" y="2959264"/>
                <a:ext cx="869867" cy="184666"/>
              </a:xfrm>
              <a:prstGeom prst="rect">
                <a:avLst/>
              </a:prstGeom>
              <a:noFill/>
            </p:spPr>
            <p:txBody>
              <a:bodyPr wrap="square" lIns="0" tIns="0" rIns="0" bIns="0" rtlCol="0">
                <a:spAutoFit/>
              </a:bodyPr>
              <a:lstStyle/>
              <a:p>
                <a:pPr marL="0" indent="0" algn="ctr">
                  <a:buNone/>
                </a:pPr>
                <a:r>
                  <a:rPr lang="en-US" sz="1200">
                    <a:solidFill>
                      <a:schemeClr val="tx1"/>
                    </a:solidFill>
                  </a:rPr>
                  <a:t>200 MeV</a:t>
                </a:r>
              </a:p>
            </p:txBody>
          </p:sp>
        </p:grpSp>
      </p:grpSp>
      <p:grpSp>
        <p:nvGrpSpPr>
          <p:cNvPr id="4" name="Group 3">
            <a:extLst>
              <a:ext uri="{FF2B5EF4-FFF2-40B4-BE49-F238E27FC236}">
                <a16:creationId xmlns:a16="http://schemas.microsoft.com/office/drawing/2014/main" id="{2F731268-4FEA-A3BC-F24E-A27CBF347A48}"/>
              </a:ext>
            </a:extLst>
          </p:cNvPr>
          <p:cNvGrpSpPr/>
          <p:nvPr/>
        </p:nvGrpSpPr>
        <p:grpSpPr>
          <a:xfrm>
            <a:off x="734423" y="4390723"/>
            <a:ext cx="3123015" cy="1501775"/>
            <a:chOff x="734423" y="4390723"/>
            <a:chExt cx="3123015" cy="1501775"/>
          </a:xfrm>
        </p:grpSpPr>
        <p:sp>
          <p:nvSpPr>
            <p:cNvPr id="1037" name="Oval 1036">
              <a:extLst>
                <a:ext uri="{FF2B5EF4-FFF2-40B4-BE49-F238E27FC236}">
                  <a16:creationId xmlns:a16="http://schemas.microsoft.com/office/drawing/2014/main" id="{8FB2D082-174B-8B1B-2B8D-91C055AFC93B}"/>
                </a:ext>
              </a:extLst>
            </p:cNvPr>
            <p:cNvSpPr/>
            <p:nvPr/>
          </p:nvSpPr>
          <p:spPr bwMode="gray">
            <a:xfrm>
              <a:off x="1568434" y="4699597"/>
              <a:ext cx="909827" cy="845921"/>
            </a:xfrm>
            <a:prstGeom prst="ellipse">
              <a:avLst/>
            </a:prstGeom>
            <a:gradFill flip="none" rotWithShape="1">
              <a:gsLst>
                <a:gs pos="32000">
                  <a:srgbClr val="FFFFFF"/>
                </a:gs>
                <a:gs pos="100000">
                  <a:srgbClr val="FFC000"/>
                </a:gs>
              </a:gsLst>
              <a:path path="shap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162" name="Group 161">
              <a:extLst>
                <a:ext uri="{FF2B5EF4-FFF2-40B4-BE49-F238E27FC236}">
                  <a16:creationId xmlns:a16="http://schemas.microsoft.com/office/drawing/2014/main" id="{C5B0283F-526C-20CE-1668-D769A7DA0970}"/>
                </a:ext>
              </a:extLst>
            </p:cNvPr>
            <p:cNvGrpSpPr/>
            <p:nvPr/>
          </p:nvGrpSpPr>
          <p:grpSpPr>
            <a:xfrm>
              <a:off x="1066497" y="4623202"/>
              <a:ext cx="271147" cy="239432"/>
              <a:chOff x="744628" y="4695085"/>
              <a:chExt cx="271147" cy="239432"/>
            </a:xfrm>
          </p:grpSpPr>
          <p:sp>
            <p:nvSpPr>
              <p:cNvPr id="160" name="Oval 159">
                <a:extLst>
                  <a:ext uri="{FF2B5EF4-FFF2-40B4-BE49-F238E27FC236}">
                    <a16:creationId xmlns:a16="http://schemas.microsoft.com/office/drawing/2014/main" id="{77E7536C-053B-D618-FD47-077B53BAF79D}"/>
                  </a:ext>
                </a:extLst>
              </p:cNvPr>
              <p:cNvSpPr/>
              <p:nvPr/>
            </p:nvSpPr>
            <p:spPr bwMode="gray">
              <a:xfrm>
                <a:off x="846321" y="4695085"/>
                <a:ext cx="169454" cy="169454"/>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1" name="Oval 160">
                <a:extLst>
                  <a:ext uri="{FF2B5EF4-FFF2-40B4-BE49-F238E27FC236}">
                    <a16:creationId xmlns:a16="http://schemas.microsoft.com/office/drawing/2014/main" id="{20F94BC4-1599-6046-CE12-3DACF92CE25F}"/>
                  </a:ext>
                </a:extLst>
              </p:cNvPr>
              <p:cNvSpPr/>
              <p:nvPr/>
            </p:nvSpPr>
            <p:spPr bwMode="gray">
              <a:xfrm>
                <a:off x="744628" y="4765063"/>
                <a:ext cx="169454" cy="169454"/>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grpSp>
        <p:grpSp>
          <p:nvGrpSpPr>
            <p:cNvPr id="163" name="Group 162">
              <a:extLst>
                <a:ext uri="{FF2B5EF4-FFF2-40B4-BE49-F238E27FC236}">
                  <a16:creationId xmlns:a16="http://schemas.microsoft.com/office/drawing/2014/main" id="{F88D8439-2140-787F-1937-5C7AA7F9BE5F}"/>
                </a:ext>
              </a:extLst>
            </p:cNvPr>
            <p:cNvGrpSpPr/>
            <p:nvPr/>
          </p:nvGrpSpPr>
          <p:grpSpPr>
            <a:xfrm>
              <a:off x="1066216" y="5369693"/>
              <a:ext cx="271147" cy="297943"/>
              <a:chOff x="744628" y="4695085"/>
              <a:chExt cx="271147" cy="297943"/>
            </a:xfrm>
          </p:grpSpPr>
          <p:sp>
            <p:nvSpPr>
              <p:cNvPr id="164" name="Oval 163">
                <a:extLst>
                  <a:ext uri="{FF2B5EF4-FFF2-40B4-BE49-F238E27FC236}">
                    <a16:creationId xmlns:a16="http://schemas.microsoft.com/office/drawing/2014/main" id="{3172106C-7D69-9DF7-9DC2-946575CEBC45}"/>
                  </a:ext>
                </a:extLst>
              </p:cNvPr>
              <p:cNvSpPr/>
              <p:nvPr/>
            </p:nvSpPr>
            <p:spPr bwMode="gray">
              <a:xfrm>
                <a:off x="846321" y="4695085"/>
                <a:ext cx="169454" cy="169454"/>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5" name="Oval 164">
                <a:extLst>
                  <a:ext uri="{FF2B5EF4-FFF2-40B4-BE49-F238E27FC236}">
                    <a16:creationId xmlns:a16="http://schemas.microsoft.com/office/drawing/2014/main" id="{5B53535B-FAC2-A213-0BDB-9FE9C517E535}"/>
                  </a:ext>
                </a:extLst>
              </p:cNvPr>
              <p:cNvSpPr/>
              <p:nvPr/>
            </p:nvSpPr>
            <p:spPr bwMode="gray">
              <a:xfrm>
                <a:off x="744628" y="4765063"/>
                <a:ext cx="169454" cy="169454"/>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66" name="Oval 165">
                <a:extLst>
                  <a:ext uri="{FF2B5EF4-FFF2-40B4-BE49-F238E27FC236}">
                    <a16:creationId xmlns:a16="http://schemas.microsoft.com/office/drawing/2014/main" id="{645BD17B-6A79-71C1-CC56-FDD97BFAB497}"/>
                  </a:ext>
                </a:extLst>
              </p:cNvPr>
              <p:cNvSpPr/>
              <p:nvPr/>
            </p:nvSpPr>
            <p:spPr bwMode="gray">
              <a:xfrm>
                <a:off x="846321" y="4823574"/>
                <a:ext cx="169454" cy="169454"/>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176" name="Group 175">
              <a:extLst>
                <a:ext uri="{FF2B5EF4-FFF2-40B4-BE49-F238E27FC236}">
                  <a16:creationId xmlns:a16="http://schemas.microsoft.com/office/drawing/2014/main" id="{E2F9213A-6208-CF5F-DFFC-8CBC6DBE1799}"/>
                </a:ext>
              </a:extLst>
            </p:cNvPr>
            <p:cNvGrpSpPr/>
            <p:nvPr/>
          </p:nvGrpSpPr>
          <p:grpSpPr>
            <a:xfrm>
              <a:off x="1853489" y="4948338"/>
              <a:ext cx="317104" cy="327347"/>
              <a:chOff x="1853489" y="4948338"/>
              <a:chExt cx="317104" cy="327347"/>
            </a:xfrm>
          </p:grpSpPr>
          <p:grpSp>
            <p:nvGrpSpPr>
              <p:cNvPr id="167" name="Group 166">
                <a:extLst>
                  <a:ext uri="{FF2B5EF4-FFF2-40B4-BE49-F238E27FC236}">
                    <a16:creationId xmlns:a16="http://schemas.microsoft.com/office/drawing/2014/main" id="{52F90CF4-A6B8-AC91-95FE-5D73E0AB0072}"/>
                  </a:ext>
                </a:extLst>
              </p:cNvPr>
              <p:cNvGrpSpPr/>
              <p:nvPr/>
            </p:nvGrpSpPr>
            <p:grpSpPr>
              <a:xfrm>
                <a:off x="1853489" y="4948338"/>
                <a:ext cx="271147" cy="239432"/>
                <a:chOff x="744628" y="4695085"/>
                <a:chExt cx="271147" cy="239432"/>
              </a:xfrm>
            </p:grpSpPr>
            <p:sp>
              <p:nvSpPr>
                <p:cNvPr id="168" name="Oval 167">
                  <a:extLst>
                    <a:ext uri="{FF2B5EF4-FFF2-40B4-BE49-F238E27FC236}">
                      <a16:creationId xmlns:a16="http://schemas.microsoft.com/office/drawing/2014/main" id="{2CB400DD-874F-AD5D-57CF-1904C165BFD4}"/>
                    </a:ext>
                  </a:extLst>
                </p:cNvPr>
                <p:cNvSpPr/>
                <p:nvPr/>
              </p:nvSpPr>
              <p:spPr bwMode="gray">
                <a:xfrm>
                  <a:off x="846321" y="4695085"/>
                  <a:ext cx="169454" cy="169454"/>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9" name="Oval 168">
                  <a:extLst>
                    <a:ext uri="{FF2B5EF4-FFF2-40B4-BE49-F238E27FC236}">
                      <a16:creationId xmlns:a16="http://schemas.microsoft.com/office/drawing/2014/main" id="{2ADE7311-D943-4D1D-7105-72B26EA4F7B3}"/>
                    </a:ext>
                  </a:extLst>
                </p:cNvPr>
                <p:cNvSpPr/>
                <p:nvPr/>
              </p:nvSpPr>
              <p:spPr bwMode="gray">
                <a:xfrm>
                  <a:off x="744628" y="4765063"/>
                  <a:ext cx="169454" cy="169454"/>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grpSp>
          <p:grpSp>
            <p:nvGrpSpPr>
              <p:cNvPr id="173" name="Group 172">
                <a:extLst>
                  <a:ext uri="{FF2B5EF4-FFF2-40B4-BE49-F238E27FC236}">
                    <a16:creationId xmlns:a16="http://schemas.microsoft.com/office/drawing/2014/main" id="{D8CA0DEA-BFA3-A339-40DD-56D490B30899}"/>
                  </a:ext>
                </a:extLst>
              </p:cNvPr>
              <p:cNvGrpSpPr/>
              <p:nvPr/>
            </p:nvGrpSpPr>
            <p:grpSpPr>
              <a:xfrm rot="10582801">
                <a:off x="1899446" y="5036253"/>
                <a:ext cx="271147" cy="239432"/>
                <a:chOff x="744628" y="4695085"/>
                <a:chExt cx="271147" cy="239432"/>
              </a:xfrm>
            </p:grpSpPr>
            <p:sp>
              <p:nvSpPr>
                <p:cNvPr id="174" name="Oval 173">
                  <a:extLst>
                    <a:ext uri="{FF2B5EF4-FFF2-40B4-BE49-F238E27FC236}">
                      <a16:creationId xmlns:a16="http://schemas.microsoft.com/office/drawing/2014/main" id="{442095FE-E74A-734A-6596-5094F924F424}"/>
                    </a:ext>
                  </a:extLst>
                </p:cNvPr>
                <p:cNvSpPr/>
                <p:nvPr/>
              </p:nvSpPr>
              <p:spPr bwMode="gray">
                <a:xfrm>
                  <a:off x="846321" y="4695085"/>
                  <a:ext cx="169454" cy="169454"/>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5" name="Oval 174">
                  <a:extLst>
                    <a:ext uri="{FF2B5EF4-FFF2-40B4-BE49-F238E27FC236}">
                      <a16:creationId xmlns:a16="http://schemas.microsoft.com/office/drawing/2014/main" id="{3DA5E872-60FF-D97E-0A73-778E8C717400}"/>
                    </a:ext>
                  </a:extLst>
                </p:cNvPr>
                <p:cNvSpPr/>
                <p:nvPr/>
              </p:nvSpPr>
              <p:spPr bwMode="gray">
                <a:xfrm>
                  <a:off x="744628" y="4765063"/>
                  <a:ext cx="169454" cy="169454"/>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grpSp>
        </p:grpSp>
        <p:grpSp>
          <p:nvGrpSpPr>
            <p:cNvPr id="177" name="Group 176">
              <a:extLst>
                <a:ext uri="{FF2B5EF4-FFF2-40B4-BE49-F238E27FC236}">
                  <a16:creationId xmlns:a16="http://schemas.microsoft.com/office/drawing/2014/main" id="{71BE02AD-F4A4-ECAF-5051-FB604E44B4B4}"/>
                </a:ext>
              </a:extLst>
            </p:cNvPr>
            <p:cNvGrpSpPr/>
            <p:nvPr/>
          </p:nvGrpSpPr>
          <p:grpSpPr>
            <a:xfrm>
              <a:off x="2914021" y="4511114"/>
              <a:ext cx="317104" cy="327347"/>
              <a:chOff x="1853489" y="4948338"/>
              <a:chExt cx="317104" cy="327347"/>
            </a:xfrm>
          </p:grpSpPr>
          <p:grpSp>
            <p:nvGrpSpPr>
              <p:cNvPr id="178" name="Group 177">
                <a:extLst>
                  <a:ext uri="{FF2B5EF4-FFF2-40B4-BE49-F238E27FC236}">
                    <a16:creationId xmlns:a16="http://schemas.microsoft.com/office/drawing/2014/main" id="{1D05EF61-3BF5-9261-6F5E-587F627F8E00}"/>
                  </a:ext>
                </a:extLst>
              </p:cNvPr>
              <p:cNvGrpSpPr/>
              <p:nvPr/>
            </p:nvGrpSpPr>
            <p:grpSpPr>
              <a:xfrm>
                <a:off x="1853489" y="4948338"/>
                <a:ext cx="271147" cy="239432"/>
                <a:chOff x="744628" y="4695085"/>
                <a:chExt cx="271147" cy="239432"/>
              </a:xfrm>
            </p:grpSpPr>
            <p:sp>
              <p:nvSpPr>
                <p:cNvPr id="182" name="Oval 181">
                  <a:extLst>
                    <a:ext uri="{FF2B5EF4-FFF2-40B4-BE49-F238E27FC236}">
                      <a16:creationId xmlns:a16="http://schemas.microsoft.com/office/drawing/2014/main" id="{BDF3D6E3-503F-A017-C1EF-BB2A4535C607}"/>
                    </a:ext>
                  </a:extLst>
                </p:cNvPr>
                <p:cNvSpPr/>
                <p:nvPr/>
              </p:nvSpPr>
              <p:spPr bwMode="gray">
                <a:xfrm>
                  <a:off x="846321" y="4695085"/>
                  <a:ext cx="169454" cy="169454"/>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4" name="Oval 183">
                  <a:extLst>
                    <a:ext uri="{FF2B5EF4-FFF2-40B4-BE49-F238E27FC236}">
                      <a16:creationId xmlns:a16="http://schemas.microsoft.com/office/drawing/2014/main" id="{580649FD-C6F6-0CD5-46E9-1FDFE9EE858C}"/>
                    </a:ext>
                  </a:extLst>
                </p:cNvPr>
                <p:cNvSpPr/>
                <p:nvPr/>
              </p:nvSpPr>
              <p:spPr bwMode="gray">
                <a:xfrm>
                  <a:off x="744628" y="4765063"/>
                  <a:ext cx="169454" cy="169454"/>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grpSp>
          <p:grpSp>
            <p:nvGrpSpPr>
              <p:cNvPr id="179" name="Group 178">
                <a:extLst>
                  <a:ext uri="{FF2B5EF4-FFF2-40B4-BE49-F238E27FC236}">
                    <a16:creationId xmlns:a16="http://schemas.microsoft.com/office/drawing/2014/main" id="{E04EAB16-3FEC-4AFA-5FB1-52F193C58D70}"/>
                  </a:ext>
                </a:extLst>
              </p:cNvPr>
              <p:cNvGrpSpPr/>
              <p:nvPr/>
            </p:nvGrpSpPr>
            <p:grpSpPr>
              <a:xfrm rot="10582801">
                <a:off x="1899446" y="5036253"/>
                <a:ext cx="271147" cy="239432"/>
                <a:chOff x="744628" y="4695085"/>
                <a:chExt cx="271147" cy="239432"/>
              </a:xfrm>
            </p:grpSpPr>
            <p:sp>
              <p:nvSpPr>
                <p:cNvPr id="180" name="Oval 179">
                  <a:extLst>
                    <a:ext uri="{FF2B5EF4-FFF2-40B4-BE49-F238E27FC236}">
                      <a16:creationId xmlns:a16="http://schemas.microsoft.com/office/drawing/2014/main" id="{2652F517-A8E6-1886-F710-C4CA8DA0AC61}"/>
                    </a:ext>
                  </a:extLst>
                </p:cNvPr>
                <p:cNvSpPr/>
                <p:nvPr/>
              </p:nvSpPr>
              <p:spPr bwMode="gray">
                <a:xfrm>
                  <a:off x="846321" y="4695085"/>
                  <a:ext cx="169454" cy="169454"/>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1" name="Oval 180">
                  <a:extLst>
                    <a:ext uri="{FF2B5EF4-FFF2-40B4-BE49-F238E27FC236}">
                      <a16:creationId xmlns:a16="http://schemas.microsoft.com/office/drawing/2014/main" id="{44380E48-E859-C2AF-52D3-D592A0C91829}"/>
                    </a:ext>
                  </a:extLst>
                </p:cNvPr>
                <p:cNvSpPr/>
                <p:nvPr/>
              </p:nvSpPr>
              <p:spPr bwMode="gray">
                <a:xfrm>
                  <a:off x="744628" y="4765063"/>
                  <a:ext cx="169454" cy="169454"/>
                </a:xfrm>
                <a:prstGeom prst="ellipse">
                  <a:avLst/>
                </a:prstGeom>
                <a:solidFill>
                  <a:srgbClr val="FF0000"/>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grpSp>
        </p:grpSp>
        <p:sp>
          <p:nvSpPr>
            <p:cNvPr id="187" name="Oval 186">
              <a:extLst>
                <a:ext uri="{FF2B5EF4-FFF2-40B4-BE49-F238E27FC236}">
                  <a16:creationId xmlns:a16="http://schemas.microsoft.com/office/drawing/2014/main" id="{74A48A04-BD82-1B8E-2E8D-3959428F6BE1}"/>
                </a:ext>
              </a:extLst>
            </p:cNvPr>
            <p:cNvSpPr/>
            <p:nvPr/>
          </p:nvSpPr>
          <p:spPr bwMode="gray">
            <a:xfrm rot="10582801">
              <a:off x="2971091" y="5586369"/>
              <a:ext cx="169454" cy="169454"/>
            </a:xfrm>
            <a:prstGeom prst="ellipse">
              <a:avLst/>
            </a:prstGeom>
            <a:solidFill>
              <a:schemeClr val="tx2"/>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24" name="Straight Arrow Connector 1023">
              <a:extLst>
                <a:ext uri="{FF2B5EF4-FFF2-40B4-BE49-F238E27FC236}">
                  <a16:creationId xmlns:a16="http://schemas.microsoft.com/office/drawing/2014/main" id="{002A60AC-6C8A-DDC5-682F-9BC4FBECC3CC}"/>
                </a:ext>
              </a:extLst>
            </p:cNvPr>
            <p:cNvCxnSpPr>
              <a:cxnSpLocks/>
            </p:cNvCxnSpPr>
            <p:nvPr/>
          </p:nvCxnSpPr>
          <p:spPr bwMode="gray">
            <a:xfrm flipV="1">
              <a:off x="1431048" y="5196980"/>
              <a:ext cx="362976" cy="283429"/>
            </a:xfrm>
            <a:prstGeom prst="straightConnector1">
              <a:avLst/>
            </a:prstGeom>
            <a:ln w="127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27" name="Straight Arrow Connector 1026">
              <a:extLst>
                <a:ext uri="{FF2B5EF4-FFF2-40B4-BE49-F238E27FC236}">
                  <a16:creationId xmlns:a16="http://schemas.microsoft.com/office/drawing/2014/main" id="{D14EC972-E5EA-7338-5559-F056DFA92AA4}"/>
                </a:ext>
              </a:extLst>
            </p:cNvPr>
            <p:cNvCxnSpPr>
              <a:cxnSpLocks/>
            </p:cNvCxnSpPr>
            <p:nvPr/>
          </p:nvCxnSpPr>
          <p:spPr bwMode="gray">
            <a:xfrm>
              <a:off x="1431048" y="4778848"/>
              <a:ext cx="362976" cy="283429"/>
            </a:xfrm>
            <a:prstGeom prst="straightConnector1">
              <a:avLst/>
            </a:prstGeom>
            <a:ln w="127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28" name="Straight Arrow Connector 1027">
              <a:extLst>
                <a:ext uri="{FF2B5EF4-FFF2-40B4-BE49-F238E27FC236}">
                  <a16:creationId xmlns:a16="http://schemas.microsoft.com/office/drawing/2014/main" id="{5746E701-8C82-DB63-9889-326C16C10B0F}"/>
                </a:ext>
              </a:extLst>
            </p:cNvPr>
            <p:cNvCxnSpPr>
              <a:cxnSpLocks/>
            </p:cNvCxnSpPr>
            <p:nvPr/>
          </p:nvCxnSpPr>
          <p:spPr bwMode="gray">
            <a:xfrm flipV="1">
              <a:off x="2374095" y="4766377"/>
              <a:ext cx="516123" cy="252588"/>
            </a:xfrm>
            <a:prstGeom prst="straightConnector1">
              <a:avLst/>
            </a:prstGeom>
            <a:ln w="127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31" name="Straight Arrow Connector 1030">
              <a:extLst>
                <a:ext uri="{FF2B5EF4-FFF2-40B4-BE49-F238E27FC236}">
                  <a16:creationId xmlns:a16="http://schemas.microsoft.com/office/drawing/2014/main" id="{456603D5-AAA5-C035-1FA5-66AE738412D0}"/>
                </a:ext>
              </a:extLst>
            </p:cNvPr>
            <p:cNvCxnSpPr>
              <a:cxnSpLocks/>
            </p:cNvCxnSpPr>
            <p:nvPr/>
          </p:nvCxnSpPr>
          <p:spPr bwMode="gray">
            <a:xfrm>
              <a:off x="2374095" y="5328601"/>
              <a:ext cx="516123" cy="252588"/>
            </a:xfrm>
            <a:prstGeom prst="straightConnector1">
              <a:avLst/>
            </a:prstGeom>
            <a:ln w="127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1032" name="Group 1031">
              <a:extLst>
                <a:ext uri="{FF2B5EF4-FFF2-40B4-BE49-F238E27FC236}">
                  <a16:creationId xmlns:a16="http://schemas.microsoft.com/office/drawing/2014/main" id="{CEEFEF80-B0E9-29AC-75DA-CB9DDBA79DA8}"/>
                </a:ext>
              </a:extLst>
            </p:cNvPr>
            <p:cNvGrpSpPr/>
            <p:nvPr/>
          </p:nvGrpSpPr>
          <p:grpSpPr>
            <a:xfrm>
              <a:off x="2046260" y="4840074"/>
              <a:ext cx="896843" cy="632985"/>
              <a:chOff x="2046260" y="4840074"/>
              <a:chExt cx="896843" cy="632985"/>
            </a:xfrm>
          </p:grpSpPr>
          <p:sp>
            <p:nvSpPr>
              <p:cNvPr id="188" name="Explosion: 8 Points 187">
                <a:extLst>
                  <a:ext uri="{FF2B5EF4-FFF2-40B4-BE49-F238E27FC236}">
                    <a16:creationId xmlns:a16="http://schemas.microsoft.com/office/drawing/2014/main" id="{6CDFC63C-F8FB-64A8-3D18-1AB3228CFF7A}"/>
                  </a:ext>
                </a:extLst>
              </p:cNvPr>
              <p:cNvSpPr/>
              <p:nvPr/>
            </p:nvSpPr>
            <p:spPr bwMode="gray">
              <a:xfrm>
                <a:off x="2046260" y="4840074"/>
                <a:ext cx="896843" cy="632985"/>
              </a:xfrm>
              <a:prstGeom prst="irregularSeal1">
                <a:avLst/>
              </a:prstGeom>
              <a:gradFill flip="none" rotWithShape="1">
                <a:gsLst>
                  <a:gs pos="0">
                    <a:srgbClr val="FFFF00"/>
                  </a:gs>
                  <a:gs pos="100000">
                    <a:srgbClr val="FFC000"/>
                  </a:gs>
                </a:gsLst>
                <a:path path="shape">
                  <a:fillToRect l="50000" t="50000" r="50000" b="50000"/>
                </a:path>
                <a:tileRect/>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en-US" sz="1200">
                  <a:solidFill>
                    <a:schemeClr val="tx1"/>
                  </a:solidFill>
                </a:endParaRPr>
              </a:p>
            </p:txBody>
          </p:sp>
          <p:sp>
            <p:nvSpPr>
              <p:cNvPr id="189" name="TextBox 188">
                <a:extLst>
                  <a:ext uri="{FF2B5EF4-FFF2-40B4-BE49-F238E27FC236}">
                    <a16:creationId xmlns:a16="http://schemas.microsoft.com/office/drawing/2014/main" id="{54934F29-BF2E-AABC-DFC2-1386236271B5}"/>
                  </a:ext>
                </a:extLst>
              </p:cNvPr>
              <p:cNvSpPr txBox="1"/>
              <p:nvPr>
                <p:custDataLst>
                  <p:tags r:id="rId33"/>
                </p:custDataLst>
              </p:nvPr>
            </p:nvSpPr>
            <p:spPr bwMode="gray">
              <a:xfrm>
                <a:off x="2098459" y="5068771"/>
                <a:ext cx="827117" cy="153888"/>
              </a:xfrm>
              <a:prstGeom prst="rect">
                <a:avLst/>
              </a:prstGeom>
              <a:noFill/>
            </p:spPr>
            <p:txBody>
              <a:bodyPr wrap="square" lIns="0" tIns="0" rIns="0" bIns="0" rtlCol="0">
                <a:spAutoFit/>
              </a:bodyPr>
              <a:lstStyle/>
              <a:p>
                <a:pPr marL="0" indent="0" algn="ctr">
                  <a:buNone/>
                </a:pPr>
                <a:r>
                  <a:rPr lang="en-US" sz="1000">
                    <a:solidFill>
                      <a:schemeClr val="tx1"/>
                    </a:solidFill>
                  </a:rPr>
                  <a:t>17.6 MeV</a:t>
                </a:r>
              </a:p>
            </p:txBody>
          </p:sp>
        </p:grpSp>
        <p:sp>
          <p:nvSpPr>
            <p:cNvPr id="1033" name="TextBox 1032">
              <a:extLst>
                <a:ext uri="{FF2B5EF4-FFF2-40B4-BE49-F238E27FC236}">
                  <a16:creationId xmlns:a16="http://schemas.microsoft.com/office/drawing/2014/main" id="{075DD39E-9768-AF14-A788-CFAD9416F063}"/>
                </a:ext>
              </a:extLst>
            </p:cNvPr>
            <p:cNvSpPr txBox="1"/>
            <p:nvPr>
              <p:custDataLst>
                <p:tags r:id="rId28"/>
              </p:custDataLst>
            </p:nvPr>
          </p:nvSpPr>
          <p:spPr bwMode="gray">
            <a:xfrm>
              <a:off x="778577" y="4390723"/>
              <a:ext cx="909827" cy="249625"/>
            </a:xfrm>
            <a:prstGeom prst="rect">
              <a:avLst/>
            </a:prstGeom>
            <a:noFill/>
          </p:spPr>
          <p:txBody>
            <a:bodyPr wrap="square" lIns="0" tIns="0" rIns="0" bIns="0" rtlCol="0">
              <a:spAutoFit/>
            </a:bodyPr>
            <a:lstStyle/>
            <a:p>
              <a:pPr marL="0" indent="0" algn="ctr">
                <a:buNone/>
              </a:pPr>
              <a:r>
                <a:rPr lang="en-US" sz="1400">
                  <a:solidFill>
                    <a:schemeClr val="tx1"/>
                  </a:solidFill>
                </a:rPr>
                <a:t>Deuterium</a:t>
              </a:r>
            </a:p>
          </p:txBody>
        </p:sp>
        <p:sp>
          <p:nvSpPr>
            <p:cNvPr id="1034" name="TextBox 1033">
              <a:extLst>
                <a:ext uri="{FF2B5EF4-FFF2-40B4-BE49-F238E27FC236}">
                  <a16:creationId xmlns:a16="http://schemas.microsoft.com/office/drawing/2014/main" id="{22C8FF99-1F78-2A62-C2C7-C5DA3169EA3C}"/>
                </a:ext>
              </a:extLst>
            </p:cNvPr>
            <p:cNvSpPr txBox="1"/>
            <p:nvPr>
              <p:custDataLst>
                <p:tags r:id="rId29"/>
              </p:custDataLst>
            </p:nvPr>
          </p:nvSpPr>
          <p:spPr bwMode="gray">
            <a:xfrm>
              <a:off x="734423" y="5677054"/>
              <a:ext cx="909827" cy="215444"/>
            </a:xfrm>
            <a:prstGeom prst="rect">
              <a:avLst/>
            </a:prstGeom>
            <a:noFill/>
          </p:spPr>
          <p:txBody>
            <a:bodyPr wrap="square" lIns="0" tIns="0" rIns="0" bIns="0" rtlCol="0">
              <a:spAutoFit/>
            </a:bodyPr>
            <a:lstStyle/>
            <a:p>
              <a:pPr marL="0" indent="0" algn="ctr">
                <a:buNone/>
              </a:pPr>
              <a:r>
                <a:rPr lang="en-US" sz="1400">
                  <a:solidFill>
                    <a:schemeClr val="tx1"/>
                  </a:solidFill>
                </a:rPr>
                <a:t>Tritium</a:t>
              </a:r>
            </a:p>
          </p:txBody>
        </p:sp>
        <p:sp>
          <p:nvSpPr>
            <p:cNvPr id="1035" name="TextBox 1034">
              <a:extLst>
                <a:ext uri="{FF2B5EF4-FFF2-40B4-BE49-F238E27FC236}">
                  <a16:creationId xmlns:a16="http://schemas.microsoft.com/office/drawing/2014/main" id="{E8771F38-37F9-6F62-CB90-854B7A1D05AB}"/>
                </a:ext>
              </a:extLst>
            </p:cNvPr>
            <p:cNvSpPr txBox="1"/>
            <p:nvPr>
              <p:custDataLst>
                <p:tags r:id="rId30"/>
              </p:custDataLst>
            </p:nvPr>
          </p:nvSpPr>
          <p:spPr bwMode="gray">
            <a:xfrm>
              <a:off x="3268719" y="4555447"/>
              <a:ext cx="588719" cy="215444"/>
            </a:xfrm>
            <a:prstGeom prst="rect">
              <a:avLst/>
            </a:prstGeom>
            <a:noFill/>
          </p:spPr>
          <p:txBody>
            <a:bodyPr wrap="square" lIns="0" tIns="0" rIns="0" bIns="0" rtlCol="0">
              <a:spAutoFit/>
            </a:bodyPr>
            <a:lstStyle/>
            <a:p>
              <a:pPr marL="0" indent="0" algn="ctr">
                <a:buNone/>
              </a:pPr>
              <a:r>
                <a:rPr lang="en-US" sz="1400">
                  <a:solidFill>
                    <a:schemeClr val="tx1"/>
                  </a:solidFill>
                </a:rPr>
                <a:t>Helium</a:t>
              </a:r>
            </a:p>
          </p:txBody>
        </p:sp>
        <p:sp>
          <p:nvSpPr>
            <p:cNvPr id="1036" name="TextBox 1035">
              <a:extLst>
                <a:ext uri="{FF2B5EF4-FFF2-40B4-BE49-F238E27FC236}">
                  <a16:creationId xmlns:a16="http://schemas.microsoft.com/office/drawing/2014/main" id="{8AB537F2-1431-E3FD-DB71-0FEF127294C1}"/>
                </a:ext>
              </a:extLst>
            </p:cNvPr>
            <p:cNvSpPr txBox="1"/>
            <p:nvPr>
              <p:custDataLst>
                <p:tags r:id="rId31"/>
              </p:custDataLst>
            </p:nvPr>
          </p:nvSpPr>
          <p:spPr bwMode="gray">
            <a:xfrm>
              <a:off x="3136277" y="5558690"/>
              <a:ext cx="209552" cy="215444"/>
            </a:xfrm>
            <a:prstGeom prst="rect">
              <a:avLst/>
            </a:prstGeom>
            <a:noFill/>
          </p:spPr>
          <p:txBody>
            <a:bodyPr wrap="square" lIns="0" tIns="0" rIns="0" bIns="0" rtlCol="0">
              <a:spAutoFit/>
            </a:bodyPr>
            <a:lstStyle/>
            <a:p>
              <a:pPr marL="0" indent="0" algn="ctr">
                <a:buNone/>
              </a:pPr>
              <a:r>
                <a:rPr lang="en-US" sz="1400">
                  <a:solidFill>
                    <a:schemeClr val="tx1"/>
                  </a:solidFill>
                </a:rPr>
                <a:t>n</a:t>
              </a:r>
            </a:p>
          </p:txBody>
        </p:sp>
        <p:sp>
          <p:nvSpPr>
            <p:cNvPr id="1038" name="TextBox 1037">
              <a:extLst>
                <a:ext uri="{FF2B5EF4-FFF2-40B4-BE49-F238E27FC236}">
                  <a16:creationId xmlns:a16="http://schemas.microsoft.com/office/drawing/2014/main" id="{80A23961-15EA-295D-4972-7E4D60013068}"/>
                </a:ext>
              </a:extLst>
            </p:cNvPr>
            <p:cNvSpPr txBox="1"/>
            <p:nvPr>
              <p:custDataLst>
                <p:tags r:id="rId32"/>
              </p:custDataLst>
            </p:nvPr>
          </p:nvSpPr>
          <p:spPr bwMode="gray">
            <a:xfrm>
              <a:off x="1545125" y="5497382"/>
              <a:ext cx="909827" cy="215444"/>
            </a:xfrm>
            <a:prstGeom prst="rect">
              <a:avLst/>
            </a:prstGeom>
            <a:noFill/>
          </p:spPr>
          <p:txBody>
            <a:bodyPr wrap="square" lIns="0" tIns="0" rIns="0" bIns="0" rtlCol="0">
              <a:spAutoFit/>
            </a:bodyPr>
            <a:lstStyle/>
            <a:p>
              <a:pPr marL="0" indent="0" algn="ctr">
                <a:buNone/>
              </a:pPr>
              <a:r>
                <a:rPr lang="en-US" sz="1400">
                  <a:solidFill>
                    <a:schemeClr val="tx1"/>
                  </a:solidFill>
                </a:rPr>
                <a:t>plasma</a:t>
              </a:r>
            </a:p>
          </p:txBody>
        </p:sp>
      </p:grpSp>
    </p:spTree>
    <p:extLst>
      <p:ext uri="{BB962C8B-B14F-4D97-AF65-F5344CB8AC3E}">
        <p14:creationId xmlns:p14="http://schemas.microsoft.com/office/powerpoint/2010/main" val="14086360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67828E-E62E-9579-A675-15325EC6B411}"/>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179C733-3783-156D-4E11-B73F5EE9881C}"/>
              </a:ext>
            </a:extLst>
          </p:cNvPr>
          <p:cNvGraphicFramePr>
            <a:graphicFrameLocks noChangeAspect="1"/>
          </p:cNvGraphicFramePr>
          <p:nvPr>
            <p:custDataLst>
              <p:tags r:id="rId1"/>
            </p:custDataLst>
            <p:extLst>
              <p:ext uri="{D42A27DB-BD31-4B8C-83A1-F6EECF244321}">
                <p14:modId xmlns:p14="http://schemas.microsoft.com/office/powerpoint/2010/main" val="4871919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2" name="think-cell data - do not delete" hidden="1">
                        <a:extLst>
                          <a:ext uri="{FF2B5EF4-FFF2-40B4-BE49-F238E27FC236}">
                            <a16:creationId xmlns:a16="http://schemas.microsoft.com/office/drawing/2014/main" id="{8179C733-3783-156D-4E11-B73F5EE9881C}"/>
                          </a:ext>
                        </a:extLst>
                      </p:cNvPr>
                      <p:cNvPicPr/>
                      <p:nvPr/>
                    </p:nvPicPr>
                    <p:blipFill>
                      <a:blip/>
                      <a:stretch>
                        <a:fillRect/>
                      </a:stretch>
                    </p:blipFill>
                    <p:spPr>
                      <a:xfrm>
                        <a:off x="1588" y="1588"/>
                        <a:ext cx="1227" cy="1588"/>
                      </a:xfrm>
                      <a:prstGeom prst="rect">
                        <a:avLst/>
                      </a:prstGeom>
                    </p:spPr>
                  </p:pic>
                </p:oleObj>
              </mc:Fallback>
            </mc:AlternateContent>
          </a:graphicData>
        </a:graphic>
      </p:graphicFrame>
      <p:sp>
        <p:nvSpPr>
          <p:cNvPr id="54" name="btfpNotesBox368131">
            <a:hlinkClick r:id="rId9"/>
            <a:extLst>
              <a:ext uri="{FF2B5EF4-FFF2-40B4-BE49-F238E27FC236}">
                <a16:creationId xmlns:a16="http://schemas.microsoft.com/office/drawing/2014/main" id="{1864977F-1BF1-84E9-19FA-8A3CEE293244}"/>
              </a:ext>
            </a:extLst>
          </p:cNvPr>
          <p:cNvSpPr txBox="1"/>
          <p:nvPr>
            <p:custDataLst>
              <p:tags r:id="rId2"/>
            </p:custDataLst>
          </p:nvPr>
        </p:nvSpPr>
        <p:spPr bwMode="gray">
          <a:xfrm>
            <a:off x="329184" y="6309360"/>
            <a:ext cx="9162818"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body)"/>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body)"/>
              </a:rPr>
              <a:t>Sources: Fusion Industry Association, </a:t>
            </a:r>
            <a:r>
              <a:rPr kumimoji="0" lang="en-US" sz="800" b="0" i="0" u="none" strike="noStrike" kern="1200" cap="none" spc="0" normalizeH="0" baseline="0" noProof="0" dirty="0">
                <a:ln>
                  <a:noFill/>
                </a:ln>
                <a:solidFill>
                  <a:srgbClr val="000000"/>
                </a:solidFill>
                <a:effectLst/>
                <a:uLnTx/>
                <a:uFillTx/>
                <a:latin typeface="Arial (body)"/>
                <a:hlinkClick r:id="rId10"/>
              </a:rPr>
              <a:t>The Global Fusion Industry in 2024</a:t>
            </a:r>
            <a:r>
              <a:rPr kumimoji="0" lang="en-US" sz="800" b="0" i="0" u="none" strike="noStrike" kern="1200" cap="none" spc="0" normalizeH="0" baseline="0" noProof="0" dirty="0">
                <a:ln>
                  <a:noFill/>
                </a:ln>
                <a:solidFill>
                  <a:srgbClr val="000000"/>
                </a:solidFill>
                <a:effectLst/>
                <a:uLnTx/>
                <a:uFillTx/>
                <a:latin typeface="Arial (body)"/>
              </a:rPr>
              <a:t> (2024); ITER, </a:t>
            </a:r>
            <a:r>
              <a:rPr kumimoji="0" lang="en-US" sz="800" b="0" i="0" u="none" strike="noStrike" kern="1200" cap="none" spc="0" normalizeH="0" baseline="0" noProof="0" dirty="0">
                <a:ln>
                  <a:noFill/>
                </a:ln>
                <a:solidFill>
                  <a:srgbClr val="000000"/>
                </a:solidFill>
                <a:effectLst/>
                <a:uLnTx/>
                <a:uFillTx/>
                <a:latin typeface="Arial (body)"/>
                <a:hlinkClick r:id="rId11"/>
              </a:rPr>
              <a:t>Fusion Energy</a:t>
            </a:r>
            <a:r>
              <a:rPr kumimoji="0" lang="en-US" sz="800" b="0" i="0" u="none" strike="noStrike" kern="1200" cap="none" spc="0" normalizeH="0" baseline="0" noProof="0" dirty="0">
                <a:ln>
                  <a:noFill/>
                </a:ln>
                <a:solidFill>
                  <a:srgbClr val="000000"/>
                </a:solidFill>
                <a:effectLst/>
                <a:uLnTx/>
                <a:uFillTx/>
                <a:latin typeface="Arial (body)"/>
              </a:rPr>
              <a:t> (2025); </a:t>
            </a:r>
            <a:r>
              <a:rPr lang="en-US" sz="800" dirty="0">
                <a:solidFill>
                  <a:srgbClr val="000000"/>
                </a:solidFill>
                <a:latin typeface="Arial (body)"/>
              </a:rPr>
              <a:t>DoE, </a:t>
            </a:r>
            <a:r>
              <a:rPr kumimoji="0" lang="en-US" sz="800" b="0" i="0" u="none" strike="noStrike" kern="1200" cap="none" spc="0" normalizeH="0" baseline="0" noProof="0" dirty="0">
                <a:ln>
                  <a:noFill/>
                </a:ln>
                <a:solidFill>
                  <a:srgbClr val="000000"/>
                </a:solidFill>
                <a:effectLst/>
                <a:uLnTx/>
                <a:uFillTx/>
                <a:latin typeface="Arial (body)"/>
                <a:hlinkClick r:id="rId12"/>
              </a:rPr>
              <a:t>National Laboratory Makes History by Achieving Fusion Ignition</a:t>
            </a:r>
            <a:r>
              <a:rPr kumimoji="0" lang="en-US" sz="800" b="0" i="0" u="none" strike="noStrike" kern="1200" cap="none" spc="0" normalizeH="0" baseline="0" noProof="0" dirty="0">
                <a:ln>
                  <a:noFill/>
                </a:ln>
                <a:solidFill>
                  <a:srgbClr val="000000"/>
                </a:solidFill>
                <a:effectLst/>
                <a:uLnTx/>
                <a:uFillTx/>
                <a:latin typeface="Arial (body)"/>
              </a:rPr>
              <a:t> (2022); </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body)"/>
              </a:rPr>
              <a:t>McCabe, </a:t>
            </a:r>
            <a:r>
              <a:rPr kumimoji="0" lang="en-US" sz="800" b="0" i="0" u="none" strike="noStrike" kern="1200" cap="none" spc="0" normalizeH="0" baseline="0" noProof="0" dirty="0">
                <a:ln>
                  <a:noFill/>
                </a:ln>
                <a:solidFill>
                  <a:srgbClr val="000000"/>
                </a:solidFill>
                <a:effectLst/>
                <a:uLnTx/>
                <a:uFillTx/>
                <a:latin typeface="Arial (body)"/>
                <a:hlinkClick r:id="rId13"/>
              </a:rPr>
              <a:t>A timeline for fusion energy</a:t>
            </a:r>
            <a:r>
              <a:rPr kumimoji="0" lang="en-US" sz="800" b="0" i="0" u="none" strike="noStrike" kern="1200" cap="none" spc="0" normalizeH="0" baseline="0" noProof="0" dirty="0">
                <a:ln>
                  <a:noFill/>
                </a:ln>
                <a:solidFill>
                  <a:srgbClr val="000000"/>
                </a:solidFill>
                <a:effectLst/>
                <a:uLnTx/>
                <a:uFillTx/>
                <a:latin typeface="Arial (body)"/>
              </a:rPr>
              <a:t> (2023); EU-Startups, </a:t>
            </a:r>
            <a:r>
              <a:rPr kumimoji="0" lang="en-US" sz="800" b="0" i="0" u="none" strike="noStrike" kern="1200" cap="none" spc="0" normalizeH="0" baseline="0" noProof="0" dirty="0">
                <a:ln>
                  <a:noFill/>
                </a:ln>
                <a:solidFill>
                  <a:srgbClr val="000000"/>
                </a:solidFill>
                <a:effectLst/>
                <a:uLnTx/>
                <a:uFillTx/>
                <a:latin typeface="Arial (body)"/>
                <a:hlinkClick r:id="rId14"/>
              </a:rPr>
              <a:t>Marvel Fusion bags additional €50 million for nuclear fusion and prototype facility</a:t>
            </a:r>
            <a:r>
              <a:rPr kumimoji="0" lang="en-US" sz="800" b="0" i="0" u="none" strike="noStrike" kern="1200" cap="none" spc="0" normalizeH="0" baseline="0" noProof="0" dirty="0">
                <a:ln>
                  <a:noFill/>
                </a:ln>
                <a:solidFill>
                  <a:srgbClr val="000000"/>
                </a:solidFill>
                <a:effectLst/>
                <a:uLnTx/>
                <a:uFillTx/>
                <a:latin typeface="Arial (body)"/>
              </a:rPr>
              <a:t> (2025).</a:t>
            </a:r>
            <a:br>
              <a:rPr kumimoji="0" lang="en-US" sz="800" b="0" i="0" u="none" strike="noStrike" kern="1200" cap="none" spc="0" normalizeH="0" baseline="0" noProof="0" dirty="0">
                <a:ln>
                  <a:noFill/>
                </a:ln>
                <a:solidFill>
                  <a:srgbClr val="000000"/>
                </a:solidFill>
                <a:effectLst/>
                <a:uLnTx/>
                <a:uFillTx/>
                <a:latin typeface="Arial (body)"/>
              </a:rPr>
            </a:br>
            <a:r>
              <a:rPr kumimoji="0" lang="en-US" sz="800" b="0" i="0" u="none" strike="noStrike" kern="1200" cap="none" spc="0" normalizeH="0" baseline="0" noProof="0" dirty="0">
                <a:ln>
                  <a:noFill/>
                </a:ln>
                <a:solidFill>
                  <a:srgbClr val="000000"/>
                </a:solidFill>
                <a:effectLst/>
                <a:uLnTx/>
                <a:uFillTx/>
                <a:latin typeface="Arial (body)"/>
              </a:rPr>
              <a:t>Credit: Quint </a:t>
            </a:r>
            <a:r>
              <a:rPr kumimoji="0" lang="en-US" sz="800" b="0" i="0" u="none" strike="noStrike" kern="1200" cap="none" spc="0" normalizeH="0" baseline="0" noProof="0" dirty="0" err="1">
                <a:ln>
                  <a:noFill/>
                </a:ln>
                <a:solidFill>
                  <a:srgbClr val="000000"/>
                </a:solidFill>
                <a:effectLst/>
                <a:uLnTx/>
                <a:uFillTx/>
                <a:latin typeface="Arial (body)"/>
              </a:rPr>
              <a:t>Houwink</a:t>
            </a:r>
            <a:r>
              <a:rPr kumimoji="0" lang="en-US" sz="800" b="0" i="0" u="none" strike="noStrike" kern="1200" cap="none" spc="0" normalizeH="0" baseline="0" noProof="0" dirty="0">
                <a:ln>
                  <a:noFill/>
                </a:ln>
                <a:solidFill>
                  <a:srgbClr val="000000"/>
                </a:solidFill>
                <a:effectLst/>
                <a:uLnTx/>
                <a:uFillTx/>
                <a:latin typeface="Arial (body)"/>
              </a:rPr>
              <a:t> and </a:t>
            </a:r>
            <a:r>
              <a:rPr kumimoji="0" lang="en-US" sz="800" b="0" i="0" u="none" strike="noStrike" kern="1200" cap="none" spc="0" normalizeH="0" baseline="0" noProof="0" dirty="0">
                <a:ln>
                  <a:noFill/>
                </a:ln>
                <a:solidFill>
                  <a:srgbClr val="000000"/>
                </a:solidFill>
                <a:effectLst/>
                <a:uLnTx/>
                <a:uFillTx/>
                <a:latin typeface="Arial (body)"/>
                <a:hlinkClick r:id="rId15"/>
              </a:rPr>
              <a:t>Gernot Wagner</a:t>
            </a:r>
            <a:r>
              <a:rPr kumimoji="0" lang="en-US" sz="800" b="0" i="0" u="none" strike="noStrike" kern="1200" cap="none" spc="0" normalizeH="0" baseline="0" noProof="0" dirty="0">
                <a:ln>
                  <a:noFill/>
                </a:ln>
                <a:solidFill>
                  <a:srgbClr val="000000"/>
                </a:solidFill>
                <a:effectLst/>
                <a:uLnTx/>
                <a:uFillTx/>
                <a:latin typeface="Arial (body)"/>
              </a:rPr>
              <a:t>. Share with </a:t>
            </a:r>
            <a:r>
              <a:rPr kumimoji="0" lang="en-US" sz="800" b="0" i="0" u="none" strike="noStrike" kern="1200" cap="none" spc="0" normalizeH="0" baseline="0" noProof="0" dirty="0">
                <a:ln>
                  <a:noFill/>
                </a:ln>
                <a:solidFill>
                  <a:srgbClr val="000000"/>
                </a:solidFill>
                <a:effectLst/>
                <a:uLnTx/>
                <a:uFillTx/>
                <a:latin typeface="Arial (body)"/>
                <a:hlinkClick r:id="rId16"/>
              </a:rPr>
              <a:t>attribution</a:t>
            </a:r>
            <a:r>
              <a:rPr kumimoji="0" lang="en-US" sz="800" b="0" i="0" u="none" strike="noStrike" kern="1200" cap="none" spc="0" normalizeH="0" baseline="0" noProof="0" dirty="0">
                <a:ln>
                  <a:noFill/>
                </a:ln>
                <a:solidFill>
                  <a:srgbClr val="000000"/>
                </a:solidFill>
                <a:effectLst/>
                <a:uLnTx/>
                <a:uFillTx/>
                <a:latin typeface="Arial (body)"/>
              </a:rPr>
              <a:t>: </a:t>
            </a:r>
            <a:r>
              <a:rPr kumimoji="0" lang="en-US" sz="800" b="0" i="0" u="none" strike="noStrike" kern="1200" cap="none" spc="0" normalizeH="0" baseline="0" noProof="0" dirty="0" err="1">
                <a:ln>
                  <a:noFill/>
                </a:ln>
                <a:solidFill>
                  <a:srgbClr val="000000"/>
                </a:solidFill>
                <a:effectLst/>
                <a:uLnTx/>
                <a:uFillTx/>
                <a:latin typeface="Arial (body)"/>
              </a:rPr>
              <a:t>Houwink</a:t>
            </a:r>
            <a:r>
              <a:rPr kumimoji="0" lang="en-US" sz="800" b="0" i="0" u="none" strike="noStrike" kern="1200" cap="none" spc="0" normalizeH="0" baseline="0" noProof="0" dirty="0">
                <a:ln>
                  <a:noFill/>
                </a:ln>
                <a:solidFill>
                  <a:srgbClr val="000000"/>
                </a:solidFill>
                <a:effectLst/>
                <a:uLnTx/>
                <a:uFillTx/>
                <a:latin typeface="Arial (body)"/>
              </a:rPr>
              <a:t> </a:t>
            </a:r>
            <a:r>
              <a:rPr kumimoji="0" lang="en-US" sz="800" b="0" u="none" strike="noStrike" kern="1200" cap="none" spc="0" normalizeH="0" baseline="0" noProof="0" dirty="0">
                <a:ln>
                  <a:noFill/>
                </a:ln>
                <a:solidFill>
                  <a:srgbClr val="000000"/>
                </a:solidFill>
                <a:effectLst/>
                <a:uLnTx/>
                <a:uFillTx/>
                <a:latin typeface="Arial (body)"/>
              </a:rPr>
              <a:t>et al., </a:t>
            </a:r>
            <a:r>
              <a:rPr kumimoji="0" lang="en-US" sz="800" b="0" i="0" u="none" strike="noStrike" kern="1200" cap="none" spc="0" normalizeH="0" baseline="0" noProof="0" dirty="0">
                <a:ln>
                  <a:noFill/>
                </a:ln>
                <a:solidFill>
                  <a:srgbClr val="000000"/>
                </a:solidFill>
                <a:effectLst/>
                <a:uLnTx/>
                <a:uFillTx/>
                <a:latin typeface="Arial (body)"/>
              </a:rPr>
              <a:t>"Reenergizing Nuclear" (23 September 2025).</a:t>
            </a:r>
          </a:p>
        </p:txBody>
      </p:sp>
      <p:sp>
        <p:nvSpPr>
          <p:cNvPr id="108" name="Title 1">
            <a:extLst>
              <a:ext uri="{FF2B5EF4-FFF2-40B4-BE49-F238E27FC236}">
                <a16:creationId xmlns:a16="http://schemas.microsoft.com/office/drawing/2014/main" id="{8E0D3F9A-4252-7D6C-96BA-BA6E2A494D93}"/>
              </a:ext>
            </a:extLst>
          </p:cNvPr>
          <p:cNvSpPr>
            <a:spLocks noGrp="1"/>
          </p:cNvSpPr>
          <p:nvPr>
            <p:ph type="title"/>
          </p:nvPr>
        </p:nvSpPr>
        <p:spPr>
          <a:xfrm>
            <a:off x="329184" y="521208"/>
            <a:ext cx="11531600" cy="523220"/>
          </a:xfrm>
        </p:spPr>
        <p:txBody>
          <a:bodyPr vert="horz">
            <a:noAutofit/>
          </a:bodyPr>
          <a:lstStyle/>
          <a:p>
            <a:r>
              <a:rPr lang="en-US" b="1"/>
              <a:t>Fusion energy has achieved four of the six milestones to get to commercial viability</a:t>
            </a:r>
          </a:p>
        </p:txBody>
      </p:sp>
      <p:grpSp>
        <p:nvGrpSpPr>
          <p:cNvPr id="91" name="Group 90">
            <a:extLst>
              <a:ext uri="{FF2B5EF4-FFF2-40B4-BE49-F238E27FC236}">
                <a16:creationId xmlns:a16="http://schemas.microsoft.com/office/drawing/2014/main" id="{69A49D1B-020B-0538-228E-7D7A308480DC}"/>
              </a:ext>
            </a:extLst>
          </p:cNvPr>
          <p:cNvGrpSpPr/>
          <p:nvPr/>
        </p:nvGrpSpPr>
        <p:grpSpPr>
          <a:xfrm>
            <a:off x="1601961" y="1639928"/>
            <a:ext cx="9725170" cy="593755"/>
            <a:chOff x="1601961" y="1733144"/>
            <a:chExt cx="9725170" cy="593755"/>
          </a:xfrm>
        </p:grpSpPr>
        <p:sp>
          <p:nvSpPr>
            <p:cNvPr id="42" name="Arrow: Pentagon 11">
              <a:extLst>
                <a:ext uri="{FF2B5EF4-FFF2-40B4-BE49-F238E27FC236}">
                  <a16:creationId xmlns:a16="http://schemas.microsoft.com/office/drawing/2014/main" id="{CF564A0F-1556-2AFE-7FA2-B788544217B7}"/>
                </a:ext>
              </a:extLst>
            </p:cNvPr>
            <p:cNvSpPr/>
            <p:nvPr/>
          </p:nvSpPr>
          <p:spPr bwMode="gray">
            <a:xfrm>
              <a:off x="1601961" y="1733144"/>
              <a:ext cx="2027077" cy="593755"/>
            </a:xfrm>
            <a:prstGeom prst="homePlat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Create plasma</a:t>
              </a:r>
            </a:p>
          </p:txBody>
        </p:sp>
        <p:sp>
          <p:nvSpPr>
            <p:cNvPr id="43" name="Arrow: Chevron 13">
              <a:extLst>
                <a:ext uri="{FF2B5EF4-FFF2-40B4-BE49-F238E27FC236}">
                  <a16:creationId xmlns:a16="http://schemas.microsoft.com/office/drawing/2014/main" id="{013CF63B-897A-7DD5-3093-BA8730E7B2CF}"/>
                </a:ext>
              </a:extLst>
            </p:cNvPr>
            <p:cNvSpPr/>
            <p:nvPr/>
          </p:nvSpPr>
          <p:spPr bwMode="gray">
            <a:xfrm>
              <a:off x="3176630" y="1733144"/>
              <a:ext cx="2027077" cy="593755"/>
            </a:xfrm>
            <a:prstGeom prst="chevron">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Heat </a:t>
              </a:r>
              <a:br>
                <a:rPr kumimoji="0" lang="en-US" sz="1200" b="1" i="0" u="none" strike="noStrike" kern="1200" cap="none" spc="0" normalizeH="0" baseline="0" noProof="0">
                  <a:ln>
                    <a:noFill/>
                  </a:ln>
                  <a:solidFill>
                    <a:schemeClr val="bg1"/>
                  </a:solidFill>
                  <a:effectLst/>
                  <a:uLnTx/>
                  <a:uFillTx/>
                  <a:latin typeface="Arial"/>
                  <a:ea typeface="+mn-ea"/>
                  <a:cs typeface="+mn-cs"/>
                </a:rPr>
              </a:br>
              <a:r>
                <a:rPr kumimoji="0" lang="en-US" sz="1200" b="1" i="0" u="none" strike="noStrike" kern="1200" cap="none" spc="0" normalizeH="0" baseline="0" noProof="0">
                  <a:ln>
                    <a:noFill/>
                  </a:ln>
                  <a:solidFill>
                    <a:schemeClr val="bg1"/>
                  </a:solidFill>
                  <a:effectLst/>
                  <a:uLnTx/>
                  <a:uFillTx/>
                  <a:latin typeface="Arial"/>
                  <a:ea typeface="+mn-ea"/>
                  <a:cs typeface="+mn-cs"/>
                </a:rPr>
                <a:t>plasma to 100 million </a:t>
              </a:r>
              <a:r>
                <a:rPr kumimoji="0" lang="en-US" sz="1200" b="0" i="0" u="none" strike="noStrike" kern="1200" cap="none" spc="0" normalizeH="0" baseline="0" noProof="0">
                  <a:ln>
                    <a:noFill/>
                  </a:ln>
                  <a:effectLst/>
                  <a:uLnTx/>
                  <a:uFillTx/>
                  <a:latin typeface="Arial"/>
                  <a:ea typeface="+mn-ea"/>
                  <a:cs typeface="+mn-cs"/>
                </a:rPr>
                <a:t>°C</a:t>
              </a:r>
              <a:endParaRPr kumimoji="0" lang="en-US" sz="1200" b="1" i="0" u="none" strike="noStrike" kern="1200" cap="none" spc="0" normalizeH="0" baseline="0" noProof="0">
                <a:ln>
                  <a:noFill/>
                </a:ln>
                <a:solidFill>
                  <a:schemeClr val="bg1"/>
                </a:solidFill>
                <a:effectLst/>
                <a:uLnTx/>
                <a:uFillTx/>
                <a:latin typeface="Arial"/>
                <a:ea typeface="+mn-ea"/>
                <a:cs typeface="+mn-cs"/>
              </a:endParaRPr>
            </a:p>
          </p:txBody>
        </p:sp>
        <p:sp>
          <p:nvSpPr>
            <p:cNvPr id="44" name="Arrow: Chevron 15">
              <a:extLst>
                <a:ext uri="{FF2B5EF4-FFF2-40B4-BE49-F238E27FC236}">
                  <a16:creationId xmlns:a16="http://schemas.microsoft.com/office/drawing/2014/main" id="{6045FB8C-4FA7-5529-D735-5B056F9EDF27}"/>
                </a:ext>
              </a:extLst>
            </p:cNvPr>
            <p:cNvSpPr/>
            <p:nvPr/>
          </p:nvSpPr>
          <p:spPr bwMode="gray">
            <a:xfrm>
              <a:off x="4751299" y="1733144"/>
              <a:ext cx="2027077" cy="593755"/>
            </a:xfrm>
            <a:prstGeom prst="chevron">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Arial"/>
                </a:rPr>
                <a:t>Reach s</a:t>
              </a:r>
              <a:r>
                <a:rPr kumimoji="0" lang="en-US" sz="1200" b="1" i="0" u="none" strike="noStrike" kern="1200" cap="none" spc="0" normalizeH="0" baseline="0" noProof="0" err="1">
                  <a:ln>
                    <a:noFill/>
                  </a:ln>
                  <a:solidFill>
                    <a:schemeClr val="bg1"/>
                  </a:solidFill>
                  <a:effectLst/>
                  <a:uLnTx/>
                  <a:uFillTx/>
                  <a:latin typeface="Arial"/>
                  <a:ea typeface="+mn-ea"/>
                  <a:cs typeface="+mn-cs"/>
                </a:rPr>
                <a:t>ufficient</a:t>
              </a:r>
              <a:r>
                <a:rPr kumimoji="0" lang="en-US" sz="1200" b="1" i="0" u="none" strike="noStrike" kern="1200" cap="none" spc="0" normalizeH="0" baseline="0" noProof="0">
                  <a:ln>
                    <a:noFill/>
                  </a:ln>
                  <a:solidFill>
                    <a:schemeClr val="bg1"/>
                  </a:solidFill>
                  <a:effectLst/>
                  <a:uLnTx/>
                  <a:uFillTx/>
                  <a:latin typeface="Arial"/>
                  <a:ea typeface="+mn-ea"/>
                  <a:cs typeface="+mn-cs"/>
                </a:rPr>
                <a:t> </a:t>
              </a:r>
              <a:r>
                <a:rPr lang="en-US" sz="1200" b="1">
                  <a:solidFill>
                    <a:schemeClr val="bg1"/>
                  </a:solidFill>
                  <a:latin typeface="Arial"/>
                </a:rPr>
                <a:t>density,</a:t>
              </a:r>
              <a:r>
                <a:rPr kumimoji="0" lang="en-US" sz="1200" b="1" i="0" u="none" strike="noStrike" kern="1200" cap="none" spc="0" normalizeH="0" baseline="0" noProof="0">
                  <a:ln>
                    <a:noFill/>
                  </a:ln>
                  <a:solidFill>
                    <a:schemeClr val="bg1"/>
                  </a:solidFill>
                  <a:effectLst/>
                  <a:uLnTx/>
                  <a:uFillTx/>
                  <a:latin typeface="Arial"/>
                  <a:ea typeface="+mn-ea"/>
                  <a:cs typeface="+mn-cs"/>
                </a:rPr>
                <a:t> be sustained</a:t>
              </a:r>
              <a:endParaRPr kumimoji="0" lang="en-US" sz="1200" b="0" i="0" u="none" strike="noStrike" kern="1200" cap="none" spc="0" normalizeH="0" baseline="0" noProof="0">
                <a:ln>
                  <a:noFill/>
                </a:ln>
                <a:solidFill>
                  <a:schemeClr val="bg1"/>
                </a:solidFill>
                <a:effectLst/>
                <a:uLnTx/>
                <a:uFillTx/>
                <a:latin typeface="Arial"/>
                <a:ea typeface="+mn-ea"/>
                <a:cs typeface="+mn-cs"/>
              </a:endParaRPr>
            </a:p>
          </p:txBody>
        </p:sp>
        <p:sp>
          <p:nvSpPr>
            <p:cNvPr id="45" name="Arrow: Chevron 17">
              <a:extLst>
                <a:ext uri="{FF2B5EF4-FFF2-40B4-BE49-F238E27FC236}">
                  <a16:creationId xmlns:a16="http://schemas.microsoft.com/office/drawing/2014/main" id="{5A4DF4CC-B69B-C108-B782-73974E0ECA2D}"/>
                </a:ext>
              </a:extLst>
            </p:cNvPr>
            <p:cNvSpPr/>
            <p:nvPr/>
          </p:nvSpPr>
          <p:spPr bwMode="gray">
            <a:xfrm>
              <a:off x="6325968" y="1733144"/>
              <a:ext cx="2027077" cy="593755"/>
            </a:xfrm>
            <a:prstGeom prst="chevron">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Achieve net energy gain </a:t>
              </a:r>
              <a:endParaRPr kumimoji="0" lang="en-US" sz="1200" b="0" i="0" u="none" strike="noStrike" kern="1200" cap="none" spc="0" normalizeH="0" baseline="0" noProof="0">
                <a:ln>
                  <a:noFill/>
                </a:ln>
                <a:solidFill>
                  <a:schemeClr val="bg1"/>
                </a:solidFill>
                <a:effectLst/>
                <a:uLnTx/>
                <a:uFillTx/>
                <a:latin typeface="Arial"/>
                <a:ea typeface="+mn-ea"/>
                <a:cs typeface="+mn-cs"/>
              </a:endParaRPr>
            </a:p>
          </p:txBody>
        </p:sp>
        <p:sp>
          <p:nvSpPr>
            <p:cNvPr id="57" name="Arrow: Chevron 15">
              <a:extLst>
                <a:ext uri="{FF2B5EF4-FFF2-40B4-BE49-F238E27FC236}">
                  <a16:creationId xmlns:a16="http://schemas.microsoft.com/office/drawing/2014/main" id="{100D7A24-E7FB-A8A5-EDA2-E40DF2C6C7E3}"/>
                </a:ext>
              </a:extLst>
            </p:cNvPr>
            <p:cNvSpPr/>
            <p:nvPr/>
          </p:nvSpPr>
          <p:spPr bwMode="gray">
            <a:xfrm>
              <a:off x="7900637" y="1733144"/>
              <a:ext cx="2027077" cy="593755"/>
            </a:xfrm>
            <a:prstGeom prst="chevron">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Generate exportable electricity</a:t>
              </a:r>
              <a:endParaRPr kumimoji="0" lang="en-US" sz="1200" b="0" i="0" u="none" strike="noStrike" kern="1200" cap="none" spc="0" normalizeH="0" baseline="0" noProof="0">
                <a:ln>
                  <a:noFill/>
                </a:ln>
                <a:solidFill>
                  <a:schemeClr val="bg1"/>
                </a:solidFill>
                <a:effectLst/>
                <a:uLnTx/>
                <a:uFillTx/>
                <a:latin typeface="Arial"/>
                <a:ea typeface="+mn-ea"/>
                <a:cs typeface="+mn-cs"/>
              </a:endParaRPr>
            </a:p>
          </p:txBody>
        </p:sp>
        <p:sp>
          <p:nvSpPr>
            <p:cNvPr id="58" name="Arrow: Chevron 17">
              <a:extLst>
                <a:ext uri="{FF2B5EF4-FFF2-40B4-BE49-F238E27FC236}">
                  <a16:creationId xmlns:a16="http://schemas.microsoft.com/office/drawing/2014/main" id="{B1EDC254-0013-F249-CC04-0B25297EE7D9}"/>
                </a:ext>
              </a:extLst>
            </p:cNvPr>
            <p:cNvSpPr/>
            <p:nvPr/>
          </p:nvSpPr>
          <p:spPr bwMode="gray">
            <a:xfrm>
              <a:off x="9475305" y="1733144"/>
              <a:ext cx="1851826" cy="593755"/>
            </a:xfrm>
            <a:prstGeom prst="chevron">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Achieve commercial viability</a:t>
              </a:r>
              <a:endParaRPr kumimoji="0" lang="en-US" sz="1200" b="0" i="0" u="none" strike="noStrike" kern="1200" cap="none" spc="0" normalizeH="0" baseline="0" noProof="0">
                <a:ln>
                  <a:noFill/>
                </a:ln>
                <a:solidFill>
                  <a:schemeClr val="bg1"/>
                </a:solidFill>
                <a:effectLst/>
                <a:uLnTx/>
                <a:uFillTx/>
                <a:latin typeface="Arial"/>
                <a:ea typeface="+mn-ea"/>
                <a:cs typeface="+mn-cs"/>
              </a:endParaRPr>
            </a:p>
          </p:txBody>
        </p:sp>
      </p:grpSp>
      <p:sp>
        <p:nvSpPr>
          <p:cNvPr id="9" name="TextBox 8">
            <a:extLst>
              <a:ext uri="{FF2B5EF4-FFF2-40B4-BE49-F238E27FC236}">
                <a16:creationId xmlns:a16="http://schemas.microsoft.com/office/drawing/2014/main" id="{9F733771-F9EE-332B-4730-9598D6670E58}"/>
              </a:ext>
            </a:extLst>
          </p:cNvPr>
          <p:cNvSpPr txBox="1"/>
          <p:nvPr/>
        </p:nvSpPr>
        <p:spPr>
          <a:xfrm>
            <a:off x="3186249" y="3069772"/>
            <a:ext cx="1554480" cy="1615827"/>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US" sz="1100" b="1">
                <a:latin typeface="Arial"/>
              </a:rPr>
              <a:t>Plasma</a:t>
            </a:r>
            <a:r>
              <a:rPr kumimoji="0" lang="en-US" sz="1100" b="1" i="0" u="none" strike="noStrike" kern="1200" cap="none" spc="0" normalizeH="0" baseline="0" noProof="0">
                <a:ln>
                  <a:noFill/>
                </a:ln>
                <a:effectLst/>
                <a:uLnTx/>
                <a:uFillTx/>
                <a:latin typeface="Arial"/>
                <a:ea typeface="+mn-ea"/>
                <a:cs typeface="+mn-cs"/>
              </a:rPr>
              <a:t> needs to reach 100 million °C to ensure sufficient ions collide. </a:t>
            </a:r>
          </a:p>
          <a:p>
            <a:pPr marR="0" lvl="0" algn="l" defTabSz="914400" rtl="0" eaLnBrk="1" fontAlgn="auto" latinLnBrk="0" hangingPunct="1">
              <a:lnSpc>
                <a:spcPct val="100000"/>
              </a:lnSpc>
              <a:spcBef>
                <a:spcPts val="0"/>
              </a:spcBef>
              <a:spcAft>
                <a:spcPts val="0"/>
              </a:spcAft>
              <a:buClrTx/>
              <a:buSzTx/>
              <a:tabLst/>
              <a:defRPr/>
            </a:pPr>
            <a:r>
              <a:rPr lang="en-US" sz="1100">
                <a:latin typeface="Arial"/>
              </a:rPr>
              <a:t>P</a:t>
            </a:r>
            <a:r>
              <a:rPr kumimoji="0" lang="en-US" sz="1100" b="0" i="0" u="none" strike="noStrike" kern="1200" cap="none" spc="0" normalizeH="0" baseline="0" noProof="0" err="1">
                <a:ln>
                  <a:noFill/>
                </a:ln>
                <a:effectLst/>
                <a:uLnTx/>
                <a:uFillTx/>
                <a:latin typeface="Arial"/>
                <a:ea typeface="+mn-ea"/>
                <a:cs typeface="+mn-cs"/>
              </a:rPr>
              <a:t>lasma</a:t>
            </a:r>
            <a:r>
              <a:rPr kumimoji="0" lang="en-US" sz="1100" b="0" i="0" u="none" strike="noStrike" kern="1200" cap="none" spc="0" normalizeH="0" baseline="0" noProof="0">
                <a:ln>
                  <a:noFill/>
                </a:ln>
                <a:effectLst/>
                <a:uLnTx/>
                <a:uFillTx/>
                <a:latin typeface="Arial"/>
                <a:ea typeface="+mn-ea"/>
                <a:cs typeface="+mn-cs"/>
              </a:rPr>
              <a:t> is typically heated using lasers or radio waves, or by running a current through the plasma.</a:t>
            </a:r>
          </a:p>
        </p:txBody>
      </p:sp>
      <p:sp>
        <p:nvSpPr>
          <p:cNvPr id="14" name="TextBox 13">
            <a:extLst>
              <a:ext uri="{FF2B5EF4-FFF2-40B4-BE49-F238E27FC236}">
                <a16:creationId xmlns:a16="http://schemas.microsoft.com/office/drawing/2014/main" id="{2A96EDE0-68F0-9BD4-8A64-8C9256C474E7}"/>
              </a:ext>
            </a:extLst>
          </p:cNvPr>
          <p:cNvSpPr txBox="1"/>
          <p:nvPr/>
        </p:nvSpPr>
        <p:spPr>
          <a:xfrm>
            <a:off x="4760601" y="3069772"/>
            <a:ext cx="1554480" cy="1615827"/>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US" sz="1100">
                <a:latin typeface="Arial"/>
              </a:rPr>
              <a:t>P</a:t>
            </a:r>
            <a:r>
              <a:rPr kumimoji="0" lang="en-US" sz="1100" b="0" i="0" u="none" strike="noStrike" kern="1200" cap="none" spc="0" normalizeH="0" baseline="0" noProof="0" err="1">
                <a:ln>
                  <a:noFill/>
                </a:ln>
                <a:effectLst/>
                <a:uLnTx/>
                <a:uFillTx/>
                <a:latin typeface="Arial"/>
                <a:ea typeface="+mn-ea"/>
                <a:cs typeface="+mn-cs"/>
              </a:rPr>
              <a:t>lasma</a:t>
            </a:r>
            <a:r>
              <a:rPr kumimoji="0" lang="en-US" sz="1100" b="0" i="0" u="none" strike="noStrike" kern="1200" cap="none" spc="0" normalizeH="0" baseline="0" noProof="0">
                <a:ln>
                  <a:noFill/>
                </a:ln>
                <a:effectLst/>
                <a:uLnTx/>
                <a:uFillTx/>
                <a:latin typeface="Arial"/>
                <a:ea typeface="+mn-ea"/>
                <a:cs typeface="+mn-cs"/>
              </a:rPr>
              <a:t> must reach </a:t>
            </a:r>
            <a:r>
              <a:rPr kumimoji="0" lang="en-US" sz="1100" b="1" i="0" u="none" strike="noStrike" kern="1200" cap="none" spc="0" normalizeH="0" baseline="0" noProof="0">
                <a:ln>
                  <a:noFill/>
                </a:ln>
                <a:effectLst/>
                <a:uLnTx/>
                <a:uFillTx/>
                <a:latin typeface="Arial"/>
                <a:ea typeface="+mn-ea"/>
                <a:cs typeface="+mn-cs"/>
              </a:rPr>
              <a:t>sufficient density and be sustained </a:t>
            </a:r>
            <a:r>
              <a:rPr kumimoji="0" lang="en-US" sz="1100" b="0" i="0" u="none" strike="noStrike" kern="1200" cap="none" spc="0" normalizeH="0" baseline="0" noProof="0">
                <a:ln>
                  <a:noFill/>
                </a:ln>
                <a:effectLst/>
                <a:uLnTx/>
                <a:uFillTx/>
                <a:latin typeface="Arial"/>
                <a:ea typeface="+mn-ea"/>
                <a:cs typeface="+mn-cs"/>
              </a:rPr>
              <a:t>in a fixed space.</a:t>
            </a:r>
          </a:p>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effectLst/>
                <a:uLnTx/>
                <a:uFillTx/>
                <a:latin typeface="Arial"/>
                <a:ea typeface="+mn-ea"/>
                <a:cs typeface="+mn-cs"/>
              </a:rPr>
              <a:t>This is where advanced devices are required to contain and control the plasma.</a:t>
            </a:r>
          </a:p>
        </p:txBody>
      </p:sp>
      <p:sp>
        <p:nvSpPr>
          <p:cNvPr id="17" name="TextBox 16">
            <a:extLst>
              <a:ext uri="{FF2B5EF4-FFF2-40B4-BE49-F238E27FC236}">
                <a16:creationId xmlns:a16="http://schemas.microsoft.com/office/drawing/2014/main" id="{90DC63A2-6777-651A-78D4-487648446664}"/>
              </a:ext>
            </a:extLst>
          </p:cNvPr>
          <p:cNvSpPr txBox="1"/>
          <p:nvPr/>
        </p:nvSpPr>
        <p:spPr>
          <a:xfrm>
            <a:off x="6334953" y="3069772"/>
            <a:ext cx="1554480" cy="1615827"/>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100" i="0" u="none" strike="noStrike" kern="1200" cap="none" spc="0" normalizeH="0" baseline="0" noProof="0">
                <a:ln>
                  <a:noFill/>
                </a:ln>
                <a:effectLst/>
                <a:uLnTx/>
                <a:uFillTx/>
                <a:latin typeface="Arial"/>
                <a:ea typeface="+mn-ea"/>
                <a:cs typeface="+mn-cs"/>
              </a:rPr>
              <a:t>A net gain means </a:t>
            </a:r>
            <a:r>
              <a:rPr kumimoji="0" lang="en-US" sz="1100" b="1" i="0" u="none" strike="noStrike" kern="1200" cap="none" spc="0" normalizeH="0" baseline="0" noProof="0">
                <a:ln>
                  <a:noFill/>
                </a:ln>
                <a:effectLst/>
                <a:uLnTx/>
                <a:uFillTx/>
                <a:latin typeface="Arial"/>
                <a:ea typeface="+mn-ea"/>
                <a:cs typeface="+mn-cs"/>
              </a:rPr>
              <a:t>the fusion energy output exceeds the energy input. </a:t>
            </a:r>
          </a:p>
          <a:p>
            <a:pPr marR="0" lvl="0" algn="l" defTabSz="914400" rtl="0" eaLnBrk="1" fontAlgn="auto" latinLnBrk="0" hangingPunct="1">
              <a:lnSpc>
                <a:spcPct val="100000"/>
              </a:lnSpc>
              <a:spcBef>
                <a:spcPts val="0"/>
              </a:spcBef>
              <a:spcAft>
                <a:spcPts val="0"/>
              </a:spcAft>
              <a:buClrTx/>
              <a:buSzTx/>
              <a:tabLst/>
              <a:defRPr/>
            </a:pPr>
            <a:r>
              <a:rPr kumimoji="0" lang="en-US" sz="1100" i="0" u="none" strike="noStrike" kern="1200" cap="none" spc="0" normalizeH="0" baseline="0" noProof="0">
                <a:ln>
                  <a:noFill/>
                </a:ln>
                <a:effectLst/>
                <a:uLnTx/>
                <a:uFillTx/>
                <a:latin typeface="Arial"/>
                <a:ea typeface="+mn-ea"/>
                <a:cs typeface="+mn-cs"/>
              </a:rPr>
              <a:t>At this point, called ignition, the fusion can </a:t>
            </a:r>
            <a:r>
              <a:rPr kumimoji="0" lang="en-US" sz="1100" b="1" i="0" u="none" strike="noStrike" kern="1200" cap="none" spc="0" normalizeH="0" baseline="0" noProof="0">
                <a:ln>
                  <a:noFill/>
                </a:ln>
                <a:effectLst/>
                <a:uLnTx/>
                <a:uFillTx/>
                <a:latin typeface="Arial"/>
                <a:ea typeface="+mn-ea"/>
                <a:cs typeface="+mn-cs"/>
              </a:rPr>
              <a:t>sustain itself </a:t>
            </a:r>
            <a:r>
              <a:rPr lang="en-US" sz="1100">
                <a:latin typeface="Arial"/>
              </a:rPr>
              <a:t>(in theory, but in practice, obstacles remain).</a:t>
            </a:r>
          </a:p>
        </p:txBody>
      </p:sp>
      <p:sp>
        <p:nvSpPr>
          <p:cNvPr id="20" name="TextBox 19">
            <a:extLst>
              <a:ext uri="{FF2B5EF4-FFF2-40B4-BE49-F238E27FC236}">
                <a16:creationId xmlns:a16="http://schemas.microsoft.com/office/drawing/2014/main" id="{2097365F-8B04-4B30-F3E5-C522863F9048}"/>
              </a:ext>
            </a:extLst>
          </p:cNvPr>
          <p:cNvSpPr txBox="1"/>
          <p:nvPr/>
        </p:nvSpPr>
        <p:spPr>
          <a:xfrm>
            <a:off x="7909305" y="3069772"/>
            <a:ext cx="1554480" cy="1446550"/>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effectLst/>
                <a:uLnTx/>
                <a:uFillTx/>
                <a:latin typeface="Arial"/>
                <a:ea typeface="+mn-ea"/>
                <a:cs typeface="+mn-cs"/>
              </a:rPr>
              <a:t>After achieving net gain, </a:t>
            </a:r>
            <a:r>
              <a:rPr kumimoji="0" lang="en-US" sz="1100" b="1" i="0" u="none" strike="noStrike" kern="1200" cap="none" spc="0" normalizeH="0" baseline="0" noProof="0">
                <a:ln>
                  <a:noFill/>
                </a:ln>
                <a:effectLst/>
                <a:uLnTx/>
                <a:uFillTx/>
                <a:latin typeface="Arial"/>
                <a:ea typeface="+mn-ea"/>
                <a:cs typeface="+mn-cs"/>
              </a:rPr>
              <a:t>the machine as a whole needs to reach a net gain. </a:t>
            </a:r>
          </a:p>
          <a:p>
            <a:pPr marR="0" lvl="0" algn="l" defTabSz="914400" rtl="0" eaLnBrk="1" fontAlgn="auto" latinLnBrk="0" hangingPunct="1">
              <a:lnSpc>
                <a:spcPct val="100000"/>
              </a:lnSpc>
              <a:spcBef>
                <a:spcPts val="0"/>
              </a:spcBef>
              <a:spcAft>
                <a:spcPts val="0"/>
              </a:spcAft>
              <a:buClrTx/>
              <a:buSzTx/>
              <a:tabLst/>
              <a:defRPr/>
            </a:pPr>
            <a:r>
              <a:rPr lang="en-US" sz="1100" noProof="0">
                <a:latin typeface="Arial"/>
              </a:rPr>
              <a:t>Typically, efficiency losses in the powerplant radically reduce the </a:t>
            </a:r>
            <a:r>
              <a:rPr lang="en-US" sz="1100" noProof="0" err="1">
                <a:latin typeface="Arial"/>
              </a:rPr>
              <a:t>tota</a:t>
            </a:r>
            <a:r>
              <a:rPr lang="en-US" sz="1100">
                <a:latin typeface="Arial"/>
              </a:rPr>
              <a:t>l gain. </a:t>
            </a:r>
          </a:p>
        </p:txBody>
      </p:sp>
      <p:sp>
        <p:nvSpPr>
          <p:cNvPr id="22" name="TextBox 21">
            <a:extLst>
              <a:ext uri="{FF2B5EF4-FFF2-40B4-BE49-F238E27FC236}">
                <a16:creationId xmlns:a16="http://schemas.microsoft.com/office/drawing/2014/main" id="{F0FA6DF1-5E26-0495-459B-0CA053815F98}"/>
              </a:ext>
            </a:extLst>
          </p:cNvPr>
          <p:cNvSpPr txBox="1"/>
          <p:nvPr/>
        </p:nvSpPr>
        <p:spPr>
          <a:xfrm>
            <a:off x="9483657" y="3087141"/>
            <a:ext cx="1554480" cy="1785104"/>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100" b="1" i="0" u="none" strike="noStrike" kern="1200" cap="none" spc="0" normalizeH="0" baseline="0" noProof="0">
                <a:ln>
                  <a:noFill/>
                </a:ln>
                <a:effectLst/>
                <a:uLnTx/>
                <a:uFillTx/>
                <a:latin typeface="Arial"/>
                <a:ea typeface="+mn-ea"/>
                <a:cs typeface="+mn-cs"/>
              </a:rPr>
              <a:t>LCOE estimates </a:t>
            </a:r>
            <a:r>
              <a:rPr lang="en-US" sz="1100" b="1">
                <a:latin typeface="Arial"/>
              </a:rPr>
              <a:t>for</a:t>
            </a:r>
            <a:r>
              <a:rPr kumimoji="0" lang="en-US" sz="1100" b="1" i="0" u="none" strike="noStrike" kern="1200" cap="none" spc="0" normalizeH="0" baseline="0" noProof="0">
                <a:ln>
                  <a:noFill/>
                </a:ln>
                <a:effectLst/>
                <a:uLnTx/>
                <a:uFillTx/>
                <a:latin typeface="Arial"/>
                <a:ea typeface="+mn-ea"/>
                <a:cs typeface="+mn-cs"/>
              </a:rPr>
              <a:t> fusion range between $25 and $100 per MWh, but this range is extremely uncertain.</a:t>
            </a:r>
            <a:endParaRPr kumimoji="0" lang="en-US" sz="1100" b="0" i="0" u="none" strike="noStrike" kern="1200" cap="none" spc="0" normalizeH="0" baseline="0" noProof="0">
              <a:ln>
                <a:noFill/>
              </a:ln>
              <a:effectLst/>
              <a:uLnTx/>
              <a:uFillTx/>
              <a:latin typeface="Arial"/>
              <a:ea typeface="+mn-ea"/>
              <a:cs typeface="+mn-cs"/>
            </a:endParaRPr>
          </a:p>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effectLst/>
                <a:uLnTx/>
                <a:uFillTx/>
                <a:latin typeface="Arial"/>
                <a:ea typeface="+mn-ea"/>
                <a:cs typeface="+mn-cs"/>
              </a:rPr>
              <a:t>Like fission, costs are mostly driven by the high capital costs of the reactor.</a:t>
            </a:r>
          </a:p>
        </p:txBody>
      </p:sp>
      <p:sp>
        <p:nvSpPr>
          <p:cNvPr id="61" name="TextBox 60">
            <a:extLst>
              <a:ext uri="{FF2B5EF4-FFF2-40B4-BE49-F238E27FC236}">
                <a16:creationId xmlns:a16="http://schemas.microsoft.com/office/drawing/2014/main" id="{8D4CA862-654D-421F-21F7-50F507FF8243}"/>
              </a:ext>
            </a:extLst>
          </p:cNvPr>
          <p:cNvSpPr txBox="1"/>
          <p:nvPr/>
        </p:nvSpPr>
        <p:spPr>
          <a:xfrm>
            <a:off x="1611897" y="3007737"/>
            <a:ext cx="1554480" cy="1785104"/>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100" b="1" i="0" u="none" strike="noStrike" kern="1200" cap="none" spc="0" normalizeH="0" baseline="0" noProof="0">
                <a:ln>
                  <a:noFill/>
                </a:ln>
                <a:effectLst/>
                <a:uLnTx/>
                <a:uFillTx/>
                <a:latin typeface="Arial"/>
                <a:ea typeface="+mn-ea"/>
                <a:cs typeface="+mn-cs"/>
              </a:rPr>
              <a:t>Plasma, </a:t>
            </a:r>
            <a:r>
              <a:rPr lang="en-US" sz="1100">
                <a:latin typeface="Arial"/>
              </a:rPr>
              <a:t>the </a:t>
            </a:r>
            <a:r>
              <a:rPr kumimoji="0" lang="en-US" sz="1100" b="0" i="0" u="none" strike="noStrike" kern="1200" cap="none" spc="0" normalizeH="0" baseline="0" noProof="0">
                <a:ln>
                  <a:noFill/>
                </a:ln>
                <a:effectLst/>
                <a:uLnTx/>
                <a:uFillTx/>
                <a:latin typeface="Arial"/>
                <a:ea typeface="+mn-ea"/>
                <a:cs typeface="+mn-cs"/>
              </a:rPr>
              <a:t>fourth form of matter besides gas, liquid, and solid,</a:t>
            </a:r>
            <a:r>
              <a:rPr kumimoji="0" lang="en-US" sz="1100" b="1" i="0" u="none" strike="noStrike" kern="1200" cap="none" spc="0" normalizeH="0" baseline="0" noProof="0">
                <a:ln>
                  <a:noFill/>
                </a:ln>
                <a:effectLst/>
                <a:uLnTx/>
                <a:uFillTx/>
                <a:latin typeface="Arial"/>
                <a:ea typeface="+mn-ea"/>
                <a:cs typeface="+mn-cs"/>
              </a:rPr>
              <a:t> is needed for nuclei </a:t>
            </a:r>
            <a:r>
              <a:rPr kumimoji="0" lang="en-US" sz="1100" i="0" u="none" strike="noStrike" kern="1200" cap="none" spc="0" normalizeH="0" baseline="0" noProof="0">
                <a:ln>
                  <a:noFill/>
                </a:ln>
                <a:effectLst/>
                <a:uLnTx/>
                <a:uFillTx/>
                <a:latin typeface="Arial"/>
                <a:ea typeface="+mn-ea"/>
                <a:cs typeface="+mn-cs"/>
              </a:rPr>
              <a:t>(the positive ions) </a:t>
            </a:r>
            <a:r>
              <a:rPr kumimoji="0" lang="en-US" sz="1100" b="1" i="0" u="none" strike="noStrike" kern="1200" cap="none" spc="0" normalizeH="0" baseline="0" noProof="0">
                <a:ln>
                  <a:noFill/>
                </a:ln>
                <a:effectLst/>
                <a:uLnTx/>
                <a:uFillTx/>
                <a:latin typeface="Arial"/>
                <a:ea typeface="+mn-ea"/>
                <a:cs typeface="+mn-cs"/>
              </a:rPr>
              <a:t>to fuse. </a:t>
            </a:r>
          </a:p>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effectLst/>
                <a:uLnTx/>
                <a:uFillTx/>
                <a:latin typeface="Arial"/>
                <a:ea typeface="+mn-ea"/>
                <a:cs typeface="+mn-cs"/>
              </a:rPr>
              <a:t>Plasma is an extremely hot mix of negative electrons and positive ions.</a:t>
            </a:r>
          </a:p>
        </p:txBody>
      </p:sp>
      <p:sp>
        <p:nvSpPr>
          <p:cNvPr id="4" name="TextBox 3">
            <a:extLst>
              <a:ext uri="{FF2B5EF4-FFF2-40B4-BE49-F238E27FC236}">
                <a16:creationId xmlns:a16="http://schemas.microsoft.com/office/drawing/2014/main" id="{7B539A49-E26C-A528-ADCA-73A7BFDC3B0C}"/>
              </a:ext>
            </a:extLst>
          </p:cNvPr>
          <p:cNvSpPr txBox="1"/>
          <p:nvPr>
            <p:custDataLst>
              <p:tags r:id="rId3"/>
            </p:custDataLst>
          </p:nvPr>
        </p:nvSpPr>
        <p:spPr bwMode="gray">
          <a:xfrm>
            <a:off x="412855" y="1678802"/>
            <a:ext cx="1189106" cy="182880"/>
          </a:xfrm>
          <a:prstGeom prst="rect">
            <a:avLst/>
          </a:prstGeom>
          <a:noFill/>
        </p:spPr>
        <p:txBody>
          <a:bodyPr wrap="square" lIns="0" tIns="0" rIns="0" bIns="0" rtlCol="0">
            <a:spAutoFit/>
          </a:bodyPr>
          <a:lstStyle/>
          <a:p>
            <a:pPr marL="0" indent="0">
              <a:spcBef>
                <a:spcPts val="600"/>
              </a:spcBef>
              <a:spcAft>
                <a:spcPts val="600"/>
              </a:spcAft>
              <a:buNone/>
            </a:pPr>
            <a:r>
              <a:rPr lang="en-US" sz="1400" b="1"/>
              <a:t>Stage</a:t>
            </a:r>
          </a:p>
        </p:txBody>
      </p:sp>
      <p:sp>
        <p:nvSpPr>
          <p:cNvPr id="6" name="TextBox 5">
            <a:extLst>
              <a:ext uri="{FF2B5EF4-FFF2-40B4-BE49-F238E27FC236}">
                <a16:creationId xmlns:a16="http://schemas.microsoft.com/office/drawing/2014/main" id="{850A2F3C-7664-5F6F-4424-C6CE33A903E7}"/>
              </a:ext>
            </a:extLst>
          </p:cNvPr>
          <p:cNvSpPr txBox="1"/>
          <p:nvPr>
            <p:custDataLst>
              <p:tags r:id="rId4"/>
            </p:custDataLst>
          </p:nvPr>
        </p:nvSpPr>
        <p:spPr bwMode="gray">
          <a:xfrm>
            <a:off x="412855" y="3119308"/>
            <a:ext cx="1189106" cy="215444"/>
          </a:xfrm>
          <a:prstGeom prst="rect">
            <a:avLst/>
          </a:prstGeom>
          <a:noFill/>
        </p:spPr>
        <p:txBody>
          <a:bodyPr wrap="square" lIns="0" tIns="0" rIns="0" bIns="0" rtlCol="0">
            <a:spAutoFit/>
          </a:bodyPr>
          <a:lstStyle/>
          <a:p>
            <a:pPr marL="0" indent="0">
              <a:spcBef>
                <a:spcPts val="600"/>
              </a:spcBef>
              <a:spcAft>
                <a:spcPts val="600"/>
              </a:spcAft>
              <a:buNone/>
            </a:pPr>
            <a:r>
              <a:rPr lang="en-US" sz="1400" b="1"/>
              <a:t>Description</a:t>
            </a:r>
          </a:p>
        </p:txBody>
      </p:sp>
      <p:sp>
        <p:nvSpPr>
          <p:cNvPr id="8" name="TextBox 7">
            <a:extLst>
              <a:ext uri="{FF2B5EF4-FFF2-40B4-BE49-F238E27FC236}">
                <a16:creationId xmlns:a16="http://schemas.microsoft.com/office/drawing/2014/main" id="{0A888EA2-4BB4-1971-2033-DBB245D975D2}"/>
              </a:ext>
            </a:extLst>
          </p:cNvPr>
          <p:cNvSpPr txBox="1"/>
          <p:nvPr>
            <p:custDataLst>
              <p:tags r:id="rId5"/>
            </p:custDataLst>
          </p:nvPr>
        </p:nvSpPr>
        <p:spPr bwMode="gray">
          <a:xfrm>
            <a:off x="412855" y="4960851"/>
            <a:ext cx="1189106" cy="215444"/>
          </a:xfrm>
          <a:prstGeom prst="rect">
            <a:avLst/>
          </a:prstGeom>
          <a:noFill/>
        </p:spPr>
        <p:txBody>
          <a:bodyPr wrap="square" lIns="0" tIns="0" rIns="0" bIns="0" rtlCol="0">
            <a:spAutoFit/>
          </a:bodyPr>
          <a:lstStyle/>
          <a:p>
            <a:pPr marL="0" indent="0">
              <a:spcBef>
                <a:spcPts val="600"/>
              </a:spcBef>
              <a:spcAft>
                <a:spcPts val="600"/>
              </a:spcAft>
              <a:buNone/>
            </a:pPr>
            <a:r>
              <a:rPr lang="en-US" sz="1400" b="1"/>
              <a:t>Progress</a:t>
            </a:r>
          </a:p>
        </p:txBody>
      </p:sp>
      <p:cxnSp>
        <p:nvCxnSpPr>
          <p:cNvPr id="110" name="btfpColumnHeaderBoxLine223027">
            <a:extLst>
              <a:ext uri="{FF2B5EF4-FFF2-40B4-BE49-F238E27FC236}">
                <a16:creationId xmlns:a16="http://schemas.microsoft.com/office/drawing/2014/main" id="{7946473D-7632-58DC-C68B-3A10CB6D0A72}"/>
              </a:ext>
            </a:extLst>
          </p:cNvPr>
          <p:cNvCxnSpPr>
            <a:cxnSpLocks/>
          </p:cNvCxnSpPr>
          <p:nvPr/>
        </p:nvCxnSpPr>
        <p:spPr bwMode="gray">
          <a:xfrm>
            <a:off x="3176313" y="2271563"/>
            <a:ext cx="0" cy="3748566"/>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7" name="btfpColumnHeaderBoxLine223027">
            <a:extLst>
              <a:ext uri="{FF2B5EF4-FFF2-40B4-BE49-F238E27FC236}">
                <a16:creationId xmlns:a16="http://schemas.microsoft.com/office/drawing/2014/main" id="{36297995-7B1C-D74D-970A-2F03809460B0}"/>
              </a:ext>
            </a:extLst>
          </p:cNvPr>
          <p:cNvCxnSpPr>
            <a:cxnSpLocks/>
          </p:cNvCxnSpPr>
          <p:nvPr/>
        </p:nvCxnSpPr>
        <p:spPr bwMode="gray">
          <a:xfrm>
            <a:off x="9473721" y="2271563"/>
            <a:ext cx="0" cy="3748566"/>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8" name="btfpColumnHeaderBoxLine223027">
            <a:extLst>
              <a:ext uri="{FF2B5EF4-FFF2-40B4-BE49-F238E27FC236}">
                <a16:creationId xmlns:a16="http://schemas.microsoft.com/office/drawing/2014/main" id="{4B66F31C-5741-3751-FABC-5F702A47B70B}"/>
              </a:ext>
            </a:extLst>
          </p:cNvPr>
          <p:cNvCxnSpPr>
            <a:cxnSpLocks/>
          </p:cNvCxnSpPr>
          <p:nvPr/>
        </p:nvCxnSpPr>
        <p:spPr bwMode="gray">
          <a:xfrm>
            <a:off x="4750665" y="2271563"/>
            <a:ext cx="0" cy="3748566"/>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9" name="btfpColumnHeaderBoxLine223027">
            <a:extLst>
              <a:ext uri="{FF2B5EF4-FFF2-40B4-BE49-F238E27FC236}">
                <a16:creationId xmlns:a16="http://schemas.microsoft.com/office/drawing/2014/main" id="{B8E91094-9BDD-F64B-8E0A-D10C57E7BDA2}"/>
              </a:ext>
            </a:extLst>
          </p:cNvPr>
          <p:cNvCxnSpPr>
            <a:cxnSpLocks/>
          </p:cNvCxnSpPr>
          <p:nvPr/>
        </p:nvCxnSpPr>
        <p:spPr bwMode="gray">
          <a:xfrm>
            <a:off x="6325017" y="2271563"/>
            <a:ext cx="0" cy="3748566"/>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0" name="btfpColumnHeaderBoxLine223027">
            <a:extLst>
              <a:ext uri="{FF2B5EF4-FFF2-40B4-BE49-F238E27FC236}">
                <a16:creationId xmlns:a16="http://schemas.microsoft.com/office/drawing/2014/main" id="{AABE845A-CE55-1A05-89D2-F7412225B4A1}"/>
              </a:ext>
            </a:extLst>
          </p:cNvPr>
          <p:cNvCxnSpPr>
            <a:cxnSpLocks/>
          </p:cNvCxnSpPr>
          <p:nvPr/>
        </p:nvCxnSpPr>
        <p:spPr bwMode="gray">
          <a:xfrm>
            <a:off x="7899369" y="2271563"/>
            <a:ext cx="0" cy="3748566"/>
          </a:xfrm>
          <a:prstGeom prst="line">
            <a:avLst/>
          </a:prstGeom>
          <a:ln w="28575" cap="flat">
            <a:solidFill>
              <a:srgbClr val="FF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1" name="btfpColumnHeaderBoxLine223027">
            <a:extLst>
              <a:ext uri="{FF2B5EF4-FFF2-40B4-BE49-F238E27FC236}">
                <a16:creationId xmlns:a16="http://schemas.microsoft.com/office/drawing/2014/main" id="{7D139592-5010-EB9B-9255-197B2DCDE96B}"/>
              </a:ext>
            </a:extLst>
          </p:cNvPr>
          <p:cNvCxnSpPr>
            <a:cxnSpLocks/>
          </p:cNvCxnSpPr>
          <p:nvPr/>
        </p:nvCxnSpPr>
        <p:spPr bwMode="gray">
          <a:xfrm>
            <a:off x="1601961" y="2271563"/>
            <a:ext cx="0" cy="3748566"/>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2" name="btfpColumnHeaderBoxLine223027">
            <a:extLst>
              <a:ext uri="{FF2B5EF4-FFF2-40B4-BE49-F238E27FC236}">
                <a16:creationId xmlns:a16="http://schemas.microsoft.com/office/drawing/2014/main" id="{ED7095DF-431D-B17E-DDC6-6391A6E5A73C}"/>
              </a:ext>
            </a:extLst>
          </p:cNvPr>
          <p:cNvCxnSpPr>
            <a:cxnSpLocks/>
          </p:cNvCxnSpPr>
          <p:nvPr/>
        </p:nvCxnSpPr>
        <p:spPr bwMode="gray">
          <a:xfrm>
            <a:off x="11048072" y="2271563"/>
            <a:ext cx="0" cy="3748566"/>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BB85720-5090-73BA-FBD1-EA9D796B1172}"/>
              </a:ext>
            </a:extLst>
          </p:cNvPr>
          <p:cNvSpPr txBox="1"/>
          <p:nvPr/>
        </p:nvSpPr>
        <p:spPr>
          <a:xfrm>
            <a:off x="1611897" y="4915951"/>
            <a:ext cx="1554480" cy="600164"/>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US" sz="1100">
                <a:latin typeface="Arial"/>
              </a:rPr>
              <a:t>Plasma has been was </a:t>
            </a:r>
            <a:r>
              <a:rPr lang="en-US" sz="1100" b="1">
                <a:latin typeface="Arial"/>
              </a:rPr>
              <a:t>identified in the 19</a:t>
            </a:r>
            <a:r>
              <a:rPr lang="en-US" sz="1100" b="1" baseline="30000">
                <a:latin typeface="Arial"/>
              </a:rPr>
              <a:t>th</a:t>
            </a:r>
            <a:r>
              <a:rPr lang="en-US" sz="1100" b="1">
                <a:latin typeface="Arial"/>
              </a:rPr>
              <a:t> century.</a:t>
            </a:r>
            <a:endParaRPr kumimoji="0" lang="en-US" sz="1100" b="1" i="0" u="none" strike="noStrike" kern="1200" cap="none" spc="0" normalizeH="0" baseline="0" noProof="0">
              <a:ln>
                <a:noFill/>
              </a:ln>
              <a:effectLst/>
              <a:uLnTx/>
              <a:uFillTx/>
              <a:latin typeface="Arial"/>
              <a:ea typeface="+mn-ea"/>
              <a:cs typeface="+mn-cs"/>
            </a:endParaRPr>
          </a:p>
        </p:txBody>
      </p:sp>
      <p:sp>
        <p:nvSpPr>
          <p:cNvPr id="60" name="TextBox 59">
            <a:extLst>
              <a:ext uri="{FF2B5EF4-FFF2-40B4-BE49-F238E27FC236}">
                <a16:creationId xmlns:a16="http://schemas.microsoft.com/office/drawing/2014/main" id="{0A9E00BF-8214-05D5-1325-6B2717BAEA04}"/>
              </a:ext>
            </a:extLst>
          </p:cNvPr>
          <p:cNvSpPr txBox="1"/>
          <p:nvPr/>
        </p:nvSpPr>
        <p:spPr>
          <a:xfrm>
            <a:off x="3186249" y="4915952"/>
            <a:ext cx="1554480" cy="938719"/>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US" sz="1100">
                <a:latin typeface="Arial"/>
              </a:rPr>
              <a:t>P</a:t>
            </a:r>
            <a:r>
              <a:rPr kumimoji="0" lang="en-US" sz="1100" b="0" i="0" u="none" strike="noStrike" kern="1200" cap="none" spc="0" normalizeH="0" baseline="0" noProof="0" err="1">
                <a:ln>
                  <a:noFill/>
                </a:ln>
                <a:effectLst/>
                <a:uLnTx/>
                <a:uFillTx/>
                <a:latin typeface="Arial"/>
                <a:ea typeface="+mn-ea"/>
                <a:cs typeface="+mn-cs"/>
              </a:rPr>
              <a:t>lasma</a:t>
            </a:r>
            <a:r>
              <a:rPr kumimoji="0" lang="en-US" sz="1100" b="0" i="0" u="none" strike="noStrike" kern="1200" cap="none" spc="0" normalizeH="0" baseline="0" noProof="0">
                <a:ln>
                  <a:noFill/>
                </a:ln>
                <a:effectLst/>
                <a:uLnTx/>
                <a:uFillTx/>
                <a:latin typeface="Arial"/>
                <a:ea typeface="+mn-ea"/>
                <a:cs typeface="+mn-cs"/>
              </a:rPr>
              <a:t> was first sufficiently heated</a:t>
            </a:r>
            <a:r>
              <a:rPr kumimoji="0" lang="en-US" sz="1100" b="1" i="0" u="none" strike="noStrike" kern="1200" cap="none" spc="0" normalizeH="0" baseline="0" noProof="0">
                <a:ln>
                  <a:noFill/>
                </a:ln>
                <a:effectLst/>
                <a:uLnTx/>
                <a:uFillTx/>
                <a:latin typeface="Arial"/>
                <a:ea typeface="+mn-ea"/>
                <a:cs typeface="+mn-cs"/>
              </a:rPr>
              <a:t> in the 1960s,</a:t>
            </a:r>
            <a:r>
              <a:rPr kumimoji="0" lang="en-US" sz="1100" b="0" i="0" u="none" strike="noStrike" kern="1200" cap="none" spc="0" normalizeH="0" baseline="0" noProof="0">
                <a:ln>
                  <a:noFill/>
                </a:ln>
                <a:effectLst/>
                <a:uLnTx/>
                <a:uFillTx/>
                <a:latin typeface="Arial"/>
                <a:ea typeface="+mn-ea"/>
                <a:cs typeface="+mn-cs"/>
              </a:rPr>
              <a:t> at Los Alamos National Laboratory. </a:t>
            </a:r>
          </a:p>
        </p:txBody>
      </p:sp>
      <p:sp>
        <p:nvSpPr>
          <p:cNvPr id="62" name="TextBox 61">
            <a:extLst>
              <a:ext uri="{FF2B5EF4-FFF2-40B4-BE49-F238E27FC236}">
                <a16:creationId xmlns:a16="http://schemas.microsoft.com/office/drawing/2014/main" id="{E6CE3FFB-1A9C-38DF-487F-FBFBA7C3E010}"/>
              </a:ext>
            </a:extLst>
          </p:cNvPr>
          <p:cNvSpPr txBox="1"/>
          <p:nvPr/>
        </p:nvSpPr>
        <p:spPr>
          <a:xfrm>
            <a:off x="4760601" y="4915952"/>
            <a:ext cx="1554480" cy="76944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effectLst/>
                <a:uLnTx/>
                <a:uFillTx/>
                <a:latin typeface="Arial"/>
                <a:ea typeface="+mn-ea"/>
                <a:cs typeface="+mn-cs"/>
              </a:rPr>
              <a:t>The Joint European Torus (JET) was the first to take this step in </a:t>
            </a:r>
            <a:r>
              <a:rPr kumimoji="0" lang="en-US" sz="1100" b="1" i="0" u="none" strike="noStrike" kern="1200" cap="none" spc="0" normalizeH="0" baseline="0" noProof="0">
                <a:ln>
                  <a:noFill/>
                </a:ln>
                <a:effectLst/>
                <a:uLnTx/>
                <a:uFillTx/>
                <a:latin typeface="Arial"/>
                <a:ea typeface="+mn-ea"/>
                <a:cs typeface="+mn-cs"/>
              </a:rPr>
              <a:t>1991.</a:t>
            </a:r>
          </a:p>
        </p:txBody>
      </p:sp>
      <p:sp>
        <p:nvSpPr>
          <p:cNvPr id="63" name="TextBox 62">
            <a:extLst>
              <a:ext uri="{FF2B5EF4-FFF2-40B4-BE49-F238E27FC236}">
                <a16:creationId xmlns:a16="http://schemas.microsoft.com/office/drawing/2014/main" id="{077C9D80-1E6D-44B6-6A7D-74F3072145D2}"/>
              </a:ext>
            </a:extLst>
          </p:cNvPr>
          <p:cNvSpPr txBox="1"/>
          <p:nvPr/>
        </p:nvSpPr>
        <p:spPr>
          <a:xfrm>
            <a:off x="6334953" y="4915952"/>
            <a:ext cx="1554480" cy="938719"/>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100" i="0" u="none" strike="noStrike" kern="1200" cap="none" spc="0" normalizeH="0" baseline="0" noProof="0">
                <a:ln>
                  <a:noFill/>
                </a:ln>
                <a:effectLst/>
                <a:uLnTx/>
                <a:uFillTx/>
                <a:latin typeface="Arial"/>
                <a:ea typeface="+mn-ea"/>
                <a:cs typeface="+mn-cs"/>
              </a:rPr>
              <a:t>In </a:t>
            </a:r>
            <a:r>
              <a:rPr kumimoji="0" lang="en-US" sz="1100" b="1" i="0" u="none" strike="noStrike" kern="1200" cap="none" spc="0" normalizeH="0" baseline="0" noProof="0">
                <a:ln>
                  <a:noFill/>
                </a:ln>
                <a:effectLst/>
                <a:uLnTx/>
                <a:uFillTx/>
                <a:latin typeface="Arial"/>
                <a:ea typeface="+mn-ea"/>
                <a:cs typeface="+mn-cs"/>
              </a:rPr>
              <a:t>2022</a:t>
            </a:r>
            <a:r>
              <a:rPr kumimoji="0" lang="en-US" sz="1100" i="0" u="none" strike="noStrike" kern="1200" cap="none" spc="0" normalizeH="0" baseline="0" noProof="0">
                <a:ln>
                  <a:noFill/>
                </a:ln>
                <a:effectLst/>
                <a:uLnTx/>
                <a:uFillTx/>
                <a:latin typeface="Arial"/>
                <a:ea typeface="+mn-ea"/>
                <a:cs typeface="+mn-cs"/>
              </a:rPr>
              <a:t>, the National Ignition Facility in California was able to get </a:t>
            </a:r>
            <a:r>
              <a:rPr kumimoji="0" lang="en-US" sz="1100" b="1" i="0" u="none" strike="noStrike" kern="1200" cap="none" spc="0" normalizeH="0" baseline="0" noProof="0">
                <a:ln>
                  <a:noFill/>
                </a:ln>
                <a:effectLst/>
                <a:uLnTx/>
                <a:uFillTx/>
                <a:latin typeface="Arial"/>
                <a:ea typeface="+mn-ea"/>
                <a:cs typeface="+mn-cs"/>
              </a:rPr>
              <a:t>3.15 MJ output </a:t>
            </a:r>
            <a:r>
              <a:rPr kumimoji="0" lang="en-US" sz="1100" i="0" u="none" strike="noStrike" kern="1200" cap="none" spc="0" normalizeH="0" baseline="0" noProof="0">
                <a:ln>
                  <a:noFill/>
                </a:ln>
                <a:effectLst/>
                <a:uLnTx/>
                <a:uFillTx/>
                <a:latin typeface="Arial"/>
                <a:ea typeface="+mn-ea"/>
                <a:cs typeface="+mn-cs"/>
              </a:rPr>
              <a:t>using </a:t>
            </a:r>
            <a:r>
              <a:rPr kumimoji="0" lang="en-US" sz="1100" b="1" i="0" u="none" strike="noStrike" kern="1200" cap="none" spc="0" normalizeH="0" baseline="0" noProof="0">
                <a:ln>
                  <a:noFill/>
                </a:ln>
                <a:effectLst/>
                <a:uLnTx/>
                <a:uFillTx/>
                <a:latin typeface="Arial"/>
                <a:ea typeface="+mn-ea"/>
                <a:cs typeface="+mn-cs"/>
              </a:rPr>
              <a:t>2.05 MJ input.</a:t>
            </a:r>
          </a:p>
        </p:txBody>
      </p:sp>
      <p:sp>
        <p:nvSpPr>
          <p:cNvPr id="64" name="TextBox 63">
            <a:extLst>
              <a:ext uri="{FF2B5EF4-FFF2-40B4-BE49-F238E27FC236}">
                <a16:creationId xmlns:a16="http://schemas.microsoft.com/office/drawing/2014/main" id="{0AB40591-D2DE-61B5-9560-41D0091688DD}"/>
              </a:ext>
            </a:extLst>
          </p:cNvPr>
          <p:cNvSpPr txBox="1"/>
          <p:nvPr/>
        </p:nvSpPr>
        <p:spPr>
          <a:xfrm>
            <a:off x="7924210" y="4915952"/>
            <a:ext cx="1554480" cy="938719"/>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effectLst/>
                <a:uLnTx/>
                <a:uFillTx/>
                <a:latin typeface="Arial"/>
                <a:ea typeface="+mn-ea"/>
                <a:cs typeface="+mn-cs"/>
              </a:rPr>
              <a:t>Most continuous operating prototype power plants are scheduled for the </a:t>
            </a:r>
            <a:r>
              <a:rPr kumimoji="0" lang="en-US" sz="1100" b="1" i="0" u="none" strike="noStrike" kern="1200" cap="none" spc="0" normalizeH="0" baseline="0" noProof="0">
                <a:ln>
                  <a:noFill/>
                </a:ln>
                <a:effectLst/>
                <a:uLnTx/>
                <a:uFillTx/>
                <a:latin typeface="Arial"/>
                <a:ea typeface="+mn-ea"/>
                <a:cs typeface="+mn-cs"/>
              </a:rPr>
              <a:t>early 2030</a:t>
            </a:r>
            <a:r>
              <a:rPr lang="en-US" sz="1100" b="1">
                <a:latin typeface="Arial"/>
              </a:rPr>
              <a:t>s.</a:t>
            </a:r>
            <a:endParaRPr kumimoji="0" lang="en-US" sz="1100" b="1" i="0" u="none" strike="noStrike" kern="1200" cap="none" spc="0" normalizeH="0" baseline="0" noProof="0">
              <a:ln>
                <a:noFill/>
              </a:ln>
              <a:effectLst/>
              <a:uLnTx/>
              <a:uFillTx/>
              <a:latin typeface="Arial"/>
              <a:ea typeface="+mn-ea"/>
              <a:cs typeface="+mn-cs"/>
            </a:endParaRPr>
          </a:p>
        </p:txBody>
      </p:sp>
      <p:sp>
        <p:nvSpPr>
          <p:cNvPr id="65" name="TextBox 64">
            <a:extLst>
              <a:ext uri="{FF2B5EF4-FFF2-40B4-BE49-F238E27FC236}">
                <a16:creationId xmlns:a16="http://schemas.microsoft.com/office/drawing/2014/main" id="{A02D419F-D7E2-4CC1-3D75-3FA08329E500}"/>
              </a:ext>
            </a:extLst>
          </p:cNvPr>
          <p:cNvSpPr txBox="1"/>
          <p:nvPr/>
        </p:nvSpPr>
        <p:spPr>
          <a:xfrm>
            <a:off x="9483657" y="4915952"/>
            <a:ext cx="1554480" cy="76944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effectLst/>
                <a:uLnTx/>
                <a:uFillTx/>
                <a:latin typeface="Arial"/>
                <a:ea typeface="+mn-ea"/>
                <a:cs typeface="+mn-cs"/>
              </a:rPr>
              <a:t>Most commercial companies hope to </a:t>
            </a:r>
            <a:r>
              <a:rPr lang="en-US" sz="1100">
                <a:latin typeface="Arial"/>
              </a:rPr>
              <a:t>sell fusion energy by the </a:t>
            </a:r>
            <a:r>
              <a:rPr kumimoji="0" lang="en-US" sz="1100" b="1" i="0" u="none" strike="noStrike" kern="1200" cap="none" spc="0" normalizeH="0" baseline="0" noProof="0">
                <a:ln>
                  <a:noFill/>
                </a:ln>
                <a:effectLst/>
                <a:uLnTx/>
                <a:uFillTx/>
                <a:latin typeface="Arial"/>
                <a:ea typeface="+mn-ea"/>
                <a:cs typeface="+mn-cs"/>
              </a:rPr>
              <a:t>mid</a:t>
            </a:r>
            <a:r>
              <a:rPr lang="en-US" sz="1100" b="1">
                <a:latin typeface="Arial"/>
              </a:rPr>
              <a:t>-</a:t>
            </a:r>
            <a:r>
              <a:rPr kumimoji="0" lang="en-US" sz="1100" b="1" i="0" u="none" strike="noStrike" kern="1200" cap="none" spc="0" normalizeH="0" baseline="0" noProof="0">
                <a:ln>
                  <a:noFill/>
                </a:ln>
                <a:effectLst/>
                <a:uLnTx/>
                <a:uFillTx/>
                <a:latin typeface="Arial"/>
                <a:ea typeface="+mn-ea"/>
                <a:cs typeface="+mn-cs"/>
              </a:rPr>
              <a:t>2030</a:t>
            </a:r>
            <a:r>
              <a:rPr lang="en-US" sz="1100" b="1">
                <a:latin typeface="Arial"/>
              </a:rPr>
              <a:t>s.</a:t>
            </a:r>
            <a:endParaRPr kumimoji="0" lang="en-US" sz="1100" b="1" i="0" u="none" strike="noStrike" kern="1200" cap="none" spc="0" normalizeH="0" baseline="0" noProof="0">
              <a:ln>
                <a:noFill/>
              </a:ln>
              <a:effectLst/>
              <a:uLnTx/>
              <a:uFillTx/>
              <a:latin typeface="Arial"/>
              <a:ea typeface="+mn-ea"/>
              <a:cs typeface="+mn-cs"/>
            </a:endParaRPr>
          </a:p>
        </p:txBody>
      </p:sp>
      <p:cxnSp>
        <p:nvCxnSpPr>
          <p:cNvPr id="66" name="btfpColumnHeaderBoxLine223027">
            <a:extLst>
              <a:ext uri="{FF2B5EF4-FFF2-40B4-BE49-F238E27FC236}">
                <a16:creationId xmlns:a16="http://schemas.microsoft.com/office/drawing/2014/main" id="{501748AF-40D2-CC4A-4937-71E04B5272DF}"/>
              </a:ext>
            </a:extLst>
          </p:cNvPr>
          <p:cNvCxnSpPr>
            <a:cxnSpLocks/>
          </p:cNvCxnSpPr>
          <p:nvPr/>
        </p:nvCxnSpPr>
        <p:spPr bwMode="gray">
          <a:xfrm flipH="1">
            <a:off x="1688443" y="4869820"/>
            <a:ext cx="14013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8" name="btfpColumnHeaderBoxLine223027">
            <a:extLst>
              <a:ext uri="{FF2B5EF4-FFF2-40B4-BE49-F238E27FC236}">
                <a16:creationId xmlns:a16="http://schemas.microsoft.com/office/drawing/2014/main" id="{C3BD9034-A753-46DF-0AD0-DEFB28E9E0B5}"/>
              </a:ext>
            </a:extLst>
          </p:cNvPr>
          <p:cNvCxnSpPr>
            <a:cxnSpLocks/>
          </p:cNvCxnSpPr>
          <p:nvPr/>
        </p:nvCxnSpPr>
        <p:spPr bwMode="gray">
          <a:xfrm flipH="1">
            <a:off x="412855" y="4869652"/>
            <a:ext cx="1059329" cy="1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0" name="btfpColumnHeaderBoxLine223027">
            <a:extLst>
              <a:ext uri="{FF2B5EF4-FFF2-40B4-BE49-F238E27FC236}">
                <a16:creationId xmlns:a16="http://schemas.microsoft.com/office/drawing/2014/main" id="{ED52A58A-58A7-7CBA-0291-6E9CC6289E7C}"/>
              </a:ext>
            </a:extLst>
          </p:cNvPr>
          <p:cNvCxnSpPr>
            <a:cxnSpLocks/>
          </p:cNvCxnSpPr>
          <p:nvPr/>
        </p:nvCxnSpPr>
        <p:spPr bwMode="gray">
          <a:xfrm flipH="1">
            <a:off x="412855" y="2948202"/>
            <a:ext cx="1059329" cy="168"/>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1" name="btfpColumnHeaderBoxLine223027">
            <a:extLst>
              <a:ext uri="{FF2B5EF4-FFF2-40B4-BE49-F238E27FC236}">
                <a16:creationId xmlns:a16="http://schemas.microsoft.com/office/drawing/2014/main" id="{12814B99-2EB2-82ED-1D8E-FCDF5BD8B240}"/>
              </a:ext>
            </a:extLst>
          </p:cNvPr>
          <p:cNvCxnSpPr>
            <a:cxnSpLocks/>
          </p:cNvCxnSpPr>
          <p:nvPr/>
        </p:nvCxnSpPr>
        <p:spPr bwMode="gray">
          <a:xfrm flipH="1">
            <a:off x="3262795" y="4869820"/>
            <a:ext cx="14013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2" name="btfpColumnHeaderBoxLine223027">
            <a:extLst>
              <a:ext uri="{FF2B5EF4-FFF2-40B4-BE49-F238E27FC236}">
                <a16:creationId xmlns:a16="http://schemas.microsoft.com/office/drawing/2014/main" id="{743E3B90-6E21-0649-04F0-A2A3606DE25D}"/>
              </a:ext>
            </a:extLst>
          </p:cNvPr>
          <p:cNvCxnSpPr>
            <a:cxnSpLocks/>
          </p:cNvCxnSpPr>
          <p:nvPr/>
        </p:nvCxnSpPr>
        <p:spPr bwMode="gray">
          <a:xfrm flipH="1">
            <a:off x="4837147" y="4869820"/>
            <a:ext cx="14013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3" name="btfpColumnHeaderBoxLine223027">
            <a:extLst>
              <a:ext uri="{FF2B5EF4-FFF2-40B4-BE49-F238E27FC236}">
                <a16:creationId xmlns:a16="http://schemas.microsoft.com/office/drawing/2014/main" id="{8C8263C8-61C1-FFD9-9606-65FAA9D712E6}"/>
              </a:ext>
            </a:extLst>
          </p:cNvPr>
          <p:cNvCxnSpPr>
            <a:cxnSpLocks/>
          </p:cNvCxnSpPr>
          <p:nvPr/>
        </p:nvCxnSpPr>
        <p:spPr bwMode="gray">
          <a:xfrm flipH="1">
            <a:off x="5853686" y="4869820"/>
            <a:ext cx="14013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5" name="btfpColumnHeaderBoxLine223027">
            <a:extLst>
              <a:ext uri="{FF2B5EF4-FFF2-40B4-BE49-F238E27FC236}">
                <a16:creationId xmlns:a16="http://schemas.microsoft.com/office/drawing/2014/main" id="{FAF8E376-5AA7-D58A-9FE4-683B89879D9C}"/>
              </a:ext>
            </a:extLst>
          </p:cNvPr>
          <p:cNvCxnSpPr>
            <a:cxnSpLocks/>
          </p:cNvCxnSpPr>
          <p:nvPr/>
        </p:nvCxnSpPr>
        <p:spPr bwMode="gray">
          <a:xfrm flipH="1">
            <a:off x="6411499" y="4869820"/>
            <a:ext cx="14013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6" name="btfpColumnHeaderBoxLine223027">
            <a:extLst>
              <a:ext uri="{FF2B5EF4-FFF2-40B4-BE49-F238E27FC236}">
                <a16:creationId xmlns:a16="http://schemas.microsoft.com/office/drawing/2014/main" id="{E3337D27-A918-34D1-CE39-868D7C20056A}"/>
              </a:ext>
            </a:extLst>
          </p:cNvPr>
          <p:cNvCxnSpPr>
            <a:cxnSpLocks/>
          </p:cNvCxnSpPr>
          <p:nvPr/>
        </p:nvCxnSpPr>
        <p:spPr bwMode="gray">
          <a:xfrm flipH="1">
            <a:off x="7985851" y="4869820"/>
            <a:ext cx="14013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7" name="btfpColumnHeaderBoxLine223027">
            <a:extLst>
              <a:ext uri="{FF2B5EF4-FFF2-40B4-BE49-F238E27FC236}">
                <a16:creationId xmlns:a16="http://schemas.microsoft.com/office/drawing/2014/main" id="{3775E74A-4784-7212-4383-59B04F0E7E28}"/>
              </a:ext>
            </a:extLst>
          </p:cNvPr>
          <p:cNvCxnSpPr>
            <a:cxnSpLocks/>
          </p:cNvCxnSpPr>
          <p:nvPr/>
        </p:nvCxnSpPr>
        <p:spPr bwMode="gray">
          <a:xfrm flipH="1">
            <a:off x="9560203" y="4869820"/>
            <a:ext cx="14013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94" name="Group 93">
            <a:extLst>
              <a:ext uri="{FF2B5EF4-FFF2-40B4-BE49-F238E27FC236}">
                <a16:creationId xmlns:a16="http://schemas.microsoft.com/office/drawing/2014/main" id="{9D42F9E1-2847-1038-8538-5AB91A8B07ED}"/>
              </a:ext>
            </a:extLst>
          </p:cNvPr>
          <p:cNvGrpSpPr/>
          <p:nvPr/>
        </p:nvGrpSpPr>
        <p:grpSpPr>
          <a:xfrm>
            <a:off x="2081667" y="2334932"/>
            <a:ext cx="572606" cy="517270"/>
            <a:chOff x="2081667" y="2334932"/>
            <a:chExt cx="572606" cy="517270"/>
          </a:xfrm>
        </p:grpSpPr>
        <p:sp>
          <p:nvSpPr>
            <p:cNvPr id="90" name="Flowchart: Connector 89">
              <a:extLst>
                <a:ext uri="{FF2B5EF4-FFF2-40B4-BE49-F238E27FC236}">
                  <a16:creationId xmlns:a16="http://schemas.microsoft.com/office/drawing/2014/main" id="{9F655F42-D642-A841-3518-A82583193B6E}"/>
                </a:ext>
              </a:extLst>
            </p:cNvPr>
            <p:cNvSpPr/>
            <p:nvPr/>
          </p:nvSpPr>
          <p:spPr bwMode="gray">
            <a:xfrm>
              <a:off x="2081667" y="2334932"/>
              <a:ext cx="572606" cy="517270"/>
            </a:xfrm>
            <a:prstGeom prst="flowChartConnector">
              <a:avLst/>
            </a:prstGeom>
            <a:gradFill>
              <a:gsLst>
                <a:gs pos="0">
                  <a:srgbClr val="BEB8F3"/>
                </a:gs>
                <a:gs pos="100000">
                  <a:srgbClr val="F64AEE"/>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2" name="Arc 91">
              <a:extLst>
                <a:ext uri="{FF2B5EF4-FFF2-40B4-BE49-F238E27FC236}">
                  <a16:creationId xmlns:a16="http://schemas.microsoft.com/office/drawing/2014/main" id="{D4D2A967-DD51-7F98-9174-FD16DF4262F0}"/>
                </a:ext>
              </a:extLst>
            </p:cNvPr>
            <p:cNvSpPr/>
            <p:nvPr/>
          </p:nvSpPr>
          <p:spPr bwMode="gray">
            <a:xfrm rot="5400000">
              <a:off x="2256367" y="2463801"/>
              <a:ext cx="190500" cy="304184"/>
            </a:xfrm>
            <a:prstGeom prst="arc">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3" name="Arc 92">
              <a:extLst>
                <a:ext uri="{FF2B5EF4-FFF2-40B4-BE49-F238E27FC236}">
                  <a16:creationId xmlns:a16="http://schemas.microsoft.com/office/drawing/2014/main" id="{01C1183B-F836-B2A1-0A30-D3E4ABAE2943}"/>
                </a:ext>
              </a:extLst>
            </p:cNvPr>
            <p:cNvSpPr/>
            <p:nvPr/>
          </p:nvSpPr>
          <p:spPr bwMode="gray">
            <a:xfrm rot="5400000" flipH="1" flipV="1">
              <a:off x="2293887" y="2407041"/>
              <a:ext cx="190500" cy="304184"/>
            </a:xfrm>
            <a:prstGeom prst="arc">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2" name="Group 111">
            <a:extLst>
              <a:ext uri="{FF2B5EF4-FFF2-40B4-BE49-F238E27FC236}">
                <a16:creationId xmlns:a16="http://schemas.microsoft.com/office/drawing/2014/main" id="{0B2086DB-5F31-A19C-81F5-AA201D7A07CD}"/>
              </a:ext>
            </a:extLst>
          </p:cNvPr>
          <p:cNvGrpSpPr/>
          <p:nvPr/>
        </p:nvGrpSpPr>
        <p:grpSpPr>
          <a:xfrm>
            <a:off x="3813101" y="2334932"/>
            <a:ext cx="572606" cy="517270"/>
            <a:chOff x="3813101" y="2334932"/>
            <a:chExt cx="572606" cy="517270"/>
          </a:xfrm>
        </p:grpSpPr>
        <p:grpSp>
          <p:nvGrpSpPr>
            <p:cNvPr id="95" name="Group 94">
              <a:extLst>
                <a:ext uri="{FF2B5EF4-FFF2-40B4-BE49-F238E27FC236}">
                  <a16:creationId xmlns:a16="http://schemas.microsoft.com/office/drawing/2014/main" id="{EF3B0EC5-BAF7-8000-B850-DE71EE7E8EA5}"/>
                </a:ext>
              </a:extLst>
            </p:cNvPr>
            <p:cNvGrpSpPr/>
            <p:nvPr/>
          </p:nvGrpSpPr>
          <p:grpSpPr>
            <a:xfrm>
              <a:off x="3813101" y="2334932"/>
              <a:ext cx="572606" cy="517270"/>
              <a:chOff x="2081667" y="2334932"/>
              <a:chExt cx="572606" cy="517270"/>
            </a:xfrm>
          </p:grpSpPr>
          <p:sp>
            <p:nvSpPr>
              <p:cNvPr id="96" name="Flowchart: Connector 95">
                <a:extLst>
                  <a:ext uri="{FF2B5EF4-FFF2-40B4-BE49-F238E27FC236}">
                    <a16:creationId xmlns:a16="http://schemas.microsoft.com/office/drawing/2014/main" id="{02BB1F49-EE96-819E-5B04-557E33523B03}"/>
                  </a:ext>
                </a:extLst>
              </p:cNvPr>
              <p:cNvSpPr/>
              <p:nvPr/>
            </p:nvSpPr>
            <p:spPr bwMode="gray">
              <a:xfrm>
                <a:off x="2081667" y="2334932"/>
                <a:ext cx="572606" cy="517270"/>
              </a:xfrm>
              <a:prstGeom prst="flowChartConnector">
                <a:avLst/>
              </a:prstGeom>
              <a:gradFill>
                <a:gsLst>
                  <a:gs pos="0">
                    <a:srgbClr val="BEB8F3"/>
                  </a:gs>
                  <a:gs pos="100000">
                    <a:srgbClr val="BC3510"/>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7" name="Arc 96">
                <a:extLst>
                  <a:ext uri="{FF2B5EF4-FFF2-40B4-BE49-F238E27FC236}">
                    <a16:creationId xmlns:a16="http://schemas.microsoft.com/office/drawing/2014/main" id="{7789CA56-186C-856B-3645-654870B97284}"/>
                  </a:ext>
                </a:extLst>
              </p:cNvPr>
              <p:cNvSpPr/>
              <p:nvPr/>
            </p:nvSpPr>
            <p:spPr bwMode="gray">
              <a:xfrm rot="5400000">
                <a:off x="2256367" y="2463801"/>
                <a:ext cx="190500" cy="304184"/>
              </a:xfrm>
              <a:prstGeom prst="arc">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8" name="Arc 97">
                <a:extLst>
                  <a:ext uri="{FF2B5EF4-FFF2-40B4-BE49-F238E27FC236}">
                    <a16:creationId xmlns:a16="http://schemas.microsoft.com/office/drawing/2014/main" id="{1076EB96-55CF-A03B-FE81-9B5D642FD2E6}"/>
                  </a:ext>
                </a:extLst>
              </p:cNvPr>
              <p:cNvSpPr/>
              <p:nvPr/>
            </p:nvSpPr>
            <p:spPr bwMode="gray">
              <a:xfrm rot="5400000" flipH="1" flipV="1">
                <a:off x="2293887" y="2407041"/>
                <a:ext cx="190500" cy="304184"/>
              </a:xfrm>
              <a:prstGeom prst="arc">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1" name="Group 110">
              <a:extLst>
                <a:ext uri="{FF2B5EF4-FFF2-40B4-BE49-F238E27FC236}">
                  <a16:creationId xmlns:a16="http://schemas.microsoft.com/office/drawing/2014/main" id="{DE70D7A3-8540-D187-AD80-34DDBC292648}"/>
                </a:ext>
              </a:extLst>
            </p:cNvPr>
            <p:cNvGrpSpPr/>
            <p:nvPr/>
          </p:nvGrpSpPr>
          <p:grpSpPr>
            <a:xfrm>
              <a:off x="3988654" y="2541312"/>
              <a:ext cx="227021" cy="104510"/>
              <a:chOff x="4610101" y="2462442"/>
              <a:chExt cx="167606" cy="248702"/>
            </a:xfrm>
          </p:grpSpPr>
          <p:cxnSp>
            <p:nvCxnSpPr>
              <p:cNvPr id="100" name="Connector: Curved 99">
                <a:extLst>
                  <a:ext uri="{FF2B5EF4-FFF2-40B4-BE49-F238E27FC236}">
                    <a16:creationId xmlns:a16="http://schemas.microsoft.com/office/drawing/2014/main" id="{C2477580-C9A1-17FB-5F89-56E4E67782C7}"/>
                  </a:ext>
                </a:extLst>
              </p:cNvPr>
              <p:cNvCxnSpPr>
                <a:cxnSpLocks/>
              </p:cNvCxnSpPr>
              <p:nvPr/>
            </p:nvCxnSpPr>
            <p:spPr bwMode="gray">
              <a:xfrm rot="5400000">
                <a:off x="4513512" y="2560472"/>
                <a:ext cx="247261" cy="54084"/>
              </a:xfrm>
              <a:prstGeom prst="curvedConnector3">
                <a:avLst>
                  <a:gd name="adj1" fmla="val 50000"/>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Connector: Curved 102">
                <a:extLst>
                  <a:ext uri="{FF2B5EF4-FFF2-40B4-BE49-F238E27FC236}">
                    <a16:creationId xmlns:a16="http://schemas.microsoft.com/office/drawing/2014/main" id="{3D9C405C-E9E2-8AE0-364D-63B9BC0ECA9E}"/>
                  </a:ext>
                </a:extLst>
              </p:cNvPr>
              <p:cNvCxnSpPr>
                <a:cxnSpLocks/>
              </p:cNvCxnSpPr>
              <p:nvPr/>
            </p:nvCxnSpPr>
            <p:spPr bwMode="gray">
              <a:xfrm rot="5400000">
                <a:off x="4570273" y="2559031"/>
                <a:ext cx="247261" cy="54084"/>
              </a:xfrm>
              <a:prstGeom prst="curvedConnector3">
                <a:avLst>
                  <a:gd name="adj1" fmla="val 50000"/>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5" name="Connector: Curved 104">
                <a:extLst>
                  <a:ext uri="{FF2B5EF4-FFF2-40B4-BE49-F238E27FC236}">
                    <a16:creationId xmlns:a16="http://schemas.microsoft.com/office/drawing/2014/main" id="{B6E6FE4C-BB7E-BA1C-5475-ED354AB2CCEF}"/>
                  </a:ext>
                </a:extLst>
              </p:cNvPr>
              <p:cNvCxnSpPr>
                <a:cxnSpLocks/>
              </p:cNvCxnSpPr>
              <p:nvPr/>
            </p:nvCxnSpPr>
            <p:spPr bwMode="gray">
              <a:xfrm rot="5400000">
                <a:off x="4627034" y="2559032"/>
                <a:ext cx="247261" cy="54084"/>
              </a:xfrm>
              <a:prstGeom prst="curvedConnector3">
                <a:avLst>
                  <a:gd name="adj1" fmla="val 50000"/>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grpSp>
        <p:nvGrpSpPr>
          <p:cNvPr id="114" name="Group 113">
            <a:extLst>
              <a:ext uri="{FF2B5EF4-FFF2-40B4-BE49-F238E27FC236}">
                <a16:creationId xmlns:a16="http://schemas.microsoft.com/office/drawing/2014/main" id="{1D418A12-6951-A7A9-B6CD-5EEA706D16D7}"/>
              </a:ext>
            </a:extLst>
          </p:cNvPr>
          <p:cNvGrpSpPr/>
          <p:nvPr/>
        </p:nvGrpSpPr>
        <p:grpSpPr>
          <a:xfrm>
            <a:off x="5344631" y="2334932"/>
            <a:ext cx="572606" cy="517270"/>
            <a:chOff x="2081667" y="2334932"/>
            <a:chExt cx="572606" cy="517270"/>
          </a:xfrm>
        </p:grpSpPr>
        <p:sp>
          <p:nvSpPr>
            <p:cNvPr id="119" name="Flowchart: Connector 118">
              <a:extLst>
                <a:ext uri="{FF2B5EF4-FFF2-40B4-BE49-F238E27FC236}">
                  <a16:creationId xmlns:a16="http://schemas.microsoft.com/office/drawing/2014/main" id="{C0867E51-2868-8BCA-A429-263B8CEF7589}"/>
                </a:ext>
              </a:extLst>
            </p:cNvPr>
            <p:cNvSpPr/>
            <p:nvPr/>
          </p:nvSpPr>
          <p:spPr bwMode="gray">
            <a:xfrm>
              <a:off x="2081667" y="2334932"/>
              <a:ext cx="572606" cy="517270"/>
            </a:xfrm>
            <a:prstGeom prst="flowChartConnector">
              <a:avLst/>
            </a:prstGeom>
            <a:gradFill>
              <a:gsLst>
                <a:gs pos="0">
                  <a:srgbClr val="BEB8F3"/>
                </a:gs>
                <a:gs pos="100000">
                  <a:srgbClr val="BC3D20"/>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0" name="Arc 119">
              <a:extLst>
                <a:ext uri="{FF2B5EF4-FFF2-40B4-BE49-F238E27FC236}">
                  <a16:creationId xmlns:a16="http://schemas.microsoft.com/office/drawing/2014/main" id="{45104694-3477-BBD2-7447-A1793A9C8B68}"/>
                </a:ext>
              </a:extLst>
            </p:cNvPr>
            <p:cNvSpPr/>
            <p:nvPr/>
          </p:nvSpPr>
          <p:spPr bwMode="gray">
            <a:xfrm rot="5400000">
              <a:off x="2256367" y="2463801"/>
              <a:ext cx="190500" cy="304184"/>
            </a:xfrm>
            <a:prstGeom prst="arc">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1" name="Arc 120">
              <a:extLst>
                <a:ext uri="{FF2B5EF4-FFF2-40B4-BE49-F238E27FC236}">
                  <a16:creationId xmlns:a16="http://schemas.microsoft.com/office/drawing/2014/main" id="{D87C1D2D-3A10-B304-4451-110B71CAF810}"/>
                </a:ext>
              </a:extLst>
            </p:cNvPr>
            <p:cNvSpPr/>
            <p:nvPr/>
          </p:nvSpPr>
          <p:spPr bwMode="gray">
            <a:xfrm rot="5400000" flipH="1" flipV="1">
              <a:off x="2293887" y="2407041"/>
              <a:ext cx="190500" cy="304184"/>
            </a:xfrm>
            <a:prstGeom prst="arc">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22" name="Explosion: 8 Points 121">
            <a:extLst>
              <a:ext uri="{FF2B5EF4-FFF2-40B4-BE49-F238E27FC236}">
                <a16:creationId xmlns:a16="http://schemas.microsoft.com/office/drawing/2014/main" id="{1E3AE67F-0291-1442-6AD0-D56963A08118}"/>
              </a:ext>
            </a:extLst>
          </p:cNvPr>
          <p:cNvSpPr/>
          <p:nvPr/>
        </p:nvSpPr>
        <p:spPr bwMode="gray">
          <a:xfrm>
            <a:off x="5580724" y="2536728"/>
            <a:ext cx="100419" cy="113071"/>
          </a:xfrm>
          <a:prstGeom prst="irregularSeal1">
            <a:avLst/>
          </a:prstGeom>
          <a:solidFill>
            <a:srgbClr val="00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126" name="Group 125">
            <a:extLst>
              <a:ext uri="{FF2B5EF4-FFF2-40B4-BE49-F238E27FC236}">
                <a16:creationId xmlns:a16="http://schemas.microsoft.com/office/drawing/2014/main" id="{3AD29098-192B-F586-E2D6-BE89AC6DF09B}"/>
              </a:ext>
            </a:extLst>
          </p:cNvPr>
          <p:cNvGrpSpPr/>
          <p:nvPr/>
        </p:nvGrpSpPr>
        <p:grpSpPr>
          <a:xfrm>
            <a:off x="5905500" y="2344326"/>
            <a:ext cx="144463" cy="493891"/>
            <a:chOff x="5905500" y="2334932"/>
            <a:chExt cx="144463" cy="493891"/>
          </a:xfrm>
        </p:grpSpPr>
        <p:cxnSp>
          <p:nvCxnSpPr>
            <p:cNvPr id="124" name="Straight Arrow Connector 123">
              <a:extLst>
                <a:ext uri="{FF2B5EF4-FFF2-40B4-BE49-F238E27FC236}">
                  <a16:creationId xmlns:a16="http://schemas.microsoft.com/office/drawing/2014/main" id="{66323AB2-BCCE-D2C0-1A69-4B194294EBCA}"/>
                </a:ext>
              </a:extLst>
            </p:cNvPr>
            <p:cNvCxnSpPr>
              <a:endCxn id="119" idx="7"/>
            </p:cNvCxnSpPr>
            <p:nvPr/>
          </p:nvCxnSpPr>
          <p:spPr bwMode="gray">
            <a:xfrm flipH="1">
              <a:off x="5905500" y="2334932"/>
              <a:ext cx="144463" cy="103468"/>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47899FC1-1979-FEB0-C3E0-BD35A538FD4D}"/>
                </a:ext>
              </a:extLst>
            </p:cNvPr>
            <p:cNvCxnSpPr>
              <a:cxnSpLocks/>
            </p:cNvCxnSpPr>
            <p:nvPr/>
          </p:nvCxnSpPr>
          <p:spPr bwMode="gray">
            <a:xfrm flipH="1" flipV="1">
              <a:off x="5905500" y="2725355"/>
              <a:ext cx="144463" cy="103468"/>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F08D18BD-7965-B145-9820-CF2B39AD93BD}"/>
              </a:ext>
            </a:extLst>
          </p:cNvPr>
          <p:cNvGrpSpPr/>
          <p:nvPr/>
        </p:nvGrpSpPr>
        <p:grpSpPr>
          <a:xfrm flipH="1">
            <a:off x="5194067" y="2344326"/>
            <a:ext cx="144463" cy="493891"/>
            <a:chOff x="5905500" y="2334932"/>
            <a:chExt cx="144463" cy="493891"/>
          </a:xfrm>
        </p:grpSpPr>
        <p:cxnSp>
          <p:nvCxnSpPr>
            <p:cNvPr id="128" name="Straight Arrow Connector 127">
              <a:extLst>
                <a:ext uri="{FF2B5EF4-FFF2-40B4-BE49-F238E27FC236}">
                  <a16:creationId xmlns:a16="http://schemas.microsoft.com/office/drawing/2014/main" id="{CF27A702-8004-3220-BC10-0FB9191BE4D9}"/>
                </a:ext>
              </a:extLst>
            </p:cNvPr>
            <p:cNvCxnSpPr/>
            <p:nvPr/>
          </p:nvCxnSpPr>
          <p:spPr bwMode="gray">
            <a:xfrm flipH="1">
              <a:off x="5905500" y="2334932"/>
              <a:ext cx="144463" cy="103468"/>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A0BB9E84-21B1-37F8-03B9-645C9EE982C3}"/>
                </a:ext>
              </a:extLst>
            </p:cNvPr>
            <p:cNvCxnSpPr>
              <a:cxnSpLocks/>
            </p:cNvCxnSpPr>
            <p:nvPr/>
          </p:nvCxnSpPr>
          <p:spPr bwMode="gray">
            <a:xfrm flipH="1" flipV="1">
              <a:off x="5905500" y="2725355"/>
              <a:ext cx="144463" cy="103468"/>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130" name="Group 129">
            <a:extLst>
              <a:ext uri="{FF2B5EF4-FFF2-40B4-BE49-F238E27FC236}">
                <a16:creationId xmlns:a16="http://schemas.microsoft.com/office/drawing/2014/main" id="{31D945F8-9AF2-B307-5F10-ED1535E8EF15}"/>
              </a:ext>
            </a:extLst>
          </p:cNvPr>
          <p:cNvGrpSpPr/>
          <p:nvPr/>
        </p:nvGrpSpPr>
        <p:grpSpPr>
          <a:xfrm>
            <a:off x="6876160" y="2334932"/>
            <a:ext cx="572606" cy="517270"/>
            <a:chOff x="2081667" y="2334932"/>
            <a:chExt cx="572606" cy="517270"/>
          </a:xfrm>
        </p:grpSpPr>
        <p:sp>
          <p:nvSpPr>
            <p:cNvPr id="131" name="Flowchart: Connector 130">
              <a:extLst>
                <a:ext uri="{FF2B5EF4-FFF2-40B4-BE49-F238E27FC236}">
                  <a16:creationId xmlns:a16="http://schemas.microsoft.com/office/drawing/2014/main" id="{49A5146C-5EC5-9F27-B91F-E5FEAB7CE9AB}"/>
                </a:ext>
              </a:extLst>
            </p:cNvPr>
            <p:cNvSpPr/>
            <p:nvPr/>
          </p:nvSpPr>
          <p:spPr bwMode="gray">
            <a:xfrm>
              <a:off x="2081667" y="2334932"/>
              <a:ext cx="572606" cy="517270"/>
            </a:xfrm>
            <a:prstGeom prst="flowChartConnector">
              <a:avLst/>
            </a:prstGeom>
            <a:gradFill>
              <a:gsLst>
                <a:gs pos="0">
                  <a:srgbClr val="BEB8F3"/>
                </a:gs>
                <a:gs pos="100000">
                  <a:srgbClr val="BC3D20"/>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2" name="Arc 131">
              <a:extLst>
                <a:ext uri="{FF2B5EF4-FFF2-40B4-BE49-F238E27FC236}">
                  <a16:creationId xmlns:a16="http://schemas.microsoft.com/office/drawing/2014/main" id="{B292CEE3-3924-D3A2-D341-80704B2C165C}"/>
                </a:ext>
              </a:extLst>
            </p:cNvPr>
            <p:cNvSpPr/>
            <p:nvPr/>
          </p:nvSpPr>
          <p:spPr bwMode="gray">
            <a:xfrm rot="5400000">
              <a:off x="2256367" y="2463801"/>
              <a:ext cx="190500" cy="304184"/>
            </a:xfrm>
            <a:prstGeom prst="arc">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3" name="Arc 132">
              <a:extLst>
                <a:ext uri="{FF2B5EF4-FFF2-40B4-BE49-F238E27FC236}">
                  <a16:creationId xmlns:a16="http://schemas.microsoft.com/office/drawing/2014/main" id="{BBA31855-FF65-3AA1-0D2B-A0EB8773F968}"/>
                </a:ext>
              </a:extLst>
            </p:cNvPr>
            <p:cNvSpPr/>
            <p:nvPr/>
          </p:nvSpPr>
          <p:spPr bwMode="gray">
            <a:xfrm rot="5400000" flipH="1" flipV="1">
              <a:off x="2293887" y="2407041"/>
              <a:ext cx="190500" cy="304184"/>
            </a:xfrm>
            <a:prstGeom prst="arc">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35" name="Arrow: Right 134">
            <a:extLst>
              <a:ext uri="{FF2B5EF4-FFF2-40B4-BE49-F238E27FC236}">
                <a16:creationId xmlns:a16="http://schemas.microsoft.com/office/drawing/2014/main" id="{99645581-7DDE-715C-586E-89921F10F3E0}"/>
              </a:ext>
            </a:extLst>
          </p:cNvPr>
          <p:cNvSpPr/>
          <p:nvPr/>
        </p:nvSpPr>
        <p:spPr bwMode="gray">
          <a:xfrm>
            <a:off x="6647280" y="2550571"/>
            <a:ext cx="192307" cy="85991"/>
          </a:xfrm>
          <a:prstGeom prst="right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6" name="Arrow: Right 135">
            <a:extLst>
              <a:ext uri="{FF2B5EF4-FFF2-40B4-BE49-F238E27FC236}">
                <a16:creationId xmlns:a16="http://schemas.microsoft.com/office/drawing/2014/main" id="{A4DCEBBC-9157-D3A8-EC18-8D07AE053EF0}"/>
              </a:ext>
            </a:extLst>
          </p:cNvPr>
          <p:cNvSpPr/>
          <p:nvPr/>
        </p:nvSpPr>
        <p:spPr bwMode="gray">
          <a:xfrm>
            <a:off x="7485339" y="2485329"/>
            <a:ext cx="192307" cy="216476"/>
          </a:xfrm>
          <a:prstGeom prst="right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137" name="Group 136">
            <a:extLst>
              <a:ext uri="{FF2B5EF4-FFF2-40B4-BE49-F238E27FC236}">
                <a16:creationId xmlns:a16="http://schemas.microsoft.com/office/drawing/2014/main" id="{C564158C-383C-C988-1FB1-770B4DA9884C}"/>
              </a:ext>
            </a:extLst>
          </p:cNvPr>
          <p:cNvGrpSpPr/>
          <p:nvPr/>
        </p:nvGrpSpPr>
        <p:grpSpPr>
          <a:xfrm>
            <a:off x="8066742" y="2334932"/>
            <a:ext cx="572606" cy="517270"/>
            <a:chOff x="2081667" y="2334932"/>
            <a:chExt cx="572606" cy="517270"/>
          </a:xfrm>
        </p:grpSpPr>
        <p:sp>
          <p:nvSpPr>
            <p:cNvPr id="138" name="Flowchart: Connector 137">
              <a:extLst>
                <a:ext uri="{FF2B5EF4-FFF2-40B4-BE49-F238E27FC236}">
                  <a16:creationId xmlns:a16="http://schemas.microsoft.com/office/drawing/2014/main" id="{A0AF59DF-379A-4EA8-54AC-AEED526A3FDC}"/>
                </a:ext>
              </a:extLst>
            </p:cNvPr>
            <p:cNvSpPr/>
            <p:nvPr/>
          </p:nvSpPr>
          <p:spPr bwMode="gray">
            <a:xfrm>
              <a:off x="2081667" y="2334932"/>
              <a:ext cx="572606" cy="517270"/>
            </a:xfrm>
            <a:prstGeom prst="flowChartConnector">
              <a:avLst/>
            </a:prstGeom>
            <a:gradFill>
              <a:gsLst>
                <a:gs pos="0">
                  <a:srgbClr val="BEB8F3"/>
                </a:gs>
                <a:gs pos="100000">
                  <a:srgbClr val="BC3D20"/>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9" name="Arc 138">
              <a:extLst>
                <a:ext uri="{FF2B5EF4-FFF2-40B4-BE49-F238E27FC236}">
                  <a16:creationId xmlns:a16="http://schemas.microsoft.com/office/drawing/2014/main" id="{D9927902-C23C-307B-3D10-E520BC308DF2}"/>
                </a:ext>
              </a:extLst>
            </p:cNvPr>
            <p:cNvSpPr/>
            <p:nvPr/>
          </p:nvSpPr>
          <p:spPr bwMode="gray">
            <a:xfrm rot="5400000">
              <a:off x="2256367" y="2463801"/>
              <a:ext cx="190500" cy="304184"/>
            </a:xfrm>
            <a:prstGeom prst="arc">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0" name="Arc 139">
              <a:extLst>
                <a:ext uri="{FF2B5EF4-FFF2-40B4-BE49-F238E27FC236}">
                  <a16:creationId xmlns:a16="http://schemas.microsoft.com/office/drawing/2014/main" id="{6F4476F9-7368-DAF5-E851-A741665EE53E}"/>
                </a:ext>
              </a:extLst>
            </p:cNvPr>
            <p:cNvSpPr/>
            <p:nvPr/>
          </p:nvSpPr>
          <p:spPr bwMode="gray">
            <a:xfrm rot="5400000" flipH="1" flipV="1">
              <a:off x="2293887" y="2407041"/>
              <a:ext cx="190500" cy="304184"/>
            </a:xfrm>
            <a:prstGeom prst="arc">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42" name="Arrow: Right 141">
            <a:extLst>
              <a:ext uri="{FF2B5EF4-FFF2-40B4-BE49-F238E27FC236}">
                <a16:creationId xmlns:a16="http://schemas.microsoft.com/office/drawing/2014/main" id="{F1862EE8-67C3-FE82-9203-490C70B662E0}"/>
              </a:ext>
            </a:extLst>
          </p:cNvPr>
          <p:cNvSpPr/>
          <p:nvPr/>
        </p:nvSpPr>
        <p:spPr bwMode="gray">
          <a:xfrm>
            <a:off x="8745126" y="2485329"/>
            <a:ext cx="352523" cy="216476"/>
          </a:xfrm>
          <a:prstGeom prst="right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44" name="Graphic 143" descr="Electric Tower with solid fill">
            <a:extLst>
              <a:ext uri="{FF2B5EF4-FFF2-40B4-BE49-F238E27FC236}">
                <a16:creationId xmlns:a16="http://schemas.microsoft.com/office/drawing/2014/main" id="{8BD3628C-37A3-4FA7-CF4B-4CD95C79F253}"/>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10488842" y="2312572"/>
            <a:ext cx="599552" cy="599552"/>
          </a:xfrm>
          <a:prstGeom prst="rect">
            <a:avLst/>
          </a:prstGeom>
        </p:spPr>
      </p:pic>
      <p:sp>
        <p:nvSpPr>
          <p:cNvPr id="145" name="Lightning Bolt 144">
            <a:extLst>
              <a:ext uri="{FF2B5EF4-FFF2-40B4-BE49-F238E27FC236}">
                <a16:creationId xmlns:a16="http://schemas.microsoft.com/office/drawing/2014/main" id="{FFE816AE-615B-C727-F97F-ACCE4764872A}"/>
              </a:ext>
            </a:extLst>
          </p:cNvPr>
          <p:cNvSpPr/>
          <p:nvPr/>
        </p:nvSpPr>
        <p:spPr bwMode="gray">
          <a:xfrm rot="1994088">
            <a:off x="9134375" y="2447794"/>
            <a:ext cx="252864" cy="303257"/>
          </a:xfrm>
          <a:prstGeom prst="lightningBol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146" name="Group 145">
            <a:extLst>
              <a:ext uri="{FF2B5EF4-FFF2-40B4-BE49-F238E27FC236}">
                <a16:creationId xmlns:a16="http://schemas.microsoft.com/office/drawing/2014/main" id="{D5CDCC3C-B17B-0E2F-BA9B-65A1CC5D211D}"/>
              </a:ext>
            </a:extLst>
          </p:cNvPr>
          <p:cNvGrpSpPr/>
          <p:nvPr/>
        </p:nvGrpSpPr>
        <p:grpSpPr>
          <a:xfrm>
            <a:off x="9552061" y="2334932"/>
            <a:ext cx="572606" cy="517270"/>
            <a:chOff x="2081667" y="2334932"/>
            <a:chExt cx="572606" cy="517270"/>
          </a:xfrm>
        </p:grpSpPr>
        <p:sp>
          <p:nvSpPr>
            <p:cNvPr id="147" name="Flowchart: Connector 146">
              <a:extLst>
                <a:ext uri="{FF2B5EF4-FFF2-40B4-BE49-F238E27FC236}">
                  <a16:creationId xmlns:a16="http://schemas.microsoft.com/office/drawing/2014/main" id="{BD733B8A-52A5-FE06-03A7-085986EA1E6C}"/>
                </a:ext>
              </a:extLst>
            </p:cNvPr>
            <p:cNvSpPr/>
            <p:nvPr/>
          </p:nvSpPr>
          <p:spPr bwMode="gray">
            <a:xfrm>
              <a:off x="2081667" y="2334932"/>
              <a:ext cx="572606" cy="517270"/>
            </a:xfrm>
            <a:prstGeom prst="flowChartConnector">
              <a:avLst/>
            </a:prstGeom>
            <a:gradFill>
              <a:gsLst>
                <a:gs pos="0">
                  <a:srgbClr val="BEB8F3"/>
                </a:gs>
                <a:gs pos="100000">
                  <a:srgbClr val="BC3D20"/>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8" name="Arc 147">
              <a:extLst>
                <a:ext uri="{FF2B5EF4-FFF2-40B4-BE49-F238E27FC236}">
                  <a16:creationId xmlns:a16="http://schemas.microsoft.com/office/drawing/2014/main" id="{2D2F899E-E29C-6811-6369-6084F15BDF67}"/>
                </a:ext>
              </a:extLst>
            </p:cNvPr>
            <p:cNvSpPr/>
            <p:nvPr/>
          </p:nvSpPr>
          <p:spPr bwMode="gray">
            <a:xfrm rot="5400000">
              <a:off x="2256367" y="2463801"/>
              <a:ext cx="190500" cy="304184"/>
            </a:xfrm>
            <a:prstGeom prst="arc">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9" name="Arc 148">
              <a:extLst>
                <a:ext uri="{FF2B5EF4-FFF2-40B4-BE49-F238E27FC236}">
                  <a16:creationId xmlns:a16="http://schemas.microsoft.com/office/drawing/2014/main" id="{3BCD816C-90A9-518A-96A4-EEC5F5A3795B}"/>
                </a:ext>
              </a:extLst>
            </p:cNvPr>
            <p:cNvSpPr/>
            <p:nvPr/>
          </p:nvSpPr>
          <p:spPr bwMode="gray">
            <a:xfrm rot="5400000" flipH="1" flipV="1">
              <a:off x="2293887" y="2407041"/>
              <a:ext cx="190500" cy="304184"/>
            </a:xfrm>
            <a:prstGeom prst="arc">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50" name="Arrow: Right 149">
            <a:extLst>
              <a:ext uri="{FF2B5EF4-FFF2-40B4-BE49-F238E27FC236}">
                <a16:creationId xmlns:a16="http://schemas.microsoft.com/office/drawing/2014/main" id="{8AEA30B8-303E-939E-6A44-0386C6066919}"/>
              </a:ext>
            </a:extLst>
          </p:cNvPr>
          <p:cNvSpPr/>
          <p:nvPr/>
        </p:nvSpPr>
        <p:spPr bwMode="gray">
          <a:xfrm>
            <a:off x="10162187" y="2485329"/>
            <a:ext cx="352523" cy="216476"/>
          </a:xfrm>
          <a:prstGeom prst="right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52" name="btfpColumnHeaderBoxLine223027">
            <a:extLst>
              <a:ext uri="{FF2B5EF4-FFF2-40B4-BE49-F238E27FC236}">
                <a16:creationId xmlns:a16="http://schemas.microsoft.com/office/drawing/2014/main" id="{B752EAED-E265-1F5E-91F9-88DA18CA8888}"/>
              </a:ext>
            </a:extLst>
          </p:cNvPr>
          <p:cNvCxnSpPr>
            <a:cxnSpLocks/>
          </p:cNvCxnSpPr>
          <p:nvPr/>
        </p:nvCxnSpPr>
        <p:spPr bwMode="gray">
          <a:xfrm flipH="1">
            <a:off x="1688443" y="2948202"/>
            <a:ext cx="14013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3" name="btfpColumnHeaderBoxLine223027">
            <a:extLst>
              <a:ext uri="{FF2B5EF4-FFF2-40B4-BE49-F238E27FC236}">
                <a16:creationId xmlns:a16="http://schemas.microsoft.com/office/drawing/2014/main" id="{8FD23329-2A5F-F348-2689-0A53CD02C132}"/>
              </a:ext>
            </a:extLst>
          </p:cNvPr>
          <p:cNvCxnSpPr>
            <a:cxnSpLocks/>
          </p:cNvCxnSpPr>
          <p:nvPr/>
        </p:nvCxnSpPr>
        <p:spPr bwMode="gray">
          <a:xfrm flipH="1">
            <a:off x="3262795" y="2948202"/>
            <a:ext cx="14013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4" name="btfpColumnHeaderBoxLine223027">
            <a:extLst>
              <a:ext uri="{FF2B5EF4-FFF2-40B4-BE49-F238E27FC236}">
                <a16:creationId xmlns:a16="http://schemas.microsoft.com/office/drawing/2014/main" id="{1236E60B-B912-522E-5834-790326215F46}"/>
              </a:ext>
            </a:extLst>
          </p:cNvPr>
          <p:cNvCxnSpPr>
            <a:cxnSpLocks/>
          </p:cNvCxnSpPr>
          <p:nvPr/>
        </p:nvCxnSpPr>
        <p:spPr bwMode="gray">
          <a:xfrm flipH="1">
            <a:off x="4837147" y="2948202"/>
            <a:ext cx="14013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5" name="btfpColumnHeaderBoxLine223027">
            <a:extLst>
              <a:ext uri="{FF2B5EF4-FFF2-40B4-BE49-F238E27FC236}">
                <a16:creationId xmlns:a16="http://schemas.microsoft.com/office/drawing/2014/main" id="{70C1318D-9E28-5746-9D04-BAE858FA4F0B}"/>
              </a:ext>
            </a:extLst>
          </p:cNvPr>
          <p:cNvCxnSpPr>
            <a:cxnSpLocks/>
          </p:cNvCxnSpPr>
          <p:nvPr/>
        </p:nvCxnSpPr>
        <p:spPr bwMode="gray">
          <a:xfrm flipH="1">
            <a:off x="5853686" y="2948202"/>
            <a:ext cx="14013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6" name="btfpColumnHeaderBoxLine223027">
            <a:extLst>
              <a:ext uri="{FF2B5EF4-FFF2-40B4-BE49-F238E27FC236}">
                <a16:creationId xmlns:a16="http://schemas.microsoft.com/office/drawing/2014/main" id="{8625E046-5E99-D25F-7F3C-7E8D50119CCA}"/>
              </a:ext>
            </a:extLst>
          </p:cNvPr>
          <p:cNvCxnSpPr>
            <a:cxnSpLocks/>
          </p:cNvCxnSpPr>
          <p:nvPr/>
        </p:nvCxnSpPr>
        <p:spPr bwMode="gray">
          <a:xfrm flipH="1">
            <a:off x="6411499" y="2948202"/>
            <a:ext cx="14013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7" name="btfpColumnHeaderBoxLine223027">
            <a:extLst>
              <a:ext uri="{FF2B5EF4-FFF2-40B4-BE49-F238E27FC236}">
                <a16:creationId xmlns:a16="http://schemas.microsoft.com/office/drawing/2014/main" id="{D12EDD95-7B62-61FE-CAE8-7D1939E740E8}"/>
              </a:ext>
            </a:extLst>
          </p:cNvPr>
          <p:cNvCxnSpPr>
            <a:cxnSpLocks/>
          </p:cNvCxnSpPr>
          <p:nvPr/>
        </p:nvCxnSpPr>
        <p:spPr bwMode="gray">
          <a:xfrm flipH="1">
            <a:off x="7985851" y="2948202"/>
            <a:ext cx="14013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8" name="btfpColumnHeaderBoxLine223027">
            <a:extLst>
              <a:ext uri="{FF2B5EF4-FFF2-40B4-BE49-F238E27FC236}">
                <a16:creationId xmlns:a16="http://schemas.microsoft.com/office/drawing/2014/main" id="{86E5023E-2CA2-4AB6-F42B-EF23759E1598}"/>
              </a:ext>
            </a:extLst>
          </p:cNvPr>
          <p:cNvCxnSpPr>
            <a:cxnSpLocks/>
          </p:cNvCxnSpPr>
          <p:nvPr/>
        </p:nvCxnSpPr>
        <p:spPr bwMode="gray">
          <a:xfrm flipH="1">
            <a:off x="9560203" y="2948202"/>
            <a:ext cx="14013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9" name="Explosion: 8 Points 158">
            <a:extLst>
              <a:ext uri="{FF2B5EF4-FFF2-40B4-BE49-F238E27FC236}">
                <a16:creationId xmlns:a16="http://schemas.microsoft.com/office/drawing/2014/main" id="{60B7D8E6-CC5C-A3FF-E28A-FC96A2FE079B}"/>
              </a:ext>
            </a:extLst>
          </p:cNvPr>
          <p:cNvSpPr/>
          <p:nvPr/>
        </p:nvSpPr>
        <p:spPr bwMode="gray">
          <a:xfrm>
            <a:off x="7126060" y="2536728"/>
            <a:ext cx="100419" cy="113071"/>
          </a:xfrm>
          <a:prstGeom prst="irregularSeal1">
            <a:avLst/>
          </a:prstGeom>
          <a:solidFill>
            <a:srgbClr val="00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0" name="Explosion: 8 Points 159">
            <a:extLst>
              <a:ext uri="{FF2B5EF4-FFF2-40B4-BE49-F238E27FC236}">
                <a16:creationId xmlns:a16="http://schemas.microsoft.com/office/drawing/2014/main" id="{6EE65DA7-41ED-F5D4-3AE7-73D960DEDC58}"/>
              </a:ext>
            </a:extLst>
          </p:cNvPr>
          <p:cNvSpPr/>
          <p:nvPr/>
        </p:nvSpPr>
        <p:spPr bwMode="gray">
          <a:xfrm>
            <a:off x="8323924" y="2536728"/>
            <a:ext cx="100419" cy="113071"/>
          </a:xfrm>
          <a:prstGeom prst="irregularSeal1">
            <a:avLst/>
          </a:prstGeom>
          <a:solidFill>
            <a:srgbClr val="00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1" name="Explosion: 8 Points 160">
            <a:extLst>
              <a:ext uri="{FF2B5EF4-FFF2-40B4-BE49-F238E27FC236}">
                <a16:creationId xmlns:a16="http://schemas.microsoft.com/office/drawing/2014/main" id="{D463D6AB-71E2-D691-8707-439706CF74A5}"/>
              </a:ext>
            </a:extLst>
          </p:cNvPr>
          <p:cNvSpPr/>
          <p:nvPr/>
        </p:nvSpPr>
        <p:spPr bwMode="gray">
          <a:xfrm>
            <a:off x="9788657" y="2536728"/>
            <a:ext cx="100419" cy="113071"/>
          </a:xfrm>
          <a:prstGeom prst="irregularSeal1">
            <a:avLst/>
          </a:prstGeom>
          <a:solidFill>
            <a:srgbClr val="00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 name="Oval 1">
            <a:extLst>
              <a:ext uri="{FF2B5EF4-FFF2-40B4-BE49-F238E27FC236}">
                <a16:creationId xmlns:a16="http://schemas.microsoft.com/office/drawing/2014/main" id="{5D531352-0969-E700-DFB9-767687941762}"/>
              </a:ext>
            </a:extLst>
          </p:cNvPr>
          <p:cNvSpPr/>
          <p:nvPr/>
        </p:nvSpPr>
        <p:spPr bwMode="gray">
          <a:xfrm>
            <a:off x="1472184" y="1467289"/>
            <a:ext cx="274320" cy="274320"/>
          </a:xfrm>
          <a:prstGeom prst="ellipse">
            <a:avLst/>
          </a:prstGeom>
          <a:solidFill>
            <a:srgbClr val="009BD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a:solidFill>
                  <a:srgbClr val="FFFFFF"/>
                </a:solidFill>
              </a:rPr>
              <a:t>1</a:t>
            </a:r>
          </a:p>
        </p:txBody>
      </p:sp>
      <p:sp>
        <p:nvSpPr>
          <p:cNvPr id="3" name="Oval 2">
            <a:extLst>
              <a:ext uri="{FF2B5EF4-FFF2-40B4-BE49-F238E27FC236}">
                <a16:creationId xmlns:a16="http://schemas.microsoft.com/office/drawing/2014/main" id="{D74240C4-3ABC-EC02-23EF-4D9FC88EA34D}"/>
              </a:ext>
            </a:extLst>
          </p:cNvPr>
          <p:cNvSpPr/>
          <p:nvPr/>
        </p:nvSpPr>
        <p:spPr bwMode="gray">
          <a:xfrm>
            <a:off x="3076148" y="1467289"/>
            <a:ext cx="274320" cy="274320"/>
          </a:xfrm>
          <a:prstGeom prst="ellipse">
            <a:avLst/>
          </a:prstGeom>
          <a:solidFill>
            <a:srgbClr val="009BD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a:solidFill>
                  <a:srgbClr val="FFFFFF"/>
                </a:solidFill>
              </a:rPr>
              <a:t>2</a:t>
            </a:r>
          </a:p>
        </p:txBody>
      </p:sp>
      <p:sp>
        <p:nvSpPr>
          <p:cNvPr id="5" name="Oval 4">
            <a:extLst>
              <a:ext uri="{FF2B5EF4-FFF2-40B4-BE49-F238E27FC236}">
                <a16:creationId xmlns:a16="http://schemas.microsoft.com/office/drawing/2014/main" id="{6631501E-4A01-5F7F-3FFB-FFB291864883}"/>
              </a:ext>
            </a:extLst>
          </p:cNvPr>
          <p:cNvSpPr/>
          <p:nvPr/>
        </p:nvSpPr>
        <p:spPr bwMode="gray">
          <a:xfrm>
            <a:off x="4680112" y="1467289"/>
            <a:ext cx="274320" cy="274320"/>
          </a:xfrm>
          <a:prstGeom prst="ellipse">
            <a:avLst/>
          </a:prstGeom>
          <a:solidFill>
            <a:srgbClr val="009BD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a:solidFill>
                  <a:srgbClr val="FFFFFF"/>
                </a:solidFill>
              </a:rPr>
              <a:t>3</a:t>
            </a:r>
          </a:p>
        </p:txBody>
      </p:sp>
      <p:sp>
        <p:nvSpPr>
          <p:cNvPr id="7" name="Oval 6">
            <a:extLst>
              <a:ext uri="{FF2B5EF4-FFF2-40B4-BE49-F238E27FC236}">
                <a16:creationId xmlns:a16="http://schemas.microsoft.com/office/drawing/2014/main" id="{1EF5DA66-D612-2B59-65B0-55BF7886FBD1}"/>
              </a:ext>
            </a:extLst>
          </p:cNvPr>
          <p:cNvSpPr/>
          <p:nvPr/>
        </p:nvSpPr>
        <p:spPr bwMode="gray">
          <a:xfrm>
            <a:off x="6314556" y="1467289"/>
            <a:ext cx="274320" cy="274320"/>
          </a:xfrm>
          <a:prstGeom prst="ellipse">
            <a:avLst/>
          </a:prstGeom>
          <a:solidFill>
            <a:srgbClr val="009BD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a:solidFill>
                  <a:srgbClr val="FFFFFF"/>
                </a:solidFill>
              </a:rPr>
              <a:t>4</a:t>
            </a:r>
          </a:p>
        </p:txBody>
      </p:sp>
      <p:sp>
        <p:nvSpPr>
          <p:cNvPr id="23" name="Oval 22">
            <a:extLst>
              <a:ext uri="{FF2B5EF4-FFF2-40B4-BE49-F238E27FC236}">
                <a16:creationId xmlns:a16="http://schemas.microsoft.com/office/drawing/2014/main" id="{98843371-80FA-7688-9A01-C4BCB0F7791E}"/>
              </a:ext>
            </a:extLst>
          </p:cNvPr>
          <p:cNvSpPr/>
          <p:nvPr/>
        </p:nvSpPr>
        <p:spPr bwMode="gray">
          <a:xfrm>
            <a:off x="7888040" y="1467289"/>
            <a:ext cx="274320" cy="274320"/>
          </a:xfrm>
          <a:prstGeom prst="ellipse">
            <a:avLst/>
          </a:prstGeom>
          <a:solidFill>
            <a:srgbClr val="009BD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a:solidFill>
                  <a:srgbClr val="FFFFFF"/>
                </a:solidFill>
              </a:rPr>
              <a:t>5</a:t>
            </a:r>
          </a:p>
        </p:txBody>
      </p:sp>
      <p:sp>
        <p:nvSpPr>
          <p:cNvPr id="24" name="Oval 23">
            <a:extLst>
              <a:ext uri="{FF2B5EF4-FFF2-40B4-BE49-F238E27FC236}">
                <a16:creationId xmlns:a16="http://schemas.microsoft.com/office/drawing/2014/main" id="{1A2181E0-B7D5-3DDE-A4A3-A512D8C08B2A}"/>
              </a:ext>
            </a:extLst>
          </p:cNvPr>
          <p:cNvSpPr/>
          <p:nvPr/>
        </p:nvSpPr>
        <p:spPr bwMode="gray">
          <a:xfrm>
            <a:off x="9492002" y="1467289"/>
            <a:ext cx="274320" cy="274320"/>
          </a:xfrm>
          <a:prstGeom prst="ellipse">
            <a:avLst/>
          </a:prstGeom>
          <a:solidFill>
            <a:srgbClr val="009BD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a:solidFill>
                  <a:srgbClr val="FFFFFF"/>
                </a:solidFill>
              </a:rPr>
              <a:t>6</a:t>
            </a:r>
          </a:p>
        </p:txBody>
      </p:sp>
      <p:sp>
        <p:nvSpPr>
          <p:cNvPr id="27" name="TextBox 26">
            <a:extLst>
              <a:ext uri="{FF2B5EF4-FFF2-40B4-BE49-F238E27FC236}">
                <a16:creationId xmlns:a16="http://schemas.microsoft.com/office/drawing/2014/main" id="{688CC183-104F-5ABB-948D-A82B2928B271}"/>
              </a:ext>
            </a:extLst>
          </p:cNvPr>
          <p:cNvSpPr txBox="1"/>
          <p:nvPr/>
        </p:nvSpPr>
        <p:spPr>
          <a:xfrm>
            <a:off x="7577548" y="5971841"/>
            <a:ext cx="659252" cy="261610"/>
          </a:xfrm>
          <a:prstGeom prst="rect">
            <a:avLst/>
          </a:prstGeom>
          <a:noFill/>
        </p:spPr>
        <p:txBody>
          <a:bodyPr wrap="square" rtlCol="0">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1100" i="0" u="none" strike="noStrike" kern="1200" cap="none" spc="0" normalizeH="0" baseline="0" noProof="0">
                <a:ln>
                  <a:noFill/>
                </a:ln>
                <a:solidFill>
                  <a:srgbClr val="FF0000"/>
                </a:solidFill>
                <a:effectLst/>
                <a:uLnTx/>
                <a:uFillTx/>
                <a:latin typeface="Arial"/>
                <a:ea typeface="+mn-ea"/>
                <a:cs typeface="+mn-cs"/>
              </a:rPr>
              <a:t>Today</a:t>
            </a:r>
            <a:endParaRPr lang="en-US" sz="1100">
              <a:solidFill>
                <a:srgbClr val="FF0000"/>
              </a:solidFill>
              <a:latin typeface="Arial"/>
            </a:endParaRPr>
          </a:p>
        </p:txBody>
      </p:sp>
    </p:spTree>
    <p:extLst>
      <p:ext uri="{BB962C8B-B14F-4D97-AF65-F5344CB8AC3E}">
        <p14:creationId xmlns:p14="http://schemas.microsoft.com/office/powerpoint/2010/main" val="105464633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4BC40-645E-726F-DCA2-976443F8A8F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0CFFEA-1ED1-3BB0-9DB6-D551C6F41FFB}"/>
              </a:ext>
            </a:extLst>
          </p:cNvPr>
          <p:cNvGraphicFramePr>
            <a:graphicFrameLocks noChangeAspect="1"/>
          </p:cNvGraphicFramePr>
          <p:nvPr>
            <p:custDataLst>
              <p:tags r:id="rId1"/>
            </p:custDataLst>
            <p:extLst>
              <p:ext uri="{D42A27DB-BD31-4B8C-83A1-F6EECF244321}">
                <p14:modId xmlns:p14="http://schemas.microsoft.com/office/powerpoint/2010/main" val="3576562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5" imgH="405" progId="TCLayout.ActiveDocument.1">
                  <p:embed/>
                </p:oleObj>
              </mc:Choice>
              <mc:Fallback>
                <p:oleObj name="think-cell Slide" r:id="rId6" imgW="405" imgH="405" progId="TCLayout.ActiveDocument.1">
                  <p:embed/>
                  <p:pic>
                    <p:nvPicPr>
                      <p:cNvPr id="4" name="think-cell data - do not delete" hidden="1">
                        <a:extLst>
                          <a:ext uri="{FF2B5EF4-FFF2-40B4-BE49-F238E27FC236}">
                            <a16:creationId xmlns:a16="http://schemas.microsoft.com/office/drawing/2014/main" id="{789BD603-7845-A6B9-7DC7-A42F556666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7F710C0-3403-F033-D7CC-5B91E7DD7249}"/>
              </a:ext>
            </a:extLst>
          </p:cNvPr>
          <p:cNvSpPr/>
          <p:nvPr/>
        </p:nvSpPr>
        <p:spPr bwMode="gray">
          <a:xfrm>
            <a:off x="6003493" y="1445321"/>
            <a:ext cx="5119726" cy="4805217"/>
          </a:xfrm>
          <a:prstGeom prst="rect">
            <a:avLst/>
          </a:prstGeom>
          <a:solidFill>
            <a:schemeClr val="accent6">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 name="Rectangle 2">
            <a:extLst>
              <a:ext uri="{FF2B5EF4-FFF2-40B4-BE49-F238E27FC236}">
                <a16:creationId xmlns:a16="http://schemas.microsoft.com/office/drawing/2014/main" id="{F30DFB1D-862A-9364-CB0C-BE663FA6A7B9}"/>
              </a:ext>
            </a:extLst>
          </p:cNvPr>
          <p:cNvSpPr/>
          <p:nvPr/>
        </p:nvSpPr>
        <p:spPr bwMode="gray">
          <a:xfrm>
            <a:off x="786312" y="1445321"/>
            <a:ext cx="5018848" cy="4805217"/>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 name="Title 1">
            <a:extLst>
              <a:ext uri="{FF2B5EF4-FFF2-40B4-BE49-F238E27FC236}">
                <a16:creationId xmlns:a16="http://schemas.microsoft.com/office/drawing/2014/main" id="{F3717B4B-E6C3-0F5F-8F9E-42E913EDA7EB}"/>
              </a:ext>
            </a:extLst>
          </p:cNvPr>
          <p:cNvSpPr>
            <a:spLocks noGrp="1"/>
          </p:cNvSpPr>
          <p:nvPr>
            <p:ph type="title"/>
          </p:nvPr>
        </p:nvSpPr>
        <p:spPr/>
        <p:txBody>
          <a:bodyPr vert="horz">
            <a:noAutofit/>
          </a:bodyPr>
          <a:lstStyle/>
          <a:p>
            <a:r>
              <a:rPr lang="en-US"/>
              <a:t>Magnetic and laser-based confinement are in competition as companies take the fusion baton from flagship research projects</a:t>
            </a:r>
          </a:p>
        </p:txBody>
      </p:sp>
      <p:sp>
        <p:nvSpPr>
          <p:cNvPr id="6" name="TextBox 5">
            <a:extLst>
              <a:ext uri="{FF2B5EF4-FFF2-40B4-BE49-F238E27FC236}">
                <a16:creationId xmlns:a16="http://schemas.microsoft.com/office/drawing/2014/main" id="{701F8BA2-C1E1-D421-30DE-087F13EFA45E}"/>
              </a:ext>
            </a:extLst>
          </p:cNvPr>
          <p:cNvSpPr txBox="1"/>
          <p:nvPr>
            <p:custDataLst>
              <p:tags r:id="rId2"/>
            </p:custDataLst>
          </p:nvPr>
        </p:nvSpPr>
        <p:spPr bwMode="gray">
          <a:xfrm>
            <a:off x="763982" y="1538275"/>
            <a:ext cx="5119726" cy="276999"/>
          </a:xfrm>
          <a:prstGeom prst="rect">
            <a:avLst/>
          </a:prstGeom>
          <a:noFill/>
        </p:spPr>
        <p:txBody>
          <a:bodyPr wrap="square" lIns="91440" tIns="0" rIns="91440" bIns="0" rtlCol="0">
            <a:spAutoFit/>
          </a:bodyPr>
          <a:lstStyle/>
          <a:p>
            <a:pPr marL="0" indent="0" algn="ctr">
              <a:spcBef>
                <a:spcPts val="600"/>
              </a:spcBef>
              <a:spcAft>
                <a:spcPts val="600"/>
              </a:spcAft>
              <a:buNone/>
            </a:pPr>
            <a:r>
              <a:rPr lang="en-US" b="1"/>
              <a:t>Magnetic confinement fusion (MCF)</a:t>
            </a:r>
          </a:p>
        </p:txBody>
      </p:sp>
      <p:sp>
        <p:nvSpPr>
          <p:cNvPr id="7" name="TextBox 6">
            <a:extLst>
              <a:ext uri="{FF2B5EF4-FFF2-40B4-BE49-F238E27FC236}">
                <a16:creationId xmlns:a16="http://schemas.microsoft.com/office/drawing/2014/main" id="{524C33FB-6B11-DD72-0FC0-564150DEF32D}"/>
              </a:ext>
            </a:extLst>
          </p:cNvPr>
          <p:cNvSpPr txBox="1"/>
          <p:nvPr>
            <p:custDataLst>
              <p:tags r:id="rId3"/>
            </p:custDataLst>
          </p:nvPr>
        </p:nvSpPr>
        <p:spPr bwMode="gray">
          <a:xfrm>
            <a:off x="6003493" y="1538275"/>
            <a:ext cx="5119726" cy="276999"/>
          </a:xfrm>
          <a:prstGeom prst="rect">
            <a:avLst/>
          </a:prstGeom>
          <a:noFill/>
        </p:spPr>
        <p:txBody>
          <a:bodyPr wrap="square" lIns="91440" tIns="0" rIns="91440" bIns="0" rtlCol="0">
            <a:spAutoFit/>
          </a:bodyPr>
          <a:lstStyle/>
          <a:p>
            <a:pPr marL="0" indent="0" algn="ctr">
              <a:spcBef>
                <a:spcPts val="600"/>
              </a:spcBef>
              <a:spcAft>
                <a:spcPts val="600"/>
              </a:spcAft>
              <a:buNone/>
            </a:pPr>
            <a:r>
              <a:rPr lang="en-US" b="1"/>
              <a:t>Inertial confinement fusion (ICF)</a:t>
            </a:r>
          </a:p>
        </p:txBody>
      </p:sp>
      <p:sp>
        <p:nvSpPr>
          <p:cNvPr id="9" name="btfpNotesBox368131">
            <a:hlinkClick r:id="rId8"/>
            <a:extLst>
              <a:ext uri="{FF2B5EF4-FFF2-40B4-BE49-F238E27FC236}">
                <a16:creationId xmlns:a16="http://schemas.microsoft.com/office/drawing/2014/main" id="{77B3A589-F72A-D71F-877D-381A198A51AC}"/>
              </a:ext>
            </a:extLst>
          </p:cNvPr>
          <p:cNvSpPr txBox="1"/>
          <p:nvPr>
            <p:custDataLst>
              <p:tags r:id="rId4"/>
            </p:custDataLst>
          </p:nvPr>
        </p:nvSpPr>
        <p:spPr bwMode="gray">
          <a:xfrm>
            <a:off x="329184" y="6309360"/>
            <a:ext cx="9095502"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rPr>
              <a:t>IAEA, </a:t>
            </a:r>
            <a:r>
              <a:rPr lang="en-US" sz="800" dirty="0">
                <a:solidFill>
                  <a:srgbClr val="000000"/>
                </a:solidFill>
                <a:latin typeface="Arial"/>
                <a:hlinkClick r:id="rId9"/>
              </a:rPr>
              <a:t>Magnetic Fusion Confinement with Tokamaks and </a:t>
            </a:r>
            <a:r>
              <a:rPr lang="en-US" sz="800" dirty="0" err="1">
                <a:solidFill>
                  <a:srgbClr val="000000"/>
                </a:solidFill>
                <a:latin typeface="Arial"/>
                <a:hlinkClick r:id="rId9"/>
              </a:rPr>
              <a:t>Stellarators</a:t>
            </a:r>
            <a:r>
              <a:rPr lang="en-US" sz="800" dirty="0">
                <a:solidFill>
                  <a:srgbClr val="000000"/>
                </a:solidFill>
                <a:latin typeface="Arial"/>
              </a:rPr>
              <a:t> (2021); NHSJS, </a:t>
            </a:r>
            <a:r>
              <a:rPr lang="en-US" sz="800" dirty="0">
                <a:solidFill>
                  <a:srgbClr val="000000"/>
                </a:solidFill>
                <a:latin typeface="Arial"/>
                <a:hlinkClick r:id="rId10"/>
              </a:rPr>
              <a:t>Nuclear Fusion: Overview of Challenges and Recent Progress</a:t>
            </a:r>
            <a:r>
              <a:rPr lang="en-US" sz="800" dirty="0">
                <a:solidFill>
                  <a:srgbClr val="000000"/>
                </a:solidFill>
                <a:latin typeface="Arial"/>
              </a:rPr>
              <a:t> (2024); U.S. Fusion Energy, </a:t>
            </a:r>
            <a:br>
              <a:rPr lang="en-US" sz="800" dirty="0">
                <a:solidFill>
                  <a:srgbClr val="000000"/>
                </a:solidFill>
                <a:latin typeface="Arial"/>
              </a:rPr>
            </a:br>
            <a:r>
              <a:rPr lang="en-US" sz="800" dirty="0">
                <a:solidFill>
                  <a:srgbClr val="000000"/>
                </a:solidFill>
                <a:latin typeface="Arial"/>
                <a:hlinkClick r:id="rId11"/>
              </a:rPr>
              <a:t>Approaches to Fusion</a:t>
            </a:r>
            <a:r>
              <a:rPr lang="en-US" sz="800" dirty="0">
                <a:solidFill>
                  <a:srgbClr val="000000"/>
                </a:solidFill>
                <a:latin typeface="Arial"/>
              </a:rPr>
              <a:t> (2025); </a:t>
            </a:r>
            <a:r>
              <a:rPr kumimoji="0" lang="en-US" sz="800" b="0" i="0" u="none" strike="noStrike" kern="1200" cap="none" spc="0" normalizeH="0" baseline="0" noProof="0" dirty="0">
                <a:ln>
                  <a:noFill/>
                </a:ln>
                <a:solidFill>
                  <a:srgbClr val="000000"/>
                </a:solidFill>
                <a:effectLst/>
                <a:uLnTx/>
                <a:uFillTx/>
                <a:latin typeface="Arial"/>
                <a:ea typeface="+mn-ea"/>
                <a:cs typeface="+mn-cs"/>
              </a:rPr>
              <a:t>Fusion Industry Associat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The Global Fusion Industry in 2024</a:t>
            </a:r>
            <a:r>
              <a:rPr kumimoji="0" lang="en-US" sz="800" b="0" i="0" u="none" strike="noStrike" kern="1200" cap="none" spc="0" normalizeH="0" baseline="0" noProof="0" dirty="0">
                <a:ln>
                  <a:noFill/>
                </a:ln>
                <a:solidFill>
                  <a:srgbClr val="000000"/>
                </a:solidFill>
                <a:effectLst/>
                <a:uLnTx/>
                <a:uFillTx/>
                <a:latin typeface="Arial"/>
                <a:ea typeface="+mn-ea"/>
                <a:cs typeface="+mn-cs"/>
              </a:rPr>
              <a:t> (2024); Krame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National Ignition Facility surpasses long-awaited fusion milestone</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grpSp>
        <p:nvGrpSpPr>
          <p:cNvPr id="1029" name="Group 1028">
            <a:extLst>
              <a:ext uri="{FF2B5EF4-FFF2-40B4-BE49-F238E27FC236}">
                <a16:creationId xmlns:a16="http://schemas.microsoft.com/office/drawing/2014/main" id="{CCC1EAC5-E1D3-D349-8936-08B4EF7A3FF8}"/>
              </a:ext>
            </a:extLst>
          </p:cNvPr>
          <p:cNvGrpSpPr/>
          <p:nvPr/>
        </p:nvGrpSpPr>
        <p:grpSpPr>
          <a:xfrm>
            <a:off x="2187882" y="2003624"/>
            <a:ext cx="2119011" cy="1465509"/>
            <a:chOff x="2345115" y="3891711"/>
            <a:chExt cx="2099884" cy="1882555"/>
          </a:xfrm>
        </p:grpSpPr>
        <p:sp>
          <p:nvSpPr>
            <p:cNvPr id="26" name="Oval 25">
              <a:extLst>
                <a:ext uri="{FF2B5EF4-FFF2-40B4-BE49-F238E27FC236}">
                  <a16:creationId xmlns:a16="http://schemas.microsoft.com/office/drawing/2014/main" id="{4CFC0932-FFD0-5129-28D4-63AE637D8C5F}"/>
                </a:ext>
              </a:extLst>
            </p:cNvPr>
            <p:cNvSpPr/>
            <p:nvPr/>
          </p:nvSpPr>
          <p:spPr bwMode="gray">
            <a:xfrm>
              <a:off x="2347565" y="3893000"/>
              <a:ext cx="2094567" cy="187446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Oval 26">
              <a:extLst>
                <a:ext uri="{FF2B5EF4-FFF2-40B4-BE49-F238E27FC236}">
                  <a16:creationId xmlns:a16="http://schemas.microsoft.com/office/drawing/2014/main" id="{77464BD5-FCCE-5D77-4B5C-A7B18E433DEC}"/>
                </a:ext>
              </a:extLst>
            </p:cNvPr>
            <p:cNvSpPr/>
            <p:nvPr/>
          </p:nvSpPr>
          <p:spPr bwMode="gray">
            <a:xfrm>
              <a:off x="2479922" y="3993290"/>
              <a:ext cx="1829852" cy="1558094"/>
            </a:xfrm>
            <a:prstGeom prst="ellipse">
              <a:avLst/>
            </a:prstGeom>
            <a:solidFill>
              <a:srgbClr val="62292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5" name="Oval 24">
              <a:extLst>
                <a:ext uri="{FF2B5EF4-FFF2-40B4-BE49-F238E27FC236}">
                  <a16:creationId xmlns:a16="http://schemas.microsoft.com/office/drawing/2014/main" id="{5E9FB2AD-4E9D-BDBE-8DB1-BE5A66150362}"/>
                </a:ext>
              </a:extLst>
            </p:cNvPr>
            <p:cNvSpPr/>
            <p:nvPr/>
          </p:nvSpPr>
          <p:spPr bwMode="gray">
            <a:xfrm>
              <a:off x="2525266" y="4041681"/>
              <a:ext cx="1758452" cy="1453261"/>
            </a:xfrm>
            <a:prstGeom prst="ellipse">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 name="Oval 22">
              <a:extLst>
                <a:ext uri="{FF2B5EF4-FFF2-40B4-BE49-F238E27FC236}">
                  <a16:creationId xmlns:a16="http://schemas.microsoft.com/office/drawing/2014/main" id="{978B5248-2D5E-BC61-E578-C260083A258A}"/>
                </a:ext>
              </a:extLst>
            </p:cNvPr>
            <p:cNvSpPr/>
            <p:nvPr/>
          </p:nvSpPr>
          <p:spPr bwMode="gray">
            <a:xfrm>
              <a:off x="2556932" y="4059764"/>
              <a:ext cx="1693334" cy="1408208"/>
            </a:xfrm>
            <a:prstGeom prst="ellipse">
              <a:avLst/>
            </a:prstGeom>
            <a:gradFill>
              <a:gsLst>
                <a:gs pos="98000">
                  <a:srgbClr val="FF0000"/>
                </a:gs>
                <a:gs pos="95000">
                  <a:srgbClr val="FFC000"/>
                </a:gs>
              </a:gsLst>
              <a:path path="shape">
                <a:fillToRect l="50000" t="50000" r="50000" b="50000"/>
              </a:path>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 name="Oval 18">
              <a:extLst>
                <a:ext uri="{FF2B5EF4-FFF2-40B4-BE49-F238E27FC236}">
                  <a16:creationId xmlns:a16="http://schemas.microsoft.com/office/drawing/2014/main" id="{7531B21B-F589-0C62-35AD-F168782ED8CE}"/>
                </a:ext>
              </a:extLst>
            </p:cNvPr>
            <p:cNvSpPr/>
            <p:nvPr/>
          </p:nvSpPr>
          <p:spPr bwMode="gray">
            <a:xfrm>
              <a:off x="2596820" y="4088959"/>
              <a:ext cx="1616608" cy="1333286"/>
            </a:xfrm>
            <a:prstGeom prst="ellipse">
              <a:avLst/>
            </a:prstGeom>
            <a:gradFill flip="none" rotWithShape="1">
              <a:gsLst>
                <a:gs pos="92000">
                  <a:schemeClr val="accent1">
                    <a:lumMod val="5000"/>
                    <a:lumOff val="95000"/>
                  </a:schemeClr>
                </a:gs>
                <a:gs pos="100000">
                  <a:srgbClr val="FFC000"/>
                </a:gs>
              </a:gsLst>
              <a:path path="shap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 name="Oval 20">
              <a:extLst>
                <a:ext uri="{FF2B5EF4-FFF2-40B4-BE49-F238E27FC236}">
                  <a16:creationId xmlns:a16="http://schemas.microsoft.com/office/drawing/2014/main" id="{B2FFFEAE-D3FB-3C1F-D2C8-41163F7C78EF}"/>
                </a:ext>
              </a:extLst>
            </p:cNvPr>
            <p:cNvSpPr/>
            <p:nvPr/>
          </p:nvSpPr>
          <p:spPr bwMode="gray">
            <a:xfrm>
              <a:off x="2784199" y="4146926"/>
              <a:ext cx="1230336" cy="1085589"/>
            </a:xfrm>
            <a:prstGeom prst="ellipse">
              <a:avLst/>
            </a:prstGeom>
            <a:solidFill>
              <a:srgbClr val="FCCD3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 name="Oval 17">
              <a:extLst>
                <a:ext uri="{FF2B5EF4-FFF2-40B4-BE49-F238E27FC236}">
                  <a16:creationId xmlns:a16="http://schemas.microsoft.com/office/drawing/2014/main" id="{3AEFFB87-10CC-A6FF-DB65-BC0DDD2D8A96}"/>
                </a:ext>
              </a:extLst>
            </p:cNvPr>
            <p:cNvSpPr/>
            <p:nvPr/>
          </p:nvSpPr>
          <p:spPr bwMode="gray">
            <a:xfrm>
              <a:off x="2819851" y="4183429"/>
              <a:ext cx="1159032" cy="1022674"/>
            </a:xfrm>
            <a:prstGeom prst="ellipse">
              <a:avLst/>
            </a:prstGeom>
            <a:gradFill>
              <a:gsLst>
                <a:gs pos="92000">
                  <a:srgbClr val="FF0000"/>
                </a:gs>
                <a:gs pos="100000">
                  <a:srgbClr val="FFC000"/>
                </a:gs>
              </a:gsLst>
              <a:path path="shape">
                <a:fillToRect l="50000" t="50000" r="50000" b="50000"/>
              </a:path>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 name="Oval 15">
              <a:extLst>
                <a:ext uri="{FF2B5EF4-FFF2-40B4-BE49-F238E27FC236}">
                  <a16:creationId xmlns:a16="http://schemas.microsoft.com/office/drawing/2014/main" id="{A369F8EE-0B10-53F7-1F02-76E291E7954E}"/>
                </a:ext>
              </a:extLst>
            </p:cNvPr>
            <p:cNvSpPr/>
            <p:nvPr/>
          </p:nvSpPr>
          <p:spPr bwMode="gray">
            <a:xfrm>
              <a:off x="2872534" y="4229914"/>
              <a:ext cx="1053665" cy="929704"/>
            </a:xfrm>
            <a:prstGeom prst="ellipse">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Oval 11">
              <a:extLst>
                <a:ext uri="{FF2B5EF4-FFF2-40B4-BE49-F238E27FC236}">
                  <a16:creationId xmlns:a16="http://schemas.microsoft.com/office/drawing/2014/main" id="{068CBE7D-82AE-C292-5F4E-3D44DE71064C}"/>
                </a:ext>
              </a:extLst>
            </p:cNvPr>
            <p:cNvSpPr/>
            <p:nvPr/>
          </p:nvSpPr>
          <p:spPr bwMode="gray">
            <a:xfrm>
              <a:off x="2920428" y="4272175"/>
              <a:ext cx="957877" cy="845185"/>
            </a:xfrm>
            <a:prstGeom prst="ellipse">
              <a:avLst/>
            </a:prstGeom>
            <a:solidFill>
              <a:srgbClr val="62292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 name="Oval 13">
              <a:extLst>
                <a:ext uri="{FF2B5EF4-FFF2-40B4-BE49-F238E27FC236}">
                  <a16:creationId xmlns:a16="http://schemas.microsoft.com/office/drawing/2014/main" id="{72A56FD8-A3C7-1431-B56F-B307762F48AC}"/>
                </a:ext>
              </a:extLst>
            </p:cNvPr>
            <p:cNvSpPr/>
            <p:nvPr/>
          </p:nvSpPr>
          <p:spPr bwMode="gray">
            <a:xfrm>
              <a:off x="3039533" y="4377267"/>
              <a:ext cx="719667" cy="635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 name="Oval 12">
              <a:extLst>
                <a:ext uri="{FF2B5EF4-FFF2-40B4-BE49-F238E27FC236}">
                  <a16:creationId xmlns:a16="http://schemas.microsoft.com/office/drawing/2014/main" id="{7E504AEF-2025-3ADE-26EC-C483F5C860FA}"/>
                </a:ext>
              </a:extLst>
            </p:cNvPr>
            <p:cNvSpPr/>
            <p:nvPr/>
          </p:nvSpPr>
          <p:spPr bwMode="gray">
            <a:xfrm>
              <a:off x="3235452" y="4518661"/>
              <a:ext cx="327829" cy="259078"/>
            </a:xfrm>
            <a:prstGeom prst="ellipse">
              <a:avLst/>
            </a:prstGeom>
            <a:solidFill>
              <a:srgbClr val="E6DE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 name="Flowchart: Manual Operation 27">
              <a:extLst>
                <a:ext uri="{FF2B5EF4-FFF2-40B4-BE49-F238E27FC236}">
                  <a16:creationId xmlns:a16="http://schemas.microsoft.com/office/drawing/2014/main" id="{96615053-5FDA-A348-5F80-F3CF3CC93C27}"/>
                </a:ext>
              </a:extLst>
            </p:cNvPr>
            <p:cNvSpPr/>
            <p:nvPr/>
          </p:nvSpPr>
          <p:spPr bwMode="gray">
            <a:xfrm>
              <a:off x="3315981" y="3891711"/>
              <a:ext cx="179892" cy="100290"/>
            </a:xfrm>
            <a:prstGeom prst="flowChartManualOperati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 name="Flowchart: Manual Operation 31">
              <a:extLst>
                <a:ext uri="{FF2B5EF4-FFF2-40B4-BE49-F238E27FC236}">
                  <a16:creationId xmlns:a16="http://schemas.microsoft.com/office/drawing/2014/main" id="{A4092BF9-6DDD-1F75-27DB-224EB07521FA}"/>
                </a:ext>
              </a:extLst>
            </p:cNvPr>
            <p:cNvSpPr/>
            <p:nvPr/>
          </p:nvSpPr>
          <p:spPr bwMode="gray">
            <a:xfrm flipV="1">
              <a:off x="3295736" y="5549898"/>
              <a:ext cx="239436" cy="224368"/>
            </a:xfrm>
            <a:prstGeom prst="flowChartManualOperati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 name="Flowchart: Manual Operation 35">
              <a:extLst>
                <a:ext uri="{FF2B5EF4-FFF2-40B4-BE49-F238E27FC236}">
                  <a16:creationId xmlns:a16="http://schemas.microsoft.com/office/drawing/2014/main" id="{3A27E501-D443-A666-9B6A-0E989AF1A3B5}"/>
                </a:ext>
              </a:extLst>
            </p:cNvPr>
            <p:cNvSpPr/>
            <p:nvPr/>
          </p:nvSpPr>
          <p:spPr bwMode="gray">
            <a:xfrm rot="5400000">
              <a:off x="4255538" y="4727807"/>
              <a:ext cx="239436" cy="139487"/>
            </a:xfrm>
            <a:prstGeom prst="flowChartManualOperati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8" name="Flowchart: Manual Operation 37">
              <a:extLst>
                <a:ext uri="{FF2B5EF4-FFF2-40B4-BE49-F238E27FC236}">
                  <a16:creationId xmlns:a16="http://schemas.microsoft.com/office/drawing/2014/main" id="{BD05C93D-4BB0-EE78-4CFC-8E0F95D34A9A}"/>
                </a:ext>
              </a:extLst>
            </p:cNvPr>
            <p:cNvSpPr/>
            <p:nvPr/>
          </p:nvSpPr>
          <p:spPr bwMode="gray">
            <a:xfrm rot="16200000">
              <a:off x="2295141" y="4727807"/>
              <a:ext cx="239436" cy="139487"/>
            </a:xfrm>
            <a:prstGeom prst="flowChartManualOperati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42" name="Group 41">
              <a:extLst>
                <a:ext uri="{FF2B5EF4-FFF2-40B4-BE49-F238E27FC236}">
                  <a16:creationId xmlns:a16="http://schemas.microsoft.com/office/drawing/2014/main" id="{1B5CC259-CFFA-B562-26F6-AE879ADF1C10}"/>
                </a:ext>
              </a:extLst>
            </p:cNvPr>
            <p:cNvGrpSpPr/>
            <p:nvPr/>
          </p:nvGrpSpPr>
          <p:grpSpPr>
            <a:xfrm>
              <a:off x="2576526" y="5282236"/>
              <a:ext cx="1645680" cy="236649"/>
              <a:chOff x="2597144" y="5282236"/>
              <a:chExt cx="1645680" cy="236649"/>
            </a:xfrm>
          </p:grpSpPr>
          <p:sp>
            <p:nvSpPr>
              <p:cNvPr id="39" name="Flowchart: Manual Operation 38">
                <a:extLst>
                  <a:ext uri="{FF2B5EF4-FFF2-40B4-BE49-F238E27FC236}">
                    <a16:creationId xmlns:a16="http://schemas.microsoft.com/office/drawing/2014/main" id="{FA120261-FE31-93BB-9BB6-9CC987E5FCCE}"/>
                  </a:ext>
                </a:extLst>
              </p:cNvPr>
              <p:cNvSpPr/>
              <p:nvPr/>
            </p:nvSpPr>
            <p:spPr bwMode="gray">
              <a:xfrm rot="13300151">
                <a:off x="2597144" y="5317115"/>
                <a:ext cx="239436" cy="201770"/>
              </a:xfrm>
              <a:prstGeom prst="flowChartManualOperati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1" name="Flowchart: Manual Operation 40">
                <a:extLst>
                  <a:ext uri="{FF2B5EF4-FFF2-40B4-BE49-F238E27FC236}">
                    <a16:creationId xmlns:a16="http://schemas.microsoft.com/office/drawing/2014/main" id="{B6B04880-D2FC-A6E6-DEE6-4F1FB51D3D4B}"/>
                  </a:ext>
                </a:extLst>
              </p:cNvPr>
              <p:cNvSpPr/>
              <p:nvPr/>
            </p:nvSpPr>
            <p:spPr bwMode="gray">
              <a:xfrm rot="8299849" flipH="1">
                <a:off x="4003388" y="5282236"/>
                <a:ext cx="239436" cy="201770"/>
              </a:xfrm>
              <a:prstGeom prst="flowChartManualOperati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45" name="Flowchart: Manual Operation 44">
              <a:extLst>
                <a:ext uri="{FF2B5EF4-FFF2-40B4-BE49-F238E27FC236}">
                  <a16:creationId xmlns:a16="http://schemas.microsoft.com/office/drawing/2014/main" id="{B9B5173A-849A-B7A2-BCA2-625CF795527C}"/>
                </a:ext>
              </a:extLst>
            </p:cNvPr>
            <p:cNvSpPr/>
            <p:nvPr/>
          </p:nvSpPr>
          <p:spPr bwMode="gray">
            <a:xfrm rot="13327453" flipH="1" flipV="1">
              <a:off x="4029968" y="4161999"/>
              <a:ext cx="178877" cy="114122"/>
            </a:xfrm>
            <a:prstGeom prst="flowChartManualOperati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7" name="Flowchart: Manual Operation 46">
              <a:extLst>
                <a:ext uri="{FF2B5EF4-FFF2-40B4-BE49-F238E27FC236}">
                  <a16:creationId xmlns:a16="http://schemas.microsoft.com/office/drawing/2014/main" id="{95CB6E2A-A864-0EAE-81A5-2AA8EEAC5669}"/>
                </a:ext>
              </a:extLst>
            </p:cNvPr>
            <p:cNvSpPr/>
            <p:nvPr/>
          </p:nvSpPr>
          <p:spPr bwMode="gray">
            <a:xfrm rot="8272547" flipV="1">
              <a:off x="2578714" y="4161999"/>
              <a:ext cx="178877" cy="114122"/>
            </a:xfrm>
            <a:prstGeom prst="flowChartManualOperati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9" name="Flowchart: Manual Operation 58">
              <a:extLst>
                <a:ext uri="{FF2B5EF4-FFF2-40B4-BE49-F238E27FC236}">
                  <a16:creationId xmlns:a16="http://schemas.microsoft.com/office/drawing/2014/main" id="{C0395997-0599-72F0-A60B-47970D423604}"/>
                </a:ext>
              </a:extLst>
            </p:cNvPr>
            <p:cNvSpPr/>
            <p:nvPr/>
          </p:nvSpPr>
          <p:spPr bwMode="gray">
            <a:xfrm rot="10800000">
              <a:off x="3359771" y="4371974"/>
              <a:ext cx="92313" cy="168275"/>
            </a:xfrm>
            <a:prstGeom prst="flowChartManualOperation">
              <a:avLst/>
            </a:prstGeom>
            <a:solidFill>
              <a:srgbClr val="E6DE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0" name="Flowchart: Manual Operation 59">
              <a:extLst>
                <a:ext uri="{FF2B5EF4-FFF2-40B4-BE49-F238E27FC236}">
                  <a16:creationId xmlns:a16="http://schemas.microsoft.com/office/drawing/2014/main" id="{7CDF0149-B69D-FCB4-2B8D-EF2E36644EDC}"/>
                </a:ext>
              </a:extLst>
            </p:cNvPr>
            <p:cNvSpPr/>
            <p:nvPr/>
          </p:nvSpPr>
          <p:spPr bwMode="gray">
            <a:xfrm>
              <a:off x="3347750" y="4763868"/>
              <a:ext cx="111698" cy="254220"/>
            </a:xfrm>
            <a:prstGeom prst="flowChartManualOperation">
              <a:avLst/>
            </a:prstGeom>
            <a:solidFill>
              <a:srgbClr val="E6DE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1" name="Flowchart: Manual Operation 60">
              <a:extLst>
                <a:ext uri="{FF2B5EF4-FFF2-40B4-BE49-F238E27FC236}">
                  <a16:creationId xmlns:a16="http://schemas.microsoft.com/office/drawing/2014/main" id="{936BF9DB-D2C6-64F8-4B04-76544F449A2A}"/>
                </a:ext>
              </a:extLst>
            </p:cNvPr>
            <p:cNvSpPr/>
            <p:nvPr/>
          </p:nvSpPr>
          <p:spPr bwMode="gray">
            <a:xfrm rot="16200000">
              <a:off x="3590427" y="4534358"/>
              <a:ext cx="101544" cy="231109"/>
            </a:xfrm>
            <a:prstGeom prst="flowChartManualOperation">
              <a:avLst/>
            </a:prstGeom>
            <a:solidFill>
              <a:srgbClr val="E6DE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2" name="Flowchart: Manual Operation 61">
              <a:extLst>
                <a:ext uri="{FF2B5EF4-FFF2-40B4-BE49-F238E27FC236}">
                  <a16:creationId xmlns:a16="http://schemas.microsoft.com/office/drawing/2014/main" id="{B9D1993C-ECE5-44BA-64E6-AF54805B8D4B}"/>
                </a:ext>
              </a:extLst>
            </p:cNvPr>
            <p:cNvSpPr/>
            <p:nvPr/>
          </p:nvSpPr>
          <p:spPr bwMode="gray">
            <a:xfrm rot="5067452">
              <a:off x="3107718" y="4545725"/>
              <a:ext cx="100782" cy="228717"/>
            </a:xfrm>
            <a:prstGeom prst="flowChartManualOperation">
              <a:avLst/>
            </a:prstGeom>
            <a:solidFill>
              <a:srgbClr val="E6DE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3" name="Flowchart: Manual Operation 62">
              <a:extLst>
                <a:ext uri="{FF2B5EF4-FFF2-40B4-BE49-F238E27FC236}">
                  <a16:creationId xmlns:a16="http://schemas.microsoft.com/office/drawing/2014/main" id="{DC47AD21-C3C2-2ABC-DC23-58C3EA47CE3E}"/>
                </a:ext>
              </a:extLst>
            </p:cNvPr>
            <p:cNvSpPr/>
            <p:nvPr/>
          </p:nvSpPr>
          <p:spPr bwMode="gray">
            <a:xfrm rot="8666300">
              <a:off x="3204274" y="4413174"/>
              <a:ext cx="86823" cy="178410"/>
            </a:xfrm>
            <a:prstGeom prst="flowChartManualOperation">
              <a:avLst/>
            </a:prstGeom>
            <a:solidFill>
              <a:srgbClr val="E6DE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24" name="Flowchart: Manual Operation 1023">
              <a:extLst>
                <a:ext uri="{FF2B5EF4-FFF2-40B4-BE49-F238E27FC236}">
                  <a16:creationId xmlns:a16="http://schemas.microsoft.com/office/drawing/2014/main" id="{E2689EF7-DA42-6C9D-8FDC-8689C38946BF}"/>
                </a:ext>
              </a:extLst>
            </p:cNvPr>
            <p:cNvSpPr/>
            <p:nvPr/>
          </p:nvSpPr>
          <p:spPr bwMode="gray">
            <a:xfrm rot="12933700" flipH="1">
              <a:off x="3502568" y="4415151"/>
              <a:ext cx="86823" cy="178410"/>
            </a:xfrm>
            <a:prstGeom prst="flowChartManualOperation">
              <a:avLst/>
            </a:prstGeom>
            <a:solidFill>
              <a:srgbClr val="E6DE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25" name="Flowchart: Manual Operation 1024">
              <a:extLst>
                <a:ext uri="{FF2B5EF4-FFF2-40B4-BE49-F238E27FC236}">
                  <a16:creationId xmlns:a16="http://schemas.microsoft.com/office/drawing/2014/main" id="{888BE4BE-1D05-2BF8-32B3-3969FC4F93DF}"/>
                </a:ext>
              </a:extLst>
            </p:cNvPr>
            <p:cNvSpPr/>
            <p:nvPr/>
          </p:nvSpPr>
          <p:spPr bwMode="gray">
            <a:xfrm rot="18888832" flipH="1">
              <a:off x="3539346" y="4694020"/>
              <a:ext cx="86823" cy="253808"/>
            </a:xfrm>
            <a:prstGeom prst="flowChartManualOperation">
              <a:avLst/>
            </a:prstGeom>
            <a:solidFill>
              <a:srgbClr val="E6DE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27" name="Flowchart: Manual Operation 1026">
              <a:extLst>
                <a:ext uri="{FF2B5EF4-FFF2-40B4-BE49-F238E27FC236}">
                  <a16:creationId xmlns:a16="http://schemas.microsoft.com/office/drawing/2014/main" id="{126B3A73-905D-2A9B-7AF2-61B9DC416E48}"/>
                </a:ext>
              </a:extLst>
            </p:cNvPr>
            <p:cNvSpPr/>
            <p:nvPr/>
          </p:nvSpPr>
          <p:spPr bwMode="gray">
            <a:xfrm rot="2595147" flipH="1">
              <a:off x="3183446" y="4701356"/>
              <a:ext cx="86823" cy="253808"/>
            </a:xfrm>
            <a:prstGeom prst="flowChartManualOperation">
              <a:avLst/>
            </a:prstGeom>
            <a:solidFill>
              <a:srgbClr val="E6DE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1179" name="Group 1178">
            <a:extLst>
              <a:ext uri="{FF2B5EF4-FFF2-40B4-BE49-F238E27FC236}">
                <a16:creationId xmlns:a16="http://schemas.microsoft.com/office/drawing/2014/main" id="{31C60E68-808A-C3E2-A4AB-34D47DB628B5}"/>
              </a:ext>
            </a:extLst>
          </p:cNvPr>
          <p:cNvGrpSpPr/>
          <p:nvPr/>
        </p:nvGrpSpPr>
        <p:grpSpPr>
          <a:xfrm>
            <a:off x="8129998" y="1987100"/>
            <a:ext cx="1374795" cy="1404126"/>
            <a:chOff x="8129998" y="2101065"/>
            <a:chExt cx="1374795" cy="1404126"/>
          </a:xfrm>
        </p:grpSpPr>
        <p:sp>
          <p:nvSpPr>
            <p:cNvPr id="1060" name="Oval 1059">
              <a:extLst>
                <a:ext uri="{FF2B5EF4-FFF2-40B4-BE49-F238E27FC236}">
                  <a16:creationId xmlns:a16="http://schemas.microsoft.com/office/drawing/2014/main" id="{E1FA0F0F-8796-D96E-4707-BFC02B071090}"/>
                </a:ext>
              </a:extLst>
            </p:cNvPr>
            <p:cNvSpPr/>
            <p:nvPr/>
          </p:nvSpPr>
          <p:spPr bwMode="gray">
            <a:xfrm>
              <a:off x="8129998" y="2334572"/>
              <a:ext cx="1374795" cy="1170619"/>
            </a:xfrm>
            <a:prstGeom prst="ellipse">
              <a:avLst/>
            </a:prstGeom>
            <a:solidFill>
              <a:srgbClr val="62292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61" name="Oval 1060">
              <a:extLst>
                <a:ext uri="{FF2B5EF4-FFF2-40B4-BE49-F238E27FC236}">
                  <a16:creationId xmlns:a16="http://schemas.microsoft.com/office/drawing/2014/main" id="{ED8F2D04-4636-5DFA-DF9D-EB2FAA53DD90}"/>
                </a:ext>
              </a:extLst>
            </p:cNvPr>
            <p:cNvSpPr/>
            <p:nvPr/>
          </p:nvSpPr>
          <p:spPr bwMode="gray">
            <a:xfrm>
              <a:off x="8156819" y="2373954"/>
              <a:ext cx="1321151" cy="1091856"/>
            </a:xfrm>
            <a:prstGeom prst="ellipse">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36" name="Oval 1035">
              <a:extLst>
                <a:ext uri="{FF2B5EF4-FFF2-40B4-BE49-F238E27FC236}">
                  <a16:creationId xmlns:a16="http://schemas.microsoft.com/office/drawing/2014/main" id="{731234E8-7855-5384-B2EF-E6C932DBFED1}"/>
                </a:ext>
              </a:extLst>
            </p:cNvPr>
            <p:cNvSpPr/>
            <p:nvPr/>
          </p:nvSpPr>
          <p:spPr bwMode="gray">
            <a:xfrm>
              <a:off x="8210104" y="2419024"/>
              <a:ext cx="1214582" cy="1001717"/>
            </a:xfrm>
            <a:prstGeom prst="ellipse">
              <a:avLst/>
            </a:prstGeom>
            <a:gradFill flip="none" rotWithShape="1">
              <a:gsLst>
                <a:gs pos="92000">
                  <a:schemeClr val="bg2">
                    <a:lumMod val="40000"/>
                    <a:lumOff val="60000"/>
                  </a:schemeClr>
                </a:gs>
                <a:gs pos="100000">
                  <a:schemeClr val="bg2">
                    <a:lumMod val="75000"/>
                  </a:schemeClr>
                </a:gs>
              </a:gsLst>
              <a:path path="shap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63" name="Rectangle: Rounded Corners 1062">
              <a:extLst>
                <a:ext uri="{FF2B5EF4-FFF2-40B4-BE49-F238E27FC236}">
                  <a16:creationId xmlns:a16="http://schemas.microsoft.com/office/drawing/2014/main" id="{B383D29C-4DA5-DD55-DE38-BA2176DE8B83}"/>
                </a:ext>
              </a:extLst>
            </p:cNvPr>
            <p:cNvSpPr/>
            <p:nvPr/>
          </p:nvSpPr>
          <p:spPr bwMode="gray">
            <a:xfrm>
              <a:off x="8632888" y="2780365"/>
              <a:ext cx="369015" cy="471777"/>
            </a:xfrm>
            <a:prstGeom prst="roundRect">
              <a:avLst/>
            </a:prstGeom>
            <a:gradFill flip="none" rotWithShape="1">
              <a:gsLst>
                <a:gs pos="68000">
                  <a:schemeClr val="bg2">
                    <a:lumMod val="20000"/>
                    <a:lumOff val="80000"/>
                  </a:schemeClr>
                </a:gs>
                <a:gs pos="100000">
                  <a:srgbClr val="FFC000"/>
                </a:gs>
              </a:gsLst>
              <a:path path="shape">
                <a:fillToRect l="50000" t="50000" r="50000" b="50000"/>
              </a:path>
              <a:tileRect/>
            </a:gra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sp>
          <p:nvSpPr>
            <p:cNvPr id="1065" name="Rectangle 1064">
              <a:extLst>
                <a:ext uri="{FF2B5EF4-FFF2-40B4-BE49-F238E27FC236}">
                  <a16:creationId xmlns:a16="http://schemas.microsoft.com/office/drawing/2014/main" id="{476876EE-B1C5-54DA-CA50-CD6844598647}"/>
                </a:ext>
              </a:extLst>
            </p:cNvPr>
            <p:cNvSpPr/>
            <p:nvPr/>
          </p:nvSpPr>
          <p:spPr bwMode="gray">
            <a:xfrm>
              <a:off x="8802558" y="2777707"/>
              <a:ext cx="30046" cy="118581"/>
            </a:xfrm>
            <a:prstGeom prst="rect">
              <a:avLst/>
            </a:prstGeom>
            <a:solidFill>
              <a:srgbClr val="DEDE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71" name="Rectangle 1070">
              <a:extLst>
                <a:ext uri="{FF2B5EF4-FFF2-40B4-BE49-F238E27FC236}">
                  <a16:creationId xmlns:a16="http://schemas.microsoft.com/office/drawing/2014/main" id="{8FB417A6-E9A0-CFF6-6507-AFE28406C346}"/>
                </a:ext>
              </a:extLst>
            </p:cNvPr>
            <p:cNvSpPr/>
            <p:nvPr/>
          </p:nvSpPr>
          <p:spPr bwMode="gray">
            <a:xfrm rot="2077286">
              <a:off x="9031133" y="2347580"/>
              <a:ext cx="33050" cy="173615"/>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75" name="Straight Connector 1074">
              <a:extLst>
                <a:ext uri="{FF2B5EF4-FFF2-40B4-BE49-F238E27FC236}">
                  <a16:creationId xmlns:a16="http://schemas.microsoft.com/office/drawing/2014/main" id="{EE463CF3-461D-F9E0-264A-39B3663D03C7}"/>
                </a:ext>
              </a:extLst>
            </p:cNvPr>
            <p:cNvCxnSpPr>
              <a:cxnSpLocks/>
              <a:stCxn id="1071" idx="0"/>
              <a:endCxn id="1065" idx="0"/>
            </p:cNvCxnSpPr>
            <p:nvPr/>
          </p:nvCxnSpPr>
          <p:spPr bwMode="gray">
            <a:xfrm flipH="1">
              <a:off x="8817581" y="2362952"/>
              <a:ext cx="279397" cy="414755"/>
            </a:xfrm>
            <a:prstGeom prst="line">
              <a:avLst/>
            </a:prstGeom>
            <a:ln w="9525" cap="flat">
              <a:solidFill>
                <a:srgbClr val="FF0000"/>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070" name="Group 1069">
              <a:extLst>
                <a:ext uri="{FF2B5EF4-FFF2-40B4-BE49-F238E27FC236}">
                  <a16:creationId xmlns:a16="http://schemas.microsoft.com/office/drawing/2014/main" id="{8EBEEB26-80D1-65A8-4EBE-9DF1BF869867}"/>
                </a:ext>
              </a:extLst>
            </p:cNvPr>
            <p:cNvGrpSpPr/>
            <p:nvPr/>
          </p:nvGrpSpPr>
          <p:grpSpPr>
            <a:xfrm>
              <a:off x="9087764" y="2103296"/>
              <a:ext cx="189971" cy="295424"/>
              <a:chOff x="11188336" y="3282439"/>
              <a:chExt cx="189971" cy="295424"/>
            </a:xfrm>
          </p:grpSpPr>
          <p:sp>
            <p:nvSpPr>
              <p:cNvPr id="1067" name="Rectangle 1066">
                <a:extLst>
                  <a:ext uri="{FF2B5EF4-FFF2-40B4-BE49-F238E27FC236}">
                    <a16:creationId xmlns:a16="http://schemas.microsoft.com/office/drawing/2014/main" id="{16DDE206-18E7-AD9B-944E-6D13EB44DAA7}"/>
                  </a:ext>
                </a:extLst>
              </p:cNvPr>
              <p:cNvSpPr/>
              <p:nvPr/>
            </p:nvSpPr>
            <p:spPr bwMode="gray">
              <a:xfrm rot="1803040">
                <a:off x="11210322" y="3282439"/>
                <a:ext cx="167985" cy="23089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69" name="Rectangle 1068">
                <a:extLst>
                  <a:ext uri="{FF2B5EF4-FFF2-40B4-BE49-F238E27FC236}">
                    <a16:creationId xmlns:a16="http://schemas.microsoft.com/office/drawing/2014/main" id="{0B01342E-9F08-1D24-7F20-C6B43B2F4ADF}"/>
                  </a:ext>
                </a:extLst>
              </p:cNvPr>
              <p:cNvSpPr/>
              <p:nvPr/>
            </p:nvSpPr>
            <p:spPr bwMode="gray">
              <a:xfrm rot="1803040">
                <a:off x="11188336" y="3413506"/>
                <a:ext cx="86203" cy="16435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1094" name="Rectangle 1093">
              <a:extLst>
                <a:ext uri="{FF2B5EF4-FFF2-40B4-BE49-F238E27FC236}">
                  <a16:creationId xmlns:a16="http://schemas.microsoft.com/office/drawing/2014/main" id="{CAFD4042-6464-9723-C147-0736CEE976E2}"/>
                </a:ext>
              </a:extLst>
            </p:cNvPr>
            <p:cNvSpPr/>
            <p:nvPr/>
          </p:nvSpPr>
          <p:spPr bwMode="gray">
            <a:xfrm rot="19594253" flipH="1">
              <a:off x="8566767" y="2347580"/>
              <a:ext cx="33050" cy="173615"/>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95" name="Straight Connector 1094">
              <a:extLst>
                <a:ext uri="{FF2B5EF4-FFF2-40B4-BE49-F238E27FC236}">
                  <a16:creationId xmlns:a16="http://schemas.microsoft.com/office/drawing/2014/main" id="{67B7E4D5-895E-C954-0556-CD459A2506FA}"/>
                </a:ext>
              </a:extLst>
            </p:cNvPr>
            <p:cNvCxnSpPr>
              <a:cxnSpLocks/>
              <a:stCxn id="1094" idx="0"/>
              <a:endCxn id="1065" idx="0"/>
            </p:cNvCxnSpPr>
            <p:nvPr/>
          </p:nvCxnSpPr>
          <p:spPr bwMode="gray">
            <a:xfrm>
              <a:off x="8535469" y="2361941"/>
              <a:ext cx="282112" cy="415766"/>
            </a:xfrm>
            <a:prstGeom prst="line">
              <a:avLst/>
            </a:prstGeom>
            <a:ln w="9525" cap="flat">
              <a:solidFill>
                <a:srgbClr val="FF0000"/>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096" name="Group 1095">
              <a:extLst>
                <a:ext uri="{FF2B5EF4-FFF2-40B4-BE49-F238E27FC236}">
                  <a16:creationId xmlns:a16="http://schemas.microsoft.com/office/drawing/2014/main" id="{0549C7E2-D548-CCE6-086E-E4C3029EED6B}"/>
                </a:ext>
              </a:extLst>
            </p:cNvPr>
            <p:cNvGrpSpPr/>
            <p:nvPr/>
          </p:nvGrpSpPr>
          <p:grpSpPr>
            <a:xfrm flipH="1">
              <a:off x="8352156" y="2101065"/>
              <a:ext cx="189971" cy="295424"/>
              <a:chOff x="11188336" y="3282439"/>
              <a:chExt cx="189971" cy="295424"/>
            </a:xfrm>
          </p:grpSpPr>
          <p:sp>
            <p:nvSpPr>
              <p:cNvPr id="1097" name="Rectangle 1096">
                <a:extLst>
                  <a:ext uri="{FF2B5EF4-FFF2-40B4-BE49-F238E27FC236}">
                    <a16:creationId xmlns:a16="http://schemas.microsoft.com/office/drawing/2014/main" id="{00682E00-8458-86B9-C6FD-1D7DA7E97563}"/>
                  </a:ext>
                </a:extLst>
              </p:cNvPr>
              <p:cNvSpPr/>
              <p:nvPr/>
            </p:nvSpPr>
            <p:spPr bwMode="gray">
              <a:xfrm rot="1803040">
                <a:off x="11210322" y="3282439"/>
                <a:ext cx="167985" cy="23089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98" name="Rectangle 1097">
                <a:extLst>
                  <a:ext uri="{FF2B5EF4-FFF2-40B4-BE49-F238E27FC236}">
                    <a16:creationId xmlns:a16="http://schemas.microsoft.com/office/drawing/2014/main" id="{7CC1C170-26BA-0A0F-4E81-86E5306B03FC}"/>
                  </a:ext>
                </a:extLst>
              </p:cNvPr>
              <p:cNvSpPr/>
              <p:nvPr/>
            </p:nvSpPr>
            <p:spPr bwMode="gray">
              <a:xfrm rot="1803040">
                <a:off x="11188336" y="3413506"/>
                <a:ext cx="86203" cy="16435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cxnSp>
          <p:nvCxnSpPr>
            <p:cNvPr id="1102" name="Connector: Curved 1101">
              <a:extLst>
                <a:ext uri="{FF2B5EF4-FFF2-40B4-BE49-F238E27FC236}">
                  <a16:creationId xmlns:a16="http://schemas.microsoft.com/office/drawing/2014/main" id="{88A2F95F-4A79-9EE7-ACFB-DA8A128A1C3E}"/>
                </a:ext>
              </a:extLst>
            </p:cNvPr>
            <p:cNvCxnSpPr>
              <a:cxnSpLocks/>
            </p:cNvCxnSpPr>
            <p:nvPr/>
          </p:nvCxnSpPr>
          <p:spPr bwMode="gray">
            <a:xfrm rot="10800000" flipV="1">
              <a:off x="8859426" y="2875941"/>
              <a:ext cx="64435" cy="59562"/>
            </a:xfrm>
            <a:prstGeom prst="curvedConnector3">
              <a:avLst>
                <a:gd name="adj1" fmla="val 50000"/>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05" name="Connector: Curved 1104">
              <a:extLst>
                <a:ext uri="{FF2B5EF4-FFF2-40B4-BE49-F238E27FC236}">
                  <a16:creationId xmlns:a16="http://schemas.microsoft.com/office/drawing/2014/main" id="{348BA574-6F79-CB9F-3E86-323FD20B276E}"/>
                </a:ext>
              </a:extLst>
            </p:cNvPr>
            <p:cNvCxnSpPr>
              <a:cxnSpLocks/>
            </p:cNvCxnSpPr>
            <p:nvPr/>
          </p:nvCxnSpPr>
          <p:spPr bwMode="gray">
            <a:xfrm rot="10800000" flipH="1" flipV="1">
              <a:off x="8859426" y="3093350"/>
              <a:ext cx="64435" cy="59562"/>
            </a:xfrm>
            <a:prstGeom prst="curvedConnector3">
              <a:avLst>
                <a:gd name="adj1" fmla="val 50000"/>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06" name="Connector: Curved 1105">
              <a:extLst>
                <a:ext uri="{FF2B5EF4-FFF2-40B4-BE49-F238E27FC236}">
                  <a16:creationId xmlns:a16="http://schemas.microsoft.com/office/drawing/2014/main" id="{6BDA91E1-A422-2B15-0C17-4E60EB00C56B}"/>
                </a:ext>
              </a:extLst>
            </p:cNvPr>
            <p:cNvCxnSpPr>
              <a:cxnSpLocks/>
            </p:cNvCxnSpPr>
            <p:nvPr/>
          </p:nvCxnSpPr>
          <p:spPr bwMode="gray">
            <a:xfrm rot="10800000" flipH="1" flipV="1">
              <a:off x="8692298" y="2875572"/>
              <a:ext cx="64435" cy="59562"/>
            </a:xfrm>
            <a:prstGeom prst="curvedConnector3">
              <a:avLst>
                <a:gd name="adj1" fmla="val 50000"/>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07" name="Connector: Curved 1106">
              <a:extLst>
                <a:ext uri="{FF2B5EF4-FFF2-40B4-BE49-F238E27FC236}">
                  <a16:creationId xmlns:a16="http://schemas.microsoft.com/office/drawing/2014/main" id="{1882FDBF-142D-1543-E766-7598CFFBF203}"/>
                </a:ext>
              </a:extLst>
            </p:cNvPr>
            <p:cNvCxnSpPr>
              <a:cxnSpLocks/>
            </p:cNvCxnSpPr>
            <p:nvPr/>
          </p:nvCxnSpPr>
          <p:spPr bwMode="gray">
            <a:xfrm rot="10800000" flipV="1">
              <a:off x="8692298" y="3092981"/>
              <a:ext cx="64435" cy="59562"/>
            </a:xfrm>
            <a:prstGeom prst="curvedConnector3">
              <a:avLst>
                <a:gd name="adj1" fmla="val 50000"/>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14" name="Oval 1113">
              <a:extLst>
                <a:ext uri="{FF2B5EF4-FFF2-40B4-BE49-F238E27FC236}">
                  <a16:creationId xmlns:a16="http://schemas.microsoft.com/office/drawing/2014/main" id="{572FE7F2-58B5-88DD-7ACC-5ADCCD5475C4}"/>
                </a:ext>
              </a:extLst>
            </p:cNvPr>
            <p:cNvSpPr/>
            <p:nvPr/>
          </p:nvSpPr>
          <p:spPr bwMode="gray">
            <a:xfrm>
              <a:off x="8761663" y="2960936"/>
              <a:ext cx="111463" cy="106946"/>
            </a:xfrm>
            <a:prstGeom prst="ellipse">
              <a:avLst/>
            </a:prstGeom>
            <a:gradFill>
              <a:gsLst>
                <a:gs pos="69000">
                  <a:schemeClr val="bg1"/>
                </a:gs>
                <a:gs pos="100000">
                  <a:srgbClr val="FFC000"/>
                </a:gs>
              </a:gsLst>
              <a:path path="shape">
                <a:fillToRect l="50000" t="50000" r="50000" b="50000"/>
              </a:path>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US" sz="1600" err="1">
                <a:solidFill>
                  <a:schemeClr val="tx1"/>
                </a:solidFill>
              </a:endParaRPr>
            </a:p>
          </p:txBody>
        </p:sp>
      </p:grpSp>
      <p:sp>
        <p:nvSpPr>
          <p:cNvPr id="1139" name="TextBox 1138">
            <a:extLst>
              <a:ext uri="{FF2B5EF4-FFF2-40B4-BE49-F238E27FC236}">
                <a16:creationId xmlns:a16="http://schemas.microsoft.com/office/drawing/2014/main" id="{884FFC5C-6BB5-2006-1340-154867470C51}"/>
              </a:ext>
            </a:extLst>
          </p:cNvPr>
          <p:cNvSpPr txBox="1"/>
          <p:nvPr/>
        </p:nvSpPr>
        <p:spPr bwMode="gray">
          <a:xfrm>
            <a:off x="1889007" y="5564825"/>
            <a:ext cx="3842926" cy="507831"/>
          </a:xfrm>
          <a:prstGeom prst="rect">
            <a:avLst/>
          </a:prstGeom>
          <a:noFill/>
        </p:spPr>
        <p:txBody>
          <a:bodyPr wrap="square" lIns="36576" tIns="0" rIns="0" bIns="0" rtlCol="0">
            <a:spAutoFit/>
          </a:bodyPr>
          <a:lstStyle/>
          <a:p>
            <a:pPr algn="l">
              <a:spcAft>
                <a:spcPts val="600"/>
              </a:spcAft>
            </a:pPr>
            <a:r>
              <a:rPr lang="en-US" sz="1100" b="1"/>
              <a:t>ITER is the leading MCF research project in the world. </a:t>
            </a:r>
            <a:r>
              <a:rPr lang="en-US" sz="1100"/>
              <a:t>This tokamak in France has received ~$18 billion in funding and is expecting to commence operations in the mid-2030s.</a:t>
            </a:r>
          </a:p>
        </p:txBody>
      </p:sp>
      <p:pic>
        <p:nvPicPr>
          <p:cNvPr id="1141" name="Picture 10">
            <a:extLst>
              <a:ext uri="{FF2B5EF4-FFF2-40B4-BE49-F238E27FC236}">
                <a16:creationId xmlns:a16="http://schemas.microsoft.com/office/drawing/2014/main" id="{EE045829-5EDE-7EBA-BD83-4DF1A40AA9EF}"/>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943794" y="5564825"/>
            <a:ext cx="825428" cy="412405"/>
          </a:xfrm>
          <a:prstGeom prst="rect">
            <a:avLst/>
          </a:prstGeom>
          <a:noFill/>
          <a:extLst>
            <a:ext uri="{909E8E84-426E-40DD-AFC4-6F175D3DCCD1}">
              <a14:hiddenFill xmlns:a14="http://schemas.microsoft.com/office/drawing/2010/main">
                <a:solidFill>
                  <a:srgbClr val="FFFFFF"/>
                </a:solidFill>
              </a14:hiddenFill>
            </a:ext>
          </a:extLst>
        </p:spPr>
      </p:pic>
      <p:sp>
        <p:nvSpPr>
          <p:cNvPr id="1142" name="Callout: Line with Border and Accent Bar 1141">
            <a:extLst>
              <a:ext uri="{FF2B5EF4-FFF2-40B4-BE49-F238E27FC236}">
                <a16:creationId xmlns:a16="http://schemas.microsoft.com/office/drawing/2014/main" id="{1D87E194-9122-9BDE-163A-7CD7FE0D9286}"/>
              </a:ext>
            </a:extLst>
          </p:cNvPr>
          <p:cNvSpPr/>
          <p:nvPr/>
        </p:nvSpPr>
        <p:spPr bwMode="gray">
          <a:xfrm>
            <a:off x="4364358" y="2015915"/>
            <a:ext cx="1386063" cy="1136628"/>
          </a:xfrm>
          <a:prstGeom prst="accentBorderCallout1">
            <a:avLst>
              <a:gd name="adj1" fmla="val 18750"/>
              <a:gd name="adj2" fmla="val -8333"/>
              <a:gd name="adj3" fmla="val 26765"/>
              <a:gd name="adj4" fmla="val -32470"/>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There are two leading magnet configurations: donut (</a:t>
            </a:r>
            <a:r>
              <a:rPr lang="en-US" sz="1100" b="1">
                <a:solidFill>
                  <a:schemeClr val="tx1"/>
                </a:solidFill>
              </a:rPr>
              <a:t>tokamak</a:t>
            </a:r>
            <a:r>
              <a:rPr lang="en-US" sz="1100">
                <a:solidFill>
                  <a:schemeClr val="tx1"/>
                </a:solidFill>
              </a:rPr>
              <a:t>) and a twisted donut (</a:t>
            </a:r>
            <a:r>
              <a:rPr lang="en-US" sz="1100" b="1">
                <a:solidFill>
                  <a:schemeClr val="tx1"/>
                </a:solidFill>
              </a:rPr>
              <a:t>stellarator</a:t>
            </a:r>
            <a:r>
              <a:rPr lang="en-US" sz="1100">
                <a:solidFill>
                  <a:schemeClr val="tx1"/>
                </a:solidFill>
              </a:rPr>
              <a:t>).</a:t>
            </a:r>
          </a:p>
        </p:txBody>
      </p:sp>
      <p:sp>
        <p:nvSpPr>
          <p:cNvPr id="1143" name="Callout: Line with Border and Accent Bar 1142">
            <a:extLst>
              <a:ext uri="{FF2B5EF4-FFF2-40B4-BE49-F238E27FC236}">
                <a16:creationId xmlns:a16="http://schemas.microsoft.com/office/drawing/2014/main" id="{25E4BBC3-BDB9-DE35-3AF3-CD83FF6BEFA1}"/>
              </a:ext>
            </a:extLst>
          </p:cNvPr>
          <p:cNvSpPr/>
          <p:nvPr/>
        </p:nvSpPr>
        <p:spPr bwMode="gray">
          <a:xfrm>
            <a:off x="830756" y="1965879"/>
            <a:ext cx="1328243" cy="569042"/>
          </a:xfrm>
          <a:prstGeom prst="accentBorderCallout1">
            <a:avLst>
              <a:gd name="adj1" fmla="val 27532"/>
              <a:gd name="adj2" fmla="val 104673"/>
              <a:gd name="adj3" fmla="val 84436"/>
              <a:gd name="adj4" fmla="val 114172"/>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Electromagnets confine and control the plasma.</a:t>
            </a:r>
          </a:p>
        </p:txBody>
      </p:sp>
      <p:sp>
        <p:nvSpPr>
          <p:cNvPr id="1146" name="Callout: Line with Border and Accent Bar 1145">
            <a:extLst>
              <a:ext uri="{FF2B5EF4-FFF2-40B4-BE49-F238E27FC236}">
                <a16:creationId xmlns:a16="http://schemas.microsoft.com/office/drawing/2014/main" id="{745B210F-0233-1E39-B65A-7596DD007758}"/>
              </a:ext>
            </a:extLst>
          </p:cNvPr>
          <p:cNvSpPr/>
          <p:nvPr/>
        </p:nvSpPr>
        <p:spPr bwMode="gray">
          <a:xfrm>
            <a:off x="830756" y="2656578"/>
            <a:ext cx="1328243" cy="569042"/>
          </a:xfrm>
          <a:prstGeom prst="accentBorderCallout1">
            <a:avLst>
              <a:gd name="adj1" fmla="val 27532"/>
              <a:gd name="adj2" fmla="val 104673"/>
              <a:gd name="adj3" fmla="val 26409"/>
              <a:gd name="adj4" fmla="val 130618"/>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The plasma is heated using EM waves or a current.</a:t>
            </a:r>
          </a:p>
        </p:txBody>
      </p:sp>
      <p:grpSp>
        <p:nvGrpSpPr>
          <p:cNvPr id="1181" name="Group 1180">
            <a:extLst>
              <a:ext uri="{FF2B5EF4-FFF2-40B4-BE49-F238E27FC236}">
                <a16:creationId xmlns:a16="http://schemas.microsoft.com/office/drawing/2014/main" id="{6B03D64C-E706-F0A1-B5B8-4FC654D7E889}"/>
              </a:ext>
            </a:extLst>
          </p:cNvPr>
          <p:cNvGrpSpPr/>
          <p:nvPr/>
        </p:nvGrpSpPr>
        <p:grpSpPr>
          <a:xfrm>
            <a:off x="1041400" y="3680424"/>
            <a:ext cx="4579754" cy="1572348"/>
            <a:chOff x="993915" y="3680424"/>
            <a:chExt cx="4738018" cy="1572348"/>
          </a:xfrm>
        </p:grpSpPr>
        <p:sp>
          <p:nvSpPr>
            <p:cNvPr id="1115" name="TextBox 1114">
              <a:extLst>
                <a:ext uri="{FF2B5EF4-FFF2-40B4-BE49-F238E27FC236}">
                  <a16:creationId xmlns:a16="http://schemas.microsoft.com/office/drawing/2014/main" id="{042B9E61-B960-7621-CCAC-2F7639C5BB25}"/>
                </a:ext>
              </a:extLst>
            </p:cNvPr>
            <p:cNvSpPr txBox="1"/>
            <p:nvPr/>
          </p:nvSpPr>
          <p:spPr bwMode="gray">
            <a:xfrm>
              <a:off x="993915" y="3680424"/>
              <a:ext cx="4738018" cy="338554"/>
            </a:xfrm>
            <a:prstGeom prst="rect">
              <a:avLst/>
            </a:prstGeom>
            <a:noFill/>
          </p:spPr>
          <p:txBody>
            <a:bodyPr wrap="square" lIns="36576" tIns="0" rIns="0" bIns="0" rtlCol="0">
              <a:spAutoFit/>
            </a:bodyPr>
            <a:lstStyle/>
            <a:p>
              <a:pPr marL="171450" indent="-171450" algn="l">
                <a:spcAft>
                  <a:spcPts val="600"/>
                </a:spcAft>
                <a:buFont typeface="Arial" panose="020B0604020202020204" pitchFamily="34" charset="0"/>
                <a:buChar char="•"/>
              </a:pPr>
              <a:r>
                <a:rPr lang="en-US" sz="1100"/>
                <a:t>Can theoretically </a:t>
              </a:r>
              <a:r>
                <a:rPr lang="en-US" sz="1100" b="1"/>
                <a:t>sustain the fusion reaction indefinitely</a:t>
              </a:r>
              <a:r>
                <a:rPr lang="en-US" sz="1100"/>
                <a:t>, using the heat from the reaction to continue the plasma</a:t>
              </a:r>
            </a:p>
          </p:txBody>
        </p:sp>
        <p:sp>
          <p:nvSpPr>
            <p:cNvPr id="1148" name="TextBox 1147">
              <a:extLst>
                <a:ext uri="{FF2B5EF4-FFF2-40B4-BE49-F238E27FC236}">
                  <a16:creationId xmlns:a16="http://schemas.microsoft.com/office/drawing/2014/main" id="{76BAE8C9-2CA1-7215-2511-185FBB54C41E}"/>
                </a:ext>
              </a:extLst>
            </p:cNvPr>
            <p:cNvSpPr txBox="1"/>
            <p:nvPr/>
          </p:nvSpPr>
          <p:spPr bwMode="gray">
            <a:xfrm>
              <a:off x="993915" y="4049980"/>
              <a:ext cx="4738018" cy="338554"/>
            </a:xfrm>
            <a:prstGeom prst="rect">
              <a:avLst/>
            </a:prstGeom>
            <a:noFill/>
          </p:spPr>
          <p:txBody>
            <a:bodyPr wrap="square" lIns="36576" tIns="0" rIns="0" bIns="0" rtlCol="0">
              <a:spAutoFit/>
            </a:bodyPr>
            <a:lstStyle/>
            <a:p>
              <a:pPr marL="171450" indent="-171450" algn="l">
                <a:spcAft>
                  <a:spcPts val="600"/>
                </a:spcAft>
                <a:buFont typeface="Arial" panose="020B0604020202020204" pitchFamily="34" charset="0"/>
                <a:buChar char="•"/>
              </a:pPr>
              <a:r>
                <a:rPr lang="en-US" sz="1100"/>
                <a:t>Has seen the most research over the past decades; </a:t>
              </a:r>
              <a:r>
                <a:rPr lang="en-US" sz="1100" b="1"/>
                <a:t>~65% of startups use MCF</a:t>
              </a:r>
            </a:p>
          </p:txBody>
        </p:sp>
        <p:sp>
          <p:nvSpPr>
            <p:cNvPr id="1149" name="TextBox 1148">
              <a:extLst>
                <a:ext uri="{FF2B5EF4-FFF2-40B4-BE49-F238E27FC236}">
                  <a16:creationId xmlns:a16="http://schemas.microsoft.com/office/drawing/2014/main" id="{A53030E3-4B31-4923-D523-4BB18B2AAE5F}"/>
                </a:ext>
              </a:extLst>
            </p:cNvPr>
            <p:cNvSpPr txBox="1"/>
            <p:nvPr/>
          </p:nvSpPr>
          <p:spPr bwMode="gray">
            <a:xfrm>
              <a:off x="993915" y="4544661"/>
              <a:ext cx="4738018" cy="338554"/>
            </a:xfrm>
            <a:prstGeom prst="rect">
              <a:avLst/>
            </a:prstGeom>
            <a:noFill/>
          </p:spPr>
          <p:txBody>
            <a:bodyPr wrap="square" lIns="36576" tIns="0" rIns="0" bIns="0" rtlCol="0">
              <a:spAutoFit/>
            </a:bodyPr>
            <a:lstStyle/>
            <a:p>
              <a:pPr marL="171450" indent="-171450" algn="l">
                <a:spcAft>
                  <a:spcPts val="600"/>
                </a:spcAft>
                <a:buFont typeface="Arial" panose="020B0604020202020204" pitchFamily="34" charset="0"/>
                <a:buChar char="•"/>
              </a:pPr>
              <a:r>
                <a:rPr lang="en-US" sz="1100" b="1"/>
                <a:t>Instability issues plague MCF, </a:t>
              </a:r>
              <a:r>
                <a:rPr lang="en-US" sz="1100"/>
                <a:t>as it can cool down the plasma and damage the vessel wall</a:t>
              </a:r>
            </a:p>
          </p:txBody>
        </p:sp>
        <p:sp>
          <p:nvSpPr>
            <p:cNvPr id="1150" name="TextBox 1149">
              <a:extLst>
                <a:ext uri="{FF2B5EF4-FFF2-40B4-BE49-F238E27FC236}">
                  <a16:creationId xmlns:a16="http://schemas.microsoft.com/office/drawing/2014/main" id="{8C39BB65-A3EE-0230-1534-79805E54AF20}"/>
                </a:ext>
              </a:extLst>
            </p:cNvPr>
            <p:cNvSpPr txBox="1"/>
            <p:nvPr/>
          </p:nvSpPr>
          <p:spPr bwMode="gray">
            <a:xfrm>
              <a:off x="993915" y="4914218"/>
              <a:ext cx="4738018" cy="338554"/>
            </a:xfrm>
            <a:prstGeom prst="rect">
              <a:avLst/>
            </a:prstGeom>
            <a:noFill/>
          </p:spPr>
          <p:txBody>
            <a:bodyPr wrap="square" lIns="36576" tIns="0" rIns="0" bIns="0" rtlCol="0">
              <a:spAutoFit/>
            </a:bodyPr>
            <a:lstStyle/>
            <a:p>
              <a:pPr marL="171450" indent="-171450" algn="l">
                <a:spcAft>
                  <a:spcPts val="600"/>
                </a:spcAft>
                <a:buFont typeface="Arial" panose="020B0604020202020204" pitchFamily="34" charset="0"/>
                <a:buChar char="•"/>
              </a:pPr>
              <a:r>
                <a:rPr lang="en-US" sz="1100" b="1"/>
                <a:t>A substantial amount of energy</a:t>
              </a:r>
              <a:r>
                <a:rPr lang="en-US" sz="1100"/>
                <a:t> (~20%) </a:t>
              </a:r>
              <a:r>
                <a:rPr lang="en-US" sz="1100" b="1"/>
                <a:t>is lost</a:t>
              </a:r>
              <a:r>
                <a:rPr lang="en-US" sz="1100"/>
                <a:t> in cooling the vessel and powering the electromagnets</a:t>
              </a:r>
            </a:p>
          </p:txBody>
        </p:sp>
      </p:grpSp>
      <p:grpSp>
        <p:nvGrpSpPr>
          <p:cNvPr id="1153" name="Group 1152">
            <a:extLst>
              <a:ext uri="{FF2B5EF4-FFF2-40B4-BE49-F238E27FC236}">
                <a16:creationId xmlns:a16="http://schemas.microsoft.com/office/drawing/2014/main" id="{02B3A486-005E-5562-FC2E-31027FC31D27}"/>
              </a:ext>
            </a:extLst>
          </p:cNvPr>
          <p:cNvGrpSpPr/>
          <p:nvPr/>
        </p:nvGrpSpPr>
        <p:grpSpPr>
          <a:xfrm>
            <a:off x="943794" y="4915730"/>
            <a:ext cx="182880" cy="182563"/>
            <a:chOff x="943794" y="4492454"/>
            <a:chExt cx="182880" cy="182563"/>
          </a:xfrm>
        </p:grpSpPr>
        <p:sp>
          <p:nvSpPr>
            <p:cNvPr id="1154" name="Oval 1153">
              <a:extLst>
                <a:ext uri="{FF2B5EF4-FFF2-40B4-BE49-F238E27FC236}">
                  <a16:creationId xmlns:a16="http://schemas.microsoft.com/office/drawing/2014/main" id="{CD56EF91-BE23-6989-1304-B112476E0004}"/>
                </a:ext>
              </a:extLst>
            </p:cNvPr>
            <p:cNvSpPr/>
            <p:nvPr/>
          </p:nvSpPr>
          <p:spPr bwMode="gray">
            <a:xfrm>
              <a:off x="943794" y="4492454"/>
              <a:ext cx="182880" cy="182563"/>
            </a:xfrm>
            <a:prstGeom prst="ellipse">
              <a:avLst/>
            </a:prstGeom>
            <a:solidFill>
              <a:srgbClr val="E6DEF4"/>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55" name="Straight Connector 1154">
              <a:extLst>
                <a:ext uri="{FF2B5EF4-FFF2-40B4-BE49-F238E27FC236}">
                  <a16:creationId xmlns:a16="http://schemas.microsoft.com/office/drawing/2014/main" id="{AD7B22F1-D531-3577-959D-7D302BB5EC16}"/>
                </a:ext>
              </a:extLst>
            </p:cNvPr>
            <p:cNvCxnSpPr>
              <a:cxnSpLocks/>
            </p:cNvCxnSpPr>
            <p:nvPr/>
          </p:nvCxnSpPr>
          <p:spPr bwMode="gray">
            <a:xfrm flipH="1">
              <a:off x="980586" y="4583736"/>
              <a:ext cx="109295" cy="0"/>
            </a:xfrm>
            <a:prstGeom prst="line">
              <a:avLst/>
            </a:prstGeom>
            <a:ln w="19050" cap="flat">
              <a:solidFill>
                <a:srgbClr val="FF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156" name="Callout: Line with Border and Accent Bar 1155">
            <a:extLst>
              <a:ext uri="{FF2B5EF4-FFF2-40B4-BE49-F238E27FC236}">
                <a16:creationId xmlns:a16="http://schemas.microsoft.com/office/drawing/2014/main" id="{B7DF984C-F086-2910-FBB5-FD07ED3EBD6E}"/>
              </a:ext>
            </a:extLst>
          </p:cNvPr>
          <p:cNvSpPr/>
          <p:nvPr/>
        </p:nvSpPr>
        <p:spPr bwMode="gray">
          <a:xfrm>
            <a:off x="6143354" y="1897796"/>
            <a:ext cx="1643484" cy="569042"/>
          </a:xfrm>
          <a:prstGeom prst="accentBorderCallout1">
            <a:avLst>
              <a:gd name="adj1" fmla="val 27532"/>
              <a:gd name="adj2" fmla="val 104673"/>
              <a:gd name="adj3" fmla="val 43840"/>
              <a:gd name="adj4" fmla="val 134670"/>
            </a:avLst>
          </a:prstGeom>
          <a:solidFill>
            <a:schemeClr val="accent6">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Powerful lasers send </a:t>
            </a:r>
            <a:r>
              <a:rPr lang="en-US" sz="1100" b="1">
                <a:solidFill>
                  <a:schemeClr val="tx1"/>
                </a:solidFill>
              </a:rPr>
              <a:t>high-frequency pulses </a:t>
            </a:r>
            <a:r>
              <a:rPr lang="en-US" sz="1100">
                <a:solidFill>
                  <a:schemeClr val="tx1"/>
                </a:solidFill>
              </a:rPr>
              <a:t>toward the target.</a:t>
            </a:r>
          </a:p>
        </p:txBody>
      </p:sp>
      <p:sp>
        <p:nvSpPr>
          <p:cNvPr id="1157" name="Callout: Line with Border and Accent Bar 1156">
            <a:extLst>
              <a:ext uri="{FF2B5EF4-FFF2-40B4-BE49-F238E27FC236}">
                <a16:creationId xmlns:a16="http://schemas.microsoft.com/office/drawing/2014/main" id="{E485C085-2080-98B0-90D1-DBFCD3D88AC1}"/>
              </a:ext>
            </a:extLst>
          </p:cNvPr>
          <p:cNvSpPr/>
          <p:nvPr/>
        </p:nvSpPr>
        <p:spPr bwMode="gray">
          <a:xfrm>
            <a:off x="6143354" y="2549361"/>
            <a:ext cx="1643484" cy="916449"/>
          </a:xfrm>
          <a:prstGeom prst="accentBorderCallout1">
            <a:avLst>
              <a:gd name="adj1" fmla="val 27532"/>
              <a:gd name="adj2" fmla="val 104673"/>
              <a:gd name="adj3" fmla="val 38766"/>
              <a:gd name="adj4" fmla="val 152240"/>
            </a:avLst>
          </a:prstGeom>
          <a:solidFill>
            <a:schemeClr val="accent6">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Either a fuel pellet is hit </a:t>
            </a:r>
            <a:r>
              <a:rPr lang="en-US" sz="1100" b="1">
                <a:solidFill>
                  <a:schemeClr val="tx1"/>
                </a:solidFill>
              </a:rPr>
              <a:t>directly </a:t>
            </a:r>
            <a:r>
              <a:rPr lang="en-US" sz="1100">
                <a:solidFill>
                  <a:schemeClr val="tx1"/>
                </a:solidFill>
              </a:rPr>
              <a:t>or ICF uses a </a:t>
            </a:r>
            <a:r>
              <a:rPr lang="en-US" sz="1100" b="1">
                <a:solidFill>
                  <a:schemeClr val="tx1"/>
                </a:solidFill>
              </a:rPr>
              <a:t>cavity</a:t>
            </a:r>
            <a:r>
              <a:rPr lang="en-US" sz="1100">
                <a:solidFill>
                  <a:schemeClr val="tx1"/>
                </a:solidFill>
              </a:rPr>
              <a:t> that heats up and emits X-rays hitting the fuel pellet </a:t>
            </a:r>
            <a:r>
              <a:rPr lang="en-US" sz="1100" b="1">
                <a:solidFill>
                  <a:schemeClr val="tx1"/>
                </a:solidFill>
              </a:rPr>
              <a:t>indirectly.</a:t>
            </a:r>
            <a:endParaRPr lang="en-US" sz="1100">
              <a:solidFill>
                <a:schemeClr val="tx1"/>
              </a:solidFill>
            </a:endParaRPr>
          </a:p>
        </p:txBody>
      </p:sp>
      <p:sp>
        <p:nvSpPr>
          <p:cNvPr id="1158" name="Callout: Line with Border and Accent Bar 1157">
            <a:extLst>
              <a:ext uri="{FF2B5EF4-FFF2-40B4-BE49-F238E27FC236}">
                <a16:creationId xmlns:a16="http://schemas.microsoft.com/office/drawing/2014/main" id="{9CD52BDA-54CC-928D-1503-085DE2A683A5}"/>
              </a:ext>
            </a:extLst>
          </p:cNvPr>
          <p:cNvSpPr/>
          <p:nvPr/>
        </p:nvSpPr>
        <p:spPr bwMode="gray">
          <a:xfrm>
            <a:off x="9625995" y="2258455"/>
            <a:ext cx="1386063" cy="1136628"/>
          </a:xfrm>
          <a:prstGeom prst="accentBorderCallout1">
            <a:avLst>
              <a:gd name="adj1" fmla="val 14515"/>
              <a:gd name="adj2" fmla="val -5555"/>
              <a:gd name="adj3" fmla="val 57250"/>
              <a:gd name="adj4" fmla="val -60248"/>
            </a:avLst>
          </a:prstGeom>
          <a:solidFill>
            <a:schemeClr val="accent6">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As the outside of the pellet heats up, it compresses the inside to become plasma, </a:t>
            </a:r>
            <a:r>
              <a:rPr lang="en-US" sz="1100" b="1">
                <a:solidFill>
                  <a:schemeClr val="tx1"/>
                </a:solidFill>
              </a:rPr>
              <a:t>starting the fusion reaction.</a:t>
            </a:r>
          </a:p>
        </p:txBody>
      </p:sp>
      <p:sp>
        <p:nvSpPr>
          <p:cNvPr id="1159" name="TextBox 1158">
            <a:extLst>
              <a:ext uri="{FF2B5EF4-FFF2-40B4-BE49-F238E27FC236}">
                <a16:creationId xmlns:a16="http://schemas.microsoft.com/office/drawing/2014/main" id="{2E4826E0-51EE-0F4C-C5FC-F732BD35C6FC}"/>
              </a:ext>
            </a:extLst>
          </p:cNvPr>
          <p:cNvSpPr txBox="1"/>
          <p:nvPr/>
        </p:nvSpPr>
        <p:spPr bwMode="gray">
          <a:xfrm>
            <a:off x="6315635" y="3690049"/>
            <a:ext cx="4586401" cy="338554"/>
          </a:xfrm>
          <a:prstGeom prst="rect">
            <a:avLst/>
          </a:prstGeom>
          <a:noFill/>
        </p:spPr>
        <p:txBody>
          <a:bodyPr wrap="square" lIns="36576" tIns="0" rIns="0" bIns="0" rtlCol="0">
            <a:spAutoFit/>
          </a:bodyPr>
          <a:lstStyle/>
          <a:p>
            <a:pPr marL="171450" indent="-171450" algn="l">
              <a:spcAft>
                <a:spcPts val="600"/>
              </a:spcAft>
              <a:buFont typeface="Arial" panose="020B0604020202020204" pitchFamily="34" charset="0"/>
              <a:buChar char="•"/>
            </a:pPr>
            <a:r>
              <a:rPr lang="en-US" sz="1100"/>
              <a:t>Can theoretically </a:t>
            </a:r>
            <a:r>
              <a:rPr lang="en-US" sz="1100" b="1"/>
              <a:t>reach higher densities and temperatures,</a:t>
            </a:r>
            <a:r>
              <a:rPr lang="en-US" sz="1100"/>
              <a:t> leading to better gains from the reaction itself</a:t>
            </a:r>
          </a:p>
        </p:txBody>
      </p:sp>
      <p:sp>
        <p:nvSpPr>
          <p:cNvPr id="1160" name="TextBox 1159">
            <a:extLst>
              <a:ext uri="{FF2B5EF4-FFF2-40B4-BE49-F238E27FC236}">
                <a16:creationId xmlns:a16="http://schemas.microsoft.com/office/drawing/2014/main" id="{B094AFF5-114A-BF17-EBEF-0B9AAA71A4A3}"/>
              </a:ext>
            </a:extLst>
          </p:cNvPr>
          <p:cNvSpPr txBox="1"/>
          <p:nvPr/>
        </p:nvSpPr>
        <p:spPr bwMode="gray">
          <a:xfrm>
            <a:off x="6315635" y="4055809"/>
            <a:ext cx="4586401" cy="338554"/>
          </a:xfrm>
          <a:prstGeom prst="rect">
            <a:avLst/>
          </a:prstGeom>
          <a:noFill/>
        </p:spPr>
        <p:txBody>
          <a:bodyPr wrap="square" lIns="36576" tIns="0" rIns="0" bIns="0" rtlCol="0">
            <a:spAutoFit/>
          </a:bodyPr>
          <a:lstStyle/>
          <a:p>
            <a:pPr marL="171450" indent="-171450" algn="l">
              <a:spcAft>
                <a:spcPts val="600"/>
              </a:spcAft>
              <a:buFont typeface="Arial" panose="020B0604020202020204" pitchFamily="34" charset="0"/>
              <a:buChar char="•"/>
            </a:pPr>
            <a:r>
              <a:rPr lang="en-US" sz="1100"/>
              <a:t>Is easier to manufacture in components and operate for short periods of time, </a:t>
            </a:r>
            <a:r>
              <a:rPr lang="en-US" sz="1100" b="1"/>
              <a:t>improving the operational flexibility</a:t>
            </a:r>
          </a:p>
        </p:txBody>
      </p:sp>
      <p:sp>
        <p:nvSpPr>
          <p:cNvPr id="1161" name="TextBox 1160">
            <a:extLst>
              <a:ext uri="{FF2B5EF4-FFF2-40B4-BE49-F238E27FC236}">
                <a16:creationId xmlns:a16="http://schemas.microsoft.com/office/drawing/2014/main" id="{951868AF-D85C-184A-99A9-08C6E0D8F6A9}"/>
              </a:ext>
            </a:extLst>
          </p:cNvPr>
          <p:cNvSpPr txBox="1"/>
          <p:nvPr/>
        </p:nvSpPr>
        <p:spPr bwMode="gray">
          <a:xfrm>
            <a:off x="6315635" y="4558083"/>
            <a:ext cx="4586401" cy="338554"/>
          </a:xfrm>
          <a:prstGeom prst="rect">
            <a:avLst/>
          </a:prstGeom>
          <a:noFill/>
        </p:spPr>
        <p:txBody>
          <a:bodyPr wrap="square" lIns="36576" tIns="0" rIns="0" bIns="0" rtlCol="0">
            <a:spAutoFit/>
          </a:bodyPr>
          <a:lstStyle/>
          <a:p>
            <a:pPr marL="171450" indent="-171450" algn="l">
              <a:spcAft>
                <a:spcPts val="600"/>
              </a:spcAft>
              <a:buFont typeface="Arial" panose="020B0604020202020204" pitchFamily="34" charset="0"/>
              <a:buChar char="•"/>
            </a:pPr>
            <a:r>
              <a:rPr lang="en-US" sz="1100" b="1"/>
              <a:t>Requires extreme precision from the lasers</a:t>
            </a:r>
            <a:r>
              <a:rPr lang="en-US" sz="1100"/>
              <a:t> to fire on the tip of a pencil within a billionth of a second</a:t>
            </a:r>
          </a:p>
        </p:txBody>
      </p:sp>
      <p:sp>
        <p:nvSpPr>
          <p:cNvPr id="1162" name="TextBox 1161">
            <a:extLst>
              <a:ext uri="{FF2B5EF4-FFF2-40B4-BE49-F238E27FC236}">
                <a16:creationId xmlns:a16="http://schemas.microsoft.com/office/drawing/2014/main" id="{D2DBBBEE-E86F-79A2-06BE-F5C7D473B112}"/>
              </a:ext>
            </a:extLst>
          </p:cNvPr>
          <p:cNvSpPr txBox="1"/>
          <p:nvPr/>
        </p:nvSpPr>
        <p:spPr bwMode="gray">
          <a:xfrm>
            <a:off x="6315635" y="4923843"/>
            <a:ext cx="4586401" cy="338554"/>
          </a:xfrm>
          <a:prstGeom prst="rect">
            <a:avLst/>
          </a:prstGeom>
          <a:noFill/>
        </p:spPr>
        <p:txBody>
          <a:bodyPr wrap="square" lIns="36576" tIns="0" rIns="0" bIns="0" rtlCol="0">
            <a:spAutoFit/>
          </a:bodyPr>
          <a:lstStyle/>
          <a:p>
            <a:pPr marL="171450" indent="-171450" algn="l">
              <a:spcAft>
                <a:spcPts val="600"/>
              </a:spcAft>
              <a:buFont typeface="Arial" panose="020B0604020202020204" pitchFamily="34" charset="0"/>
              <a:buChar char="•"/>
            </a:pPr>
            <a:r>
              <a:rPr lang="en-US" sz="1100" b="1"/>
              <a:t>Low efficiencies</a:t>
            </a:r>
            <a:r>
              <a:rPr lang="en-US" sz="1100"/>
              <a:t> in the laser (&lt;1% today) and the cavity X-ray conversion (&lt;50%) need to be overcome to get an overall net gain</a:t>
            </a:r>
          </a:p>
        </p:txBody>
      </p:sp>
      <p:grpSp>
        <p:nvGrpSpPr>
          <p:cNvPr id="1137" name="Group 1136">
            <a:extLst>
              <a:ext uri="{FF2B5EF4-FFF2-40B4-BE49-F238E27FC236}">
                <a16:creationId xmlns:a16="http://schemas.microsoft.com/office/drawing/2014/main" id="{F7C55317-27FC-E62D-679F-1A8C035D602E}"/>
              </a:ext>
            </a:extLst>
          </p:cNvPr>
          <p:cNvGrpSpPr/>
          <p:nvPr/>
        </p:nvGrpSpPr>
        <p:grpSpPr>
          <a:xfrm>
            <a:off x="6273446" y="3678837"/>
            <a:ext cx="182880" cy="182563"/>
            <a:chOff x="6096000" y="3810578"/>
            <a:chExt cx="182880" cy="182563"/>
          </a:xfrm>
        </p:grpSpPr>
        <p:sp>
          <p:nvSpPr>
            <p:cNvPr id="1133" name="Oval 1132">
              <a:extLst>
                <a:ext uri="{FF2B5EF4-FFF2-40B4-BE49-F238E27FC236}">
                  <a16:creationId xmlns:a16="http://schemas.microsoft.com/office/drawing/2014/main" id="{0B0332B2-6F6C-BF4A-2D7A-42E984CF33BF}"/>
                </a:ext>
              </a:extLst>
            </p:cNvPr>
            <p:cNvSpPr/>
            <p:nvPr/>
          </p:nvSpPr>
          <p:spPr bwMode="gray">
            <a:xfrm>
              <a:off x="6096000" y="3810578"/>
              <a:ext cx="182880" cy="182563"/>
            </a:xfrm>
            <a:prstGeom prst="ellipse">
              <a:avLst/>
            </a:prstGeom>
            <a:solidFill>
              <a:srgbClr val="D2F1EE"/>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134" name="Graphic 1133" descr="Add with solid fill">
              <a:extLst>
                <a:ext uri="{FF2B5EF4-FFF2-40B4-BE49-F238E27FC236}">
                  <a16:creationId xmlns:a16="http://schemas.microsoft.com/office/drawing/2014/main" id="{1442EF5A-A59B-0820-B20E-783DC85252FD}"/>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6119480" y="3834017"/>
              <a:ext cx="135920" cy="135684"/>
            </a:xfrm>
            <a:prstGeom prst="rect">
              <a:avLst/>
            </a:prstGeom>
          </p:spPr>
        </p:pic>
      </p:grpSp>
      <p:grpSp>
        <p:nvGrpSpPr>
          <p:cNvPr id="1163" name="Group 1162">
            <a:extLst>
              <a:ext uri="{FF2B5EF4-FFF2-40B4-BE49-F238E27FC236}">
                <a16:creationId xmlns:a16="http://schemas.microsoft.com/office/drawing/2014/main" id="{C8DD85A1-BD63-9CB8-D44B-FF4174E4D551}"/>
              </a:ext>
            </a:extLst>
          </p:cNvPr>
          <p:cNvGrpSpPr/>
          <p:nvPr/>
        </p:nvGrpSpPr>
        <p:grpSpPr>
          <a:xfrm>
            <a:off x="6273446" y="4049426"/>
            <a:ext cx="182880" cy="182563"/>
            <a:chOff x="6096000" y="3810578"/>
            <a:chExt cx="182880" cy="182563"/>
          </a:xfrm>
        </p:grpSpPr>
        <p:sp>
          <p:nvSpPr>
            <p:cNvPr id="1164" name="Oval 1163">
              <a:extLst>
                <a:ext uri="{FF2B5EF4-FFF2-40B4-BE49-F238E27FC236}">
                  <a16:creationId xmlns:a16="http://schemas.microsoft.com/office/drawing/2014/main" id="{0646AED8-63A9-41D6-3722-E09281113215}"/>
                </a:ext>
              </a:extLst>
            </p:cNvPr>
            <p:cNvSpPr/>
            <p:nvPr/>
          </p:nvSpPr>
          <p:spPr bwMode="gray">
            <a:xfrm>
              <a:off x="6096000" y="3810578"/>
              <a:ext cx="182880" cy="182563"/>
            </a:xfrm>
            <a:prstGeom prst="ellipse">
              <a:avLst/>
            </a:prstGeom>
            <a:solidFill>
              <a:srgbClr val="D2F1EE"/>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165" name="Graphic 1164" descr="Add with solid fill">
              <a:extLst>
                <a:ext uri="{FF2B5EF4-FFF2-40B4-BE49-F238E27FC236}">
                  <a16:creationId xmlns:a16="http://schemas.microsoft.com/office/drawing/2014/main" id="{037ADBAA-1BBF-1B14-08C6-EBBBBC0FFB2E}"/>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6119480" y="3834017"/>
              <a:ext cx="135920" cy="135684"/>
            </a:xfrm>
            <a:prstGeom prst="rect">
              <a:avLst/>
            </a:prstGeom>
          </p:spPr>
        </p:pic>
      </p:grpSp>
      <p:grpSp>
        <p:nvGrpSpPr>
          <p:cNvPr id="1138" name="Group 1137">
            <a:extLst>
              <a:ext uri="{FF2B5EF4-FFF2-40B4-BE49-F238E27FC236}">
                <a16:creationId xmlns:a16="http://schemas.microsoft.com/office/drawing/2014/main" id="{58B666BB-140C-DEA0-CD6B-20E506245EA0}"/>
              </a:ext>
            </a:extLst>
          </p:cNvPr>
          <p:cNvGrpSpPr/>
          <p:nvPr/>
        </p:nvGrpSpPr>
        <p:grpSpPr>
          <a:xfrm>
            <a:off x="6273446" y="4545140"/>
            <a:ext cx="182880" cy="182563"/>
            <a:chOff x="6096000" y="4455103"/>
            <a:chExt cx="182880" cy="182563"/>
          </a:xfrm>
        </p:grpSpPr>
        <p:sp>
          <p:nvSpPr>
            <p:cNvPr id="1135" name="Oval 1134">
              <a:extLst>
                <a:ext uri="{FF2B5EF4-FFF2-40B4-BE49-F238E27FC236}">
                  <a16:creationId xmlns:a16="http://schemas.microsoft.com/office/drawing/2014/main" id="{D4519851-AADA-7A76-26CF-071A6F69231A}"/>
                </a:ext>
              </a:extLst>
            </p:cNvPr>
            <p:cNvSpPr/>
            <p:nvPr/>
          </p:nvSpPr>
          <p:spPr bwMode="gray">
            <a:xfrm>
              <a:off x="6096000" y="4455103"/>
              <a:ext cx="182880" cy="182563"/>
            </a:xfrm>
            <a:prstGeom prst="ellipse">
              <a:avLst/>
            </a:prstGeom>
            <a:solidFill>
              <a:srgbClr val="D2F1EE"/>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36" name="Straight Connector 1135">
              <a:extLst>
                <a:ext uri="{FF2B5EF4-FFF2-40B4-BE49-F238E27FC236}">
                  <a16:creationId xmlns:a16="http://schemas.microsoft.com/office/drawing/2014/main" id="{92D11504-E25E-481B-1438-C8803F532C95}"/>
                </a:ext>
              </a:extLst>
            </p:cNvPr>
            <p:cNvCxnSpPr>
              <a:cxnSpLocks/>
            </p:cNvCxnSpPr>
            <p:nvPr/>
          </p:nvCxnSpPr>
          <p:spPr bwMode="gray">
            <a:xfrm flipH="1">
              <a:off x="6132792" y="4546385"/>
              <a:ext cx="109295" cy="0"/>
            </a:xfrm>
            <a:prstGeom prst="line">
              <a:avLst/>
            </a:prstGeom>
            <a:ln w="19050" cap="flat">
              <a:solidFill>
                <a:srgbClr val="FF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66" name="Group 1165">
            <a:extLst>
              <a:ext uri="{FF2B5EF4-FFF2-40B4-BE49-F238E27FC236}">
                <a16:creationId xmlns:a16="http://schemas.microsoft.com/office/drawing/2014/main" id="{6AC73EDD-4F22-5934-71FD-6B62FFF267A2}"/>
              </a:ext>
            </a:extLst>
          </p:cNvPr>
          <p:cNvGrpSpPr/>
          <p:nvPr/>
        </p:nvGrpSpPr>
        <p:grpSpPr>
          <a:xfrm>
            <a:off x="6273446" y="4915730"/>
            <a:ext cx="182880" cy="182563"/>
            <a:chOff x="6096000" y="4455103"/>
            <a:chExt cx="182880" cy="182563"/>
          </a:xfrm>
        </p:grpSpPr>
        <p:sp>
          <p:nvSpPr>
            <p:cNvPr id="1167" name="Oval 1166">
              <a:extLst>
                <a:ext uri="{FF2B5EF4-FFF2-40B4-BE49-F238E27FC236}">
                  <a16:creationId xmlns:a16="http://schemas.microsoft.com/office/drawing/2014/main" id="{6C6F84DC-F666-1779-0C81-3E87DB510B66}"/>
                </a:ext>
              </a:extLst>
            </p:cNvPr>
            <p:cNvSpPr/>
            <p:nvPr/>
          </p:nvSpPr>
          <p:spPr bwMode="gray">
            <a:xfrm>
              <a:off x="6096000" y="4455103"/>
              <a:ext cx="182880" cy="182563"/>
            </a:xfrm>
            <a:prstGeom prst="ellipse">
              <a:avLst/>
            </a:prstGeom>
            <a:solidFill>
              <a:srgbClr val="D2F1EE"/>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68" name="Straight Connector 1167">
              <a:extLst>
                <a:ext uri="{FF2B5EF4-FFF2-40B4-BE49-F238E27FC236}">
                  <a16:creationId xmlns:a16="http://schemas.microsoft.com/office/drawing/2014/main" id="{1E0E96E0-4295-5D3B-6DE5-A7ECE25F1331}"/>
                </a:ext>
              </a:extLst>
            </p:cNvPr>
            <p:cNvCxnSpPr>
              <a:cxnSpLocks/>
            </p:cNvCxnSpPr>
            <p:nvPr/>
          </p:nvCxnSpPr>
          <p:spPr bwMode="gray">
            <a:xfrm flipH="1">
              <a:off x="6132792" y="4546385"/>
              <a:ext cx="109295" cy="0"/>
            </a:xfrm>
            <a:prstGeom prst="line">
              <a:avLst/>
            </a:prstGeom>
            <a:ln w="19050" cap="flat">
              <a:solidFill>
                <a:srgbClr val="FF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169" name="TextBox 1168">
            <a:extLst>
              <a:ext uri="{FF2B5EF4-FFF2-40B4-BE49-F238E27FC236}">
                <a16:creationId xmlns:a16="http://schemas.microsoft.com/office/drawing/2014/main" id="{8E04F3BA-ACD2-B6D8-10E6-DDC6D1B3166A}"/>
              </a:ext>
            </a:extLst>
          </p:cNvPr>
          <p:cNvSpPr txBox="1"/>
          <p:nvPr/>
        </p:nvSpPr>
        <p:spPr bwMode="gray">
          <a:xfrm>
            <a:off x="6840982" y="5564825"/>
            <a:ext cx="3842926" cy="507831"/>
          </a:xfrm>
          <a:prstGeom prst="rect">
            <a:avLst/>
          </a:prstGeom>
          <a:noFill/>
        </p:spPr>
        <p:txBody>
          <a:bodyPr wrap="square" lIns="36576" tIns="0" rIns="0" bIns="0" rtlCol="0">
            <a:spAutoFit/>
          </a:bodyPr>
          <a:lstStyle/>
          <a:p>
            <a:pPr algn="l">
              <a:spcAft>
                <a:spcPts val="600"/>
              </a:spcAft>
            </a:pPr>
            <a:r>
              <a:rPr lang="en-US" sz="1100" b="1"/>
              <a:t>The Nation Ignition Facility in California</a:t>
            </a:r>
            <a:r>
              <a:rPr lang="en-US" sz="1100"/>
              <a:t> was able to achieve a net gain (3.2 MJ from 2.1 MJ laser energy) for the first time in 2022 using ICF.</a:t>
            </a:r>
            <a:endParaRPr lang="en-US" sz="1100" b="1"/>
          </a:p>
        </p:txBody>
      </p:sp>
      <p:pic>
        <p:nvPicPr>
          <p:cNvPr id="1171" name="Picture 12" descr="LLNL Logo">
            <a:extLst>
              <a:ext uri="{FF2B5EF4-FFF2-40B4-BE49-F238E27FC236}">
                <a16:creationId xmlns:a16="http://schemas.microsoft.com/office/drawing/2014/main" id="{DD759966-49AE-E183-ED86-32CD54860280}"/>
              </a:ext>
            </a:extLst>
          </p:cNvPr>
          <p:cNvPicPr>
            <a:picLocks noChangeAspect="1"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6163375" y="5567679"/>
            <a:ext cx="557822" cy="543877"/>
          </a:xfrm>
          <a:prstGeom prst="rect">
            <a:avLst/>
          </a:prstGeom>
          <a:solidFill>
            <a:srgbClr val="0032A0"/>
          </a:solidFill>
        </p:spPr>
      </p:pic>
      <p:cxnSp>
        <p:nvCxnSpPr>
          <p:cNvPr id="1175" name="Straight Connector 1174">
            <a:extLst>
              <a:ext uri="{FF2B5EF4-FFF2-40B4-BE49-F238E27FC236}">
                <a16:creationId xmlns:a16="http://schemas.microsoft.com/office/drawing/2014/main" id="{211B1034-B8D0-EEE2-BFA1-F30A85294AB4}"/>
              </a:ext>
            </a:extLst>
          </p:cNvPr>
          <p:cNvCxnSpPr/>
          <p:nvPr/>
        </p:nvCxnSpPr>
        <p:spPr bwMode="gray">
          <a:xfrm>
            <a:off x="943794" y="3505191"/>
            <a:ext cx="467736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76" name="Straight Connector 1175">
            <a:extLst>
              <a:ext uri="{FF2B5EF4-FFF2-40B4-BE49-F238E27FC236}">
                <a16:creationId xmlns:a16="http://schemas.microsoft.com/office/drawing/2014/main" id="{5D5FB3EB-878F-86D5-1C1F-01935436839C}"/>
              </a:ext>
            </a:extLst>
          </p:cNvPr>
          <p:cNvCxnSpPr/>
          <p:nvPr/>
        </p:nvCxnSpPr>
        <p:spPr bwMode="gray">
          <a:xfrm>
            <a:off x="943794" y="5401367"/>
            <a:ext cx="467736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77" name="Straight Connector 1176">
            <a:extLst>
              <a:ext uri="{FF2B5EF4-FFF2-40B4-BE49-F238E27FC236}">
                <a16:creationId xmlns:a16="http://schemas.microsoft.com/office/drawing/2014/main" id="{3CBDF1A7-64C7-9F98-4A03-84B06D9AF3A7}"/>
              </a:ext>
            </a:extLst>
          </p:cNvPr>
          <p:cNvCxnSpPr/>
          <p:nvPr/>
        </p:nvCxnSpPr>
        <p:spPr bwMode="gray">
          <a:xfrm>
            <a:off x="6224676" y="3505191"/>
            <a:ext cx="467736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78" name="Straight Connector 1177">
            <a:extLst>
              <a:ext uri="{FF2B5EF4-FFF2-40B4-BE49-F238E27FC236}">
                <a16:creationId xmlns:a16="http://schemas.microsoft.com/office/drawing/2014/main" id="{D20BFB09-E344-5ACC-F323-4AC32F422DA4}"/>
              </a:ext>
            </a:extLst>
          </p:cNvPr>
          <p:cNvCxnSpPr/>
          <p:nvPr/>
        </p:nvCxnSpPr>
        <p:spPr bwMode="gray">
          <a:xfrm>
            <a:off x="6224676" y="5401367"/>
            <a:ext cx="467736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128" name="Group 1127">
            <a:extLst>
              <a:ext uri="{FF2B5EF4-FFF2-40B4-BE49-F238E27FC236}">
                <a16:creationId xmlns:a16="http://schemas.microsoft.com/office/drawing/2014/main" id="{65EC952E-E69F-2E32-F952-A74158596B9B}"/>
              </a:ext>
            </a:extLst>
          </p:cNvPr>
          <p:cNvGrpSpPr/>
          <p:nvPr/>
        </p:nvGrpSpPr>
        <p:grpSpPr>
          <a:xfrm>
            <a:off x="943794" y="3678837"/>
            <a:ext cx="182880" cy="184150"/>
            <a:chOff x="943794" y="3582817"/>
            <a:chExt cx="182880" cy="184150"/>
          </a:xfrm>
        </p:grpSpPr>
        <p:sp>
          <p:nvSpPr>
            <p:cNvPr id="1117" name="Oval 1116">
              <a:extLst>
                <a:ext uri="{FF2B5EF4-FFF2-40B4-BE49-F238E27FC236}">
                  <a16:creationId xmlns:a16="http://schemas.microsoft.com/office/drawing/2014/main" id="{E1C66232-61B5-A18C-FDA6-4F3041F9685C}"/>
                </a:ext>
              </a:extLst>
            </p:cNvPr>
            <p:cNvSpPr/>
            <p:nvPr/>
          </p:nvSpPr>
          <p:spPr bwMode="gray">
            <a:xfrm>
              <a:off x="943794" y="3582817"/>
              <a:ext cx="182880" cy="184150"/>
            </a:xfrm>
            <a:prstGeom prst="ellipse">
              <a:avLst/>
            </a:prstGeom>
            <a:solidFill>
              <a:srgbClr val="E6DEF4"/>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118" name="Graphic 1117" descr="Add with solid fill">
              <a:extLst>
                <a:ext uri="{FF2B5EF4-FFF2-40B4-BE49-F238E27FC236}">
                  <a16:creationId xmlns:a16="http://schemas.microsoft.com/office/drawing/2014/main" id="{09E87C09-F6C1-CA41-C61B-C033B89A02C3}"/>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967274" y="3606460"/>
              <a:ext cx="135920" cy="136864"/>
            </a:xfrm>
            <a:prstGeom prst="rect">
              <a:avLst/>
            </a:prstGeom>
          </p:spPr>
        </p:pic>
      </p:grpSp>
      <p:grpSp>
        <p:nvGrpSpPr>
          <p:cNvPr id="1151" name="Group 1150">
            <a:extLst>
              <a:ext uri="{FF2B5EF4-FFF2-40B4-BE49-F238E27FC236}">
                <a16:creationId xmlns:a16="http://schemas.microsoft.com/office/drawing/2014/main" id="{061CD212-AE24-6F7B-A33A-3A15BBE6D3C0}"/>
              </a:ext>
            </a:extLst>
          </p:cNvPr>
          <p:cNvGrpSpPr/>
          <p:nvPr/>
        </p:nvGrpSpPr>
        <p:grpSpPr>
          <a:xfrm>
            <a:off x="943794" y="4050484"/>
            <a:ext cx="182880" cy="182563"/>
            <a:chOff x="943794" y="3847929"/>
            <a:chExt cx="182880" cy="182563"/>
          </a:xfrm>
        </p:grpSpPr>
        <p:sp>
          <p:nvSpPr>
            <p:cNvPr id="1120" name="Oval 1119">
              <a:extLst>
                <a:ext uri="{FF2B5EF4-FFF2-40B4-BE49-F238E27FC236}">
                  <a16:creationId xmlns:a16="http://schemas.microsoft.com/office/drawing/2014/main" id="{40717144-90AF-CDBE-855E-5473FC59A919}"/>
                </a:ext>
              </a:extLst>
            </p:cNvPr>
            <p:cNvSpPr/>
            <p:nvPr/>
          </p:nvSpPr>
          <p:spPr bwMode="gray">
            <a:xfrm>
              <a:off x="943794" y="3847929"/>
              <a:ext cx="182880" cy="182563"/>
            </a:xfrm>
            <a:prstGeom prst="ellipse">
              <a:avLst/>
            </a:prstGeom>
            <a:solidFill>
              <a:srgbClr val="E6DEF4"/>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121" name="Graphic 1120" descr="Add with solid fill">
              <a:extLst>
                <a:ext uri="{FF2B5EF4-FFF2-40B4-BE49-F238E27FC236}">
                  <a16:creationId xmlns:a16="http://schemas.microsoft.com/office/drawing/2014/main" id="{E540D3E6-5CF3-0060-F648-2EA1AEFA42A7}"/>
                </a:ext>
              </a:extLst>
            </p:cNvPr>
            <p:cNvPicPr>
              <a:picLocks noChangeAspect="1"/>
            </p:cNvPicPr>
            <p:nvPr/>
          </p:nvPicPr>
          <p:blipFill>
            <a:blip>
              <a:extLst>
                <a:ext uri="{96DAC541-7B7A-43D3-8B79-37D633B846F1}">
                  <asvg:svgBlip xmlns:asvg="http://schemas.microsoft.com/office/drawing/2016/SVG/main" r:embed="rId17"/>
                </a:ext>
              </a:extLst>
            </a:blip>
            <a:stretch>
              <a:fillRect/>
            </a:stretch>
          </p:blipFill>
          <p:spPr>
            <a:xfrm>
              <a:off x="967274" y="3871368"/>
              <a:ext cx="135920" cy="135684"/>
            </a:xfrm>
            <a:prstGeom prst="rect">
              <a:avLst/>
            </a:prstGeom>
          </p:spPr>
        </p:pic>
      </p:grpSp>
      <p:grpSp>
        <p:nvGrpSpPr>
          <p:cNvPr id="1152" name="Group 1151">
            <a:extLst>
              <a:ext uri="{FF2B5EF4-FFF2-40B4-BE49-F238E27FC236}">
                <a16:creationId xmlns:a16="http://schemas.microsoft.com/office/drawing/2014/main" id="{696F6090-D257-D32C-459A-85BE100478FF}"/>
              </a:ext>
            </a:extLst>
          </p:cNvPr>
          <p:cNvGrpSpPr/>
          <p:nvPr/>
        </p:nvGrpSpPr>
        <p:grpSpPr>
          <a:xfrm>
            <a:off x="943794" y="4545669"/>
            <a:ext cx="182880" cy="182563"/>
            <a:chOff x="943794" y="4492454"/>
            <a:chExt cx="182880" cy="182563"/>
          </a:xfrm>
        </p:grpSpPr>
        <p:sp>
          <p:nvSpPr>
            <p:cNvPr id="1126" name="Oval 1125">
              <a:extLst>
                <a:ext uri="{FF2B5EF4-FFF2-40B4-BE49-F238E27FC236}">
                  <a16:creationId xmlns:a16="http://schemas.microsoft.com/office/drawing/2014/main" id="{365B8AF0-C817-263A-95B5-8AB87B880083}"/>
                </a:ext>
              </a:extLst>
            </p:cNvPr>
            <p:cNvSpPr/>
            <p:nvPr/>
          </p:nvSpPr>
          <p:spPr bwMode="gray">
            <a:xfrm>
              <a:off x="943794" y="4492454"/>
              <a:ext cx="182880" cy="182563"/>
            </a:xfrm>
            <a:prstGeom prst="ellipse">
              <a:avLst/>
            </a:prstGeom>
            <a:solidFill>
              <a:srgbClr val="E6DEF4"/>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27" name="Straight Connector 1126">
              <a:extLst>
                <a:ext uri="{FF2B5EF4-FFF2-40B4-BE49-F238E27FC236}">
                  <a16:creationId xmlns:a16="http://schemas.microsoft.com/office/drawing/2014/main" id="{5859005E-2746-B818-BE81-EFE6A33910BF}"/>
                </a:ext>
              </a:extLst>
            </p:cNvPr>
            <p:cNvCxnSpPr>
              <a:cxnSpLocks/>
            </p:cNvCxnSpPr>
            <p:nvPr/>
          </p:nvCxnSpPr>
          <p:spPr bwMode="gray">
            <a:xfrm flipH="1">
              <a:off x="980586" y="4583736"/>
              <a:ext cx="109295" cy="0"/>
            </a:xfrm>
            <a:prstGeom prst="line">
              <a:avLst/>
            </a:prstGeom>
            <a:ln w="19050" cap="flat">
              <a:solidFill>
                <a:srgbClr val="FF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0651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867AC-E06D-F21F-10AE-9007E5A60D17}"/>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7E7FFED-A2D3-D535-7A30-046DB7967F74}"/>
              </a:ext>
            </a:extLst>
          </p:cNvPr>
          <p:cNvGraphicFramePr>
            <a:graphicFrameLocks noChangeAspect="1"/>
          </p:cNvGraphicFramePr>
          <p:nvPr>
            <p:custDataLst>
              <p:tags r:id="rId2"/>
            </p:custDataLst>
            <p:extLst>
              <p:ext uri="{D42A27DB-BD31-4B8C-83A1-F6EECF244321}">
                <p14:modId xmlns:p14="http://schemas.microsoft.com/office/powerpoint/2010/main" val="1291999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3" imgW="484" imgH="486" progId="TCLayout.ActiveDocument.1">
                  <p:embed/>
                </p:oleObj>
              </mc:Choice>
              <mc:Fallback>
                <p:oleObj name="think-cell Slide" r:id="rId63" imgW="484" imgH="486" progId="TCLayout.ActiveDocument.1">
                  <p:embed/>
                  <p:pic>
                    <p:nvPicPr>
                      <p:cNvPr id="9" name="think-cell data - do not delete" hidden="1">
                        <a:extLst>
                          <a:ext uri="{FF2B5EF4-FFF2-40B4-BE49-F238E27FC236}">
                            <a16:creationId xmlns:a16="http://schemas.microsoft.com/office/drawing/2014/main" id="{77E7FFED-A2D3-D535-7A30-046DB7967F74}"/>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9CC9A78F-C90D-49C1-DA34-6C258A7D48C6}"/>
              </a:ext>
            </a:extLst>
          </p:cNvPr>
          <p:cNvGrpSpPr/>
          <p:nvPr/>
        </p:nvGrpSpPr>
        <p:grpSpPr>
          <a:xfrm>
            <a:off x="314958" y="1468765"/>
            <a:ext cx="4613658" cy="503663"/>
            <a:chOff x="435868" y="1552779"/>
            <a:chExt cx="4408944" cy="503663"/>
          </a:xfrm>
        </p:grpSpPr>
        <p:sp>
          <p:nvSpPr>
            <p:cNvPr id="10" name="btfpColumnHeaderBoxText223027">
              <a:extLst>
                <a:ext uri="{FF2B5EF4-FFF2-40B4-BE49-F238E27FC236}">
                  <a16:creationId xmlns:a16="http://schemas.microsoft.com/office/drawing/2014/main" id="{7561ABE9-A0EB-6945-CDC7-668827352762}"/>
                </a:ext>
              </a:extLst>
            </p:cNvPr>
            <p:cNvSpPr txBox="1"/>
            <p:nvPr/>
          </p:nvSpPr>
          <p:spPr bwMode="gray">
            <a:xfrm>
              <a:off x="450614" y="1552779"/>
              <a:ext cx="4394198" cy="503663"/>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r>
                <a:rPr lang="en-US" sz="1400" b="1">
                  <a:solidFill>
                    <a:srgbClr val="000000"/>
                  </a:solidFill>
                </a:rPr>
                <a:t>Direct deaths vs. newspaper coverage 30 days post deadliest power plant accidents,</a:t>
              </a:r>
              <a:r>
                <a:rPr lang="en-US" sz="1400" b="1" baseline="30000">
                  <a:solidFill>
                    <a:srgbClr val="000000"/>
                  </a:solidFill>
                </a:rPr>
                <a:t>1</a:t>
              </a:r>
              <a:r>
                <a:rPr lang="en-US" sz="1400" b="1">
                  <a:solidFill>
                    <a:srgbClr val="000000"/>
                  </a:solidFill>
                </a:rPr>
                <a:t> </a:t>
              </a:r>
              <a:r>
                <a:rPr lang="en-US" sz="1400">
                  <a:solidFill>
                    <a:srgbClr val="000000"/>
                  </a:solidFill>
                </a:rPr>
                <a:t>1980-2018</a:t>
              </a:r>
            </a:p>
          </p:txBody>
        </p:sp>
        <p:cxnSp>
          <p:nvCxnSpPr>
            <p:cNvPr id="11" name="btfpColumnHeaderBoxLine223027">
              <a:extLst>
                <a:ext uri="{FF2B5EF4-FFF2-40B4-BE49-F238E27FC236}">
                  <a16:creationId xmlns:a16="http://schemas.microsoft.com/office/drawing/2014/main" id="{EC5CF5CE-C8B9-A479-3066-8F4C1741FC9A}"/>
                </a:ext>
              </a:extLst>
            </p:cNvPr>
            <p:cNvCxnSpPr>
              <a:cxnSpLocks/>
            </p:cNvCxnSpPr>
            <p:nvPr/>
          </p:nvCxnSpPr>
          <p:spPr bwMode="gray">
            <a:xfrm>
              <a:off x="435868" y="2029113"/>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77A26134-DE38-AC15-81BD-DE7579DCEDB3}"/>
              </a:ext>
            </a:extLst>
          </p:cNvPr>
          <p:cNvSpPr>
            <a:spLocks noGrp="1"/>
          </p:cNvSpPr>
          <p:nvPr>
            <p:ph type="title"/>
          </p:nvPr>
        </p:nvSpPr>
        <p:spPr>
          <a:xfrm>
            <a:off x="330199" y="523318"/>
            <a:ext cx="11684591" cy="954962"/>
          </a:xfrm>
        </p:spPr>
        <p:txBody>
          <a:bodyPr vert="horz">
            <a:noAutofit/>
          </a:bodyPr>
          <a:lstStyle/>
          <a:p>
            <a:r>
              <a:rPr lang="en-US"/>
              <a:t>Disproportionate media coverage of nuclear accidents influences public opinion and policy at the expense of nuclear deployment</a:t>
            </a:r>
          </a:p>
        </p:txBody>
      </p:sp>
      <p:sp>
        <p:nvSpPr>
          <p:cNvPr id="4" name="btfpNotesBox801066">
            <a:extLst>
              <a:ext uri="{FF2B5EF4-FFF2-40B4-BE49-F238E27FC236}">
                <a16:creationId xmlns:a16="http://schemas.microsoft.com/office/drawing/2014/main" id="{61B9A126-6F8C-F9B5-7FA2-ECC8D098EC84}"/>
              </a:ext>
            </a:extLst>
          </p:cNvPr>
          <p:cNvSpPr txBox="1"/>
          <p:nvPr>
            <p:custDataLst>
              <p:tags r:id="rId3"/>
            </p:custDataLst>
          </p:nvPr>
        </p:nvSpPr>
        <p:spPr bwMode="gray">
          <a:xfrm>
            <a:off x="330199" y="5950859"/>
            <a:ext cx="9246054" cy="861774"/>
          </a:xfrm>
          <a:prstGeom prst="rect">
            <a:avLst/>
          </a:prstGeom>
          <a:noFill/>
        </p:spPr>
        <p:txBody>
          <a:bodyPr vert="horz" wrap="square" lIns="0" tIns="0" rIns="0" bIns="0" rtlCol="0" anchor="b">
            <a:spAutoFit/>
          </a:bodyPr>
          <a:lstStyle/>
          <a:p>
            <a:pPr lvl="0" defTabSz="711200">
              <a:defRPr/>
            </a:pPr>
            <a:r>
              <a:rPr lang="en-US" sz="800" baseline="30000" dirty="0">
                <a:solidFill>
                  <a:srgbClr val="000000"/>
                </a:solidFill>
              </a:rPr>
              <a:t>1 </a:t>
            </a:r>
            <a:r>
              <a:rPr lang="en-US" sz="800" dirty="0">
                <a:solidFill>
                  <a:srgbClr val="000000"/>
                </a:solidFill>
              </a:rPr>
              <a:t>Includes only direct deaths. </a:t>
            </a:r>
            <a:r>
              <a:rPr lang="en-US" sz="800" baseline="30000" dirty="0">
                <a:solidFill>
                  <a:srgbClr val="000000"/>
                </a:solidFill>
              </a:rPr>
              <a:t>2  </a:t>
            </a:r>
            <a:r>
              <a:rPr lang="en-US" sz="800" dirty="0">
                <a:solidFill>
                  <a:srgbClr val="000000"/>
                </a:solidFill>
              </a:rPr>
              <a:t>&gt;2,300 disaster-related deaths from post-evacuation stress, in addition to ~19,500 who died in earthquake and tsunami. </a:t>
            </a:r>
            <a:r>
              <a:rPr lang="en-US" sz="800" baseline="30000" dirty="0">
                <a:solidFill>
                  <a:srgbClr val="000000"/>
                </a:solidFill>
              </a:rPr>
              <a:t>3</a:t>
            </a:r>
            <a:r>
              <a:rPr lang="en-US" sz="800" dirty="0">
                <a:solidFill>
                  <a:srgbClr val="000000"/>
                </a:solidFill>
              </a:rPr>
              <a:t> Controversy exists regarding total deaths from Chernobyl; an additional 19 non-direct radiation exposure deaths occurred between 1984 and 2004.</a:t>
            </a:r>
            <a:endParaRPr lang="en-US" sz="800" baseline="30000" dirty="0">
              <a:solidFill>
                <a:srgbClr val="000000"/>
              </a:solidFill>
            </a:endParaRPr>
          </a:p>
          <a:p>
            <a:pPr defTabSz="711200">
              <a:defRPr/>
            </a:pPr>
            <a:r>
              <a:rPr lang="en-US" sz="800" dirty="0">
                <a:solidFill>
                  <a:srgbClr val="000000"/>
                </a:solidFill>
              </a:rPr>
              <a:t>Sources: WNA, </a:t>
            </a:r>
            <a:r>
              <a:rPr lang="en-US" sz="800" dirty="0">
                <a:solidFill>
                  <a:srgbClr val="000000"/>
                </a:solidFill>
                <a:hlinkClick r:id="rId65"/>
              </a:rPr>
              <a:t>World Nuclear Performance Report</a:t>
            </a:r>
            <a:r>
              <a:rPr lang="en-US" sz="800" dirty="0">
                <a:solidFill>
                  <a:srgbClr val="000000"/>
                </a:solidFill>
              </a:rPr>
              <a:t> (2024); WNA, </a:t>
            </a:r>
            <a:r>
              <a:rPr lang="en-US" sz="800" dirty="0">
                <a:solidFill>
                  <a:srgbClr val="000000"/>
                </a:solidFill>
                <a:hlinkClick r:id="rId66"/>
              </a:rPr>
              <a:t>Chernobyl Accident 1986 </a:t>
            </a:r>
            <a:r>
              <a:rPr lang="en-US" sz="800" dirty="0">
                <a:solidFill>
                  <a:srgbClr val="000000"/>
                </a:solidFill>
              </a:rPr>
              <a:t>(2025); WNA, </a:t>
            </a:r>
            <a:r>
              <a:rPr lang="en-US" sz="800" dirty="0">
                <a:solidFill>
                  <a:srgbClr val="000000"/>
                </a:solidFill>
                <a:hlinkClick r:id="rId67"/>
              </a:rPr>
              <a:t>Fukushima Daiichi Accident </a:t>
            </a:r>
            <a:r>
              <a:rPr lang="en-US" sz="800" dirty="0">
                <a:solidFill>
                  <a:srgbClr val="000000"/>
                </a:solidFill>
              </a:rPr>
              <a:t>(2024); IEA, </a:t>
            </a:r>
            <a:r>
              <a:rPr lang="en-US" sz="800" dirty="0">
                <a:solidFill>
                  <a:srgbClr val="000000"/>
                </a:solidFill>
                <a:hlinkClick r:id="rId68"/>
              </a:rPr>
              <a:t>Evolution of nuclear power generation by region, 1972-2026</a:t>
            </a:r>
            <a:r>
              <a:rPr lang="en-US" sz="800" dirty="0">
                <a:solidFill>
                  <a:srgbClr val="000000"/>
                </a:solidFill>
              </a:rPr>
              <a:t> (2024); IAEA, </a:t>
            </a:r>
            <a:r>
              <a:rPr lang="en-US" sz="800" dirty="0">
                <a:solidFill>
                  <a:srgbClr val="000000"/>
                </a:solidFill>
                <a:hlinkClick r:id="rId69"/>
              </a:rPr>
              <a:t>A Pioneer in Nuclear Power</a:t>
            </a:r>
            <a:r>
              <a:rPr lang="en-US" sz="800" dirty="0">
                <a:solidFill>
                  <a:srgbClr val="000000"/>
                </a:solidFill>
              </a:rPr>
              <a:t> (1984); Wang et al., </a:t>
            </a:r>
            <a:r>
              <a:rPr lang="en-US" sz="800" dirty="0">
                <a:solidFill>
                  <a:srgbClr val="000000"/>
                </a:solidFill>
                <a:hlinkClick r:id="rId70"/>
              </a:rPr>
              <a:t>Analysis on accident types of coal mine in global major coal producing countries</a:t>
            </a:r>
            <a:r>
              <a:rPr lang="en-US" sz="800" dirty="0">
                <a:solidFill>
                  <a:srgbClr val="000000"/>
                </a:solidFill>
              </a:rPr>
              <a:t> (2023); Bisconti Research </a:t>
            </a:r>
            <a:r>
              <a:rPr lang="en-US" sz="800" dirty="0">
                <a:solidFill>
                  <a:srgbClr val="000000"/>
                </a:solidFill>
                <a:hlinkClick r:id="rId71"/>
              </a:rPr>
              <a:t>National Nuclear Energy Public Opinion Survey </a:t>
            </a:r>
            <a:r>
              <a:rPr lang="en-US" sz="800" dirty="0">
                <a:solidFill>
                  <a:srgbClr val="000000"/>
                </a:solidFill>
              </a:rPr>
              <a:t>(2023); WNA, </a:t>
            </a:r>
            <a:r>
              <a:rPr lang="en-US" sz="800" dirty="0">
                <a:solidFill>
                  <a:srgbClr val="000000"/>
                </a:solidFill>
                <a:hlinkClick r:id="rId72"/>
              </a:rPr>
              <a:t>Safety of Nuclear Power Reactors </a:t>
            </a:r>
            <a:r>
              <a:rPr lang="en-US" sz="800" dirty="0">
                <a:solidFill>
                  <a:srgbClr val="000000"/>
                </a:solidFill>
              </a:rPr>
              <a:t>(2025); </a:t>
            </a:r>
            <a:r>
              <a:rPr lang="en-US" sz="800" dirty="0" err="1">
                <a:solidFill>
                  <a:srgbClr val="000000"/>
                </a:solidFill>
              </a:rPr>
              <a:t>Kharecha</a:t>
            </a:r>
            <a:r>
              <a:rPr lang="en-US" sz="800" dirty="0">
                <a:solidFill>
                  <a:srgbClr val="000000"/>
                </a:solidFill>
              </a:rPr>
              <a:t> et al., </a:t>
            </a:r>
            <a:r>
              <a:rPr lang="en-US" sz="800" dirty="0">
                <a:solidFill>
                  <a:srgbClr val="000000"/>
                </a:solidFill>
                <a:hlinkClick r:id="rId73"/>
              </a:rPr>
              <a:t>Implications of energy and CO2 emission changes in Japan and Germany after the Fukushima accident</a:t>
            </a:r>
            <a:r>
              <a:rPr lang="en-US" sz="800" dirty="0">
                <a:solidFill>
                  <a:srgbClr val="000000"/>
                </a:solidFill>
              </a:rPr>
              <a:t> (2019); NRC, </a:t>
            </a:r>
            <a:r>
              <a:rPr lang="en-US" sz="800" dirty="0">
                <a:solidFill>
                  <a:srgbClr val="000000"/>
                </a:solidFill>
                <a:hlinkClick r:id="rId74"/>
              </a:rPr>
              <a:t>Defense-in-Depth</a:t>
            </a:r>
            <a:r>
              <a:rPr lang="en-US" sz="800" dirty="0">
                <a:solidFill>
                  <a:srgbClr val="000000"/>
                </a:solidFill>
              </a:rPr>
              <a:t> (2020); U.S. Bureau of Labor Stats, </a:t>
            </a:r>
            <a:r>
              <a:rPr lang="en-US" sz="800" dirty="0">
                <a:solidFill>
                  <a:srgbClr val="000000"/>
                </a:solidFill>
                <a:hlinkClick r:id="rId75"/>
              </a:rPr>
              <a:t>Mining fatalities rose 21.8% from 2020 to 2021</a:t>
            </a:r>
            <a:r>
              <a:rPr lang="en-US" sz="800" dirty="0">
                <a:solidFill>
                  <a:srgbClr val="000000"/>
                </a:solidFill>
              </a:rPr>
              <a:t> (2023).</a:t>
            </a:r>
          </a:p>
          <a:p>
            <a:pPr lvl="0" defTabSz="711200">
              <a:defRPr/>
            </a:pPr>
            <a:r>
              <a:rPr lang="en-US" sz="800" dirty="0">
                <a:solidFill>
                  <a:srgbClr val="000000"/>
                </a:solidFill>
              </a:rPr>
              <a:t>Credit: Clara Zibell, Isabel Hoyos,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76"/>
              </a:rPr>
              <a:t>Gernot Wagner</a:t>
            </a:r>
            <a:r>
              <a:rPr lang="en-US" sz="800" dirty="0">
                <a:solidFill>
                  <a:srgbClr val="000000"/>
                </a:solidFill>
              </a:rPr>
              <a:t>. Share with </a:t>
            </a:r>
            <a:r>
              <a:rPr lang="en-US" sz="800" dirty="0">
                <a:solidFill>
                  <a:srgbClr val="000000"/>
                </a:solidFill>
                <a:hlinkClick r:id="rId77"/>
              </a:rPr>
              <a:t>attribution</a:t>
            </a:r>
            <a:r>
              <a:rPr lang="en-US" sz="800" dirty="0">
                <a:solidFill>
                  <a:srgbClr val="000000"/>
                </a:solidFill>
              </a:rPr>
              <a:t>: </a:t>
            </a:r>
            <a:r>
              <a:rPr lang="en-US" sz="800" dirty="0" err="1">
                <a:solidFill>
                  <a:srgbClr val="000000"/>
                </a:solidFill>
              </a:rPr>
              <a:t>Houwink</a:t>
            </a:r>
            <a:r>
              <a:rPr lang="en-US" sz="800" dirty="0">
                <a:solidFill>
                  <a:srgbClr val="000000"/>
                </a:solidFill>
              </a:rPr>
              <a:t> et al., “</a:t>
            </a:r>
            <a:r>
              <a:rPr lang="en-US" sz="800" dirty="0">
                <a:solidFill>
                  <a:srgbClr val="000000"/>
                </a:solidFill>
                <a:hlinkClick r:id="rId78"/>
              </a:rPr>
              <a:t>Nuclear Transition</a:t>
            </a:r>
            <a:r>
              <a:rPr lang="en-US" sz="800" dirty="0">
                <a:solidFill>
                  <a:srgbClr val="000000"/>
                </a:solidFill>
              </a:rPr>
              <a:t>” (23 September 2025).</a:t>
            </a:r>
          </a:p>
        </p:txBody>
      </p:sp>
      <p:sp>
        <p:nvSpPr>
          <p:cNvPr id="617" name="TextBox 8">
            <a:extLst>
              <a:ext uri="{FF2B5EF4-FFF2-40B4-BE49-F238E27FC236}">
                <a16:creationId xmlns:a16="http://schemas.microsoft.com/office/drawing/2014/main" id="{D59B879E-6156-B96F-6B40-0138E233A59F}"/>
              </a:ext>
            </a:extLst>
          </p:cNvPr>
          <p:cNvSpPr txBox="1"/>
          <p:nvPr/>
        </p:nvSpPr>
        <p:spPr bwMode="gray">
          <a:xfrm>
            <a:off x="9390889" y="1554480"/>
            <a:ext cx="2494722" cy="4324261"/>
          </a:xfrm>
          <a:prstGeom prst="rect">
            <a:avLst/>
          </a:prstGeom>
          <a:solidFill>
            <a:srgbClr val="E3E8EE"/>
          </a:solidFill>
        </p:spPr>
        <p:txBody>
          <a:bodyPr wrap="square" lIns="137160" tIns="137160" rIns="274320" bIns="137160" rtlCol="0" anchor="t">
            <a:spAutoFit/>
          </a:bodyPr>
          <a:lstStyle/>
          <a:p>
            <a:pPr marL="0" indent="0">
              <a:spcAft>
                <a:spcPts val="600"/>
              </a:spcAft>
              <a:buNone/>
            </a:pPr>
            <a:r>
              <a:rPr lang="en-US" sz="1200" b="1" dirty="0"/>
              <a:t>Observations </a:t>
            </a:r>
          </a:p>
          <a:p>
            <a:pPr marL="171450" indent="-171450">
              <a:spcAft>
                <a:spcPts val="600"/>
              </a:spcAft>
              <a:buFont typeface="Arial" panose="020B0604020202020204" pitchFamily="34" charset="0"/>
              <a:buChar char="•"/>
            </a:pPr>
            <a:r>
              <a:rPr lang="en-US" sz="1050" b="1" dirty="0">
                <a:solidFill>
                  <a:srgbClr val="000000"/>
                </a:solidFill>
              </a:rPr>
              <a:t>Gas and coal </a:t>
            </a:r>
            <a:r>
              <a:rPr lang="en-US" sz="1050" dirty="0">
                <a:solidFill>
                  <a:srgbClr val="000000"/>
                </a:solidFill>
              </a:rPr>
              <a:t>replaced lost nuclear following Japan’s 2011 Fukushima accident, </a:t>
            </a:r>
            <a:r>
              <a:rPr lang="en-US" sz="1050" b="1" dirty="0">
                <a:solidFill>
                  <a:srgbClr val="000000"/>
                </a:solidFill>
              </a:rPr>
              <a:t>adding 480 MtCO</a:t>
            </a:r>
            <a:r>
              <a:rPr lang="en-US" sz="1050" b="1" baseline="-25000" dirty="0">
                <a:solidFill>
                  <a:srgbClr val="000000"/>
                </a:solidFill>
              </a:rPr>
              <a:t>2</a:t>
            </a:r>
            <a:r>
              <a:rPr lang="en-US" sz="1050" dirty="0">
                <a:solidFill>
                  <a:srgbClr val="000000"/>
                </a:solidFill>
              </a:rPr>
              <a:t> cumulative emissions and an estimated </a:t>
            </a:r>
            <a:r>
              <a:rPr lang="en-US" sz="1050" b="1" dirty="0">
                <a:solidFill>
                  <a:srgbClr val="000000"/>
                </a:solidFill>
              </a:rPr>
              <a:t>2,300 air pollution-induced deaths</a:t>
            </a:r>
            <a:r>
              <a:rPr lang="en-US" sz="1050" dirty="0">
                <a:solidFill>
                  <a:srgbClr val="000000"/>
                </a:solidFill>
              </a:rPr>
              <a:t> in the country (through 2017). </a:t>
            </a:r>
          </a:p>
          <a:p>
            <a:pPr marL="171450" indent="-171450">
              <a:spcAft>
                <a:spcPts val="600"/>
              </a:spcAft>
              <a:buFont typeface="Arial" panose="020B0604020202020204" pitchFamily="34" charset="0"/>
              <a:buChar char="•"/>
            </a:pPr>
            <a:r>
              <a:rPr lang="en-US" sz="1050" dirty="0">
                <a:solidFill>
                  <a:srgbClr val="000000"/>
                </a:solidFill>
              </a:rPr>
              <a:t>A 20-point </a:t>
            </a:r>
            <a:r>
              <a:rPr lang="en-US" sz="1050" b="1" dirty="0">
                <a:solidFill>
                  <a:srgbClr val="000000"/>
                </a:solidFill>
              </a:rPr>
              <a:t>perception gap </a:t>
            </a:r>
            <a:r>
              <a:rPr lang="en-US" sz="1050" dirty="0">
                <a:solidFill>
                  <a:srgbClr val="000000"/>
                </a:solidFill>
              </a:rPr>
              <a:t>leads people to believe general support for nuclear is lower than it really is: 56% perceived vs. 78% actual support. </a:t>
            </a:r>
          </a:p>
          <a:p>
            <a:pPr marL="171450" indent="-171450">
              <a:spcAft>
                <a:spcPts val="600"/>
              </a:spcAft>
              <a:buFont typeface="Arial" panose="020B0604020202020204" pitchFamily="34" charset="0"/>
              <a:buChar char="•"/>
            </a:pPr>
            <a:r>
              <a:rPr lang="en-US" sz="1050" b="1" dirty="0">
                <a:solidFill>
                  <a:srgbClr val="000000"/>
                </a:solidFill>
              </a:rPr>
              <a:t>Safety is at the forefront of new reactors;</a:t>
            </a:r>
            <a:r>
              <a:rPr lang="en-US" sz="1050" dirty="0">
                <a:solidFill>
                  <a:srgbClr val="000000"/>
                </a:solidFill>
              </a:rPr>
              <a:t> </a:t>
            </a:r>
            <a:r>
              <a:rPr lang="en-US" sz="1050" dirty="0"/>
              <a:t>a defense-in-depth approach layers backup systems to prevent or contain accidents at every stage.</a:t>
            </a:r>
            <a:endParaRPr lang="en-US" sz="1050" dirty="0">
              <a:solidFill>
                <a:srgbClr val="000000"/>
              </a:solidFill>
            </a:endParaRPr>
          </a:p>
          <a:p>
            <a:pPr marL="171450" indent="-171450">
              <a:spcAft>
                <a:spcPts val="600"/>
              </a:spcAft>
              <a:buFont typeface="Arial" panose="020B0604020202020204" pitchFamily="34" charset="0"/>
              <a:buChar char="•"/>
            </a:pPr>
            <a:r>
              <a:rPr lang="en-US" sz="1050" b="1" dirty="0">
                <a:solidFill>
                  <a:srgbClr val="000000"/>
                </a:solidFill>
              </a:rPr>
              <a:t>Lack of a containment structure at Chernobyl </a:t>
            </a:r>
            <a:r>
              <a:rPr lang="en-US" sz="1050" dirty="0">
                <a:solidFill>
                  <a:srgbClr val="000000"/>
                </a:solidFill>
              </a:rPr>
              <a:t>resulted in 30 immediate deaths and thousands more long term.</a:t>
            </a:r>
          </a:p>
        </p:txBody>
      </p:sp>
      <p:cxnSp>
        <p:nvCxnSpPr>
          <p:cNvPr id="1051" name="Straight Connector 1050">
            <a:extLst>
              <a:ext uri="{FF2B5EF4-FFF2-40B4-BE49-F238E27FC236}">
                <a16:creationId xmlns:a16="http://schemas.microsoft.com/office/drawing/2014/main" id="{B576B33E-076B-2BFE-485A-13835A487905}"/>
              </a:ext>
            </a:extLst>
          </p:cNvPr>
          <p:cNvCxnSpPr>
            <a:cxnSpLocks/>
          </p:cNvCxnSpPr>
          <p:nvPr/>
        </p:nvCxnSpPr>
        <p:spPr bwMode="gray">
          <a:xfrm>
            <a:off x="1066800" y="2523744"/>
            <a:ext cx="0" cy="100584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53" name="Straight Connector 1052">
            <a:extLst>
              <a:ext uri="{FF2B5EF4-FFF2-40B4-BE49-F238E27FC236}">
                <a16:creationId xmlns:a16="http://schemas.microsoft.com/office/drawing/2014/main" id="{3C4043CA-4144-5E74-5A6D-7651C83BE1E9}"/>
              </a:ext>
            </a:extLst>
          </p:cNvPr>
          <p:cNvCxnSpPr>
            <a:cxnSpLocks/>
          </p:cNvCxnSpPr>
          <p:nvPr/>
        </p:nvCxnSpPr>
        <p:spPr bwMode="gray">
          <a:xfrm>
            <a:off x="1066800" y="3645789"/>
            <a:ext cx="0" cy="98425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55" name="Straight Connector 1054">
            <a:extLst>
              <a:ext uri="{FF2B5EF4-FFF2-40B4-BE49-F238E27FC236}">
                <a16:creationId xmlns:a16="http://schemas.microsoft.com/office/drawing/2014/main" id="{B2FD4E61-3BE8-F0DE-5310-13DCD9DD6E55}"/>
              </a:ext>
            </a:extLst>
          </p:cNvPr>
          <p:cNvCxnSpPr>
            <a:cxnSpLocks/>
          </p:cNvCxnSpPr>
          <p:nvPr/>
        </p:nvCxnSpPr>
        <p:spPr bwMode="gray">
          <a:xfrm>
            <a:off x="1066800" y="4787202"/>
            <a:ext cx="1588" cy="90170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56" name="TextBox 1055">
            <a:extLst>
              <a:ext uri="{FF2B5EF4-FFF2-40B4-BE49-F238E27FC236}">
                <a16:creationId xmlns:a16="http://schemas.microsoft.com/office/drawing/2014/main" id="{85EAEB55-1AAA-2190-6801-7B664D6C79E1}"/>
              </a:ext>
            </a:extLst>
          </p:cNvPr>
          <p:cNvSpPr txBox="1"/>
          <p:nvPr/>
        </p:nvSpPr>
        <p:spPr bwMode="gray">
          <a:xfrm>
            <a:off x="254000" y="2626614"/>
            <a:ext cx="1079500" cy="661988"/>
          </a:xfrm>
          <a:prstGeom prst="rect">
            <a:avLst/>
          </a:prstGeom>
          <a:noFill/>
          <a:ln>
            <a:noFill/>
          </a:ln>
        </p:spPr>
        <p:txBody>
          <a:bodyPr wrap="square" lIns="137160" tIns="137160" rIns="274320" bIns="137160" rtlCol="0">
            <a:spAutoFit/>
          </a:bodyPr>
          <a:lstStyle/>
          <a:p>
            <a:pPr marL="0" indent="0" algn="l">
              <a:spcBef>
                <a:spcPts val="600"/>
              </a:spcBef>
              <a:spcAft>
                <a:spcPts val="600"/>
              </a:spcAft>
              <a:buNone/>
            </a:pPr>
            <a:r>
              <a:rPr lang="en-US" sz="1250" b="1"/>
              <a:t>Nuclear plants</a:t>
            </a:r>
          </a:p>
        </p:txBody>
      </p:sp>
      <p:sp>
        <p:nvSpPr>
          <p:cNvPr id="1057" name="TextBox 1056">
            <a:extLst>
              <a:ext uri="{FF2B5EF4-FFF2-40B4-BE49-F238E27FC236}">
                <a16:creationId xmlns:a16="http://schemas.microsoft.com/office/drawing/2014/main" id="{BFF59E22-3D24-6671-1C2A-73911EBEA871}"/>
              </a:ext>
            </a:extLst>
          </p:cNvPr>
          <p:cNvSpPr txBox="1"/>
          <p:nvPr/>
        </p:nvSpPr>
        <p:spPr bwMode="gray">
          <a:xfrm>
            <a:off x="254000" y="3787077"/>
            <a:ext cx="1079500" cy="661988"/>
          </a:xfrm>
          <a:prstGeom prst="rect">
            <a:avLst/>
          </a:prstGeom>
          <a:noFill/>
          <a:ln>
            <a:noFill/>
          </a:ln>
        </p:spPr>
        <p:txBody>
          <a:bodyPr wrap="square" lIns="137160" tIns="137160" rIns="274320" bIns="137160" rtlCol="0">
            <a:spAutoFit/>
          </a:bodyPr>
          <a:lstStyle/>
          <a:p>
            <a:pPr marL="0" indent="0" algn="l">
              <a:spcBef>
                <a:spcPts val="600"/>
              </a:spcBef>
              <a:spcAft>
                <a:spcPts val="600"/>
              </a:spcAft>
              <a:buNone/>
            </a:pPr>
            <a:r>
              <a:rPr lang="en-US" sz="1250" b="1" dirty="0"/>
              <a:t>Coal mines</a:t>
            </a:r>
          </a:p>
        </p:txBody>
      </p:sp>
      <p:graphicFrame>
        <p:nvGraphicFramePr>
          <p:cNvPr id="100" name="Chart 99">
            <a:extLst>
              <a:ext uri="{FF2B5EF4-FFF2-40B4-BE49-F238E27FC236}">
                <a16:creationId xmlns:a16="http://schemas.microsoft.com/office/drawing/2014/main" id="{5B250939-C996-490B-B6AB-8AD91B6EF7AD}"/>
              </a:ext>
            </a:extLst>
          </p:cNvPr>
          <p:cNvGraphicFramePr/>
          <p:nvPr>
            <p:custDataLst>
              <p:tags r:id="rId4"/>
            </p:custDataLst>
            <p:extLst>
              <p:ext uri="{D42A27DB-BD31-4B8C-83A1-F6EECF244321}">
                <p14:modId xmlns:p14="http://schemas.microsoft.com/office/powerpoint/2010/main" val="4178408981"/>
              </p:ext>
            </p:extLst>
          </p:nvPr>
        </p:nvGraphicFramePr>
        <p:xfrm>
          <a:off x="6969125" y="3422650"/>
          <a:ext cx="1512888" cy="1987550"/>
        </p:xfrm>
        <a:graphic>
          <a:graphicData uri="http://schemas.openxmlformats.org/drawingml/2006/chart">
            <c:chart xmlns:c="http://schemas.openxmlformats.org/drawingml/2006/chart" xmlns:r="http://schemas.openxmlformats.org/officeDocument/2006/relationships" r:id="rId79"/>
          </a:graphicData>
        </a:graphic>
      </p:graphicFrame>
      <p:cxnSp>
        <p:nvCxnSpPr>
          <p:cNvPr id="635" name="Straight Connector 634">
            <a:extLst>
              <a:ext uri="{FF2B5EF4-FFF2-40B4-BE49-F238E27FC236}">
                <a16:creationId xmlns:a16="http://schemas.microsoft.com/office/drawing/2014/main" id="{32B9A67A-86C4-3F50-D367-95C11F9FC851}"/>
              </a:ext>
            </a:extLst>
          </p:cNvPr>
          <p:cNvCxnSpPr>
            <a:cxnSpLocks/>
          </p:cNvCxnSpPr>
          <p:nvPr>
            <p:custDataLst>
              <p:tags r:id="rId5"/>
            </p:custDataLst>
          </p:nvPr>
        </p:nvCxnSpPr>
        <p:spPr bwMode="auto">
          <a:xfrm flipH="1">
            <a:off x="7893050" y="3902075"/>
            <a:ext cx="762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03" name="Text Placeholder 10">
            <a:extLst>
              <a:ext uri="{FF2B5EF4-FFF2-40B4-BE49-F238E27FC236}">
                <a16:creationId xmlns:a16="http://schemas.microsoft.com/office/drawing/2014/main" id="{08B85AB6-1EC5-1048-5B79-35724DFC9660}"/>
              </a:ext>
            </a:extLst>
          </p:cNvPr>
          <p:cNvSpPr txBox="1">
            <a:spLocks/>
          </p:cNvSpPr>
          <p:nvPr>
            <p:custDataLst>
              <p:tags r:id="rId6"/>
            </p:custDataLst>
          </p:nvPr>
        </p:nvSpPr>
        <p:spPr bwMode="gray">
          <a:xfrm>
            <a:off x="7969250" y="3811588"/>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2,300</a:t>
            </a:r>
            <a:endParaRPr lang="en-US" sz="1200"/>
          </a:p>
        </p:txBody>
      </p:sp>
      <p:sp>
        <p:nvSpPr>
          <p:cNvPr id="553" name="Text Placeholder 10">
            <a:extLst>
              <a:ext uri="{FF2B5EF4-FFF2-40B4-BE49-F238E27FC236}">
                <a16:creationId xmlns:a16="http://schemas.microsoft.com/office/drawing/2014/main" id="{89C09D6A-2059-28A5-8BD9-22280418DDFB}"/>
              </a:ext>
            </a:extLst>
          </p:cNvPr>
          <p:cNvSpPr txBox="1">
            <a:spLocks/>
          </p:cNvSpPr>
          <p:nvPr>
            <p:custDataLst>
              <p:tags r:id="rId7"/>
            </p:custDataLst>
          </p:nvPr>
        </p:nvSpPr>
        <p:spPr bwMode="auto">
          <a:xfrm>
            <a:off x="7478713" y="5378451"/>
            <a:ext cx="4937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F0E54B0-B350-437A-9DAA-C1A40E11985F}" type="datetime'''''''''''D''''''''''e''''''''''''''''at''''''''''h''''''''s'">
              <a:rPr lang="en-US" altLang="en-US" sz="1200" smtClean="0"/>
              <a:pPr marL="0" indent="0" algn="ctr">
                <a:spcBef>
                  <a:spcPct val="0"/>
                </a:spcBef>
                <a:spcAft>
                  <a:spcPct val="0"/>
                </a:spcAft>
                <a:buNone/>
              </a:pPr>
              <a:t>Deaths</a:t>
            </a:fld>
            <a:endParaRPr lang="en-US" altLang="en-US" sz="1200"/>
          </a:p>
          <a:p>
            <a:pPr marL="0" indent="0" algn="ctr">
              <a:spcBef>
                <a:spcPct val="0"/>
              </a:spcBef>
              <a:spcAft>
                <a:spcPct val="0"/>
              </a:spcAft>
              <a:buNone/>
            </a:pPr>
            <a:r>
              <a:rPr lang="en-US" altLang="en-US" sz="1200"/>
              <a:t>(count)</a:t>
            </a:r>
            <a:endParaRPr lang="en-US" sz="1200"/>
          </a:p>
        </p:txBody>
      </p:sp>
      <p:sp>
        <p:nvSpPr>
          <p:cNvPr id="140"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7470775" y="3297238"/>
            <a:ext cx="5080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7225805-EC26-4598-BC73-1D2FADCB9F75}" type="datetime'''1''7'''''''',8''''''''''5''''''''''''''''''0'">
              <a:rPr lang="en-US" altLang="en-US" sz="1200" smtClean="0"/>
              <a:pPr marL="0" lvl="0" indent="0" algn="ctr">
                <a:spcBef>
                  <a:spcPct val="0"/>
                </a:spcBef>
                <a:spcAft>
                  <a:spcPct val="0"/>
                </a:spcAft>
                <a:buNone/>
              </a:pPr>
              <a:t>17,850</a:t>
            </a:fld>
            <a:endParaRPr lang="en-US" sz="1200"/>
          </a:p>
        </p:txBody>
      </p:sp>
      <p:graphicFrame>
        <p:nvGraphicFramePr>
          <p:cNvPr id="102" name="Chart 101">
            <a:extLst>
              <a:ext uri="{FF2B5EF4-FFF2-40B4-BE49-F238E27FC236}">
                <a16:creationId xmlns:a16="http://schemas.microsoft.com/office/drawing/2014/main" id="{CEF45A1A-31C4-4D0B-8657-DE1AA74B2864}"/>
              </a:ext>
            </a:extLst>
          </p:cNvPr>
          <p:cNvGraphicFramePr/>
          <p:nvPr>
            <p:custDataLst>
              <p:tags r:id="rId9"/>
            </p:custDataLst>
            <p:extLst>
              <p:ext uri="{D42A27DB-BD31-4B8C-83A1-F6EECF244321}">
                <p14:modId xmlns:p14="http://schemas.microsoft.com/office/powerpoint/2010/main" val="3456225603"/>
              </p:ext>
            </p:extLst>
          </p:nvPr>
        </p:nvGraphicFramePr>
        <p:xfrm>
          <a:off x="5524500" y="3433763"/>
          <a:ext cx="1493838" cy="1987550"/>
        </p:xfrm>
        <a:graphic>
          <a:graphicData uri="http://schemas.openxmlformats.org/drawingml/2006/chart">
            <c:chart xmlns:c="http://schemas.openxmlformats.org/drawingml/2006/chart" xmlns:r="http://schemas.openxmlformats.org/officeDocument/2006/relationships" r:id="rId80"/>
          </a:graphicData>
        </a:graphic>
      </p:graphicFrame>
      <p:cxnSp>
        <p:nvCxnSpPr>
          <p:cNvPr id="46" name="Straight Connector 45">
            <a:extLst>
              <a:ext uri="{FF2B5EF4-FFF2-40B4-BE49-F238E27FC236}">
                <a16:creationId xmlns:a16="http://schemas.microsoft.com/office/drawing/2014/main" id="{A7356A4E-798F-91CC-D88E-66C55B59E3F4}"/>
              </a:ext>
            </a:extLst>
          </p:cNvPr>
          <p:cNvCxnSpPr>
            <a:cxnSpLocks/>
          </p:cNvCxnSpPr>
          <p:nvPr>
            <p:custDataLst>
              <p:tags r:id="rId10"/>
            </p:custDataLst>
          </p:nvPr>
        </p:nvCxnSpPr>
        <p:spPr bwMode="auto">
          <a:xfrm flipH="1">
            <a:off x="6437314" y="3846513"/>
            <a:ext cx="74613"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8" name="Text Placeholder 10">
            <a:extLst>
              <a:ext uri="{FF2B5EF4-FFF2-40B4-BE49-F238E27FC236}">
                <a16:creationId xmlns:a16="http://schemas.microsoft.com/office/drawing/2014/main" id="{92048AC4-0EDB-AD8D-BF46-D6C20CE7AC16}"/>
              </a:ext>
            </a:extLst>
          </p:cNvPr>
          <p:cNvSpPr txBox="1">
            <a:spLocks/>
          </p:cNvSpPr>
          <p:nvPr>
            <p:custDataLst>
              <p:tags r:id="rId11"/>
            </p:custDataLst>
          </p:nvPr>
        </p:nvSpPr>
        <p:spPr bwMode="gray">
          <a:xfrm>
            <a:off x="6511925" y="3756025"/>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480</a:t>
            </a:r>
            <a:endParaRPr lang="en-US" sz="1200"/>
          </a:p>
        </p:txBody>
      </p:sp>
      <p:sp>
        <p:nvSpPr>
          <p:cNvPr id="49" name="Text Placeholder 10">
            <a:extLst>
              <a:ext uri="{FF2B5EF4-FFF2-40B4-BE49-F238E27FC236}">
                <a16:creationId xmlns:a16="http://schemas.microsoft.com/office/drawing/2014/main" id="{5FA65741-23A6-859A-6124-BED6A9D879AD}"/>
              </a:ext>
            </a:extLst>
          </p:cNvPr>
          <p:cNvSpPr txBox="1">
            <a:spLocks/>
          </p:cNvSpPr>
          <p:nvPr>
            <p:custDataLst>
              <p:tags r:id="rId12"/>
            </p:custDataLst>
          </p:nvPr>
        </p:nvSpPr>
        <p:spPr bwMode="auto">
          <a:xfrm>
            <a:off x="5918200" y="5389564"/>
            <a:ext cx="7048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Emissions (MtCO2)</a:t>
            </a:r>
            <a:endParaRPr lang="en-US" sz="1200"/>
          </a:p>
        </p:txBody>
      </p:sp>
      <p:sp>
        <p:nvSpPr>
          <p:cNvPr id="137"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6059488" y="3308350"/>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4D596A6-F19B-4601-A1BA-25473C324FE3}" type="datetime'''''''''''''''1'',7''''''''''''''''''''''''4''''''''''8'''">
              <a:rPr lang="en-US" altLang="en-US" sz="1200" smtClean="0"/>
              <a:pPr marL="0" lvl="0" indent="0" algn="ctr">
                <a:spcBef>
                  <a:spcPct val="0"/>
                </a:spcBef>
                <a:spcAft>
                  <a:spcPct val="0"/>
                </a:spcAft>
                <a:buNone/>
              </a:pPr>
              <a:t>1,748</a:t>
            </a:fld>
            <a:endParaRPr lang="en-US" sz="1200"/>
          </a:p>
        </p:txBody>
      </p:sp>
      <p:grpSp>
        <p:nvGrpSpPr>
          <p:cNvPr id="69" name="Group 68">
            <a:extLst>
              <a:ext uri="{FF2B5EF4-FFF2-40B4-BE49-F238E27FC236}">
                <a16:creationId xmlns:a16="http://schemas.microsoft.com/office/drawing/2014/main" id="{9CC9A78F-C90D-49C1-DA34-6C258A7D48C6}"/>
              </a:ext>
            </a:extLst>
          </p:cNvPr>
          <p:cNvGrpSpPr/>
          <p:nvPr/>
        </p:nvGrpSpPr>
        <p:grpSpPr>
          <a:xfrm>
            <a:off x="5075238" y="1468765"/>
            <a:ext cx="4205922" cy="503663"/>
            <a:chOff x="435868" y="1552779"/>
            <a:chExt cx="4408944" cy="503663"/>
          </a:xfrm>
        </p:grpSpPr>
        <p:sp>
          <p:nvSpPr>
            <p:cNvPr id="70" name="btfpColumnHeaderBoxText223027">
              <a:extLst>
                <a:ext uri="{FF2B5EF4-FFF2-40B4-BE49-F238E27FC236}">
                  <a16:creationId xmlns:a16="http://schemas.microsoft.com/office/drawing/2014/main" id="{7561ABE9-A0EB-6945-CDC7-668827352762}"/>
                </a:ext>
              </a:extLst>
            </p:cNvPr>
            <p:cNvSpPr txBox="1"/>
            <p:nvPr/>
          </p:nvSpPr>
          <p:spPr bwMode="gray">
            <a:xfrm>
              <a:off x="450614" y="1552779"/>
              <a:ext cx="4394198" cy="503663"/>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r>
                <a:rPr lang="en-US" sz="1400" b="1" dirty="0">
                  <a:solidFill>
                    <a:srgbClr val="000000"/>
                  </a:solidFill>
                </a:rPr>
                <a:t>Total emissions and pollution-induced deaths following Japan’s nuclear phaseout, </a:t>
              </a:r>
              <a:r>
                <a:rPr lang="en-US" sz="1400" dirty="0">
                  <a:solidFill>
                    <a:srgbClr val="000000"/>
                  </a:solidFill>
                </a:rPr>
                <a:t>2011-2017</a:t>
              </a:r>
            </a:p>
          </p:txBody>
        </p:sp>
        <p:cxnSp>
          <p:nvCxnSpPr>
            <p:cNvPr id="71" name="btfpColumnHeaderBoxLine223027">
              <a:extLst>
                <a:ext uri="{FF2B5EF4-FFF2-40B4-BE49-F238E27FC236}">
                  <a16:creationId xmlns:a16="http://schemas.microsoft.com/office/drawing/2014/main" id="{EC5CF5CE-C8B9-A479-3066-8F4C1741FC9A}"/>
                </a:ext>
              </a:extLst>
            </p:cNvPr>
            <p:cNvCxnSpPr>
              <a:cxnSpLocks/>
            </p:cNvCxnSpPr>
            <p:nvPr/>
          </p:nvCxnSpPr>
          <p:spPr bwMode="gray">
            <a:xfrm>
              <a:off x="435868" y="2029113"/>
              <a:ext cx="4394197" cy="0"/>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2" name="Chart 11">
            <a:extLst>
              <a:ext uri="{FF2B5EF4-FFF2-40B4-BE49-F238E27FC236}">
                <a16:creationId xmlns:a16="http://schemas.microsoft.com/office/drawing/2014/main" id="{F6E21C1E-DB43-A85D-B5DA-D4917BE9FF75}"/>
              </a:ext>
            </a:extLst>
          </p:cNvPr>
          <p:cNvGraphicFramePr/>
          <p:nvPr>
            <p:custDataLst>
              <p:tags r:id="rId14"/>
            </p:custDataLst>
            <p:extLst>
              <p:ext uri="{D42A27DB-BD31-4B8C-83A1-F6EECF244321}">
                <p14:modId xmlns:p14="http://schemas.microsoft.com/office/powerpoint/2010/main" val="2226289786"/>
              </p:ext>
            </p:extLst>
          </p:nvPr>
        </p:nvGraphicFramePr>
        <p:xfrm>
          <a:off x="2413000" y="2182813"/>
          <a:ext cx="2252663" cy="3910012"/>
        </p:xfrm>
        <a:graphic>
          <a:graphicData uri="http://schemas.openxmlformats.org/drawingml/2006/chart">
            <c:chart xmlns:c="http://schemas.openxmlformats.org/drawingml/2006/chart" xmlns:r="http://schemas.openxmlformats.org/officeDocument/2006/relationships" r:id="rId81"/>
          </a:graphicData>
        </a:graphic>
      </p:graphicFrame>
      <p:cxnSp>
        <p:nvCxnSpPr>
          <p:cNvPr id="47" name="Straight Connector 46">
            <a:extLst>
              <a:ext uri="{FF2B5EF4-FFF2-40B4-BE49-F238E27FC236}">
                <a16:creationId xmlns:a16="http://schemas.microsoft.com/office/drawing/2014/main" id="{A1C5E89A-ED53-2771-E0C2-E69A3C84A268}"/>
              </a:ext>
            </a:extLst>
          </p:cNvPr>
          <p:cNvCxnSpPr>
            <a:cxnSpLocks/>
          </p:cNvCxnSpPr>
          <p:nvPr>
            <p:custDataLst>
              <p:tags r:id="rId15"/>
            </p:custDataLst>
          </p:nvPr>
        </p:nvCxnSpPr>
        <p:spPr bwMode="auto">
          <a:xfrm>
            <a:off x="2619375" y="2636838"/>
            <a:ext cx="254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085F907F-08EF-0942-3575-F41DFCE0CCCB}"/>
              </a:ext>
            </a:extLst>
          </p:cNvPr>
          <p:cNvCxnSpPr/>
          <p:nvPr>
            <p:custDataLst>
              <p:tags r:id="rId16"/>
            </p:custDataLst>
          </p:nvPr>
        </p:nvCxnSpPr>
        <p:spPr bwMode="auto">
          <a:xfrm>
            <a:off x="2533650" y="5638800"/>
            <a:ext cx="68263"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EA02B200-71F7-80EC-6F7C-1667A7BDBFF0}"/>
              </a:ext>
            </a:extLst>
          </p:cNvPr>
          <p:cNvCxnSpPr>
            <a:cxnSpLocks/>
          </p:cNvCxnSpPr>
          <p:nvPr>
            <p:custDataLst>
              <p:tags r:id="rId17"/>
            </p:custDataLst>
          </p:nvPr>
        </p:nvCxnSpPr>
        <p:spPr bwMode="auto">
          <a:xfrm flipH="1">
            <a:off x="2651125" y="5638800"/>
            <a:ext cx="3175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1704033E-82A3-73A8-D606-303A6A0933A9}"/>
              </a:ext>
            </a:extLst>
          </p:cNvPr>
          <p:cNvCxnSpPr/>
          <p:nvPr>
            <p:custDataLst>
              <p:tags r:id="rId18"/>
            </p:custDataLst>
          </p:nvPr>
        </p:nvCxnSpPr>
        <p:spPr bwMode="auto">
          <a:xfrm>
            <a:off x="2619375" y="3011488"/>
            <a:ext cx="254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89767A42-1F42-3607-B837-F4F9308BD1C7}"/>
              </a:ext>
            </a:extLst>
          </p:cNvPr>
          <p:cNvCxnSpPr/>
          <p:nvPr>
            <p:custDataLst>
              <p:tags r:id="rId19"/>
            </p:custDataLst>
          </p:nvPr>
        </p:nvCxnSpPr>
        <p:spPr bwMode="auto">
          <a:xfrm>
            <a:off x="2536825" y="5262563"/>
            <a:ext cx="6667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4C917E6D-787B-1810-6C55-79F572A4A252}"/>
              </a:ext>
            </a:extLst>
          </p:cNvPr>
          <p:cNvCxnSpPr/>
          <p:nvPr>
            <p:custDataLst>
              <p:tags r:id="rId20"/>
            </p:custDataLst>
          </p:nvPr>
        </p:nvCxnSpPr>
        <p:spPr bwMode="auto">
          <a:xfrm flipH="1">
            <a:off x="2647950" y="5262563"/>
            <a:ext cx="2698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2169F286-1FE6-B8DB-88CF-DB6698DBC86F}"/>
              </a:ext>
            </a:extLst>
          </p:cNvPr>
          <p:cNvCxnSpPr/>
          <p:nvPr>
            <p:custDataLst>
              <p:tags r:id="rId21"/>
            </p:custDataLst>
          </p:nvPr>
        </p:nvCxnSpPr>
        <p:spPr bwMode="auto">
          <a:xfrm>
            <a:off x="2614613" y="3387725"/>
            <a:ext cx="2698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21C080DD-5192-222B-6239-3DBCA15A6B9D}"/>
              </a:ext>
            </a:extLst>
          </p:cNvPr>
          <p:cNvCxnSpPr/>
          <p:nvPr>
            <p:custDataLst>
              <p:tags r:id="rId22"/>
            </p:custDataLst>
          </p:nvPr>
        </p:nvCxnSpPr>
        <p:spPr bwMode="auto">
          <a:xfrm>
            <a:off x="2616200" y="4887913"/>
            <a:ext cx="2698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01618333-D53B-DEAB-8C67-E15AD4956DDD}"/>
              </a:ext>
            </a:extLst>
          </p:cNvPr>
          <p:cNvCxnSpPr/>
          <p:nvPr>
            <p:custDataLst>
              <p:tags r:id="rId23"/>
            </p:custDataLst>
          </p:nvPr>
        </p:nvCxnSpPr>
        <p:spPr bwMode="auto">
          <a:xfrm>
            <a:off x="2574925" y="4513263"/>
            <a:ext cx="476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2CC50B36-DE6E-5C1C-518F-73D6D2B089EF}"/>
              </a:ext>
            </a:extLst>
          </p:cNvPr>
          <p:cNvCxnSpPr/>
          <p:nvPr>
            <p:custDataLst>
              <p:tags r:id="rId24"/>
            </p:custDataLst>
          </p:nvPr>
        </p:nvCxnSpPr>
        <p:spPr bwMode="auto">
          <a:xfrm>
            <a:off x="2614613" y="3762375"/>
            <a:ext cx="2698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07A53970-D021-88F4-A25A-41DDF97F3C7F}"/>
              </a:ext>
            </a:extLst>
          </p:cNvPr>
          <p:cNvCxnSpPr/>
          <p:nvPr>
            <p:custDataLst>
              <p:tags r:id="rId25"/>
            </p:custDataLst>
          </p:nvPr>
        </p:nvCxnSpPr>
        <p:spPr bwMode="auto">
          <a:xfrm>
            <a:off x="2593975" y="4137025"/>
            <a:ext cx="381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F729D5EA-97CD-3D30-0BF7-E5FCF15E5F27}"/>
              </a:ext>
            </a:extLst>
          </p:cNvPr>
          <p:cNvCxnSpPr/>
          <p:nvPr>
            <p:custDataLst>
              <p:tags r:id="rId26"/>
            </p:custDataLst>
          </p:nvPr>
        </p:nvCxnSpPr>
        <p:spPr bwMode="auto">
          <a:xfrm flipH="1">
            <a:off x="2652713" y="4137025"/>
            <a:ext cx="3333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61" name="Text Placeholder 10">
            <a:extLst>
              <a:ext uri="{FF2B5EF4-FFF2-40B4-BE49-F238E27FC236}">
                <a16:creationId xmlns:a16="http://schemas.microsoft.com/office/drawing/2014/main" id="{83AA3939-A295-A837-4976-0BB578AF1E43}"/>
              </a:ext>
            </a:extLst>
          </p:cNvPr>
          <p:cNvSpPr txBox="1">
            <a:spLocks/>
          </p:cNvSpPr>
          <p:nvPr>
            <p:custDataLst>
              <p:tags r:id="rId27"/>
            </p:custDataLst>
          </p:nvPr>
        </p:nvSpPr>
        <p:spPr bwMode="gray">
          <a:xfrm>
            <a:off x="2297113" y="4046538"/>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200">
                <a:effectLst/>
              </a:rPr>
              <a:t>165</a:t>
            </a:r>
            <a:endParaRPr lang="en-US" sz="1200"/>
          </a:p>
        </p:txBody>
      </p:sp>
      <p:sp>
        <p:nvSpPr>
          <p:cNvPr id="62" name="Text Placeholder 10">
            <a:extLst>
              <a:ext uri="{FF2B5EF4-FFF2-40B4-BE49-F238E27FC236}">
                <a16:creationId xmlns:a16="http://schemas.microsoft.com/office/drawing/2014/main" id="{8C5F2F9C-58EF-78FD-AB59-6B3501721EFF}"/>
              </a:ext>
            </a:extLst>
          </p:cNvPr>
          <p:cNvSpPr txBox="1">
            <a:spLocks/>
          </p:cNvSpPr>
          <p:nvPr>
            <p:custDataLst>
              <p:tags r:id="rId28"/>
            </p:custDataLst>
          </p:nvPr>
        </p:nvSpPr>
        <p:spPr bwMode="auto">
          <a:xfrm>
            <a:off x="1135063" y="3686175"/>
            <a:ext cx="996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629F124-797C-4D31-BD34-F1A2271CBCEA}" type="datetime'''Upper ''''''B''i''''g Br''''''a''''''n''''''ch'''''''">
              <a:rPr lang="en-US" altLang="en-US" sz="1000" smtClean="0"/>
              <a:pPr marL="0" indent="0" algn="r">
                <a:spcBef>
                  <a:spcPct val="0"/>
                </a:spcBef>
                <a:spcAft>
                  <a:spcPct val="0"/>
                </a:spcAft>
                <a:buNone/>
              </a:pPr>
              <a:t>Upper Big Branch</a:t>
            </a:fld>
            <a:endParaRPr lang="en-US" sz="1000"/>
          </a:p>
        </p:txBody>
      </p:sp>
      <p:sp>
        <p:nvSpPr>
          <p:cNvPr id="63" name="Text Placeholder 10">
            <a:extLst>
              <a:ext uri="{FF2B5EF4-FFF2-40B4-BE49-F238E27FC236}">
                <a16:creationId xmlns:a16="http://schemas.microsoft.com/office/drawing/2014/main" id="{C5CAEE8D-175E-9C94-3703-7212462A56C3}"/>
              </a:ext>
            </a:extLst>
          </p:cNvPr>
          <p:cNvSpPr txBox="1">
            <a:spLocks/>
          </p:cNvSpPr>
          <p:nvPr>
            <p:custDataLst>
              <p:tags r:id="rId29"/>
            </p:custDataLst>
          </p:nvPr>
        </p:nvSpPr>
        <p:spPr bwMode="auto">
          <a:xfrm>
            <a:off x="1436688" y="4060825"/>
            <a:ext cx="695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664156F-AE53-4936-8274-B4D9F470B9C6}" type="datetime'He''''''il''''ong''j''''''''''''i''''a''n''''''''''g'''">
              <a:rPr lang="en-US" altLang="en-US" sz="1000" smtClean="0"/>
              <a:pPr marL="0" indent="0" algn="r">
                <a:spcBef>
                  <a:spcPct val="0"/>
                </a:spcBef>
                <a:spcAft>
                  <a:spcPct val="0"/>
                </a:spcAft>
                <a:buNone/>
              </a:pPr>
              <a:t>Heilongjiang</a:t>
            </a:fld>
            <a:endParaRPr lang="en-US" sz="1000"/>
          </a:p>
        </p:txBody>
      </p:sp>
      <p:sp>
        <p:nvSpPr>
          <p:cNvPr id="64" name="Text Placeholder 10">
            <a:extLst>
              <a:ext uri="{FF2B5EF4-FFF2-40B4-BE49-F238E27FC236}">
                <a16:creationId xmlns:a16="http://schemas.microsoft.com/office/drawing/2014/main" id="{429250BC-4CFE-626B-75FA-DA1AF1E175DE}"/>
              </a:ext>
            </a:extLst>
          </p:cNvPr>
          <p:cNvSpPr txBox="1">
            <a:spLocks/>
          </p:cNvSpPr>
          <p:nvPr>
            <p:custDataLst>
              <p:tags r:id="rId30"/>
            </p:custDataLst>
          </p:nvPr>
        </p:nvSpPr>
        <p:spPr bwMode="gray">
          <a:xfrm>
            <a:off x="2278063" y="4422775"/>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200">
                <a:effectLst/>
              </a:rPr>
              <a:t>301</a:t>
            </a:r>
          </a:p>
        </p:txBody>
      </p:sp>
      <p:sp>
        <p:nvSpPr>
          <p:cNvPr id="65" name="Text Placeholder 10">
            <a:extLst>
              <a:ext uri="{FF2B5EF4-FFF2-40B4-BE49-F238E27FC236}">
                <a16:creationId xmlns:a16="http://schemas.microsoft.com/office/drawing/2014/main" id="{37531BC6-0F4B-6A15-D76F-4A73DB0D3EC3}"/>
              </a:ext>
            </a:extLst>
          </p:cNvPr>
          <p:cNvSpPr txBox="1">
            <a:spLocks/>
          </p:cNvSpPr>
          <p:nvPr>
            <p:custDataLst>
              <p:tags r:id="rId31"/>
            </p:custDataLst>
          </p:nvPr>
        </p:nvSpPr>
        <p:spPr bwMode="gray">
          <a:xfrm>
            <a:off x="2401888" y="3671888"/>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200">
                <a:effectLst/>
              </a:rPr>
              <a:t>29</a:t>
            </a:r>
          </a:p>
        </p:txBody>
      </p:sp>
      <p:sp>
        <p:nvSpPr>
          <p:cNvPr id="66" name="Text Placeholder 10">
            <a:extLst>
              <a:ext uri="{FF2B5EF4-FFF2-40B4-BE49-F238E27FC236}">
                <a16:creationId xmlns:a16="http://schemas.microsoft.com/office/drawing/2014/main" id="{4AB6844E-F9B4-D691-6951-DC888632F738}"/>
              </a:ext>
            </a:extLst>
          </p:cNvPr>
          <p:cNvSpPr txBox="1">
            <a:spLocks/>
          </p:cNvSpPr>
          <p:nvPr>
            <p:custDataLst>
              <p:tags r:id="rId32"/>
            </p:custDataLst>
          </p:nvPr>
        </p:nvSpPr>
        <p:spPr bwMode="gray">
          <a:xfrm>
            <a:off x="2490788" y="2546350"/>
            <a:ext cx="128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F3C9DB4-B91A-4728-A01C-DA8E2BDAC8AE}" type="datetime'''''''''''''''''''''''''''''''''''''''''''''0'''">
              <a:rPr lang="en-US" altLang="en-US" sz="1200" smtClean="0"/>
              <a:pPr marL="0" indent="0" algn="r">
                <a:spcBef>
                  <a:spcPct val="0"/>
                </a:spcBef>
                <a:spcAft>
                  <a:spcPct val="0"/>
                </a:spcAft>
                <a:buNone/>
              </a:pPr>
              <a:t>0</a:t>
            </a:fld>
            <a:endParaRPr lang="en-US" sz="1200"/>
          </a:p>
        </p:txBody>
      </p:sp>
      <p:sp>
        <p:nvSpPr>
          <p:cNvPr id="67" name="Text Placeholder 10">
            <a:extLst>
              <a:ext uri="{FF2B5EF4-FFF2-40B4-BE49-F238E27FC236}">
                <a16:creationId xmlns:a16="http://schemas.microsoft.com/office/drawing/2014/main" id="{7FA1699B-FD2D-A9B3-ABD8-E1000BEEDC73}"/>
              </a:ext>
            </a:extLst>
          </p:cNvPr>
          <p:cNvSpPr txBox="1">
            <a:spLocks/>
          </p:cNvSpPr>
          <p:nvPr>
            <p:custDataLst>
              <p:tags r:id="rId33"/>
            </p:custDataLst>
          </p:nvPr>
        </p:nvSpPr>
        <p:spPr bwMode="gray">
          <a:xfrm>
            <a:off x="2403475" y="4797425"/>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200">
                <a:effectLst/>
              </a:rPr>
              <a:t>24</a:t>
            </a:r>
            <a:endParaRPr lang="en-US" sz="1200"/>
          </a:p>
        </p:txBody>
      </p:sp>
      <p:sp>
        <p:nvSpPr>
          <p:cNvPr id="68" name="Text Placeholder 10">
            <a:extLst>
              <a:ext uri="{FF2B5EF4-FFF2-40B4-BE49-F238E27FC236}">
                <a16:creationId xmlns:a16="http://schemas.microsoft.com/office/drawing/2014/main" id="{9605DCEC-6081-CCC3-BEF2-9DBB6ABF0F98}"/>
              </a:ext>
            </a:extLst>
          </p:cNvPr>
          <p:cNvSpPr txBox="1">
            <a:spLocks/>
          </p:cNvSpPr>
          <p:nvPr>
            <p:custDataLst>
              <p:tags r:id="rId34"/>
            </p:custDataLst>
          </p:nvPr>
        </p:nvSpPr>
        <p:spPr bwMode="auto">
          <a:xfrm>
            <a:off x="1508124" y="3311525"/>
            <a:ext cx="6238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3D23678-F018-4487-BF84-1CA18D79EFE6}" type="datetime'Ch''''''''''''''''e''''r''n''''''''''''''''''''oby''''''l'''">
              <a:rPr lang="en-US" altLang="en-US" sz="1000" smtClean="0"/>
              <a:pPr marL="0" indent="0" algn="r">
                <a:spcBef>
                  <a:spcPct val="0"/>
                </a:spcBef>
                <a:spcAft>
                  <a:spcPct val="0"/>
                </a:spcAft>
                <a:buNone/>
              </a:pPr>
              <a:t>Chernobyl</a:t>
            </a:fld>
            <a:r>
              <a:rPr lang="en-US" altLang="en-US" sz="1000" baseline="30000"/>
              <a:t>3</a:t>
            </a:r>
            <a:endParaRPr lang="en-US" sz="1000"/>
          </a:p>
        </p:txBody>
      </p:sp>
      <p:sp>
        <p:nvSpPr>
          <p:cNvPr id="72" name="Text Placeholder 10">
            <a:extLst>
              <a:ext uri="{FF2B5EF4-FFF2-40B4-BE49-F238E27FC236}">
                <a16:creationId xmlns:a16="http://schemas.microsoft.com/office/drawing/2014/main" id="{DE7F7A35-2EDC-3E2D-09E0-BCEC7E78D02C}"/>
              </a:ext>
            </a:extLst>
          </p:cNvPr>
          <p:cNvSpPr txBox="1">
            <a:spLocks/>
          </p:cNvSpPr>
          <p:nvPr>
            <p:custDataLst>
              <p:tags r:id="rId35"/>
            </p:custDataLst>
          </p:nvPr>
        </p:nvSpPr>
        <p:spPr bwMode="auto">
          <a:xfrm>
            <a:off x="1395413" y="4811713"/>
            <a:ext cx="736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631E200-EF1E-4403-B299-7DCBB3ADB287}" type="datetime'''Ghi''''''''sle''''n''''''gh''''ie''''''''''''''''n'''">
              <a:rPr lang="en-US" altLang="en-US" sz="1000" smtClean="0"/>
              <a:pPr marL="0" indent="0" algn="r">
                <a:spcBef>
                  <a:spcPct val="0"/>
                </a:spcBef>
                <a:spcAft>
                  <a:spcPct val="0"/>
                </a:spcAft>
                <a:buNone/>
              </a:pPr>
              <a:t>Ghislenghien</a:t>
            </a:fld>
            <a:endParaRPr lang="en-US" sz="1000"/>
          </a:p>
        </p:txBody>
      </p:sp>
      <p:sp>
        <p:nvSpPr>
          <p:cNvPr id="73" name="Text Placeholder 10">
            <a:extLst>
              <a:ext uri="{FF2B5EF4-FFF2-40B4-BE49-F238E27FC236}">
                <a16:creationId xmlns:a16="http://schemas.microsoft.com/office/drawing/2014/main" id="{44E5482E-630D-ADE9-F05F-D51ECDCBF7EB}"/>
              </a:ext>
            </a:extLst>
          </p:cNvPr>
          <p:cNvSpPr txBox="1">
            <a:spLocks/>
          </p:cNvSpPr>
          <p:nvPr>
            <p:custDataLst>
              <p:tags r:id="rId36"/>
            </p:custDataLst>
          </p:nvPr>
        </p:nvSpPr>
        <p:spPr bwMode="gray">
          <a:xfrm>
            <a:off x="2401888" y="3297238"/>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sz="1200"/>
              <a:t>30</a:t>
            </a:r>
          </a:p>
        </p:txBody>
      </p:sp>
      <p:sp>
        <p:nvSpPr>
          <p:cNvPr id="74" name="Text Placeholder 10">
            <a:extLst>
              <a:ext uri="{FF2B5EF4-FFF2-40B4-BE49-F238E27FC236}">
                <a16:creationId xmlns:a16="http://schemas.microsoft.com/office/drawing/2014/main" id="{805B2F9C-219C-E3C5-DE69-4172BF8A45CD}"/>
              </a:ext>
            </a:extLst>
          </p:cNvPr>
          <p:cNvSpPr txBox="1">
            <a:spLocks/>
          </p:cNvSpPr>
          <p:nvPr>
            <p:custDataLst>
              <p:tags r:id="rId37"/>
            </p:custDataLst>
          </p:nvPr>
        </p:nvSpPr>
        <p:spPr bwMode="gray">
          <a:xfrm>
            <a:off x="2239963" y="517207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200">
                <a:effectLst/>
              </a:rPr>
              <a:t>550</a:t>
            </a:r>
            <a:endParaRPr lang="en-US" sz="1200"/>
          </a:p>
        </p:txBody>
      </p:sp>
      <p:sp>
        <p:nvSpPr>
          <p:cNvPr id="75" name="Text Placeholder 10">
            <a:extLst>
              <a:ext uri="{FF2B5EF4-FFF2-40B4-BE49-F238E27FC236}">
                <a16:creationId xmlns:a16="http://schemas.microsoft.com/office/drawing/2014/main" id="{333CDC0E-C35A-520B-4AD5-90CFB8D72296}"/>
              </a:ext>
            </a:extLst>
          </p:cNvPr>
          <p:cNvSpPr txBox="1">
            <a:spLocks/>
          </p:cNvSpPr>
          <p:nvPr>
            <p:custDataLst>
              <p:tags r:id="rId38"/>
            </p:custDataLst>
          </p:nvPr>
        </p:nvSpPr>
        <p:spPr bwMode="auto">
          <a:xfrm>
            <a:off x="1162050" y="2935288"/>
            <a:ext cx="969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E80409F-511C-426A-92FB-D3F5D4D11A3D}" type="datetime'T''''h''r''''e''''e'''''''' ''Mi''''''le ''''Isl''and'''''''">
              <a:rPr lang="en-US" altLang="en-US" sz="1000" smtClean="0"/>
              <a:pPr marL="0" indent="0" algn="r">
                <a:spcBef>
                  <a:spcPct val="0"/>
                </a:spcBef>
                <a:spcAft>
                  <a:spcPct val="0"/>
                </a:spcAft>
                <a:buNone/>
              </a:pPr>
              <a:t>Three Mile Island</a:t>
            </a:fld>
            <a:endParaRPr lang="en-US" sz="1000"/>
          </a:p>
        </p:txBody>
      </p:sp>
      <p:sp>
        <p:nvSpPr>
          <p:cNvPr id="76" name="Text Placeholder 10">
            <a:extLst>
              <a:ext uri="{FF2B5EF4-FFF2-40B4-BE49-F238E27FC236}">
                <a16:creationId xmlns:a16="http://schemas.microsoft.com/office/drawing/2014/main" id="{1F6E8DF0-541E-033F-FE01-4EE0792CBF8C}"/>
              </a:ext>
            </a:extLst>
          </p:cNvPr>
          <p:cNvSpPr txBox="1">
            <a:spLocks/>
          </p:cNvSpPr>
          <p:nvPr>
            <p:custDataLst>
              <p:tags r:id="rId39"/>
            </p:custDataLst>
          </p:nvPr>
        </p:nvSpPr>
        <p:spPr bwMode="auto">
          <a:xfrm>
            <a:off x="1328738" y="5186363"/>
            <a:ext cx="803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EBCAADD-2824-4BB6-8716-2DF8E85E65DA}" type="datetime'''''''C''''''''''''''''''D''''''''''''M''X ''''Peme''''x'''">
              <a:rPr lang="en-US" altLang="en-US" sz="1000" smtClean="0"/>
              <a:pPr marL="0" indent="0" algn="r">
                <a:spcBef>
                  <a:spcPct val="0"/>
                </a:spcBef>
                <a:spcAft>
                  <a:spcPct val="0"/>
                </a:spcAft>
                <a:buNone/>
              </a:pPr>
              <a:t>CDMX Pemex</a:t>
            </a:fld>
            <a:endParaRPr lang="en-US" sz="1000"/>
          </a:p>
        </p:txBody>
      </p:sp>
      <p:sp>
        <p:nvSpPr>
          <p:cNvPr id="77" name="Text Placeholder 10">
            <a:extLst>
              <a:ext uri="{FF2B5EF4-FFF2-40B4-BE49-F238E27FC236}">
                <a16:creationId xmlns:a16="http://schemas.microsoft.com/office/drawing/2014/main" id="{2594E12C-1C28-89A6-0150-95789129D70A}"/>
              </a:ext>
            </a:extLst>
          </p:cNvPr>
          <p:cNvSpPr txBox="1">
            <a:spLocks/>
          </p:cNvSpPr>
          <p:nvPr>
            <p:custDataLst>
              <p:tags r:id="rId40"/>
            </p:custDataLst>
          </p:nvPr>
        </p:nvSpPr>
        <p:spPr bwMode="gray">
          <a:xfrm>
            <a:off x="2490788" y="2921000"/>
            <a:ext cx="128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C4A2C49-D06A-45E7-9E6A-8C2A9CC19389}" type="datetime'''''''0'''''''''''''''''">
              <a:rPr lang="en-US" altLang="en-US" sz="1200" smtClean="0"/>
              <a:pPr marL="0" indent="0" algn="r">
                <a:spcBef>
                  <a:spcPct val="0"/>
                </a:spcBef>
                <a:spcAft>
                  <a:spcPct val="0"/>
                </a:spcAft>
                <a:buNone/>
              </a:pPr>
              <a:t>0</a:t>
            </a:fld>
            <a:endParaRPr lang="en-US" sz="1200" dirty="0"/>
          </a:p>
        </p:txBody>
      </p:sp>
      <p:sp>
        <p:nvSpPr>
          <p:cNvPr id="78" name="Text Placeholder 10">
            <a:extLst>
              <a:ext uri="{FF2B5EF4-FFF2-40B4-BE49-F238E27FC236}">
                <a16:creationId xmlns:a16="http://schemas.microsoft.com/office/drawing/2014/main" id="{D3734DF9-9791-CB92-2CD3-62E822E96774}"/>
              </a:ext>
            </a:extLst>
          </p:cNvPr>
          <p:cNvSpPr txBox="1">
            <a:spLocks/>
          </p:cNvSpPr>
          <p:nvPr>
            <p:custDataLst>
              <p:tags r:id="rId41"/>
            </p:custDataLst>
          </p:nvPr>
        </p:nvSpPr>
        <p:spPr bwMode="gray">
          <a:xfrm>
            <a:off x="2236788" y="5548313"/>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200">
                <a:effectLst/>
              </a:rPr>
              <a:t>575</a:t>
            </a:r>
            <a:endParaRPr lang="en-US" sz="1200"/>
          </a:p>
        </p:txBody>
      </p:sp>
      <p:sp>
        <p:nvSpPr>
          <p:cNvPr id="79" name="Text Placeholder 10">
            <a:extLst>
              <a:ext uri="{FF2B5EF4-FFF2-40B4-BE49-F238E27FC236}">
                <a16:creationId xmlns:a16="http://schemas.microsoft.com/office/drawing/2014/main" id="{3DB4E3F5-F475-ECEF-B4D8-F0712F08A9D5}"/>
              </a:ext>
            </a:extLst>
          </p:cNvPr>
          <p:cNvSpPr txBox="1">
            <a:spLocks/>
          </p:cNvSpPr>
          <p:nvPr>
            <p:custDataLst>
              <p:tags r:id="rId42"/>
            </p:custDataLst>
          </p:nvPr>
        </p:nvSpPr>
        <p:spPr bwMode="auto">
          <a:xfrm>
            <a:off x="1465262" y="2560638"/>
            <a:ext cx="666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167D15E-12D1-4E68-B016-AB4BAAF1A32D}" type="datetime'F''u''''''ku''''''''s''''''''h''''i''''''m''''''''''''a'''''''">
              <a:rPr lang="en-US" altLang="en-US" sz="1000" smtClean="0"/>
              <a:pPr marL="0" indent="0" algn="r">
                <a:spcBef>
                  <a:spcPct val="0"/>
                </a:spcBef>
                <a:spcAft>
                  <a:spcPct val="0"/>
                </a:spcAft>
                <a:buNone/>
              </a:pPr>
              <a:t>Fukushima</a:t>
            </a:fld>
            <a:r>
              <a:rPr lang="en-US" altLang="en-US" sz="1000" baseline="30000"/>
              <a:t>2</a:t>
            </a:r>
            <a:endParaRPr lang="en-US" sz="1000"/>
          </a:p>
        </p:txBody>
      </p:sp>
      <p:sp>
        <p:nvSpPr>
          <p:cNvPr id="80" name="Text Placeholder 10">
            <a:extLst>
              <a:ext uri="{FF2B5EF4-FFF2-40B4-BE49-F238E27FC236}">
                <a16:creationId xmlns:a16="http://schemas.microsoft.com/office/drawing/2014/main" id="{E1FB5FD4-E567-4D10-6096-7F22F817BE7B}"/>
              </a:ext>
            </a:extLst>
          </p:cNvPr>
          <p:cNvSpPr txBox="1">
            <a:spLocks/>
          </p:cNvSpPr>
          <p:nvPr>
            <p:custDataLst>
              <p:tags r:id="rId43"/>
            </p:custDataLst>
          </p:nvPr>
        </p:nvSpPr>
        <p:spPr bwMode="auto">
          <a:xfrm>
            <a:off x="1654175" y="5562600"/>
            <a:ext cx="477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t>Ufa train</a:t>
            </a:r>
            <a:endParaRPr lang="en-US" sz="1000"/>
          </a:p>
        </p:txBody>
      </p:sp>
      <p:sp>
        <p:nvSpPr>
          <p:cNvPr id="82" name="Text Placeholder 10">
            <a:extLst>
              <a:ext uri="{FF2B5EF4-FFF2-40B4-BE49-F238E27FC236}">
                <a16:creationId xmlns:a16="http://schemas.microsoft.com/office/drawing/2014/main" id="{E0877C95-429D-AB90-7FA8-DF2DB8B399B2}"/>
              </a:ext>
            </a:extLst>
          </p:cNvPr>
          <p:cNvSpPr txBox="1">
            <a:spLocks/>
          </p:cNvSpPr>
          <p:nvPr>
            <p:custDataLst>
              <p:tags r:id="rId44"/>
            </p:custDataLst>
          </p:nvPr>
        </p:nvSpPr>
        <p:spPr bwMode="gray">
          <a:xfrm>
            <a:off x="4457700" y="2546350"/>
            <a:ext cx="4968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0C7830E-96C6-4ECA-8DA3-E04A9BEB06A1}" type="datetime'1''''''''''1'',''''''''''''''9''''''87'''''''''''''''''''''">
              <a:rPr lang="en-US" altLang="en-US" sz="1200" smtClean="0"/>
              <a:pPr marL="0" indent="0">
                <a:spcBef>
                  <a:spcPct val="0"/>
                </a:spcBef>
                <a:spcAft>
                  <a:spcPct val="0"/>
                </a:spcAft>
                <a:buNone/>
              </a:pPr>
              <a:t>11,987</a:t>
            </a:fld>
            <a:endParaRPr lang="en-US" sz="1200"/>
          </a:p>
        </p:txBody>
      </p:sp>
      <p:sp>
        <p:nvSpPr>
          <p:cNvPr id="83" name="Text Placeholder 10">
            <a:extLst>
              <a:ext uri="{FF2B5EF4-FFF2-40B4-BE49-F238E27FC236}">
                <a16:creationId xmlns:a16="http://schemas.microsoft.com/office/drawing/2014/main" id="{DE53BEDA-07C9-7B56-309B-31BFCB91EA76}"/>
              </a:ext>
            </a:extLst>
          </p:cNvPr>
          <p:cNvSpPr txBox="1">
            <a:spLocks/>
          </p:cNvSpPr>
          <p:nvPr>
            <p:custDataLst>
              <p:tags r:id="rId45"/>
            </p:custDataLst>
          </p:nvPr>
        </p:nvSpPr>
        <p:spPr bwMode="gray">
          <a:xfrm>
            <a:off x="2838450" y="2921000"/>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3A00FD4-1943-46D3-9719-552CDDC2DEBB}" type="datetime'''1,''''''''''''''''''''''''''1''''''''3''4'''''''''''''''''''">
              <a:rPr lang="en-US" altLang="en-US" sz="1200" smtClean="0"/>
              <a:pPr marL="0" indent="0">
                <a:spcBef>
                  <a:spcPct val="0"/>
                </a:spcBef>
                <a:spcAft>
                  <a:spcPct val="0"/>
                </a:spcAft>
                <a:buNone/>
              </a:pPr>
              <a:t>1,134</a:t>
            </a:fld>
            <a:endParaRPr lang="en-US" sz="1200"/>
          </a:p>
        </p:txBody>
      </p:sp>
      <p:sp>
        <p:nvSpPr>
          <p:cNvPr id="84" name="Text Placeholder 10">
            <a:extLst>
              <a:ext uri="{FF2B5EF4-FFF2-40B4-BE49-F238E27FC236}">
                <a16:creationId xmlns:a16="http://schemas.microsoft.com/office/drawing/2014/main" id="{6466FE31-4223-FFE9-8CD9-B0014B063EB7}"/>
              </a:ext>
            </a:extLst>
          </p:cNvPr>
          <p:cNvSpPr txBox="1">
            <a:spLocks/>
          </p:cNvSpPr>
          <p:nvPr>
            <p:custDataLst>
              <p:tags r:id="rId46"/>
            </p:custDataLst>
          </p:nvPr>
        </p:nvSpPr>
        <p:spPr bwMode="gray">
          <a:xfrm>
            <a:off x="3167063" y="3297238"/>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EE7966A-E8F5-49CE-A582-B27D7409A064}" type="datetime'3'''''''''''''''''''''''''''',3''''''''''''''03'''''''''''''">
              <a:rPr lang="en-US" altLang="en-US" sz="1200" smtClean="0"/>
              <a:pPr marL="0" indent="0">
                <a:spcBef>
                  <a:spcPct val="0"/>
                </a:spcBef>
                <a:spcAft>
                  <a:spcPct val="0"/>
                </a:spcAft>
                <a:buNone/>
              </a:pPr>
              <a:t>3,303</a:t>
            </a:fld>
            <a:endParaRPr lang="en-US" sz="1200"/>
          </a:p>
        </p:txBody>
      </p:sp>
      <p:sp>
        <p:nvSpPr>
          <p:cNvPr id="85" name="Text Placeholder 10">
            <a:extLst>
              <a:ext uri="{FF2B5EF4-FFF2-40B4-BE49-F238E27FC236}">
                <a16:creationId xmlns:a16="http://schemas.microsoft.com/office/drawing/2014/main" id="{4337631C-F143-723B-E9A4-231328162624}"/>
              </a:ext>
            </a:extLst>
          </p:cNvPr>
          <p:cNvSpPr txBox="1">
            <a:spLocks/>
          </p:cNvSpPr>
          <p:nvPr>
            <p:custDataLst>
              <p:tags r:id="rId47"/>
            </p:custDataLst>
          </p:nvPr>
        </p:nvSpPr>
        <p:spPr bwMode="gray">
          <a:xfrm>
            <a:off x="3105150" y="3671888"/>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BA58C11-2CBF-41B6-8EFE-C1527725F85B}" type="datetime'''''''''''''''2'''''''',''''''''''8''''''''''''''''9''0'''''''">
              <a:rPr lang="en-US" altLang="en-US" sz="1200" smtClean="0"/>
              <a:pPr marL="0" indent="0">
                <a:spcBef>
                  <a:spcPct val="0"/>
                </a:spcBef>
                <a:spcAft>
                  <a:spcPct val="0"/>
                </a:spcAft>
                <a:buNone/>
              </a:pPr>
              <a:t>2,890</a:t>
            </a:fld>
            <a:endParaRPr lang="en-US" sz="1200"/>
          </a:p>
        </p:txBody>
      </p:sp>
      <p:sp>
        <p:nvSpPr>
          <p:cNvPr id="87" name="Text Placeholder 10">
            <a:extLst>
              <a:ext uri="{FF2B5EF4-FFF2-40B4-BE49-F238E27FC236}">
                <a16:creationId xmlns:a16="http://schemas.microsoft.com/office/drawing/2014/main" id="{82901ACF-6BE5-B356-4CBD-EB99B802676A}"/>
              </a:ext>
            </a:extLst>
          </p:cNvPr>
          <p:cNvSpPr txBox="1">
            <a:spLocks/>
          </p:cNvSpPr>
          <p:nvPr>
            <p:custDataLst>
              <p:tags r:id="rId48"/>
            </p:custDataLst>
          </p:nvPr>
        </p:nvSpPr>
        <p:spPr bwMode="gray">
          <a:xfrm>
            <a:off x="2813050" y="4422775"/>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005C0BD-5ECE-4104-98F8-495938209716}" type="datetime'''''''''''''6''6''''''''0'''''''''">
              <a:rPr lang="en-US" altLang="en-US" sz="1200" smtClean="0"/>
              <a:pPr marL="0" indent="0">
                <a:spcBef>
                  <a:spcPct val="0"/>
                </a:spcBef>
                <a:spcAft>
                  <a:spcPct val="0"/>
                </a:spcAft>
                <a:buNone/>
              </a:pPr>
              <a:t>660</a:t>
            </a:fld>
            <a:endParaRPr lang="en-US" sz="1200"/>
          </a:p>
        </p:txBody>
      </p:sp>
      <p:sp>
        <p:nvSpPr>
          <p:cNvPr id="88" name="Text Placeholder 10">
            <a:extLst>
              <a:ext uri="{FF2B5EF4-FFF2-40B4-BE49-F238E27FC236}">
                <a16:creationId xmlns:a16="http://schemas.microsoft.com/office/drawing/2014/main" id="{9462FA5C-B198-C765-653A-B733B38D0CE9}"/>
              </a:ext>
            </a:extLst>
          </p:cNvPr>
          <p:cNvSpPr txBox="1">
            <a:spLocks/>
          </p:cNvSpPr>
          <p:nvPr>
            <p:custDataLst>
              <p:tags r:id="rId49"/>
            </p:custDataLst>
          </p:nvPr>
        </p:nvSpPr>
        <p:spPr bwMode="gray">
          <a:xfrm>
            <a:off x="2674938" y="4797425"/>
            <a:ext cx="128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D723688-AAC1-4095-B725-1D64AB3BACCA}" type="datetime'''''6'''''''''''''">
              <a:rPr lang="en-US" altLang="en-US" sz="1200" smtClean="0"/>
              <a:pPr marL="0" indent="0">
                <a:spcBef>
                  <a:spcPct val="0"/>
                </a:spcBef>
                <a:spcAft>
                  <a:spcPct val="0"/>
                </a:spcAft>
                <a:buNone/>
              </a:pPr>
              <a:t>6</a:t>
            </a:fld>
            <a:endParaRPr lang="en-US" sz="1200"/>
          </a:p>
        </p:txBody>
      </p:sp>
      <p:sp>
        <p:nvSpPr>
          <p:cNvPr id="89" name="Text Placeholder 10">
            <a:extLst>
              <a:ext uri="{FF2B5EF4-FFF2-40B4-BE49-F238E27FC236}">
                <a16:creationId xmlns:a16="http://schemas.microsoft.com/office/drawing/2014/main" id="{6B5CADA4-AC7B-EC7C-9069-7CDF5799F042}"/>
              </a:ext>
            </a:extLst>
          </p:cNvPr>
          <p:cNvSpPr txBox="1">
            <a:spLocks/>
          </p:cNvSpPr>
          <p:nvPr>
            <p:custDataLst>
              <p:tags r:id="rId50"/>
            </p:custDataLst>
          </p:nvPr>
        </p:nvSpPr>
        <p:spPr bwMode="auto">
          <a:xfrm>
            <a:off x="1801813" y="4437063"/>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82A7878-1B62-4356-AA7B-DE8B7FCF3B13}" type="datetime'''''S''''o''''''''''''''''''m''''''''''''''''''a'''''''''''">
              <a:rPr lang="en-US" altLang="en-US" sz="1000" smtClean="0"/>
              <a:pPr marL="0" indent="0" algn="r">
                <a:spcBef>
                  <a:spcPct val="0"/>
                </a:spcBef>
                <a:spcAft>
                  <a:spcPct val="0"/>
                </a:spcAft>
                <a:buNone/>
              </a:pPr>
              <a:t>Soma</a:t>
            </a:fld>
            <a:endParaRPr lang="en-US" sz="1000"/>
          </a:p>
        </p:txBody>
      </p:sp>
      <p:sp>
        <p:nvSpPr>
          <p:cNvPr id="35" name="Rectangle 34"/>
          <p:cNvSpPr/>
          <p:nvPr>
            <p:custDataLst>
              <p:tags r:id="rId51"/>
            </p:custDataLst>
          </p:nvPr>
        </p:nvSpPr>
        <p:spPr bwMode="auto">
          <a:xfrm>
            <a:off x="2914650" y="2006600"/>
            <a:ext cx="2046288" cy="254000"/>
          </a:xfrm>
          <a:prstGeom prst="rect">
            <a:avLst/>
          </a:prstGeom>
          <a:noFill/>
          <a:ln w="635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0" name="Rectangle 89">
            <a:extLst>
              <a:ext uri="{FF2B5EF4-FFF2-40B4-BE49-F238E27FC236}">
                <a16:creationId xmlns:a16="http://schemas.microsoft.com/office/drawing/2014/main" id="{677D7D53-8B42-E270-CAE7-F95281A0507D}"/>
              </a:ext>
            </a:extLst>
          </p:cNvPr>
          <p:cNvSpPr/>
          <p:nvPr>
            <p:custDataLst>
              <p:tags r:id="rId52"/>
            </p:custDataLst>
          </p:nvPr>
        </p:nvSpPr>
        <p:spPr bwMode="auto">
          <a:xfrm>
            <a:off x="2965450" y="2062163"/>
            <a:ext cx="179388" cy="133350"/>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1" name="Rectangle 90">
            <a:extLst>
              <a:ext uri="{FF2B5EF4-FFF2-40B4-BE49-F238E27FC236}">
                <a16:creationId xmlns:a16="http://schemas.microsoft.com/office/drawing/2014/main" id="{CF34DAC1-8749-14DE-139F-9261616BDCFA}"/>
              </a:ext>
            </a:extLst>
          </p:cNvPr>
          <p:cNvSpPr/>
          <p:nvPr>
            <p:custDataLst>
              <p:tags r:id="rId53"/>
            </p:custDataLst>
          </p:nvPr>
        </p:nvSpPr>
        <p:spPr bwMode="auto">
          <a:xfrm>
            <a:off x="3697288" y="2062163"/>
            <a:ext cx="179388" cy="133350"/>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3" name="Text Placeholder 10">
            <a:extLst>
              <a:ext uri="{FF2B5EF4-FFF2-40B4-BE49-F238E27FC236}">
                <a16:creationId xmlns:a16="http://schemas.microsoft.com/office/drawing/2014/main" id="{60011FFB-1003-83CA-AC85-53031D78BA77}"/>
              </a:ext>
            </a:extLst>
          </p:cNvPr>
          <p:cNvSpPr txBox="1">
            <a:spLocks/>
          </p:cNvSpPr>
          <p:nvPr>
            <p:custDataLst>
              <p:tags r:id="rId54"/>
            </p:custDataLst>
          </p:nvPr>
        </p:nvSpPr>
        <p:spPr bwMode="auto">
          <a:xfrm>
            <a:off x="3195638" y="2057400"/>
            <a:ext cx="400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471DF2E-3CAF-42C5-BF23-F5FCEA45FE7B}" type="datetime'D''''''''''e''''''''''''''''at''''h''''''''''''''''s'''''">
              <a:rPr lang="en-US" altLang="en-US" sz="1000" smtClean="0"/>
              <a:pPr marL="0" indent="0">
                <a:spcBef>
                  <a:spcPct val="0"/>
                </a:spcBef>
                <a:spcAft>
                  <a:spcPct val="0"/>
                </a:spcAft>
                <a:buNone/>
              </a:pPr>
              <a:t>Deaths</a:t>
            </a:fld>
            <a:endParaRPr lang="en-US" sz="1000"/>
          </a:p>
        </p:txBody>
      </p:sp>
      <p:sp>
        <p:nvSpPr>
          <p:cNvPr id="94" name="Text Placeholder 10">
            <a:extLst>
              <a:ext uri="{FF2B5EF4-FFF2-40B4-BE49-F238E27FC236}">
                <a16:creationId xmlns:a16="http://schemas.microsoft.com/office/drawing/2014/main" id="{4945239A-48D3-DADB-FA58-32769A60AD96}"/>
              </a:ext>
            </a:extLst>
          </p:cNvPr>
          <p:cNvSpPr txBox="1">
            <a:spLocks/>
          </p:cNvSpPr>
          <p:nvPr>
            <p:custDataLst>
              <p:tags r:id="rId55"/>
            </p:custDataLst>
          </p:nvPr>
        </p:nvSpPr>
        <p:spPr bwMode="auto">
          <a:xfrm>
            <a:off x="3927476" y="2057400"/>
            <a:ext cx="982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Newspaper count</a:t>
            </a:r>
            <a:endParaRPr lang="en-US" sz="1000"/>
          </a:p>
        </p:txBody>
      </p:sp>
      <p:sp>
        <p:nvSpPr>
          <p:cNvPr id="36" name="Rectangle 35"/>
          <p:cNvSpPr/>
          <p:nvPr>
            <p:custDataLst>
              <p:tags r:id="rId56"/>
            </p:custDataLst>
          </p:nvPr>
        </p:nvSpPr>
        <p:spPr bwMode="auto">
          <a:xfrm>
            <a:off x="6297613" y="1995488"/>
            <a:ext cx="2774950" cy="457200"/>
          </a:xfrm>
          <a:prstGeom prst="rect">
            <a:avLst/>
          </a:prstGeom>
          <a:noFill/>
          <a:ln w="635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9" name="Rectangle 28"/>
          <p:cNvSpPr/>
          <p:nvPr>
            <p:custDataLst>
              <p:tags r:id="rId57"/>
            </p:custDataLst>
          </p:nvPr>
        </p:nvSpPr>
        <p:spPr bwMode="auto">
          <a:xfrm>
            <a:off x="6348413" y="2051050"/>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 name="Rectangle 29"/>
          <p:cNvSpPr/>
          <p:nvPr>
            <p:custDataLst>
              <p:tags r:id="rId58"/>
            </p:custDataLst>
          </p:nvPr>
        </p:nvSpPr>
        <p:spPr bwMode="auto">
          <a:xfrm>
            <a:off x="6348413" y="2254250"/>
            <a:ext cx="179388" cy="133350"/>
          </a:xfrm>
          <a:prstGeom prst="rect">
            <a:avLst/>
          </a:prstGeom>
          <a:pattFill prst="ltDnDiag">
            <a:fgClr>
              <a:schemeClr val="tx1"/>
            </a:fgClr>
            <a:bgClr>
              <a:schemeClr val="bg1"/>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4"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auto">
          <a:xfrm>
            <a:off x="6578600" y="2046288"/>
            <a:ext cx="24431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Pre-Fukushima existing coal and gas plants</a:t>
            </a:r>
            <a:endParaRPr lang="en-US" sz="1000"/>
          </a:p>
        </p:txBody>
      </p:sp>
      <p:sp>
        <p:nvSpPr>
          <p:cNvPr id="126" name="Text Placeholder 10">
            <a:extLst>
              <a:ext uri="{FF2B5EF4-FFF2-40B4-BE49-F238E27FC236}">
                <a16:creationId xmlns:a16="http://schemas.microsoft.com/office/drawing/2014/main" id="{115DFB91-512B-3844-A114-92FBEDCA92F2}"/>
              </a:ext>
            </a:extLst>
          </p:cNvPr>
          <p:cNvSpPr>
            <a:spLocks noGrp="1"/>
          </p:cNvSpPr>
          <p:nvPr>
            <p:custDataLst>
              <p:tags r:id="rId60"/>
            </p:custDataLst>
          </p:nvPr>
        </p:nvSpPr>
        <p:spPr bwMode="auto">
          <a:xfrm>
            <a:off x="6578600" y="2249488"/>
            <a:ext cx="23272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Coal and gas that replaced nuclear plants</a:t>
            </a:r>
            <a:endParaRPr lang="en-US" sz="1000"/>
          </a:p>
        </p:txBody>
      </p:sp>
      <p:sp>
        <p:nvSpPr>
          <p:cNvPr id="149" name="Rectangle 148">
            <a:extLst>
              <a:ext uri="{FF2B5EF4-FFF2-40B4-BE49-F238E27FC236}">
                <a16:creationId xmlns:a16="http://schemas.microsoft.com/office/drawing/2014/main" id="{AFA7A80B-545B-D060-EBEC-DD9A6155438D}"/>
              </a:ext>
            </a:extLst>
          </p:cNvPr>
          <p:cNvSpPr/>
          <p:nvPr/>
        </p:nvSpPr>
        <p:spPr bwMode="gray">
          <a:xfrm>
            <a:off x="227496" y="2428873"/>
            <a:ext cx="4760430" cy="1150939"/>
          </a:xfrm>
          <a:prstGeom prst="rect">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1" name="Rectangular Callout 200">
            <a:extLst>
              <a:ext uri="{FF2B5EF4-FFF2-40B4-BE49-F238E27FC236}">
                <a16:creationId xmlns:a16="http://schemas.microsoft.com/office/drawing/2014/main" id="{66DB8EAB-B12C-B74F-430D-F8E86B5DEE71}"/>
              </a:ext>
            </a:extLst>
          </p:cNvPr>
          <p:cNvSpPr/>
          <p:nvPr/>
        </p:nvSpPr>
        <p:spPr>
          <a:xfrm flipH="1">
            <a:off x="6223953" y="2533182"/>
            <a:ext cx="2180493" cy="628284"/>
          </a:xfrm>
          <a:prstGeom prst="wedgeRectCallout">
            <a:avLst>
              <a:gd name="adj1" fmla="val 35420"/>
              <a:gd name="adj2" fmla="val 72096"/>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defRPr/>
            </a:pPr>
            <a:r>
              <a:rPr lang="en-US" sz="1050">
                <a:solidFill>
                  <a:schemeClr val="bg1"/>
                </a:solidFill>
              </a:rPr>
              <a:t>Avoidable emissions and deaths caused by coal and gas additions following nuclear phase out</a:t>
            </a:r>
          </a:p>
        </p:txBody>
      </p:sp>
      <p:sp>
        <p:nvSpPr>
          <p:cNvPr id="217" name="Rectangular Callout 216">
            <a:extLst>
              <a:ext uri="{FF2B5EF4-FFF2-40B4-BE49-F238E27FC236}">
                <a16:creationId xmlns:a16="http://schemas.microsoft.com/office/drawing/2014/main" id="{66DB8EAB-B12C-B74F-430D-F8E86B5DEE71}"/>
              </a:ext>
            </a:extLst>
          </p:cNvPr>
          <p:cNvSpPr/>
          <p:nvPr/>
        </p:nvSpPr>
        <p:spPr>
          <a:xfrm flipH="1">
            <a:off x="6223953" y="2533182"/>
            <a:ext cx="2180493" cy="628284"/>
          </a:xfrm>
          <a:prstGeom prst="wedgeRectCallout">
            <a:avLst>
              <a:gd name="adj1" fmla="val -18854"/>
              <a:gd name="adj2" fmla="val 64216"/>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defRPr/>
            </a:pPr>
            <a:r>
              <a:rPr lang="en-US" sz="1050">
                <a:solidFill>
                  <a:schemeClr val="bg1"/>
                </a:solidFill>
              </a:rPr>
              <a:t>Additional emissions and deaths due to coal and gas use following nuclear phaseout</a:t>
            </a:r>
          </a:p>
        </p:txBody>
      </p:sp>
      <p:sp>
        <p:nvSpPr>
          <p:cNvPr id="5" name="Rectangular Callout 4">
            <a:extLst>
              <a:ext uri="{FF2B5EF4-FFF2-40B4-BE49-F238E27FC236}">
                <a16:creationId xmlns:a16="http://schemas.microsoft.com/office/drawing/2014/main" id="{9C9EB24D-3E92-DA64-F28E-59C86BB3B447}"/>
              </a:ext>
            </a:extLst>
          </p:cNvPr>
          <p:cNvSpPr/>
          <p:nvPr/>
        </p:nvSpPr>
        <p:spPr>
          <a:xfrm flipH="1">
            <a:off x="3864602" y="2839676"/>
            <a:ext cx="1493837" cy="676456"/>
          </a:xfrm>
          <a:prstGeom prst="wedgeRectCallout">
            <a:avLst>
              <a:gd name="adj1" fmla="val 65480"/>
              <a:gd name="adj2" fmla="val 28696"/>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defRPr/>
            </a:pPr>
            <a:r>
              <a:rPr lang="en-US" sz="1050">
                <a:solidFill>
                  <a:schemeClr val="bg1"/>
                </a:solidFill>
              </a:rPr>
              <a:t>Chernobyl is the </a:t>
            </a:r>
            <a:r>
              <a:rPr lang="en-US" sz="1050" b="1">
                <a:solidFill>
                  <a:schemeClr val="bg1"/>
                </a:solidFill>
              </a:rPr>
              <a:t>only </a:t>
            </a:r>
            <a:r>
              <a:rPr lang="en-US" sz="1050">
                <a:solidFill>
                  <a:schemeClr val="bg1"/>
                </a:solidFill>
              </a:rPr>
              <a:t>nuclear accident to have caused </a:t>
            </a:r>
            <a:r>
              <a:rPr lang="en-US" sz="1050" b="1">
                <a:solidFill>
                  <a:schemeClr val="bg1"/>
                </a:solidFill>
              </a:rPr>
              <a:t>direct loss of life.</a:t>
            </a:r>
          </a:p>
        </p:txBody>
      </p:sp>
      <p:sp>
        <p:nvSpPr>
          <p:cNvPr id="7" name="Rectangular Callout 6">
            <a:extLst>
              <a:ext uri="{FF2B5EF4-FFF2-40B4-BE49-F238E27FC236}">
                <a16:creationId xmlns:a16="http://schemas.microsoft.com/office/drawing/2014/main" id="{057050AA-8C10-0C21-305C-1B161ACA91D4}"/>
              </a:ext>
            </a:extLst>
          </p:cNvPr>
          <p:cNvSpPr/>
          <p:nvPr/>
        </p:nvSpPr>
        <p:spPr>
          <a:xfrm flipH="1">
            <a:off x="3878263" y="4003625"/>
            <a:ext cx="1083468" cy="1711375"/>
          </a:xfrm>
          <a:prstGeom prst="wedgeRectCallout">
            <a:avLst>
              <a:gd name="adj1" fmla="val 69788"/>
              <a:gd name="adj2" fmla="val -23506"/>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defRPr/>
            </a:pPr>
            <a:r>
              <a:rPr lang="en-US" sz="1050">
                <a:solidFill>
                  <a:schemeClr val="bg1"/>
                </a:solidFill>
              </a:rPr>
              <a:t>In the U.S., there were </a:t>
            </a:r>
            <a:r>
              <a:rPr lang="en-US" sz="1050" b="1">
                <a:solidFill>
                  <a:schemeClr val="bg1"/>
                </a:solidFill>
              </a:rPr>
              <a:t>22.6 deaths on average each year </a:t>
            </a:r>
            <a:r>
              <a:rPr lang="en-US" sz="1050">
                <a:solidFill>
                  <a:schemeClr val="bg1"/>
                </a:solidFill>
              </a:rPr>
              <a:t>between 2017-2021 in </a:t>
            </a:r>
            <a:r>
              <a:rPr lang="en-US" sz="1050" b="1">
                <a:solidFill>
                  <a:schemeClr val="bg1"/>
                </a:solidFill>
              </a:rPr>
              <a:t>coal</a:t>
            </a:r>
            <a:r>
              <a:rPr lang="en-US" sz="1050">
                <a:solidFill>
                  <a:schemeClr val="bg1"/>
                </a:solidFill>
              </a:rPr>
              <a:t> mines and </a:t>
            </a:r>
            <a:r>
              <a:rPr lang="en-US" sz="1050" b="1">
                <a:solidFill>
                  <a:schemeClr val="bg1"/>
                </a:solidFill>
              </a:rPr>
              <a:t>oil</a:t>
            </a:r>
            <a:r>
              <a:rPr lang="en-US" sz="1050">
                <a:solidFill>
                  <a:schemeClr val="bg1"/>
                </a:solidFill>
              </a:rPr>
              <a:t> and </a:t>
            </a:r>
            <a:r>
              <a:rPr lang="en-US" sz="1050" b="1">
                <a:solidFill>
                  <a:schemeClr val="bg1"/>
                </a:solidFill>
              </a:rPr>
              <a:t>gas</a:t>
            </a:r>
            <a:r>
              <a:rPr lang="en-US" sz="1050">
                <a:solidFill>
                  <a:schemeClr val="bg1"/>
                </a:solidFill>
              </a:rPr>
              <a:t> plants.</a:t>
            </a:r>
          </a:p>
        </p:txBody>
      </p:sp>
      <p:sp>
        <p:nvSpPr>
          <p:cNvPr id="81" name="TextBox 80">
            <a:extLst>
              <a:ext uri="{FF2B5EF4-FFF2-40B4-BE49-F238E27FC236}">
                <a16:creationId xmlns:a16="http://schemas.microsoft.com/office/drawing/2014/main" id="{BFF59E22-3D24-6671-1C2A-73911EBEA871}"/>
              </a:ext>
            </a:extLst>
          </p:cNvPr>
          <p:cNvSpPr txBox="1"/>
          <p:nvPr/>
        </p:nvSpPr>
        <p:spPr bwMode="gray">
          <a:xfrm>
            <a:off x="251587" y="4900632"/>
            <a:ext cx="1079500" cy="661720"/>
          </a:xfrm>
          <a:prstGeom prst="rect">
            <a:avLst/>
          </a:prstGeom>
          <a:noFill/>
          <a:ln>
            <a:noFill/>
          </a:ln>
        </p:spPr>
        <p:txBody>
          <a:bodyPr wrap="square" lIns="137160" tIns="137160" rIns="274320" bIns="137160" rtlCol="0">
            <a:spAutoFit/>
          </a:bodyPr>
          <a:lstStyle/>
          <a:p>
            <a:pPr marL="0" indent="0" algn="l">
              <a:spcBef>
                <a:spcPts val="600"/>
              </a:spcBef>
              <a:spcAft>
                <a:spcPts val="600"/>
              </a:spcAft>
              <a:buNone/>
            </a:pPr>
            <a:r>
              <a:rPr lang="en-US" sz="1250" b="1" dirty="0"/>
              <a:t>Gas plants</a:t>
            </a:r>
          </a:p>
        </p:txBody>
      </p:sp>
    </p:spTree>
    <p:custDataLst>
      <p:tags r:id="rId1"/>
    </p:custDataLst>
    <p:extLst>
      <p:ext uri="{BB962C8B-B14F-4D97-AF65-F5344CB8AC3E}">
        <p14:creationId xmlns:p14="http://schemas.microsoft.com/office/powerpoint/2010/main" val="105028655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8D3A42-A3AA-FD0D-78FF-F779F275552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6DD419-836A-47C0-1BB0-D9ABE6E202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5" imgH="405" progId="TCLayout.ActiveDocument.1">
                  <p:embed/>
                </p:oleObj>
              </mc:Choice>
              <mc:Fallback>
                <p:oleObj name="think-cell Slide" r:id="rId7" imgW="405" imgH="405" progId="TCLayout.ActiveDocument.1">
                  <p:embed/>
                  <p:pic>
                    <p:nvPicPr>
                      <p:cNvPr id="4" name="think-cell data - do not delete" hidden="1">
                        <a:extLst>
                          <a:ext uri="{FF2B5EF4-FFF2-40B4-BE49-F238E27FC236}">
                            <a16:creationId xmlns:a16="http://schemas.microsoft.com/office/drawing/2014/main" id="{D96DD419-836A-47C0-1BB0-D9ABE6E2027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732" name="Speech Bubble: Rectangle 2731">
            <a:extLst>
              <a:ext uri="{FF2B5EF4-FFF2-40B4-BE49-F238E27FC236}">
                <a16:creationId xmlns:a16="http://schemas.microsoft.com/office/drawing/2014/main" id="{4C46C6EB-542E-BFF9-82B7-0F586A716A0C}"/>
              </a:ext>
            </a:extLst>
          </p:cNvPr>
          <p:cNvSpPr/>
          <p:nvPr>
            <p:custDataLst>
              <p:tags r:id="rId2"/>
            </p:custDataLst>
          </p:nvPr>
        </p:nvSpPr>
        <p:spPr>
          <a:xfrm>
            <a:off x="188012" y="3470100"/>
            <a:ext cx="1882809" cy="756690"/>
          </a:xfrm>
          <a:prstGeom prst="wedgeRectCallout">
            <a:avLst>
              <a:gd name="adj1" fmla="val 61006"/>
              <a:gd name="adj2" fmla="val -16218"/>
            </a:avLst>
          </a:prstGeom>
          <a:solidFill>
            <a:srgbClr val="0083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lang="en-US" sz="900" b="1">
                <a:solidFill>
                  <a:schemeClr val="bg1"/>
                </a:solidFill>
                <a:latin typeface="Arial (body)"/>
              </a:rPr>
              <a:t>10 out 50 U.S. states </a:t>
            </a:r>
            <a:r>
              <a:rPr lang="en-US" sz="900">
                <a:solidFill>
                  <a:schemeClr val="bg1"/>
                </a:solidFill>
                <a:latin typeface="Arial (body)"/>
              </a:rPr>
              <a:t>house</a:t>
            </a:r>
            <a:r>
              <a:rPr lang="en-US" sz="900" b="1">
                <a:solidFill>
                  <a:schemeClr val="bg1"/>
                </a:solidFill>
                <a:latin typeface="Arial (body)"/>
              </a:rPr>
              <a:t> fusion startups</a:t>
            </a:r>
            <a:r>
              <a:rPr lang="en-US" sz="900">
                <a:solidFill>
                  <a:schemeClr val="bg1"/>
                </a:solidFill>
                <a:latin typeface="Arial (body)"/>
              </a:rPr>
              <a:t>; ~</a:t>
            </a:r>
            <a:r>
              <a:rPr lang="en-US" sz="900" b="1">
                <a:solidFill>
                  <a:schemeClr val="bg1"/>
                </a:solidFill>
                <a:latin typeface="Arial (body)"/>
              </a:rPr>
              <a:t>30% of them are in California</a:t>
            </a:r>
            <a:r>
              <a:rPr lang="en-US" sz="900">
                <a:solidFill>
                  <a:schemeClr val="bg1"/>
                </a:solidFill>
                <a:latin typeface="Arial (body)"/>
              </a:rPr>
              <a:t> (e.g., EMC2, Fuse, Helicity Space, and TAE). </a:t>
            </a:r>
          </a:p>
        </p:txBody>
      </p:sp>
      <p:sp>
        <p:nvSpPr>
          <p:cNvPr id="2" name="Title 1">
            <a:extLst>
              <a:ext uri="{FF2B5EF4-FFF2-40B4-BE49-F238E27FC236}">
                <a16:creationId xmlns:a16="http://schemas.microsoft.com/office/drawing/2014/main" id="{FC55F4AD-3F00-E121-06CF-A626A1F799E5}"/>
              </a:ext>
            </a:extLst>
          </p:cNvPr>
          <p:cNvSpPr>
            <a:spLocks noGrp="1"/>
          </p:cNvSpPr>
          <p:nvPr>
            <p:ph type="title"/>
          </p:nvPr>
        </p:nvSpPr>
        <p:spPr>
          <a:xfrm>
            <a:off x="272850" y="477976"/>
            <a:ext cx="11919150" cy="882788"/>
          </a:xfrm>
        </p:spPr>
        <p:txBody>
          <a:bodyPr vert="horz">
            <a:noAutofit/>
          </a:bodyPr>
          <a:lstStyle/>
          <a:p>
            <a:r>
              <a:rPr lang="en-US"/>
              <a:t>Over half of fusion startups based in U.S., ~one-third in California</a:t>
            </a:r>
          </a:p>
        </p:txBody>
      </p:sp>
      <p:sp>
        <p:nvSpPr>
          <p:cNvPr id="9" name="btfpNotesBox368131">
            <a:hlinkClick r:id="rId9"/>
            <a:extLst>
              <a:ext uri="{FF2B5EF4-FFF2-40B4-BE49-F238E27FC236}">
                <a16:creationId xmlns:a16="http://schemas.microsoft.com/office/drawing/2014/main" id="{34448378-64F8-1BE2-3ECE-CB62D6A7F989}"/>
              </a:ext>
            </a:extLst>
          </p:cNvPr>
          <p:cNvSpPr txBox="1"/>
          <p:nvPr>
            <p:custDataLst>
              <p:tags r:id="rId3"/>
            </p:custDataLst>
          </p:nvPr>
        </p:nvSpPr>
        <p:spPr bwMode="gray">
          <a:xfrm>
            <a:off x="330200" y="6282452"/>
            <a:ext cx="8558121" cy="492443"/>
          </a:xfrm>
          <a:prstGeom prst="rect">
            <a:avLst/>
          </a:prstGeom>
          <a:noFill/>
        </p:spPr>
        <p:txBody>
          <a:bodyPr vert="horz" wrap="square" lIns="0" tIns="0" rIns="0" bIns="0" rtlCol="0" anchor="b">
            <a:spAutoFit/>
          </a:bodyPr>
          <a:lstStyle/>
          <a:p>
            <a:pPr lvl="0"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err="1">
                <a:solidFill>
                  <a:srgbClr val="000000"/>
                </a:solidFill>
                <a:latin typeface="Arial"/>
              </a:rPr>
              <a:t>PitchBook</a:t>
            </a:r>
            <a:r>
              <a:rPr lang="en-US" sz="800" dirty="0">
                <a:solidFill>
                  <a:srgbClr val="000000"/>
                </a:solidFill>
                <a:latin typeface="Arial"/>
              </a:rPr>
              <a:t>, </a:t>
            </a:r>
            <a:r>
              <a:rPr lang="en-US" sz="800" dirty="0">
                <a:solidFill>
                  <a:srgbClr val="000000"/>
                </a:solidFill>
                <a:latin typeface="Arial"/>
                <a:hlinkClick r:id="rId10"/>
              </a:rPr>
              <a:t>Company profiles</a:t>
            </a:r>
            <a:r>
              <a:rPr lang="en-US" sz="800" dirty="0">
                <a:solidFill>
                  <a:srgbClr val="000000"/>
                </a:solidFill>
                <a:latin typeface="Arial"/>
              </a:rPr>
              <a:t> (2025); MIT, </a:t>
            </a:r>
            <a:r>
              <a:rPr lang="en-US" sz="800" dirty="0">
                <a:solidFill>
                  <a:srgbClr val="000000"/>
                </a:solidFill>
                <a:latin typeface="Arial"/>
                <a:hlinkClick r:id="rId11"/>
              </a:rPr>
              <a:t>MIT spinout Commonwealth Fusion Systems unveils plans for the world’s first fusion power plant</a:t>
            </a:r>
            <a:r>
              <a:rPr lang="en-US" sz="800" dirty="0">
                <a:solidFill>
                  <a:srgbClr val="000000"/>
                </a:solidFill>
                <a:latin typeface="Arial"/>
              </a:rPr>
              <a:t> (2024); WNN, </a:t>
            </a:r>
            <a:r>
              <a:rPr lang="en-US" sz="800" dirty="0">
                <a:solidFill>
                  <a:srgbClr val="000000"/>
                </a:solidFill>
                <a:latin typeface="Arial"/>
                <a:hlinkClick r:id="rId12"/>
              </a:rPr>
              <a:t>Germany's Marvel Fusion raises further EUR113 million</a:t>
            </a:r>
            <a:r>
              <a:rPr lang="en-US" sz="800" dirty="0">
                <a:solidFill>
                  <a:srgbClr val="000000"/>
                </a:solidFill>
                <a:latin typeface="Arial"/>
              </a:rPr>
              <a:t> (2025)</a:t>
            </a:r>
            <a:r>
              <a:rPr lang="en-US" sz="800" dirty="0">
                <a:solidFill>
                  <a:srgbClr val="000000"/>
                </a:solidFill>
              </a:rPr>
              <a:t>; Fusion Industry Association, </a:t>
            </a:r>
            <a:r>
              <a:rPr lang="en-US" sz="800" dirty="0">
                <a:solidFill>
                  <a:srgbClr val="000000"/>
                </a:solidFill>
                <a:hlinkClick r:id="rId13"/>
              </a:rPr>
              <a:t>The global fusion industry in 2025 </a:t>
            </a:r>
            <a:r>
              <a:rPr lang="en-US" sz="800" dirty="0">
                <a:solidFill>
                  <a:srgbClr val="000000"/>
                </a:solidFill>
              </a:rPr>
              <a:t>(2025); Nuclear Engineering International, </a:t>
            </a:r>
            <a:r>
              <a:rPr lang="en-US" sz="800" dirty="0">
                <a:solidFill>
                  <a:srgbClr val="000000"/>
                </a:solidFill>
                <a:hlinkClick r:id="rId14"/>
              </a:rPr>
              <a:t>California </a:t>
            </a:r>
            <a:r>
              <a:rPr lang="en-US" sz="800" dirty="0" err="1">
                <a:solidFill>
                  <a:srgbClr val="000000"/>
                </a:solidFill>
                <a:hlinkClick r:id="rId14"/>
              </a:rPr>
              <a:t>recognises</a:t>
            </a:r>
            <a:r>
              <a:rPr lang="en-US" sz="800" dirty="0">
                <a:solidFill>
                  <a:srgbClr val="000000"/>
                </a:solidFill>
                <a:hlinkClick r:id="rId14"/>
              </a:rPr>
              <a:t> fusion energy as distinct from nuclear fission</a:t>
            </a:r>
            <a:r>
              <a:rPr lang="en-US" sz="800" dirty="0">
                <a:solidFill>
                  <a:srgbClr val="000000"/>
                </a:solidFill>
              </a:rPr>
              <a:t> (2023).</a:t>
            </a:r>
            <a:endParaRPr lang="en-US" sz="800" dirty="0">
              <a:solidFill>
                <a:srgbClr val="000000"/>
              </a:solidFill>
              <a:latin typeface="Arial"/>
            </a:endParaRPr>
          </a:p>
          <a:p>
            <a:pPr lvl="0"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Brenda Rain, </a:t>
            </a:r>
            <a:r>
              <a:rPr lang="en-US" sz="800" dirty="0">
                <a:solidFill>
                  <a:srgbClr val="000000"/>
                </a:solidFill>
                <a:latin typeface="Arial"/>
              </a:rPr>
              <a:t>Isabel </a:t>
            </a:r>
            <a:r>
              <a:rPr lang="en-US" sz="800" dirty="0" err="1">
                <a:solidFill>
                  <a:srgbClr val="000000"/>
                </a:solidFill>
                <a:latin typeface="Arial"/>
              </a:rPr>
              <a:t>Hoyos</a:t>
            </a:r>
            <a:r>
              <a:rPr lang="en-US" sz="800" dirty="0">
                <a:solidFill>
                  <a:srgbClr val="000000"/>
                </a:solidFill>
                <a:latin typeface="Arial"/>
              </a:rPr>
              <a:t>, </a:t>
            </a:r>
            <a:r>
              <a:rPr lang="en-US" sz="800" dirty="0" err="1">
                <a:solidFill>
                  <a:srgbClr val="000000"/>
                </a:solidFill>
                <a:latin typeface="Arial"/>
              </a:rPr>
              <a:t>Hyae</a:t>
            </a:r>
            <a:r>
              <a:rPr lang="en-US" sz="800" dirty="0">
                <a:solidFill>
                  <a:srgbClr val="000000"/>
                </a:solidFill>
                <a:latin typeface="Arial"/>
              </a:rPr>
              <a:t> </a:t>
            </a:r>
            <a:r>
              <a:rPr lang="en-US" sz="800" dirty="0" err="1">
                <a:solidFill>
                  <a:srgbClr val="000000"/>
                </a:solidFill>
                <a:latin typeface="Arial"/>
              </a:rPr>
              <a:t>Ryung</a:t>
            </a:r>
            <a:r>
              <a:rPr lang="en-US" sz="800" dirty="0">
                <a:solidFill>
                  <a:srgbClr val="000000"/>
                </a:solidFill>
                <a:latin typeface="Arial"/>
              </a:rPr>
              <a:t> Kim,</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2723" name="TextBox 2722">
            <a:extLst>
              <a:ext uri="{FF2B5EF4-FFF2-40B4-BE49-F238E27FC236}">
                <a16:creationId xmlns:a16="http://schemas.microsoft.com/office/drawing/2014/main" id="{F8A2E1E2-30BD-242B-CE3A-319080FFA132}"/>
              </a:ext>
            </a:extLst>
          </p:cNvPr>
          <p:cNvSpPr txBox="1"/>
          <p:nvPr/>
        </p:nvSpPr>
        <p:spPr>
          <a:xfrm>
            <a:off x="330200" y="1393564"/>
            <a:ext cx="446935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body)"/>
                <a:cs typeface="Arial" panose="020B0604020202020204" pitchFamily="34" charset="0"/>
              </a:rPr>
              <a:t>Private global fusion ecosystem landscape in 2025 </a:t>
            </a:r>
          </a:p>
        </p:txBody>
      </p:sp>
      <p:cxnSp>
        <p:nvCxnSpPr>
          <p:cNvPr id="2725" name="btfpColumnHeaderBoxLine223027">
            <a:extLst>
              <a:ext uri="{FF2B5EF4-FFF2-40B4-BE49-F238E27FC236}">
                <a16:creationId xmlns:a16="http://schemas.microsoft.com/office/drawing/2014/main" id="{DE73CCF4-3DFC-9D4B-C7AB-47E5F55FE671}"/>
              </a:ext>
            </a:extLst>
          </p:cNvPr>
          <p:cNvCxnSpPr>
            <a:cxnSpLocks/>
          </p:cNvCxnSpPr>
          <p:nvPr/>
        </p:nvCxnSpPr>
        <p:spPr bwMode="gray">
          <a:xfrm>
            <a:off x="403570" y="1654657"/>
            <a:ext cx="813816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5A0E7563-7DA3-CE40-7349-7B4AC7031856}"/>
              </a:ext>
            </a:extLst>
          </p:cNvPr>
          <p:cNvGrpSpPr/>
          <p:nvPr/>
        </p:nvGrpSpPr>
        <p:grpSpPr>
          <a:xfrm>
            <a:off x="1449674" y="2266825"/>
            <a:ext cx="7295062" cy="3770711"/>
            <a:chOff x="1417035" y="1160463"/>
            <a:chExt cx="9603390" cy="4897437"/>
          </a:xfrm>
        </p:grpSpPr>
        <p:grpSp>
          <p:nvGrpSpPr>
            <p:cNvPr id="11" name="Group 10">
              <a:extLst>
                <a:ext uri="{FF2B5EF4-FFF2-40B4-BE49-F238E27FC236}">
                  <a16:creationId xmlns:a16="http://schemas.microsoft.com/office/drawing/2014/main" id="{17423950-57BD-F3DC-4FD4-22AE6B345ACE}"/>
                </a:ext>
              </a:extLst>
            </p:cNvPr>
            <p:cNvGrpSpPr/>
            <p:nvPr/>
          </p:nvGrpSpPr>
          <p:grpSpPr>
            <a:xfrm>
              <a:off x="6486733" y="1321315"/>
              <a:ext cx="4288232" cy="3302175"/>
              <a:chOff x="6486733" y="1321315"/>
              <a:chExt cx="4288232" cy="3302175"/>
            </a:xfrm>
            <a:solidFill>
              <a:schemeClr val="tx2">
                <a:lumMod val="90000"/>
              </a:schemeClr>
            </a:solidFill>
          </p:grpSpPr>
          <p:sp>
            <p:nvSpPr>
              <p:cNvPr id="2596" name="Freeform 681">
                <a:extLst>
                  <a:ext uri="{FF2B5EF4-FFF2-40B4-BE49-F238E27FC236}">
                    <a16:creationId xmlns:a16="http://schemas.microsoft.com/office/drawing/2014/main" id="{036707C8-3F69-DA3E-8F77-F6E583B1D44C}"/>
                  </a:ext>
                </a:extLst>
              </p:cNvPr>
              <p:cNvSpPr>
                <a:spLocks/>
              </p:cNvSpPr>
              <p:nvPr/>
            </p:nvSpPr>
            <p:spPr bwMode="auto">
              <a:xfrm>
                <a:off x="6733514" y="3240170"/>
                <a:ext cx="182402" cy="149496"/>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97" name="Freeform 688">
                <a:extLst>
                  <a:ext uri="{FF2B5EF4-FFF2-40B4-BE49-F238E27FC236}">
                    <a16:creationId xmlns:a16="http://schemas.microsoft.com/office/drawing/2014/main" id="{4D2990AA-76AB-BF3F-E6BD-C62A0227CB9D}"/>
                  </a:ext>
                </a:extLst>
              </p:cNvPr>
              <p:cNvSpPr>
                <a:spLocks/>
              </p:cNvSpPr>
              <p:nvPr/>
            </p:nvSpPr>
            <p:spPr bwMode="auto">
              <a:xfrm>
                <a:off x="6701324" y="3361280"/>
                <a:ext cx="42917" cy="145713"/>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solidFill>
                <a:schemeClr val="accent2">
                  <a:lumMod val="10000"/>
                  <a:lumOff val="90000"/>
                </a:schemeClr>
              </a:solid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98" name="Freeform 683">
                <a:extLst>
                  <a:ext uri="{FF2B5EF4-FFF2-40B4-BE49-F238E27FC236}">
                    <a16:creationId xmlns:a16="http://schemas.microsoft.com/office/drawing/2014/main" id="{1E34C1B3-D0B1-5DBD-1DF2-FCC4A4CBAB41}"/>
                  </a:ext>
                </a:extLst>
              </p:cNvPr>
              <p:cNvSpPr>
                <a:spLocks/>
              </p:cNvSpPr>
              <p:nvPr/>
            </p:nvSpPr>
            <p:spPr bwMode="auto">
              <a:xfrm>
                <a:off x="6486733" y="3077428"/>
                <a:ext cx="497134" cy="200590"/>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99" name="Freeform 686">
                <a:extLst>
                  <a:ext uri="{FF2B5EF4-FFF2-40B4-BE49-F238E27FC236}">
                    <a16:creationId xmlns:a16="http://schemas.microsoft.com/office/drawing/2014/main" id="{F3CBA728-738B-9598-2A86-37FA7F6DF797}"/>
                  </a:ext>
                </a:extLst>
              </p:cNvPr>
              <p:cNvSpPr>
                <a:spLocks/>
              </p:cNvSpPr>
              <p:nvPr/>
            </p:nvSpPr>
            <p:spPr bwMode="auto">
              <a:xfrm>
                <a:off x="6728148" y="3317758"/>
                <a:ext cx="41131" cy="49203"/>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00" name="Freeform 720">
                <a:extLst>
                  <a:ext uri="{FF2B5EF4-FFF2-40B4-BE49-F238E27FC236}">
                    <a16:creationId xmlns:a16="http://schemas.microsoft.com/office/drawing/2014/main" id="{1CB039EC-228A-DB4D-ADFE-EA2C38F36BD2}"/>
                  </a:ext>
                </a:extLst>
              </p:cNvPr>
              <p:cNvSpPr>
                <a:spLocks noEditPoints="1"/>
              </p:cNvSpPr>
              <p:nvPr/>
            </p:nvSpPr>
            <p:spPr bwMode="auto">
              <a:xfrm>
                <a:off x="6527862" y="1544612"/>
                <a:ext cx="4247103" cy="1566878"/>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01" name="Freeform 407">
                <a:extLst>
                  <a:ext uri="{FF2B5EF4-FFF2-40B4-BE49-F238E27FC236}">
                    <a16:creationId xmlns:a16="http://schemas.microsoft.com/office/drawing/2014/main" id="{5C8BAAAC-8542-389D-B59A-727C4735E886}"/>
                  </a:ext>
                </a:extLst>
              </p:cNvPr>
              <p:cNvSpPr>
                <a:spLocks/>
              </p:cNvSpPr>
              <p:nvPr/>
            </p:nvSpPr>
            <p:spPr bwMode="auto">
              <a:xfrm>
                <a:off x="8378706" y="1444318"/>
                <a:ext cx="168096" cy="8894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02" name="Freeform 408">
                <a:extLst>
                  <a:ext uri="{FF2B5EF4-FFF2-40B4-BE49-F238E27FC236}">
                    <a16:creationId xmlns:a16="http://schemas.microsoft.com/office/drawing/2014/main" id="{8663E151-B12A-A06D-ED94-738E7F20FFE5}"/>
                  </a:ext>
                </a:extLst>
              </p:cNvPr>
              <p:cNvSpPr>
                <a:spLocks/>
              </p:cNvSpPr>
              <p:nvPr/>
            </p:nvSpPr>
            <p:spPr bwMode="auto">
              <a:xfrm>
                <a:off x="8242799" y="1393224"/>
                <a:ext cx="157367" cy="8894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03" name="Freeform 409">
                <a:extLst>
                  <a:ext uri="{FF2B5EF4-FFF2-40B4-BE49-F238E27FC236}">
                    <a16:creationId xmlns:a16="http://schemas.microsoft.com/office/drawing/2014/main" id="{773F65A3-1F8A-3FB1-1659-42D0BA00B782}"/>
                  </a:ext>
                </a:extLst>
              </p:cNvPr>
              <p:cNvSpPr>
                <a:spLocks/>
              </p:cNvSpPr>
              <p:nvPr/>
            </p:nvSpPr>
            <p:spPr bwMode="auto">
              <a:xfrm>
                <a:off x="8196304" y="1398900"/>
                <a:ext cx="78683" cy="28387"/>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04" name="Freeform 410">
                <a:extLst>
                  <a:ext uri="{FF2B5EF4-FFF2-40B4-BE49-F238E27FC236}">
                    <a16:creationId xmlns:a16="http://schemas.microsoft.com/office/drawing/2014/main" id="{ECAED763-A556-E441-59F0-BA661FEAF332}"/>
                  </a:ext>
                </a:extLst>
              </p:cNvPr>
              <p:cNvSpPr>
                <a:spLocks/>
              </p:cNvSpPr>
              <p:nvPr/>
            </p:nvSpPr>
            <p:spPr bwMode="auto">
              <a:xfrm>
                <a:off x="8210610" y="1321315"/>
                <a:ext cx="132330" cy="8894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05" name="Freeform 411">
                <a:extLst>
                  <a:ext uri="{FF2B5EF4-FFF2-40B4-BE49-F238E27FC236}">
                    <a16:creationId xmlns:a16="http://schemas.microsoft.com/office/drawing/2014/main" id="{607224EF-6DBD-BD01-1E36-3F2C3E852F41}"/>
                  </a:ext>
                </a:extLst>
              </p:cNvPr>
              <p:cNvSpPr>
                <a:spLocks/>
              </p:cNvSpPr>
              <p:nvPr/>
            </p:nvSpPr>
            <p:spPr bwMode="auto">
              <a:xfrm>
                <a:off x="9605449" y="1671401"/>
                <a:ext cx="132330" cy="45416"/>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06" name="Freeform 412">
                <a:extLst>
                  <a:ext uri="{FF2B5EF4-FFF2-40B4-BE49-F238E27FC236}">
                    <a16:creationId xmlns:a16="http://schemas.microsoft.com/office/drawing/2014/main" id="{016168F4-FFDB-FA59-3F82-BD87D46A2760}"/>
                  </a:ext>
                </a:extLst>
              </p:cNvPr>
              <p:cNvSpPr>
                <a:spLocks/>
              </p:cNvSpPr>
              <p:nvPr/>
            </p:nvSpPr>
            <p:spPr bwMode="auto">
              <a:xfrm>
                <a:off x="9437352" y="1760341"/>
                <a:ext cx="110872" cy="45416"/>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07" name="Freeform 413">
                <a:extLst>
                  <a:ext uri="{FF2B5EF4-FFF2-40B4-BE49-F238E27FC236}">
                    <a16:creationId xmlns:a16="http://schemas.microsoft.com/office/drawing/2014/main" id="{6C5572B4-835F-ABA5-E07D-BDED62BAB707}"/>
                  </a:ext>
                </a:extLst>
              </p:cNvPr>
              <p:cNvSpPr>
                <a:spLocks/>
              </p:cNvSpPr>
              <p:nvPr/>
            </p:nvSpPr>
            <p:spPr bwMode="auto">
              <a:xfrm>
                <a:off x="9442718" y="1739527"/>
                <a:ext cx="42917" cy="26493"/>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08" name="Freeform 414">
                <a:extLst>
                  <a:ext uri="{FF2B5EF4-FFF2-40B4-BE49-F238E27FC236}">
                    <a16:creationId xmlns:a16="http://schemas.microsoft.com/office/drawing/2014/main" id="{4568C204-832C-5FC3-34BC-8F5C89BE0798}"/>
                  </a:ext>
                </a:extLst>
              </p:cNvPr>
              <p:cNvSpPr>
                <a:spLocks/>
              </p:cNvSpPr>
              <p:nvPr/>
            </p:nvSpPr>
            <p:spPr bwMode="auto">
              <a:xfrm>
                <a:off x="9328268" y="1660047"/>
                <a:ext cx="16094" cy="28387"/>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09" name="Freeform 415">
                <a:extLst>
                  <a:ext uri="{FF2B5EF4-FFF2-40B4-BE49-F238E27FC236}">
                    <a16:creationId xmlns:a16="http://schemas.microsoft.com/office/drawing/2014/main" id="{C639BD26-A41A-699C-1A67-24923F2F4E69}"/>
                  </a:ext>
                </a:extLst>
              </p:cNvPr>
              <p:cNvSpPr>
                <a:spLocks/>
              </p:cNvSpPr>
              <p:nvPr/>
            </p:nvSpPr>
            <p:spPr bwMode="auto">
              <a:xfrm>
                <a:off x="9328268" y="1743310"/>
                <a:ext cx="21459" cy="28387"/>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10" name="Freeform 416">
                <a:extLst>
                  <a:ext uri="{FF2B5EF4-FFF2-40B4-BE49-F238E27FC236}">
                    <a16:creationId xmlns:a16="http://schemas.microsoft.com/office/drawing/2014/main" id="{3ABABFBC-9338-9D90-9420-59284ABFA4B3}"/>
                  </a:ext>
                </a:extLst>
              </p:cNvPr>
              <p:cNvSpPr>
                <a:spLocks/>
              </p:cNvSpPr>
              <p:nvPr/>
            </p:nvSpPr>
            <p:spPr bwMode="auto">
              <a:xfrm>
                <a:off x="9364034" y="1639232"/>
                <a:ext cx="221744" cy="8894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11" name="Freeform 417">
                <a:extLst>
                  <a:ext uri="{FF2B5EF4-FFF2-40B4-BE49-F238E27FC236}">
                    <a16:creationId xmlns:a16="http://schemas.microsoft.com/office/drawing/2014/main" id="{FD2CBCDD-40F2-ABAD-4747-B6B847F82B10}"/>
                  </a:ext>
                </a:extLst>
              </p:cNvPr>
              <p:cNvSpPr>
                <a:spLocks/>
              </p:cNvSpPr>
              <p:nvPr/>
            </p:nvSpPr>
            <p:spPr bwMode="auto">
              <a:xfrm>
                <a:off x="9491001" y="1665725"/>
                <a:ext cx="41130" cy="45416"/>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12" name="Freeform 418">
                <a:extLst>
                  <a:ext uri="{FF2B5EF4-FFF2-40B4-BE49-F238E27FC236}">
                    <a16:creationId xmlns:a16="http://schemas.microsoft.com/office/drawing/2014/main" id="{0BC987A1-8AAD-1180-77A1-89D0C7492784}"/>
                  </a:ext>
                </a:extLst>
              </p:cNvPr>
              <p:cNvSpPr>
                <a:spLocks/>
              </p:cNvSpPr>
              <p:nvPr/>
            </p:nvSpPr>
            <p:spPr bwMode="auto">
              <a:xfrm>
                <a:off x="10177690" y="1966609"/>
                <a:ext cx="57223" cy="34061"/>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13" name="Freeform 419">
                <a:extLst>
                  <a:ext uri="{FF2B5EF4-FFF2-40B4-BE49-F238E27FC236}">
                    <a16:creationId xmlns:a16="http://schemas.microsoft.com/office/drawing/2014/main" id="{9EE3F4E6-9A87-42B9-F751-871F7A3701D2}"/>
                  </a:ext>
                </a:extLst>
              </p:cNvPr>
              <p:cNvSpPr>
                <a:spLocks/>
              </p:cNvSpPr>
              <p:nvPr/>
            </p:nvSpPr>
            <p:spPr bwMode="auto">
              <a:xfrm>
                <a:off x="10066816" y="2454840"/>
                <a:ext cx="32188" cy="28387"/>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14" name="Freeform 420">
                <a:extLst>
                  <a:ext uri="{FF2B5EF4-FFF2-40B4-BE49-F238E27FC236}">
                    <a16:creationId xmlns:a16="http://schemas.microsoft.com/office/drawing/2014/main" id="{DB0E37ED-EE66-71F2-4B1B-7489457EDE27}"/>
                  </a:ext>
                </a:extLst>
              </p:cNvPr>
              <p:cNvSpPr>
                <a:spLocks/>
              </p:cNvSpPr>
              <p:nvPr/>
            </p:nvSpPr>
            <p:spPr bwMode="auto">
              <a:xfrm>
                <a:off x="9369398" y="2617584"/>
                <a:ext cx="26823" cy="15139"/>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15" name="Freeform 421">
                <a:extLst>
                  <a:ext uri="{FF2B5EF4-FFF2-40B4-BE49-F238E27FC236}">
                    <a16:creationId xmlns:a16="http://schemas.microsoft.com/office/drawing/2014/main" id="{5B9E023B-F0DB-5843-69BB-092BF5360312}"/>
                  </a:ext>
                </a:extLst>
              </p:cNvPr>
              <p:cNvSpPr>
                <a:spLocks/>
              </p:cNvSpPr>
              <p:nvPr/>
            </p:nvSpPr>
            <p:spPr bwMode="auto">
              <a:xfrm>
                <a:off x="9841497" y="2784111"/>
                <a:ext cx="26823" cy="26493"/>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16" name="Freeform 422">
                <a:extLst>
                  <a:ext uri="{FF2B5EF4-FFF2-40B4-BE49-F238E27FC236}">
                    <a16:creationId xmlns:a16="http://schemas.microsoft.com/office/drawing/2014/main" id="{8F8220BF-11A2-1F84-0F50-487D97CF42EB}"/>
                  </a:ext>
                </a:extLst>
              </p:cNvPr>
              <p:cNvSpPr>
                <a:spLocks/>
              </p:cNvSpPr>
              <p:nvPr/>
            </p:nvSpPr>
            <p:spPr bwMode="auto">
              <a:xfrm>
                <a:off x="9825403" y="2827635"/>
                <a:ext cx="10730" cy="5677"/>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17" name="Freeform 423">
                <a:extLst>
                  <a:ext uri="{FF2B5EF4-FFF2-40B4-BE49-F238E27FC236}">
                    <a16:creationId xmlns:a16="http://schemas.microsoft.com/office/drawing/2014/main" id="{D2F128DF-9DAD-2DD2-366F-245337520076}"/>
                  </a:ext>
                </a:extLst>
              </p:cNvPr>
              <p:cNvSpPr>
                <a:spLocks/>
              </p:cNvSpPr>
              <p:nvPr/>
            </p:nvSpPr>
            <p:spPr bwMode="auto">
              <a:xfrm>
                <a:off x="9752086" y="2916576"/>
                <a:ext cx="16094" cy="5677"/>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18" name="Freeform 424">
                <a:extLst>
                  <a:ext uri="{FF2B5EF4-FFF2-40B4-BE49-F238E27FC236}">
                    <a16:creationId xmlns:a16="http://schemas.microsoft.com/office/drawing/2014/main" id="{92FF550A-9E92-5A47-32F7-9B1555BE5585}"/>
                  </a:ext>
                </a:extLst>
              </p:cNvPr>
              <p:cNvSpPr>
                <a:spLocks/>
              </p:cNvSpPr>
              <p:nvPr/>
            </p:nvSpPr>
            <p:spPr bwMode="auto">
              <a:xfrm>
                <a:off x="9689496" y="2944962"/>
                <a:ext cx="37553" cy="22709"/>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19" name="Freeform 425">
                <a:extLst>
                  <a:ext uri="{FF2B5EF4-FFF2-40B4-BE49-F238E27FC236}">
                    <a16:creationId xmlns:a16="http://schemas.microsoft.com/office/drawing/2014/main" id="{42D499A3-0433-0350-3C79-4A4FA9B95ECE}"/>
                  </a:ext>
                </a:extLst>
              </p:cNvPr>
              <p:cNvSpPr>
                <a:spLocks/>
              </p:cNvSpPr>
              <p:nvPr/>
            </p:nvSpPr>
            <p:spPr bwMode="auto">
              <a:xfrm>
                <a:off x="9648366" y="2967670"/>
                <a:ext cx="30400" cy="20817"/>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20" name="Freeform 426">
                <a:extLst>
                  <a:ext uri="{FF2B5EF4-FFF2-40B4-BE49-F238E27FC236}">
                    <a16:creationId xmlns:a16="http://schemas.microsoft.com/office/drawing/2014/main" id="{D5DF8CB0-2886-3FC4-EB26-EB44B94FECF4}"/>
                  </a:ext>
                </a:extLst>
              </p:cNvPr>
              <p:cNvSpPr>
                <a:spLocks/>
              </p:cNvSpPr>
              <p:nvPr/>
            </p:nvSpPr>
            <p:spPr bwMode="auto">
              <a:xfrm>
                <a:off x="9621543" y="2984701"/>
                <a:ext cx="26823" cy="26493"/>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21" name="Freeform 427">
                <a:extLst>
                  <a:ext uri="{FF2B5EF4-FFF2-40B4-BE49-F238E27FC236}">
                    <a16:creationId xmlns:a16="http://schemas.microsoft.com/office/drawing/2014/main" id="{6896D2A6-851F-054E-304D-EC8D8BCBE8CE}"/>
                  </a:ext>
                </a:extLst>
              </p:cNvPr>
              <p:cNvSpPr>
                <a:spLocks/>
              </p:cNvSpPr>
              <p:nvPr/>
            </p:nvSpPr>
            <p:spPr bwMode="auto">
              <a:xfrm>
                <a:off x="9616177" y="3022548"/>
                <a:ext cx="5364" cy="5677"/>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22" name="Freeform 428">
                <a:extLst>
                  <a:ext uri="{FF2B5EF4-FFF2-40B4-BE49-F238E27FC236}">
                    <a16:creationId xmlns:a16="http://schemas.microsoft.com/office/drawing/2014/main" id="{9FC4A02A-C65D-92A8-AB47-D19C52F5CC44}"/>
                  </a:ext>
                </a:extLst>
              </p:cNvPr>
              <p:cNvSpPr>
                <a:spLocks/>
              </p:cNvSpPr>
              <p:nvPr/>
            </p:nvSpPr>
            <p:spPr bwMode="auto">
              <a:xfrm>
                <a:off x="9589353" y="2999840"/>
                <a:ext cx="26823" cy="22709"/>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23" name="Freeform 429">
                <a:extLst>
                  <a:ext uri="{FF2B5EF4-FFF2-40B4-BE49-F238E27FC236}">
                    <a16:creationId xmlns:a16="http://schemas.microsoft.com/office/drawing/2014/main" id="{A1196FF1-BD90-A62C-9B93-EB16445E3F4C}"/>
                  </a:ext>
                </a:extLst>
              </p:cNvPr>
              <p:cNvSpPr>
                <a:spLocks/>
              </p:cNvSpPr>
              <p:nvPr/>
            </p:nvSpPr>
            <p:spPr bwMode="auto">
              <a:xfrm>
                <a:off x="9396221" y="3206108"/>
                <a:ext cx="10730" cy="17031"/>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grpSp>
            <p:nvGrpSpPr>
              <p:cNvPr id="2624" name="Group 2623">
                <a:extLst>
                  <a:ext uri="{FF2B5EF4-FFF2-40B4-BE49-F238E27FC236}">
                    <a16:creationId xmlns:a16="http://schemas.microsoft.com/office/drawing/2014/main" id="{767E7178-4BF4-7C2C-D567-C844E41440D2}"/>
                  </a:ext>
                </a:extLst>
              </p:cNvPr>
              <p:cNvGrpSpPr/>
              <p:nvPr/>
            </p:nvGrpSpPr>
            <p:grpSpPr>
              <a:xfrm>
                <a:off x="9203092" y="2967670"/>
                <a:ext cx="391625" cy="393611"/>
                <a:chOff x="5961121" y="2686387"/>
                <a:chExt cx="288233" cy="273757"/>
              </a:xfrm>
              <a:grpFill/>
            </p:grpSpPr>
            <p:sp>
              <p:nvSpPr>
                <p:cNvPr id="2713" name="Freeform 430">
                  <a:extLst>
                    <a:ext uri="{FF2B5EF4-FFF2-40B4-BE49-F238E27FC236}">
                      <a16:creationId xmlns:a16="http://schemas.microsoft.com/office/drawing/2014/main" id="{A55FB05F-78D1-FC73-383F-DF300FE575FA}"/>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solidFill>
                  <a:schemeClr val="accent2">
                    <a:lumMod val="50000"/>
                    <a:lumOff val="5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714" name="Freeform 431">
                  <a:extLst>
                    <a:ext uri="{FF2B5EF4-FFF2-40B4-BE49-F238E27FC236}">
                      <a16:creationId xmlns:a16="http://schemas.microsoft.com/office/drawing/2014/main" id="{A0DAE463-180D-8BEC-2016-006FA6C93E19}"/>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solidFill>
                  <a:schemeClr val="accent2">
                    <a:lumMod val="50000"/>
                    <a:lumOff val="5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grpSp>
          <p:sp>
            <p:nvSpPr>
              <p:cNvPr id="2625" name="Freeform 432">
                <a:extLst>
                  <a:ext uri="{FF2B5EF4-FFF2-40B4-BE49-F238E27FC236}">
                    <a16:creationId xmlns:a16="http://schemas.microsoft.com/office/drawing/2014/main" id="{96D949E9-7BE3-3A08-00F2-4FBE11546785}"/>
                  </a:ext>
                </a:extLst>
              </p:cNvPr>
              <p:cNvSpPr>
                <a:spLocks/>
              </p:cNvSpPr>
              <p:nvPr/>
            </p:nvSpPr>
            <p:spPr bwMode="auto">
              <a:xfrm>
                <a:off x="9301444" y="3329111"/>
                <a:ext cx="10730" cy="15139"/>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26" name="Freeform 433">
                <a:extLst>
                  <a:ext uri="{FF2B5EF4-FFF2-40B4-BE49-F238E27FC236}">
                    <a16:creationId xmlns:a16="http://schemas.microsoft.com/office/drawing/2014/main" id="{8DDA7209-123A-08C7-7BFB-0D75744CD2CC}"/>
                  </a:ext>
                </a:extLst>
              </p:cNvPr>
              <p:cNvSpPr>
                <a:spLocks/>
              </p:cNvSpPr>
              <p:nvPr/>
            </p:nvSpPr>
            <p:spPr bwMode="auto">
              <a:xfrm>
                <a:off x="9238855" y="3329111"/>
                <a:ext cx="67953" cy="54878"/>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solidFill>
                <a:schemeClr val="accent2">
                  <a:lumMod val="50000"/>
                  <a:lumOff val="5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27" name="Freeform 434">
                <a:extLst>
                  <a:ext uri="{FF2B5EF4-FFF2-40B4-BE49-F238E27FC236}">
                    <a16:creationId xmlns:a16="http://schemas.microsoft.com/office/drawing/2014/main" id="{6383ADF6-B6ED-DC41-E23B-9129DFAE4BAC}"/>
                  </a:ext>
                </a:extLst>
              </p:cNvPr>
              <p:cNvSpPr>
                <a:spLocks/>
              </p:cNvSpPr>
              <p:nvPr/>
            </p:nvSpPr>
            <p:spPr bwMode="auto">
              <a:xfrm>
                <a:off x="9170901" y="3349928"/>
                <a:ext cx="57223" cy="8894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solidFill>
                <a:schemeClr val="accent2">
                  <a:lumMod val="50000"/>
                  <a:lumOff val="5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28" name="Freeform 435">
                <a:extLst>
                  <a:ext uri="{FF2B5EF4-FFF2-40B4-BE49-F238E27FC236}">
                    <a16:creationId xmlns:a16="http://schemas.microsoft.com/office/drawing/2014/main" id="{31F5327F-5EE2-9EF5-348B-18F55383FCAB}"/>
                  </a:ext>
                </a:extLst>
              </p:cNvPr>
              <p:cNvSpPr>
                <a:spLocks/>
              </p:cNvSpPr>
              <p:nvPr/>
            </p:nvSpPr>
            <p:spPr bwMode="auto">
              <a:xfrm>
                <a:off x="9113678" y="3567551"/>
                <a:ext cx="19671" cy="17031"/>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29" name="Freeform 436">
                <a:extLst>
                  <a:ext uri="{FF2B5EF4-FFF2-40B4-BE49-F238E27FC236}">
                    <a16:creationId xmlns:a16="http://schemas.microsoft.com/office/drawing/2014/main" id="{C6B373F4-043E-1EDE-493F-6F519A7CDD3B}"/>
                  </a:ext>
                </a:extLst>
              </p:cNvPr>
              <p:cNvSpPr>
                <a:spLocks/>
              </p:cNvSpPr>
              <p:nvPr/>
            </p:nvSpPr>
            <p:spPr bwMode="auto">
              <a:xfrm>
                <a:off x="9160172" y="3512671"/>
                <a:ext cx="10730" cy="9462"/>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30" name="Freeform 437">
                <a:extLst>
                  <a:ext uri="{FF2B5EF4-FFF2-40B4-BE49-F238E27FC236}">
                    <a16:creationId xmlns:a16="http://schemas.microsoft.com/office/drawing/2014/main" id="{BE940CFD-9731-7D4E-4D38-7885A88E2B2B}"/>
                  </a:ext>
                </a:extLst>
              </p:cNvPr>
              <p:cNvSpPr>
                <a:spLocks/>
              </p:cNvSpPr>
              <p:nvPr/>
            </p:nvSpPr>
            <p:spPr bwMode="auto">
              <a:xfrm>
                <a:off x="9018900" y="3628106"/>
                <a:ext cx="10730" cy="567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31" name="Freeform 438">
                <a:extLst>
                  <a:ext uri="{FF2B5EF4-FFF2-40B4-BE49-F238E27FC236}">
                    <a16:creationId xmlns:a16="http://schemas.microsoft.com/office/drawing/2014/main" id="{4B0CA1D7-2332-FC49-0BD8-C27F4EBB279F}"/>
                  </a:ext>
                </a:extLst>
              </p:cNvPr>
              <p:cNvSpPr>
                <a:spLocks/>
              </p:cNvSpPr>
              <p:nvPr/>
            </p:nvSpPr>
            <p:spPr bwMode="auto">
              <a:xfrm>
                <a:off x="8918760" y="3607289"/>
                <a:ext cx="62589" cy="92726"/>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32" name="Freeform 439">
                <a:extLst>
                  <a:ext uri="{FF2B5EF4-FFF2-40B4-BE49-F238E27FC236}">
                    <a16:creationId xmlns:a16="http://schemas.microsoft.com/office/drawing/2014/main" id="{9DF10B65-7C79-3D3D-B7B2-F51FD26D7E17}"/>
                  </a:ext>
                </a:extLst>
              </p:cNvPr>
              <p:cNvSpPr>
                <a:spLocks/>
              </p:cNvSpPr>
              <p:nvPr/>
            </p:nvSpPr>
            <p:spPr bwMode="auto">
              <a:xfrm>
                <a:off x="8609391" y="3762463"/>
                <a:ext cx="73319" cy="54878"/>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33" name="Freeform 440">
                <a:extLst>
                  <a:ext uri="{FF2B5EF4-FFF2-40B4-BE49-F238E27FC236}">
                    <a16:creationId xmlns:a16="http://schemas.microsoft.com/office/drawing/2014/main" id="{15B849A3-CAF0-A0C9-7B63-0371E5F6B265}"/>
                  </a:ext>
                </a:extLst>
              </p:cNvPr>
              <p:cNvSpPr>
                <a:spLocks/>
              </p:cNvSpPr>
              <p:nvPr/>
            </p:nvSpPr>
            <p:spPr bwMode="auto">
              <a:xfrm>
                <a:off x="8908030" y="3800311"/>
                <a:ext cx="105506" cy="157066"/>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34" name="Freeform 441">
                <a:extLst>
                  <a:ext uri="{FF2B5EF4-FFF2-40B4-BE49-F238E27FC236}">
                    <a16:creationId xmlns:a16="http://schemas.microsoft.com/office/drawing/2014/main" id="{992A83F2-312B-BC49-DEEF-2CA83E65738C}"/>
                  </a:ext>
                </a:extLst>
              </p:cNvPr>
              <p:cNvSpPr>
                <a:spLocks/>
              </p:cNvSpPr>
              <p:nvPr/>
            </p:nvSpPr>
            <p:spPr bwMode="auto">
              <a:xfrm>
                <a:off x="8997442" y="3934668"/>
                <a:ext cx="32188" cy="43525"/>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35" name="Freeform 442">
                <a:extLst>
                  <a:ext uri="{FF2B5EF4-FFF2-40B4-BE49-F238E27FC236}">
                    <a16:creationId xmlns:a16="http://schemas.microsoft.com/office/drawing/2014/main" id="{173CAC35-F618-27C6-6CF9-7C46CFD84479}"/>
                  </a:ext>
                </a:extLst>
              </p:cNvPr>
              <p:cNvSpPr>
                <a:spLocks/>
              </p:cNvSpPr>
              <p:nvPr/>
            </p:nvSpPr>
            <p:spPr bwMode="auto">
              <a:xfrm>
                <a:off x="9018900" y="3972515"/>
                <a:ext cx="51859" cy="73803"/>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36" name="Freeform 443">
                <a:extLst>
                  <a:ext uri="{FF2B5EF4-FFF2-40B4-BE49-F238E27FC236}">
                    <a16:creationId xmlns:a16="http://schemas.microsoft.com/office/drawing/2014/main" id="{326CAA23-83C2-5618-97A5-08B003894328}"/>
                  </a:ext>
                </a:extLst>
              </p:cNvPr>
              <p:cNvSpPr>
                <a:spLocks/>
              </p:cNvSpPr>
              <p:nvPr/>
            </p:nvSpPr>
            <p:spPr bwMode="auto">
              <a:xfrm>
                <a:off x="8924122" y="3940346"/>
                <a:ext cx="32188" cy="43525"/>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37" name="Freeform 444">
                <a:extLst>
                  <a:ext uri="{FF2B5EF4-FFF2-40B4-BE49-F238E27FC236}">
                    <a16:creationId xmlns:a16="http://schemas.microsoft.com/office/drawing/2014/main" id="{CBF981D1-BD44-7CB2-612C-4BBA8E34325F}"/>
                  </a:ext>
                </a:extLst>
              </p:cNvPr>
              <p:cNvSpPr>
                <a:spLocks/>
              </p:cNvSpPr>
              <p:nvPr/>
            </p:nvSpPr>
            <p:spPr bwMode="auto">
              <a:xfrm>
                <a:off x="8961677" y="3983870"/>
                <a:ext cx="46495" cy="56771"/>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38" name="Freeform 445">
                <a:extLst>
                  <a:ext uri="{FF2B5EF4-FFF2-40B4-BE49-F238E27FC236}">
                    <a16:creationId xmlns:a16="http://schemas.microsoft.com/office/drawing/2014/main" id="{211C8560-BE14-1C76-157D-1D32F7F6DBFD}"/>
                  </a:ext>
                </a:extLst>
              </p:cNvPr>
              <p:cNvSpPr>
                <a:spLocks/>
              </p:cNvSpPr>
              <p:nvPr/>
            </p:nvSpPr>
            <p:spPr bwMode="auto">
              <a:xfrm>
                <a:off x="8972407" y="4017932"/>
                <a:ext cx="35765" cy="60555"/>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39" name="Freeform 446">
                <a:extLst>
                  <a:ext uri="{FF2B5EF4-FFF2-40B4-BE49-F238E27FC236}">
                    <a16:creationId xmlns:a16="http://schemas.microsoft.com/office/drawing/2014/main" id="{71D24658-F2D4-790D-1CB8-409E7C33AFF4}"/>
                  </a:ext>
                </a:extLst>
              </p:cNvPr>
              <p:cNvSpPr>
                <a:spLocks/>
              </p:cNvSpPr>
              <p:nvPr/>
            </p:nvSpPr>
            <p:spPr bwMode="auto">
              <a:xfrm>
                <a:off x="9002805" y="4012255"/>
                <a:ext cx="21459" cy="43525"/>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40" name="Freeform 447">
                <a:extLst>
                  <a:ext uri="{FF2B5EF4-FFF2-40B4-BE49-F238E27FC236}">
                    <a16:creationId xmlns:a16="http://schemas.microsoft.com/office/drawing/2014/main" id="{098AF494-2A51-84BD-2A18-301330004D31}"/>
                  </a:ext>
                </a:extLst>
              </p:cNvPr>
              <p:cNvSpPr>
                <a:spLocks/>
              </p:cNvSpPr>
              <p:nvPr/>
            </p:nvSpPr>
            <p:spPr bwMode="auto">
              <a:xfrm>
                <a:off x="9013536" y="4040641"/>
                <a:ext cx="32188" cy="20817"/>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41" name="Freeform 448">
                <a:extLst>
                  <a:ext uri="{FF2B5EF4-FFF2-40B4-BE49-F238E27FC236}">
                    <a16:creationId xmlns:a16="http://schemas.microsoft.com/office/drawing/2014/main" id="{284DB6E2-2C74-4757-041F-42A0D997E64F}"/>
                  </a:ext>
                </a:extLst>
              </p:cNvPr>
              <p:cNvSpPr>
                <a:spLocks/>
              </p:cNvSpPr>
              <p:nvPr/>
            </p:nvSpPr>
            <p:spPr bwMode="auto">
              <a:xfrm>
                <a:off x="9013536" y="4055781"/>
                <a:ext cx="73319" cy="117328"/>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42" name="Freeform 449">
                <a:extLst>
                  <a:ext uri="{FF2B5EF4-FFF2-40B4-BE49-F238E27FC236}">
                    <a16:creationId xmlns:a16="http://schemas.microsoft.com/office/drawing/2014/main" id="{3B7B18DF-FF9D-538D-3974-A54816DC02A7}"/>
                  </a:ext>
                </a:extLst>
              </p:cNvPr>
              <p:cNvSpPr>
                <a:spLocks/>
              </p:cNvSpPr>
              <p:nvPr/>
            </p:nvSpPr>
            <p:spPr bwMode="auto">
              <a:xfrm>
                <a:off x="8967041" y="4078488"/>
                <a:ext cx="62589" cy="56771"/>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43" name="Freeform 450">
                <a:extLst>
                  <a:ext uri="{FF2B5EF4-FFF2-40B4-BE49-F238E27FC236}">
                    <a16:creationId xmlns:a16="http://schemas.microsoft.com/office/drawing/2014/main" id="{22CF22CA-9076-F34D-A9A7-6E0F392C4A00}"/>
                  </a:ext>
                </a:extLst>
              </p:cNvPr>
              <p:cNvSpPr>
                <a:spLocks/>
              </p:cNvSpPr>
              <p:nvPr/>
            </p:nvSpPr>
            <p:spPr bwMode="auto">
              <a:xfrm>
                <a:off x="8840075" y="4023609"/>
                <a:ext cx="62589" cy="66233"/>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44" name="Freeform 451">
                <a:extLst>
                  <a:ext uri="{FF2B5EF4-FFF2-40B4-BE49-F238E27FC236}">
                    <a16:creationId xmlns:a16="http://schemas.microsoft.com/office/drawing/2014/main" id="{3183EB6A-FFB3-C99E-F8BD-8837819CED30}"/>
                  </a:ext>
                </a:extLst>
              </p:cNvPr>
              <p:cNvSpPr>
                <a:spLocks/>
              </p:cNvSpPr>
              <p:nvPr/>
            </p:nvSpPr>
            <p:spPr bwMode="auto">
              <a:xfrm>
                <a:off x="9024266" y="3940346"/>
                <a:ext cx="10730" cy="5677"/>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45" name="Freeform 452">
                <a:extLst>
                  <a:ext uri="{FF2B5EF4-FFF2-40B4-BE49-F238E27FC236}">
                    <a16:creationId xmlns:a16="http://schemas.microsoft.com/office/drawing/2014/main" id="{E40CD00D-B7D7-1113-2277-9F5D420C4E4B}"/>
                  </a:ext>
                </a:extLst>
              </p:cNvPr>
              <p:cNvSpPr>
                <a:spLocks/>
              </p:cNvSpPr>
              <p:nvPr/>
            </p:nvSpPr>
            <p:spPr bwMode="auto">
              <a:xfrm>
                <a:off x="8264257" y="4167429"/>
                <a:ext cx="293274" cy="323595"/>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46" name="Freeform 453">
                <a:extLst>
                  <a:ext uri="{FF2B5EF4-FFF2-40B4-BE49-F238E27FC236}">
                    <a16:creationId xmlns:a16="http://schemas.microsoft.com/office/drawing/2014/main" id="{FAB39D24-AA1A-8B83-5CFA-8E5DFA15E138}"/>
                  </a:ext>
                </a:extLst>
              </p:cNvPr>
              <p:cNvSpPr>
                <a:spLocks/>
              </p:cNvSpPr>
              <p:nvPr/>
            </p:nvSpPr>
            <p:spPr bwMode="auto">
              <a:xfrm>
                <a:off x="8316116" y="4284757"/>
                <a:ext cx="26823" cy="28387"/>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47" name="Freeform 454">
                <a:extLst>
                  <a:ext uri="{FF2B5EF4-FFF2-40B4-BE49-F238E27FC236}">
                    <a16:creationId xmlns:a16="http://schemas.microsoft.com/office/drawing/2014/main" id="{FE54851B-F7C5-DC3D-3CD5-965740C292C8}"/>
                  </a:ext>
                </a:extLst>
              </p:cNvPr>
              <p:cNvSpPr>
                <a:spLocks/>
              </p:cNvSpPr>
              <p:nvPr/>
            </p:nvSpPr>
            <p:spPr bwMode="auto">
              <a:xfrm>
                <a:off x="8353671" y="4350990"/>
                <a:ext cx="25036" cy="28387"/>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48" name="Freeform 455">
                <a:extLst>
                  <a:ext uri="{FF2B5EF4-FFF2-40B4-BE49-F238E27FC236}">
                    <a16:creationId xmlns:a16="http://schemas.microsoft.com/office/drawing/2014/main" id="{495F40C3-D7F1-5D98-86B8-2418C26FD9D4}"/>
                  </a:ext>
                </a:extLst>
              </p:cNvPr>
              <p:cNvSpPr>
                <a:spLocks/>
              </p:cNvSpPr>
              <p:nvPr/>
            </p:nvSpPr>
            <p:spPr bwMode="auto">
              <a:xfrm>
                <a:off x="8530707" y="4368019"/>
                <a:ext cx="37553" cy="39739"/>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49" name="Freeform 456">
                <a:extLst>
                  <a:ext uri="{FF2B5EF4-FFF2-40B4-BE49-F238E27FC236}">
                    <a16:creationId xmlns:a16="http://schemas.microsoft.com/office/drawing/2014/main" id="{A8C829D5-4A2A-B58E-1380-236F7E395987}"/>
                  </a:ext>
                </a:extLst>
              </p:cNvPr>
              <p:cNvSpPr>
                <a:spLocks/>
              </p:cNvSpPr>
              <p:nvPr/>
            </p:nvSpPr>
            <p:spPr bwMode="auto">
              <a:xfrm>
                <a:off x="8589720" y="4396406"/>
                <a:ext cx="19671" cy="20817"/>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50" name="Freeform 457">
                <a:extLst>
                  <a:ext uri="{FF2B5EF4-FFF2-40B4-BE49-F238E27FC236}">
                    <a16:creationId xmlns:a16="http://schemas.microsoft.com/office/drawing/2014/main" id="{752433F9-6323-1D8F-06C7-5182D08E65D4}"/>
                  </a:ext>
                </a:extLst>
              </p:cNvPr>
              <p:cNvSpPr>
                <a:spLocks/>
              </p:cNvSpPr>
              <p:nvPr/>
            </p:nvSpPr>
            <p:spPr bwMode="auto">
              <a:xfrm>
                <a:off x="8536071" y="4491024"/>
                <a:ext cx="241415" cy="832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51" name="Freeform 458">
                <a:extLst>
                  <a:ext uri="{FF2B5EF4-FFF2-40B4-BE49-F238E27FC236}">
                    <a16:creationId xmlns:a16="http://schemas.microsoft.com/office/drawing/2014/main" id="{B2999098-0470-3C22-F685-CDCC839C1978}"/>
                  </a:ext>
                </a:extLst>
              </p:cNvPr>
              <p:cNvSpPr>
                <a:spLocks/>
              </p:cNvSpPr>
              <p:nvPr/>
            </p:nvSpPr>
            <p:spPr bwMode="auto">
              <a:xfrm>
                <a:off x="8714898" y="4511839"/>
                <a:ext cx="41130" cy="17031"/>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52" name="Freeform 459">
                <a:extLst>
                  <a:ext uri="{FF2B5EF4-FFF2-40B4-BE49-F238E27FC236}">
                    <a16:creationId xmlns:a16="http://schemas.microsoft.com/office/drawing/2014/main" id="{60A53162-0165-1BC4-6414-C62495020CF6}"/>
                  </a:ext>
                </a:extLst>
              </p:cNvPr>
              <p:cNvSpPr>
                <a:spLocks/>
              </p:cNvSpPr>
              <p:nvPr/>
            </p:nvSpPr>
            <p:spPr bwMode="auto">
              <a:xfrm>
                <a:off x="8772121" y="4551579"/>
                <a:ext cx="32188" cy="22709"/>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53" name="Freeform 460">
                <a:extLst>
                  <a:ext uri="{FF2B5EF4-FFF2-40B4-BE49-F238E27FC236}">
                    <a16:creationId xmlns:a16="http://schemas.microsoft.com/office/drawing/2014/main" id="{F52F1B4B-5151-60DD-9770-69B143400B96}"/>
                  </a:ext>
                </a:extLst>
              </p:cNvPr>
              <p:cNvSpPr>
                <a:spLocks/>
              </p:cNvSpPr>
              <p:nvPr/>
            </p:nvSpPr>
            <p:spPr bwMode="auto">
              <a:xfrm>
                <a:off x="8804310" y="4557255"/>
                <a:ext cx="25036" cy="17031"/>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54" name="Freeform 461">
                <a:extLst>
                  <a:ext uri="{FF2B5EF4-FFF2-40B4-BE49-F238E27FC236}">
                    <a16:creationId xmlns:a16="http://schemas.microsoft.com/office/drawing/2014/main" id="{019B1CF1-2DFA-0582-05E4-0D3FB8C97413}"/>
                  </a:ext>
                </a:extLst>
              </p:cNvPr>
              <p:cNvSpPr>
                <a:spLocks/>
              </p:cNvSpPr>
              <p:nvPr/>
            </p:nvSpPr>
            <p:spPr bwMode="auto">
              <a:xfrm>
                <a:off x="8823980" y="4557255"/>
                <a:ext cx="37553" cy="22709"/>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55" name="Freeform 462">
                <a:extLst>
                  <a:ext uri="{FF2B5EF4-FFF2-40B4-BE49-F238E27FC236}">
                    <a16:creationId xmlns:a16="http://schemas.microsoft.com/office/drawing/2014/main" id="{D5AD5468-62EF-FD28-52DF-6BE105001177}"/>
                  </a:ext>
                </a:extLst>
              </p:cNvPr>
              <p:cNvSpPr>
                <a:spLocks/>
              </p:cNvSpPr>
              <p:nvPr/>
            </p:nvSpPr>
            <p:spPr bwMode="auto">
              <a:xfrm>
                <a:off x="8850804" y="4551579"/>
                <a:ext cx="42917" cy="28387"/>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56" name="Freeform 463">
                <a:extLst>
                  <a:ext uri="{FF2B5EF4-FFF2-40B4-BE49-F238E27FC236}">
                    <a16:creationId xmlns:a16="http://schemas.microsoft.com/office/drawing/2014/main" id="{4971A929-995A-B301-8EAB-F5F8DABAB768}"/>
                  </a:ext>
                </a:extLst>
              </p:cNvPr>
              <p:cNvSpPr>
                <a:spLocks/>
              </p:cNvSpPr>
              <p:nvPr/>
            </p:nvSpPr>
            <p:spPr bwMode="auto">
              <a:xfrm>
                <a:off x="8908030" y="4557255"/>
                <a:ext cx="64377" cy="22709"/>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57" name="Freeform 464">
                <a:extLst>
                  <a:ext uri="{FF2B5EF4-FFF2-40B4-BE49-F238E27FC236}">
                    <a16:creationId xmlns:a16="http://schemas.microsoft.com/office/drawing/2014/main" id="{3218615B-49E2-B9DF-76BD-E291EDAB6E69}"/>
                  </a:ext>
                </a:extLst>
              </p:cNvPr>
              <p:cNvSpPr>
                <a:spLocks/>
              </p:cNvSpPr>
              <p:nvPr/>
            </p:nvSpPr>
            <p:spPr bwMode="auto">
              <a:xfrm>
                <a:off x="8888358" y="4589426"/>
                <a:ext cx="57223" cy="34061"/>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58" name="Freeform 465">
                <a:extLst>
                  <a:ext uri="{FF2B5EF4-FFF2-40B4-BE49-F238E27FC236}">
                    <a16:creationId xmlns:a16="http://schemas.microsoft.com/office/drawing/2014/main" id="{B3C42488-0B74-39C2-13F1-EA02C5CABEEA}"/>
                  </a:ext>
                </a:extLst>
              </p:cNvPr>
              <p:cNvSpPr>
                <a:spLocks/>
              </p:cNvSpPr>
              <p:nvPr/>
            </p:nvSpPr>
            <p:spPr bwMode="auto">
              <a:xfrm>
                <a:off x="9070759" y="4411545"/>
                <a:ext cx="32188" cy="22709"/>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59" name="Freeform 466">
                <a:extLst>
                  <a:ext uri="{FF2B5EF4-FFF2-40B4-BE49-F238E27FC236}">
                    <a16:creationId xmlns:a16="http://schemas.microsoft.com/office/drawing/2014/main" id="{D2FAD87A-0699-4EAB-8AF4-4B3413F1BA9C}"/>
                  </a:ext>
                </a:extLst>
              </p:cNvPr>
              <p:cNvSpPr>
                <a:spLocks/>
              </p:cNvSpPr>
              <p:nvPr/>
            </p:nvSpPr>
            <p:spPr bwMode="auto">
              <a:xfrm>
                <a:off x="9124408" y="4407761"/>
                <a:ext cx="78683" cy="26493"/>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60" name="Freeform 467">
                <a:extLst>
                  <a:ext uri="{FF2B5EF4-FFF2-40B4-BE49-F238E27FC236}">
                    <a16:creationId xmlns:a16="http://schemas.microsoft.com/office/drawing/2014/main" id="{11AAF11C-BEBB-604B-C3C5-6909203683D1}"/>
                  </a:ext>
                </a:extLst>
              </p:cNvPr>
              <p:cNvSpPr>
                <a:spLocks/>
              </p:cNvSpPr>
              <p:nvPr/>
            </p:nvSpPr>
            <p:spPr bwMode="auto">
              <a:xfrm>
                <a:off x="8882993" y="4279078"/>
                <a:ext cx="168096" cy="200590"/>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61" name="Freeform 468">
                <a:extLst>
                  <a:ext uri="{FF2B5EF4-FFF2-40B4-BE49-F238E27FC236}">
                    <a16:creationId xmlns:a16="http://schemas.microsoft.com/office/drawing/2014/main" id="{CCF16A08-523D-AA06-ED9D-2A65D1D264B9}"/>
                  </a:ext>
                </a:extLst>
              </p:cNvPr>
              <p:cNvSpPr>
                <a:spLocks/>
              </p:cNvSpPr>
              <p:nvPr/>
            </p:nvSpPr>
            <p:spPr bwMode="auto">
              <a:xfrm>
                <a:off x="9108312" y="4267724"/>
                <a:ext cx="41130" cy="832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62" name="Freeform 469">
                <a:extLst>
                  <a:ext uri="{FF2B5EF4-FFF2-40B4-BE49-F238E27FC236}">
                    <a16:creationId xmlns:a16="http://schemas.microsoft.com/office/drawing/2014/main" id="{D3E87F32-38D4-CC74-61B5-01318B0B4E77}"/>
                  </a:ext>
                </a:extLst>
              </p:cNvPr>
              <p:cNvSpPr>
                <a:spLocks/>
              </p:cNvSpPr>
              <p:nvPr/>
            </p:nvSpPr>
            <p:spPr bwMode="auto">
              <a:xfrm>
                <a:off x="9129773" y="4256371"/>
                <a:ext cx="14306" cy="11355"/>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63" name="Freeform 470">
                <a:extLst>
                  <a:ext uri="{FF2B5EF4-FFF2-40B4-BE49-F238E27FC236}">
                    <a16:creationId xmlns:a16="http://schemas.microsoft.com/office/drawing/2014/main" id="{37BBAEEA-4DBE-B512-6AE6-977689DC8E97}"/>
                  </a:ext>
                </a:extLst>
              </p:cNvPr>
              <p:cNvSpPr>
                <a:spLocks/>
              </p:cNvSpPr>
              <p:nvPr/>
            </p:nvSpPr>
            <p:spPr bwMode="auto">
              <a:xfrm>
                <a:off x="9186997" y="4328280"/>
                <a:ext cx="25036" cy="11355"/>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64" name="Freeform 471">
                <a:extLst>
                  <a:ext uri="{FF2B5EF4-FFF2-40B4-BE49-F238E27FC236}">
                    <a16:creationId xmlns:a16="http://schemas.microsoft.com/office/drawing/2014/main" id="{92D5FF10-4265-4986-34F6-A0B06DD5AD10}"/>
                  </a:ext>
                </a:extLst>
              </p:cNvPr>
              <p:cNvSpPr>
                <a:spLocks/>
              </p:cNvSpPr>
              <p:nvPr/>
            </p:nvSpPr>
            <p:spPr bwMode="auto">
              <a:xfrm>
                <a:off x="9192362" y="4333956"/>
                <a:ext cx="98354" cy="62449"/>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65" name="Freeform 485">
                <a:extLst>
                  <a:ext uri="{FF2B5EF4-FFF2-40B4-BE49-F238E27FC236}">
                    <a16:creationId xmlns:a16="http://schemas.microsoft.com/office/drawing/2014/main" id="{F880FBF5-2B6C-FD35-DBAD-340A388D4701}"/>
                  </a:ext>
                </a:extLst>
              </p:cNvPr>
              <p:cNvSpPr>
                <a:spLocks/>
              </p:cNvSpPr>
              <p:nvPr/>
            </p:nvSpPr>
            <p:spPr bwMode="auto">
              <a:xfrm>
                <a:off x="7897665" y="4055781"/>
                <a:ext cx="57223" cy="100296"/>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66" name="Freeform 487">
                <a:extLst>
                  <a:ext uri="{FF2B5EF4-FFF2-40B4-BE49-F238E27FC236}">
                    <a16:creationId xmlns:a16="http://schemas.microsoft.com/office/drawing/2014/main" id="{4EE5F252-01AE-7B48-2425-FA90601F9EDB}"/>
                  </a:ext>
                </a:extLst>
              </p:cNvPr>
              <p:cNvSpPr>
                <a:spLocks/>
              </p:cNvSpPr>
              <p:nvPr/>
            </p:nvSpPr>
            <p:spPr bwMode="auto">
              <a:xfrm>
                <a:off x="7352248" y="1938224"/>
                <a:ext cx="57223" cy="45416"/>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67" name="Freeform 488">
                <a:extLst>
                  <a:ext uri="{FF2B5EF4-FFF2-40B4-BE49-F238E27FC236}">
                    <a16:creationId xmlns:a16="http://schemas.microsoft.com/office/drawing/2014/main" id="{2EAB7166-BDA6-03CD-00A9-7796DCE6B6A1}"/>
                  </a:ext>
                </a:extLst>
              </p:cNvPr>
              <p:cNvSpPr>
                <a:spLocks/>
              </p:cNvSpPr>
              <p:nvPr/>
            </p:nvSpPr>
            <p:spPr bwMode="auto">
              <a:xfrm>
                <a:off x="7078645" y="1972287"/>
                <a:ext cx="57223" cy="54878"/>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68" name="Freeform 489">
                <a:extLst>
                  <a:ext uri="{FF2B5EF4-FFF2-40B4-BE49-F238E27FC236}">
                    <a16:creationId xmlns:a16="http://schemas.microsoft.com/office/drawing/2014/main" id="{38CBEF32-8104-11BF-3CE9-5B1E2EB2B6FC}"/>
                  </a:ext>
                </a:extLst>
              </p:cNvPr>
              <p:cNvSpPr>
                <a:spLocks/>
              </p:cNvSpPr>
              <p:nvPr/>
            </p:nvSpPr>
            <p:spPr bwMode="auto">
              <a:xfrm>
                <a:off x="7650886" y="1783050"/>
                <a:ext cx="46495" cy="28387"/>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69" name="Freeform 490">
                <a:extLst>
                  <a:ext uri="{FF2B5EF4-FFF2-40B4-BE49-F238E27FC236}">
                    <a16:creationId xmlns:a16="http://schemas.microsoft.com/office/drawing/2014/main" id="{A08D1D09-70DD-42EE-652D-E5ED42D87D59}"/>
                  </a:ext>
                </a:extLst>
              </p:cNvPr>
              <p:cNvSpPr>
                <a:spLocks/>
              </p:cNvSpPr>
              <p:nvPr/>
            </p:nvSpPr>
            <p:spPr bwMode="auto">
              <a:xfrm>
                <a:off x="8698802" y="1728172"/>
                <a:ext cx="51859" cy="26493"/>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70" name="Freeform 491">
                <a:extLst>
                  <a:ext uri="{FF2B5EF4-FFF2-40B4-BE49-F238E27FC236}">
                    <a16:creationId xmlns:a16="http://schemas.microsoft.com/office/drawing/2014/main" id="{FA405ADF-128B-B107-A3B8-9C4ECEC17607}"/>
                  </a:ext>
                </a:extLst>
              </p:cNvPr>
              <p:cNvSpPr>
                <a:spLocks/>
              </p:cNvSpPr>
              <p:nvPr/>
            </p:nvSpPr>
            <p:spPr bwMode="auto">
              <a:xfrm>
                <a:off x="8169481" y="1326992"/>
                <a:ext cx="32188" cy="11355"/>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71" name="Freeform 492">
                <a:extLst>
                  <a:ext uri="{FF2B5EF4-FFF2-40B4-BE49-F238E27FC236}">
                    <a16:creationId xmlns:a16="http://schemas.microsoft.com/office/drawing/2014/main" id="{4B2D2B3D-6A74-3C7F-C638-65A92BD524F5}"/>
                  </a:ext>
                </a:extLst>
              </p:cNvPr>
              <p:cNvSpPr>
                <a:spLocks/>
              </p:cNvSpPr>
              <p:nvPr/>
            </p:nvSpPr>
            <p:spPr bwMode="auto">
              <a:xfrm>
                <a:off x="7876208" y="1805760"/>
                <a:ext cx="30400" cy="22709"/>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72" name="Freeform 610">
                <a:extLst>
                  <a:ext uri="{FF2B5EF4-FFF2-40B4-BE49-F238E27FC236}">
                    <a16:creationId xmlns:a16="http://schemas.microsoft.com/office/drawing/2014/main" id="{92CCE14F-BD15-D038-9765-365A98A26664}"/>
                  </a:ext>
                </a:extLst>
              </p:cNvPr>
              <p:cNvSpPr>
                <a:spLocks/>
              </p:cNvSpPr>
              <p:nvPr/>
            </p:nvSpPr>
            <p:spPr bwMode="auto">
              <a:xfrm>
                <a:off x="9176266" y="4379372"/>
                <a:ext cx="10730" cy="567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73" name="Freeform 611">
                <a:extLst>
                  <a:ext uri="{FF2B5EF4-FFF2-40B4-BE49-F238E27FC236}">
                    <a16:creationId xmlns:a16="http://schemas.microsoft.com/office/drawing/2014/main" id="{AF1AA2AA-6338-FC4D-9D1D-BECAF7B6A7AC}"/>
                  </a:ext>
                </a:extLst>
              </p:cNvPr>
              <p:cNvSpPr>
                <a:spLocks/>
              </p:cNvSpPr>
              <p:nvPr/>
            </p:nvSpPr>
            <p:spPr bwMode="auto">
              <a:xfrm>
                <a:off x="9108312" y="4368018"/>
                <a:ext cx="10730" cy="11355"/>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74" name="Freeform 643">
                <a:extLst>
                  <a:ext uri="{FF2B5EF4-FFF2-40B4-BE49-F238E27FC236}">
                    <a16:creationId xmlns:a16="http://schemas.microsoft.com/office/drawing/2014/main" id="{EF4FD3BA-1D8B-0DF1-3030-C70270B8FCAD}"/>
                  </a:ext>
                </a:extLst>
              </p:cNvPr>
              <p:cNvSpPr>
                <a:spLocks/>
              </p:cNvSpPr>
              <p:nvPr/>
            </p:nvSpPr>
            <p:spPr bwMode="auto">
              <a:xfrm>
                <a:off x="8997442" y="4574287"/>
                <a:ext cx="53647" cy="49203"/>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75" name="Freeform 644">
                <a:extLst>
                  <a:ext uri="{FF2B5EF4-FFF2-40B4-BE49-F238E27FC236}">
                    <a16:creationId xmlns:a16="http://schemas.microsoft.com/office/drawing/2014/main" id="{2767725E-52D0-CEA9-0458-62F6903A101B}"/>
                  </a:ext>
                </a:extLst>
              </p:cNvPr>
              <p:cNvSpPr>
                <a:spLocks/>
              </p:cNvSpPr>
              <p:nvPr/>
            </p:nvSpPr>
            <p:spPr bwMode="auto">
              <a:xfrm>
                <a:off x="9040360" y="4562933"/>
                <a:ext cx="67953" cy="26493"/>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76" name="Freeform 676">
                <a:extLst>
                  <a:ext uri="{FF2B5EF4-FFF2-40B4-BE49-F238E27FC236}">
                    <a16:creationId xmlns:a16="http://schemas.microsoft.com/office/drawing/2014/main" id="{CCF8AC17-0723-85EA-EF09-78D966935115}"/>
                  </a:ext>
                </a:extLst>
              </p:cNvPr>
              <p:cNvSpPr>
                <a:spLocks/>
              </p:cNvSpPr>
              <p:nvPr/>
            </p:nvSpPr>
            <p:spPr bwMode="auto">
              <a:xfrm>
                <a:off x="6964198" y="3145552"/>
                <a:ext cx="518594" cy="465521"/>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77" name="Freeform 680">
                <a:extLst>
                  <a:ext uri="{FF2B5EF4-FFF2-40B4-BE49-F238E27FC236}">
                    <a16:creationId xmlns:a16="http://schemas.microsoft.com/office/drawing/2014/main" id="{008F4A32-D47C-E194-995A-B300916FE2FB}"/>
                  </a:ext>
                </a:extLst>
              </p:cNvPr>
              <p:cNvSpPr>
                <a:spLocks/>
              </p:cNvSpPr>
              <p:nvPr/>
            </p:nvSpPr>
            <p:spPr bwMode="auto">
              <a:xfrm>
                <a:off x="7026786" y="3450223"/>
                <a:ext cx="46495" cy="56771"/>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78" name="Freeform 682">
                <a:extLst>
                  <a:ext uri="{FF2B5EF4-FFF2-40B4-BE49-F238E27FC236}">
                    <a16:creationId xmlns:a16="http://schemas.microsoft.com/office/drawing/2014/main" id="{A5357925-23E2-8447-39B0-19ABD7B4CBC6}"/>
                  </a:ext>
                </a:extLst>
              </p:cNvPr>
              <p:cNvSpPr>
                <a:spLocks/>
              </p:cNvSpPr>
              <p:nvPr/>
            </p:nvSpPr>
            <p:spPr bwMode="auto">
              <a:xfrm>
                <a:off x="6817560" y="3228816"/>
                <a:ext cx="261085" cy="261146"/>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79" name="Freeform 684">
                <a:extLst>
                  <a:ext uri="{FF2B5EF4-FFF2-40B4-BE49-F238E27FC236}">
                    <a16:creationId xmlns:a16="http://schemas.microsoft.com/office/drawing/2014/main" id="{5F487A6E-CFCE-45E6-25FF-CEED796A5C79}"/>
                  </a:ext>
                </a:extLst>
              </p:cNvPr>
              <p:cNvSpPr>
                <a:spLocks/>
              </p:cNvSpPr>
              <p:nvPr/>
            </p:nvSpPr>
            <p:spPr bwMode="auto">
              <a:xfrm>
                <a:off x="6712053" y="3395345"/>
                <a:ext cx="550782" cy="467415"/>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80" name="Freeform 685">
                <a:extLst>
                  <a:ext uri="{FF2B5EF4-FFF2-40B4-BE49-F238E27FC236}">
                    <a16:creationId xmlns:a16="http://schemas.microsoft.com/office/drawing/2014/main" id="{CBD832F1-85F0-933B-CCD0-E602196F29F8}"/>
                  </a:ext>
                </a:extLst>
              </p:cNvPr>
              <p:cNvSpPr>
                <a:spLocks/>
              </p:cNvSpPr>
              <p:nvPr/>
            </p:nvSpPr>
            <p:spPr bwMode="auto">
              <a:xfrm>
                <a:off x="6722783" y="3361280"/>
                <a:ext cx="109084" cy="123003"/>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81" name="Freeform 687">
                <a:extLst>
                  <a:ext uri="{FF2B5EF4-FFF2-40B4-BE49-F238E27FC236}">
                    <a16:creationId xmlns:a16="http://schemas.microsoft.com/office/drawing/2014/main" id="{07B20C78-F622-C36F-1B59-04520D46A7E4}"/>
                  </a:ext>
                </a:extLst>
              </p:cNvPr>
              <p:cNvSpPr>
                <a:spLocks/>
              </p:cNvSpPr>
              <p:nvPr/>
            </p:nvSpPr>
            <p:spPr bwMode="auto">
              <a:xfrm>
                <a:off x="6722783" y="3383991"/>
                <a:ext cx="16095" cy="39739"/>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82" name="Freeform 689">
                <a:extLst>
                  <a:ext uri="{FF2B5EF4-FFF2-40B4-BE49-F238E27FC236}">
                    <a16:creationId xmlns:a16="http://schemas.microsoft.com/office/drawing/2014/main" id="{4971F63E-7194-4553-7842-0695EFA7CBD4}"/>
                  </a:ext>
                </a:extLst>
              </p:cNvPr>
              <p:cNvSpPr>
                <a:spLocks/>
              </p:cNvSpPr>
              <p:nvPr/>
            </p:nvSpPr>
            <p:spPr bwMode="auto">
              <a:xfrm>
                <a:off x="7135869" y="3578903"/>
                <a:ext cx="26823" cy="43525"/>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83" name="Freeform 690">
                <a:extLst>
                  <a:ext uri="{FF2B5EF4-FFF2-40B4-BE49-F238E27FC236}">
                    <a16:creationId xmlns:a16="http://schemas.microsoft.com/office/drawing/2014/main" id="{6997A787-67B1-F7ED-B659-29158621825F}"/>
                  </a:ext>
                </a:extLst>
              </p:cNvPr>
              <p:cNvSpPr>
                <a:spLocks/>
              </p:cNvSpPr>
              <p:nvPr/>
            </p:nvSpPr>
            <p:spPr bwMode="auto">
              <a:xfrm>
                <a:off x="6921280" y="3785172"/>
                <a:ext cx="278967" cy="187345"/>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84" name="Freeform 691">
                <a:extLst>
                  <a:ext uri="{FF2B5EF4-FFF2-40B4-BE49-F238E27FC236}">
                    <a16:creationId xmlns:a16="http://schemas.microsoft.com/office/drawing/2014/main" id="{C6B8BBA8-8F63-DDB8-DB65-98DB29875E92}"/>
                  </a:ext>
                </a:extLst>
              </p:cNvPr>
              <p:cNvSpPr>
                <a:spLocks/>
              </p:cNvSpPr>
              <p:nvPr/>
            </p:nvSpPr>
            <p:spPr bwMode="auto">
              <a:xfrm>
                <a:off x="7168057" y="3578903"/>
                <a:ext cx="214590" cy="272501"/>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85" name="Freeform 692">
                <a:extLst>
                  <a:ext uri="{FF2B5EF4-FFF2-40B4-BE49-F238E27FC236}">
                    <a16:creationId xmlns:a16="http://schemas.microsoft.com/office/drawing/2014/main" id="{1063AD35-E91F-8CE7-8C85-F6F0DD5A5DF9}"/>
                  </a:ext>
                </a:extLst>
              </p:cNvPr>
              <p:cNvSpPr>
                <a:spLocks/>
              </p:cNvSpPr>
              <p:nvPr/>
            </p:nvSpPr>
            <p:spPr bwMode="auto">
              <a:xfrm>
                <a:off x="7624061" y="3045257"/>
                <a:ext cx="287910" cy="132467"/>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86" name="Freeform 693">
                <a:extLst>
                  <a:ext uri="{FF2B5EF4-FFF2-40B4-BE49-F238E27FC236}">
                    <a16:creationId xmlns:a16="http://schemas.microsoft.com/office/drawing/2014/main" id="{49A5AD58-191C-EECC-5BBA-9DCE20BF3A7D}"/>
                  </a:ext>
                </a:extLst>
              </p:cNvPr>
              <p:cNvSpPr>
                <a:spLocks/>
              </p:cNvSpPr>
              <p:nvPr/>
            </p:nvSpPr>
            <p:spPr bwMode="auto">
              <a:xfrm>
                <a:off x="7273565" y="2961994"/>
                <a:ext cx="466735" cy="289531"/>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87" name="Freeform 694">
                <a:extLst>
                  <a:ext uri="{FF2B5EF4-FFF2-40B4-BE49-F238E27FC236}">
                    <a16:creationId xmlns:a16="http://schemas.microsoft.com/office/drawing/2014/main" id="{4F1559FC-D57A-7886-0C65-E89014EC2B00}"/>
                  </a:ext>
                </a:extLst>
              </p:cNvPr>
              <p:cNvSpPr>
                <a:spLocks/>
              </p:cNvSpPr>
              <p:nvPr/>
            </p:nvSpPr>
            <p:spPr bwMode="auto">
              <a:xfrm>
                <a:off x="7414837" y="3283695"/>
                <a:ext cx="0" cy="567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88" name="Freeform 695">
                <a:extLst>
                  <a:ext uri="{FF2B5EF4-FFF2-40B4-BE49-F238E27FC236}">
                    <a16:creationId xmlns:a16="http://schemas.microsoft.com/office/drawing/2014/main" id="{7911D5C6-E0CE-A6F2-8FA6-4BA2389D4FF8}"/>
                  </a:ext>
                </a:extLst>
              </p:cNvPr>
              <p:cNvSpPr>
                <a:spLocks/>
              </p:cNvSpPr>
              <p:nvPr/>
            </p:nvSpPr>
            <p:spPr bwMode="auto">
              <a:xfrm>
                <a:off x="7173422" y="3062288"/>
                <a:ext cx="382685" cy="238437"/>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89" name="Freeform 696">
                <a:extLst>
                  <a:ext uri="{FF2B5EF4-FFF2-40B4-BE49-F238E27FC236}">
                    <a16:creationId xmlns:a16="http://schemas.microsoft.com/office/drawing/2014/main" id="{3ABB15E5-BD6D-1E7B-3175-D8A7ECE8801A}"/>
                  </a:ext>
                </a:extLst>
              </p:cNvPr>
              <p:cNvSpPr>
                <a:spLocks/>
              </p:cNvSpPr>
              <p:nvPr/>
            </p:nvSpPr>
            <p:spPr bwMode="auto">
              <a:xfrm>
                <a:off x="7577568" y="3117166"/>
                <a:ext cx="209225" cy="149496"/>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90" name="Freeform 697">
                <a:extLst>
                  <a:ext uri="{FF2B5EF4-FFF2-40B4-BE49-F238E27FC236}">
                    <a16:creationId xmlns:a16="http://schemas.microsoft.com/office/drawing/2014/main" id="{AB55CA05-7F02-B94A-792C-78C48A21B6B9}"/>
                  </a:ext>
                </a:extLst>
              </p:cNvPr>
              <p:cNvSpPr>
                <a:spLocks/>
              </p:cNvSpPr>
              <p:nvPr/>
            </p:nvSpPr>
            <p:spPr bwMode="auto">
              <a:xfrm>
                <a:off x="7409473" y="3245848"/>
                <a:ext cx="434547" cy="410644"/>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91" name="Freeform 698">
                <a:extLst>
                  <a:ext uri="{FF2B5EF4-FFF2-40B4-BE49-F238E27FC236}">
                    <a16:creationId xmlns:a16="http://schemas.microsoft.com/office/drawing/2014/main" id="{F4DA2BAB-D73E-9BD5-A9F9-2270729932F0}"/>
                  </a:ext>
                </a:extLst>
              </p:cNvPr>
              <p:cNvSpPr>
                <a:spLocks/>
              </p:cNvSpPr>
              <p:nvPr/>
            </p:nvSpPr>
            <p:spPr bwMode="auto">
              <a:xfrm>
                <a:off x="7388013" y="3194754"/>
                <a:ext cx="393416" cy="295208"/>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92" name="Freeform 699">
                <a:extLst>
                  <a:ext uri="{FF2B5EF4-FFF2-40B4-BE49-F238E27FC236}">
                    <a16:creationId xmlns:a16="http://schemas.microsoft.com/office/drawing/2014/main" id="{D27C04F3-A58B-EF63-26E1-04435E280B6C}"/>
                  </a:ext>
                </a:extLst>
              </p:cNvPr>
              <p:cNvSpPr>
                <a:spLocks/>
              </p:cNvSpPr>
              <p:nvPr/>
            </p:nvSpPr>
            <p:spPr bwMode="auto">
              <a:xfrm>
                <a:off x="7352248" y="2956316"/>
                <a:ext cx="14306" cy="22709"/>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93" name="Freeform 700">
                <a:extLst>
                  <a:ext uri="{FF2B5EF4-FFF2-40B4-BE49-F238E27FC236}">
                    <a16:creationId xmlns:a16="http://schemas.microsoft.com/office/drawing/2014/main" id="{5C08BE21-4F29-E37C-7926-D7B6E9860BD9}"/>
                  </a:ext>
                </a:extLst>
              </p:cNvPr>
              <p:cNvSpPr>
                <a:spLocks noEditPoints="1"/>
              </p:cNvSpPr>
              <p:nvPr/>
            </p:nvSpPr>
            <p:spPr bwMode="auto">
              <a:xfrm>
                <a:off x="7021421" y="2606229"/>
                <a:ext cx="1064011" cy="539325"/>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94" name="Freeform 701">
                <a:extLst>
                  <a:ext uri="{FF2B5EF4-FFF2-40B4-BE49-F238E27FC236}">
                    <a16:creationId xmlns:a16="http://schemas.microsoft.com/office/drawing/2014/main" id="{B88D8595-C736-2F59-BFEF-5993116E8538}"/>
                  </a:ext>
                </a:extLst>
              </p:cNvPr>
              <p:cNvSpPr>
                <a:spLocks/>
              </p:cNvSpPr>
              <p:nvPr/>
            </p:nvSpPr>
            <p:spPr bwMode="auto">
              <a:xfrm>
                <a:off x="7597239" y="3278017"/>
                <a:ext cx="734972" cy="828855"/>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solidFill>
                <a:schemeClr val="accent2">
                  <a:lumMod val="25000"/>
                  <a:lumOff val="75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95" name="Freeform 702">
                <a:extLst>
                  <a:ext uri="{FF2B5EF4-FFF2-40B4-BE49-F238E27FC236}">
                    <a16:creationId xmlns:a16="http://schemas.microsoft.com/office/drawing/2014/main" id="{4CEC49CE-C746-646B-3369-6B4DB227802A}"/>
                  </a:ext>
                </a:extLst>
              </p:cNvPr>
              <p:cNvSpPr>
                <a:spLocks/>
              </p:cNvSpPr>
              <p:nvPr/>
            </p:nvSpPr>
            <p:spPr bwMode="auto">
              <a:xfrm>
                <a:off x="8201668" y="3506994"/>
                <a:ext cx="214590" cy="545001"/>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96" name="Freeform 703">
                <a:extLst>
                  <a:ext uri="{FF2B5EF4-FFF2-40B4-BE49-F238E27FC236}">
                    <a16:creationId xmlns:a16="http://schemas.microsoft.com/office/drawing/2014/main" id="{65E2FF3E-05CC-FB71-3BC9-4632BE977CB6}"/>
                  </a:ext>
                </a:extLst>
              </p:cNvPr>
              <p:cNvSpPr>
                <a:spLocks/>
              </p:cNvSpPr>
              <p:nvPr/>
            </p:nvSpPr>
            <p:spPr bwMode="auto">
              <a:xfrm>
                <a:off x="8101526" y="3573225"/>
                <a:ext cx="119815" cy="155174"/>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97" name="Freeform 704">
                <a:extLst>
                  <a:ext uri="{FF2B5EF4-FFF2-40B4-BE49-F238E27FC236}">
                    <a16:creationId xmlns:a16="http://schemas.microsoft.com/office/drawing/2014/main" id="{FA6B628B-7788-C7B6-8E15-12F39C9609DE}"/>
                  </a:ext>
                </a:extLst>
              </p:cNvPr>
              <p:cNvSpPr>
                <a:spLocks/>
              </p:cNvSpPr>
              <p:nvPr/>
            </p:nvSpPr>
            <p:spPr bwMode="auto">
              <a:xfrm>
                <a:off x="8326846" y="3745431"/>
                <a:ext cx="219956" cy="427675"/>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98" name="Freeform 705">
                <a:extLst>
                  <a:ext uri="{FF2B5EF4-FFF2-40B4-BE49-F238E27FC236}">
                    <a16:creationId xmlns:a16="http://schemas.microsoft.com/office/drawing/2014/main" id="{29F2E8E8-723E-6648-EA82-DF93FD535406}"/>
                  </a:ext>
                </a:extLst>
              </p:cNvPr>
              <p:cNvSpPr>
                <a:spLocks/>
              </p:cNvSpPr>
              <p:nvPr/>
            </p:nvSpPr>
            <p:spPr bwMode="auto">
              <a:xfrm>
                <a:off x="8446659" y="3656490"/>
                <a:ext cx="200284" cy="43335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699" name="Freeform 706">
                <a:extLst>
                  <a:ext uri="{FF2B5EF4-FFF2-40B4-BE49-F238E27FC236}">
                    <a16:creationId xmlns:a16="http://schemas.microsoft.com/office/drawing/2014/main" id="{3E724AAF-CBD8-A8A4-B3A2-3BF1196EC096}"/>
                  </a:ext>
                </a:extLst>
              </p:cNvPr>
              <p:cNvSpPr>
                <a:spLocks/>
              </p:cNvSpPr>
              <p:nvPr/>
            </p:nvSpPr>
            <p:spPr bwMode="auto">
              <a:xfrm>
                <a:off x="8400164" y="3690553"/>
                <a:ext cx="193132" cy="2497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700" name="Freeform 707">
                <a:extLst>
                  <a:ext uri="{FF2B5EF4-FFF2-40B4-BE49-F238E27FC236}">
                    <a16:creationId xmlns:a16="http://schemas.microsoft.com/office/drawing/2014/main" id="{BBF6F8C3-E823-D237-F01B-597BB4EC8433}"/>
                  </a:ext>
                </a:extLst>
              </p:cNvPr>
              <p:cNvSpPr>
                <a:spLocks/>
              </p:cNvSpPr>
              <p:nvPr/>
            </p:nvSpPr>
            <p:spPr bwMode="auto">
              <a:xfrm>
                <a:off x="9228125" y="4368018"/>
                <a:ext cx="236050" cy="211945"/>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701" name="Freeform 709">
                <a:extLst>
                  <a:ext uri="{FF2B5EF4-FFF2-40B4-BE49-F238E27FC236}">
                    <a16:creationId xmlns:a16="http://schemas.microsoft.com/office/drawing/2014/main" id="{70FEB6FB-A7BA-EF45-7B9A-BEDBD214EBB1}"/>
                  </a:ext>
                </a:extLst>
              </p:cNvPr>
              <p:cNvSpPr>
                <a:spLocks/>
              </p:cNvSpPr>
              <p:nvPr/>
            </p:nvSpPr>
            <p:spPr bwMode="auto">
              <a:xfrm>
                <a:off x="8625484" y="4195815"/>
                <a:ext cx="268238" cy="2497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702" name="Freeform 710">
                <a:extLst>
                  <a:ext uri="{FF2B5EF4-FFF2-40B4-BE49-F238E27FC236}">
                    <a16:creationId xmlns:a16="http://schemas.microsoft.com/office/drawing/2014/main" id="{8A4B4C67-BC89-9991-59FA-EC51EED07FCC}"/>
                  </a:ext>
                </a:extLst>
              </p:cNvPr>
              <p:cNvSpPr>
                <a:spLocks/>
              </p:cNvSpPr>
              <p:nvPr/>
            </p:nvSpPr>
            <p:spPr bwMode="auto">
              <a:xfrm>
                <a:off x="8641578" y="4129580"/>
                <a:ext cx="257509" cy="177883"/>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703" name="Freeform 711">
                <a:extLst>
                  <a:ext uri="{FF2B5EF4-FFF2-40B4-BE49-F238E27FC236}">
                    <a16:creationId xmlns:a16="http://schemas.microsoft.com/office/drawing/2014/main" id="{4B32F6E9-838F-BAC3-1E14-9ED1F8D27379}"/>
                  </a:ext>
                </a:extLst>
              </p:cNvPr>
              <p:cNvSpPr>
                <a:spLocks/>
              </p:cNvSpPr>
              <p:nvPr/>
            </p:nvSpPr>
            <p:spPr bwMode="auto">
              <a:xfrm>
                <a:off x="8117621" y="3512670"/>
                <a:ext cx="89412" cy="54878"/>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704" name="Freeform 712">
                <a:extLst>
                  <a:ext uri="{FF2B5EF4-FFF2-40B4-BE49-F238E27FC236}">
                    <a16:creationId xmlns:a16="http://schemas.microsoft.com/office/drawing/2014/main" id="{8C07DFD9-944F-03D4-9323-CB10E309783A}"/>
                  </a:ext>
                </a:extLst>
              </p:cNvPr>
              <p:cNvSpPr>
                <a:spLocks/>
              </p:cNvSpPr>
              <p:nvPr/>
            </p:nvSpPr>
            <p:spPr bwMode="auto">
              <a:xfrm>
                <a:off x="7911972" y="3450223"/>
                <a:ext cx="194918" cy="128679"/>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705" name="Freeform 713">
                <a:extLst>
                  <a:ext uri="{FF2B5EF4-FFF2-40B4-BE49-F238E27FC236}">
                    <a16:creationId xmlns:a16="http://schemas.microsoft.com/office/drawing/2014/main" id="{D76EF59C-4777-A0CC-4F4E-FC660675A761}"/>
                  </a:ext>
                </a:extLst>
              </p:cNvPr>
              <p:cNvSpPr>
                <a:spLocks/>
              </p:cNvSpPr>
              <p:nvPr/>
            </p:nvSpPr>
            <p:spPr bwMode="auto">
              <a:xfrm>
                <a:off x="8452023" y="3917636"/>
                <a:ext cx="146636" cy="128679"/>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706" name="Freeform 714">
                <a:extLst>
                  <a:ext uri="{FF2B5EF4-FFF2-40B4-BE49-F238E27FC236}">
                    <a16:creationId xmlns:a16="http://schemas.microsoft.com/office/drawing/2014/main" id="{C95D8317-5E3E-43F8-505B-1893947EDC86}"/>
                  </a:ext>
                </a:extLst>
              </p:cNvPr>
              <p:cNvSpPr>
                <a:spLocks/>
              </p:cNvSpPr>
              <p:nvPr/>
            </p:nvSpPr>
            <p:spPr bwMode="auto">
              <a:xfrm>
                <a:off x="8394799" y="4144719"/>
                <a:ext cx="116236" cy="145713"/>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707" name="Freeform 715">
                <a:extLst>
                  <a:ext uri="{FF2B5EF4-FFF2-40B4-BE49-F238E27FC236}">
                    <a16:creationId xmlns:a16="http://schemas.microsoft.com/office/drawing/2014/main" id="{CA3A03A6-28F4-9440-C771-F11245DCF821}"/>
                  </a:ext>
                </a:extLst>
              </p:cNvPr>
              <p:cNvSpPr>
                <a:spLocks/>
              </p:cNvSpPr>
              <p:nvPr/>
            </p:nvSpPr>
            <p:spPr bwMode="auto">
              <a:xfrm>
                <a:off x="7740299" y="2672461"/>
                <a:ext cx="1571876" cy="1084325"/>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solidFill>
                <a:schemeClr val="accent2">
                  <a:lumMod val="50000"/>
                  <a:lumOff val="5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708" name="Freeform 716">
                <a:extLst>
                  <a:ext uri="{FF2B5EF4-FFF2-40B4-BE49-F238E27FC236}">
                    <a16:creationId xmlns:a16="http://schemas.microsoft.com/office/drawing/2014/main" id="{E082ED20-01B8-FFC0-0A23-5EB9BF60A6AA}"/>
                  </a:ext>
                </a:extLst>
              </p:cNvPr>
              <p:cNvSpPr>
                <a:spLocks/>
              </p:cNvSpPr>
              <p:nvPr/>
            </p:nvSpPr>
            <p:spPr bwMode="auto">
              <a:xfrm>
                <a:off x="8101526" y="2727341"/>
                <a:ext cx="822596" cy="378471"/>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709" name="Freeform 721">
                <a:extLst>
                  <a:ext uri="{FF2B5EF4-FFF2-40B4-BE49-F238E27FC236}">
                    <a16:creationId xmlns:a16="http://schemas.microsoft.com/office/drawing/2014/main" id="{FC6E160A-39DF-D72D-CFCF-F6A9000822C1}"/>
                  </a:ext>
                </a:extLst>
              </p:cNvPr>
              <p:cNvSpPr>
                <a:spLocks/>
              </p:cNvSpPr>
              <p:nvPr/>
            </p:nvSpPr>
            <p:spPr bwMode="auto">
              <a:xfrm>
                <a:off x="9474904" y="2649754"/>
                <a:ext cx="78683" cy="177883"/>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710" name="Freeform 722">
                <a:extLst>
                  <a:ext uri="{FF2B5EF4-FFF2-40B4-BE49-F238E27FC236}">
                    <a16:creationId xmlns:a16="http://schemas.microsoft.com/office/drawing/2014/main" id="{8A126B95-77B3-5FB8-C1C3-347F8F2381FF}"/>
                  </a:ext>
                </a:extLst>
              </p:cNvPr>
              <p:cNvSpPr>
                <a:spLocks/>
              </p:cNvSpPr>
              <p:nvPr/>
            </p:nvSpPr>
            <p:spPr bwMode="auto">
              <a:xfrm>
                <a:off x="9490998" y="2821957"/>
                <a:ext cx="78683" cy="128679"/>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711" name="Freeform 723">
                <a:extLst>
                  <a:ext uri="{FF2B5EF4-FFF2-40B4-BE49-F238E27FC236}">
                    <a16:creationId xmlns:a16="http://schemas.microsoft.com/office/drawing/2014/main" id="{F6B9092E-9714-0B95-9BFE-28C76F940408}"/>
                  </a:ext>
                </a:extLst>
              </p:cNvPr>
              <p:cNvSpPr>
                <a:spLocks/>
              </p:cNvSpPr>
              <p:nvPr/>
            </p:nvSpPr>
            <p:spPr bwMode="auto">
              <a:xfrm>
                <a:off x="9076124" y="3200431"/>
                <a:ext cx="110872" cy="140035"/>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712" name="Freeform 724">
                <a:extLst>
                  <a:ext uri="{FF2B5EF4-FFF2-40B4-BE49-F238E27FC236}">
                    <a16:creationId xmlns:a16="http://schemas.microsoft.com/office/drawing/2014/main" id="{E16E5569-2A8D-4605-8CDD-D1DBA21793FA}"/>
                  </a:ext>
                </a:extLst>
              </p:cNvPr>
              <p:cNvSpPr>
                <a:spLocks/>
              </p:cNvSpPr>
              <p:nvPr/>
            </p:nvSpPr>
            <p:spPr bwMode="auto">
              <a:xfrm>
                <a:off x="9029630" y="3050934"/>
                <a:ext cx="168096" cy="172206"/>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grpSp>
        <p:grpSp>
          <p:nvGrpSpPr>
            <p:cNvPr id="12" name="Group 11">
              <a:extLst>
                <a:ext uri="{FF2B5EF4-FFF2-40B4-BE49-F238E27FC236}">
                  <a16:creationId xmlns:a16="http://schemas.microsoft.com/office/drawing/2014/main" id="{C64E1BF2-57C2-4BEB-3D30-2A796C95D197}"/>
                </a:ext>
              </a:extLst>
            </p:cNvPr>
            <p:cNvGrpSpPr/>
            <p:nvPr/>
          </p:nvGrpSpPr>
          <p:grpSpPr>
            <a:xfrm>
              <a:off x="5192038" y="1588138"/>
              <a:ext cx="2448118" cy="1835592"/>
              <a:chOff x="5192038" y="1588138"/>
              <a:chExt cx="2448118" cy="1835592"/>
            </a:xfrm>
            <a:solidFill>
              <a:schemeClr val="tx2">
                <a:lumMod val="90000"/>
              </a:schemeClr>
            </a:solidFill>
          </p:grpSpPr>
          <p:sp>
            <p:nvSpPr>
              <p:cNvPr id="2530" name="Freeform 511">
                <a:extLst>
                  <a:ext uri="{FF2B5EF4-FFF2-40B4-BE49-F238E27FC236}">
                    <a16:creationId xmlns:a16="http://schemas.microsoft.com/office/drawing/2014/main" id="{5D8DB1E8-4346-A2D1-105A-4BE180D6FA72}"/>
                  </a:ext>
                </a:extLst>
              </p:cNvPr>
              <p:cNvSpPr>
                <a:spLocks/>
              </p:cNvSpPr>
              <p:nvPr/>
            </p:nvSpPr>
            <p:spPr bwMode="auto">
              <a:xfrm>
                <a:off x="5789315" y="2388608"/>
                <a:ext cx="10730" cy="22709"/>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31" name="Freeform 404">
                <a:extLst>
                  <a:ext uri="{FF2B5EF4-FFF2-40B4-BE49-F238E27FC236}">
                    <a16:creationId xmlns:a16="http://schemas.microsoft.com/office/drawing/2014/main" id="{4FD6B752-DBF6-EF0F-5752-68F4A456F9F7}"/>
                  </a:ext>
                </a:extLst>
              </p:cNvPr>
              <p:cNvSpPr>
                <a:spLocks/>
              </p:cNvSpPr>
              <p:nvPr/>
            </p:nvSpPr>
            <p:spPr bwMode="auto">
              <a:xfrm>
                <a:off x="5669502" y="2471871"/>
                <a:ext cx="209225" cy="334947"/>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solidFill>
                <a:schemeClr val="accent1"/>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32" name="Freeform 405">
                <a:extLst>
                  <a:ext uri="{FF2B5EF4-FFF2-40B4-BE49-F238E27FC236}">
                    <a16:creationId xmlns:a16="http://schemas.microsoft.com/office/drawing/2014/main" id="{9F748C83-68D7-A9A9-F7EF-3CD329EE5BA6}"/>
                  </a:ext>
                </a:extLst>
              </p:cNvPr>
              <p:cNvSpPr>
                <a:spLocks/>
              </p:cNvSpPr>
              <p:nvPr/>
            </p:nvSpPr>
            <p:spPr bwMode="auto">
              <a:xfrm>
                <a:off x="5192038" y="2121785"/>
                <a:ext cx="282545" cy="145713"/>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33" name="Freeform 406">
                <a:extLst>
                  <a:ext uri="{FF2B5EF4-FFF2-40B4-BE49-F238E27FC236}">
                    <a16:creationId xmlns:a16="http://schemas.microsoft.com/office/drawing/2014/main" id="{6FF75775-C85C-76E5-5507-189F0F6758E2}"/>
                  </a:ext>
                </a:extLst>
              </p:cNvPr>
              <p:cNvSpPr>
                <a:spLocks/>
              </p:cNvSpPr>
              <p:nvPr/>
            </p:nvSpPr>
            <p:spPr bwMode="auto">
              <a:xfrm>
                <a:off x="7168057" y="1588138"/>
                <a:ext cx="472099" cy="34441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34" name="Freeform 488">
                <a:extLst>
                  <a:ext uri="{FF2B5EF4-FFF2-40B4-BE49-F238E27FC236}">
                    <a16:creationId xmlns:a16="http://schemas.microsoft.com/office/drawing/2014/main" id="{A0E9D4FF-EECA-7422-8018-73476E0FC2E9}"/>
                  </a:ext>
                </a:extLst>
              </p:cNvPr>
              <p:cNvSpPr>
                <a:spLocks/>
              </p:cNvSpPr>
              <p:nvPr/>
            </p:nvSpPr>
            <p:spPr bwMode="auto">
              <a:xfrm>
                <a:off x="7078645" y="1972287"/>
                <a:ext cx="57223" cy="54878"/>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35" name="Freeform 493">
                <a:extLst>
                  <a:ext uri="{FF2B5EF4-FFF2-40B4-BE49-F238E27FC236}">
                    <a16:creationId xmlns:a16="http://schemas.microsoft.com/office/drawing/2014/main" id="{1FBF9A06-646E-B087-6A34-5E6B539557ED}"/>
                  </a:ext>
                </a:extLst>
              </p:cNvPr>
              <p:cNvSpPr>
                <a:spLocks/>
              </p:cNvSpPr>
              <p:nvPr/>
            </p:nvSpPr>
            <p:spPr bwMode="auto">
              <a:xfrm>
                <a:off x="6052187" y="3045257"/>
                <a:ext cx="30400" cy="60555"/>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36" name="Freeform 494">
                <a:extLst>
                  <a:ext uri="{FF2B5EF4-FFF2-40B4-BE49-F238E27FC236}">
                    <a16:creationId xmlns:a16="http://schemas.microsoft.com/office/drawing/2014/main" id="{C98DD06A-5ECA-8CD1-DE7E-547C07F3F653}"/>
                  </a:ext>
                </a:extLst>
              </p:cNvPr>
              <p:cNvSpPr>
                <a:spLocks/>
              </p:cNvSpPr>
              <p:nvPr/>
            </p:nvSpPr>
            <p:spPr bwMode="auto">
              <a:xfrm>
                <a:off x="6041457" y="3100137"/>
                <a:ext cx="46495" cy="832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37" name="Freeform 495">
                <a:extLst>
                  <a:ext uri="{FF2B5EF4-FFF2-40B4-BE49-F238E27FC236}">
                    <a16:creationId xmlns:a16="http://schemas.microsoft.com/office/drawing/2014/main" id="{CDFA900E-33A3-C987-E951-B0D26E3D0249}"/>
                  </a:ext>
                </a:extLst>
              </p:cNvPr>
              <p:cNvSpPr>
                <a:spLocks/>
              </p:cNvSpPr>
              <p:nvPr/>
            </p:nvSpPr>
            <p:spPr bwMode="auto">
              <a:xfrm>
                <a:off x="6150543" y="3200431"/>
                <a:ext cx="84047" cy="54878"/>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38" name="Freeform 496">
                <a:extLst>
                  <a:ext uri="{FF2B5EF4-FFF2-40B4-BE49-F238E27FC236}">
                    <a16:creationId xmlns:a16="http://schemas.microsoft.com/office/drawing/2014/main" id="{1C376FD6-0850-CC16-D034-449EF133B7DE}"/>
                  </a:ext>
                </a:extLst>
              </p:cNvPr>
              <p:cNvSpPr>
                <a:spLocks/>
              </p:cNvSpPr>
              <p:nvPr/>
            </p:nvSpPr>
            <p:spPr bwMode="auto">
              <a:xfrm>
                <a:off x="6649464" y="3278018"/>
                <a:ext cx="67953" cy="39739"/>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39" name="Freeform 497">
                <a:extLst>
                  <a:ext uri="{FF2B5EF4-FFF2-40B4-BE49-F238E27FC236}">
                    <a16:creationId xmlns:a16="http://schemas.microsoft.com/office/drawing/2014/main" id="{62A573E2-FCD6-BEB4-AD05-1266A3876949}"/>
                  </a:ext>
                </a:extLst>
              </p:cNvPr>
              <p:cNvSpPr>
                <a:spLocks/>
              </p:cNvSpPr>
              <p:nvPr/>
            </p:nvSpPr>
            <p:spPr bwMode="auto">
              <a:xfrm>
                <a:off x="6424145" y="3283695"/>
                <a:ext cx="78683" cy="22709"/>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40" name="Freeform 498">
                <a:extLst>
                  <a:ext uri="{FF2B5EF4-FFF2-40B4-BE49-F238E27FC236}">
                    <a16:creationId xmlns:a16="http://schemas.microsoft.com/office/drawing/2014/main" id="{C4EA02CE-B379-EB0E-0D15-78B1DF343DB8}"/>
                  </a:ext>
                </a:extLst>
              </p:cNvPr>
              <p:cNvSpPr>
                <a:spLocks/>
              </p:cNvSpPr>
              <p:nvPr/>
            </p:nvSpPr>
            <p:spPr bwMode="auto">
              <a:xfrm>
                <a:off x="6386592" y="2466194"/>
                <a:ext cx="37553" cy="39739"/>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41" name="Freeform 499">
                <a:extLst>
                  <a:ext uri="{FF2B5EF4-FFF2-40B4-BE49-F238E27FC236}">
                    <a16:creationId xmlns:a16="http://schemas.microsoft.com/office/drawing/2014/main" id="{77EB1225-30E4-1C32-A008-02E3B7C48AD5}"/>
                  </a:ext>
                </a:extLst>
              </p:cNvPr>
              <p:cNvSpPr>
                <a:spLocks/>
              </p:cNvSpPr>
              <p:nvPr/>
            </p:nvSpPr>
            <p:spPr bwMode="auto">
              <a:xfrm>
                <a:off x="6391956" y="2451056"/>
                <a:ext cx="26823" cy="15139"/>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42" name="Freeform 500">
                <a:extLst>
                  <a:ext uri="{FF2B5EF4-FFF2-40B4-BE49-F238E27FC236}">
                    <a16:creationId xmlns:a16="http://schemas.microsoft.com/office/drawing/2014/main" id="{6B275E53-7176-FBBD-EBE6-0BD289CBC995}"/>
                  </a:ext>
                </a:extLst>
              </p:cNvPr>
              <p:cNvSpPr>
                <a:spLocks/>
              </p:cNvSpPr>
              <p:nvPr/>
            </p:nvSpPr>
            <p:spPr bwMode="auto">
              <a:xfrm>
                <a:off x="6282872" y="2488902"/>
                <a:ext cx="30400" cy="54878"/>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43" name="Freeform 501">
                <a:extLst>
                  <a:ext uri="{FF2B5EF4-FFF2-40B4-BE49-F238E27FC236}">
                    <a16:creationId xmlns:a16="http://schemas.microsoft.com/office/drawing/2014/main" id="{1F575EEF-E156-B002-F92A-315D86486911}"/>
                  </a:ext>
                </a:extLst>
              </p:cNvPr>
              <p:cNvSpPr>
                <a:spLocks/>
              </p:cNvSpPr>
              <p:nvPr/>
            </p:nvSpPr>
            <p:spPr bwMode="auto">
              <a:xfrm>
                <a:off x="6329369" y="2394284"/>
                <a:ext cx="21459" cy="22709"/>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44" name="Freeform 502">
                <a:extLst>
                  <a:ext uri="{FF2B5EF4-FFF2-40B4-BE49-F238E27FC236}">
                    <a16:creationId xmlns:a16="http://schemas.microsoft.com/office/drawing/2014/main" id="{39FBEB4A-D118-BF4C-ADDD-0E7C1AEE5ED1}"/>
                  </a:ext>
                </a:extLst>
              </p:cNvPr>
              <p:cNvSpPr>
                <a:spLocks/>
              </p:cNvSpPr>
              <p:nvPr/>
            </p:nvSpPr>
            <p:spPr bwMode="auto">
              <a:xfrm>
                <a:off x="6120141" y="2566488"/>
                <a:ext cx="30400" cy="51094"/>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45" name="Freeform 503">
                <a:extLst>
                  <a:ext uri="{FF2B5EF4-FFF2-40B4-BE49-F238E27FC236}">
                    <a16:creationId xmlns:a16="http://schemas.microsoft.com/office/drawing/2014/main" id="{A34CA233-BF67-695F-690D-BC7FC2C53DA0}"/>
                  </a:ext>
                </a:extLst>
              </p:cNvPr>
              <p:cNvSpPr>
                <a:spLocks/>
              </p:cNvSpPr>
              <p:nvPr/>
            </p:nvSpPr>
            <p:spPr bwMode="auto">
              <a:xfrm>
                <a:off x="6082590" y="2577843"/>
                <a:ext cx="42917" cy="45416"/>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46" name="Freeform 504">
                <a:extLst>
                  <a:ext uri="{FF2B5EF4-FFF2-40B4-BE49-F238E27FC236}">
                    <a16:creationId xmlns:a16="http://schemas.microsoft.com/office/drawing/2014/main" id="{20BC45FC-81BA-B790-360E-C3364CDCBC2F}"/>
                  </a:ext>
                </a:extLst>
              </p:cNvPr>
              <p:cNvSpPr>
                <a:spLocks/>
              </p:cNvSpPr>
              <p:nvPr/>
            </p:nvSpPr>
            <p:spPr bwMode="auto">
              <a:xfrm>
                <a:off x="5894822" y="3151230"/>
                <a:ext cx="25036" cy="20817"/>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47" name="Freeform 505">
                <a:extLst>
                  <a:ext uri="{FF2B5EF4-FFF2-40B4-BE49-F238E27FC236}">
                    <a16:creationId xmlns:a16="http://schemas.microsoft.com/office/drawing/2014/main" id="{1D7AA431-E514-D9B3-2F82-7D6E7A1F2DEE}"/>
                  </a:ext>
                </a:extLst>
              </p:cNvPr>
              <p:cNvSpPr>
                <a:spLocks/>
              </p:cNvSpPr>
              <p:nvPr/>
            </p:nvSpPr>
            <p:spPr bwMode="auto">
              <a:xfrm>
                <a:off x="5637311" y="2471871"/>
                <a:ext cx="32188" cy="34061"/>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48" name="Freeform 506">
                <a:extLst>
                  <a:ext uri="{FF2B5EF4-FFF2-40B4-BE49-F238E27FC236}">
                    <a16:creationId xmlns:a16="http://schemas.microsoft.com/office/drawing/2014/main" id="{B3E096E8-8173-E6D8-E02A-1D6B602506D0}"/>
                  </a:ext>
                </a:extLst>
              </p:cNvPr>
              <p:cNvSpPr>
                <a:spLocks/>
              </p:cNvSpPr>
              <p:nvPr/>
            </p:nvSpPr>
            <p:spPr bwMode="auto">
              <a:xfrm>
                <a:off x="5653408" y="2511610"/>
                <a:ext cx="16094" cy="17031"/>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49" name="Freeform 507">
                <a:extLst>
                  <a:ext uri="{FF2B5EF4-FFF2-40B4-BE49-F238E27FC236}">
                    <a16:creationId xmlns:a16="http://schemas.microsoft.com/office/drawing/2014/main" id="{A2842BD1-5C36-C7FE-7797-5C57D135B2F6}"/>
                  </a:ext>
                </a:extLst>
              </p:cNvPr>
              <p:cNvSpPr>
                <a:spLocks/>
              </p:cNvSpPr>
              <p:nvPr/>
            </p:nvSpPr>
            <p:spPr bwMode="auto">
              <a:xfrm>
                <a:off x="5669502" y="2528643"/>
                <a:ext cx="8942" cy="567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50" name="Freeform 508">
                <a:extLst>
                  <a:ext uri="{FF2B5EF4-FFF2-40B4-BE49-F238E27FC236}">
                    <a16:creationId xmlns:a16="http://schemas.microsoft.com/office/drawing/2014/main" id="{D2A32FD6-A9E3-88E8-FE9D-0830DC4879C1}"/>
                  </a:ext>
                </a:extLst>
              </p:cNvPr>
              <p:cNvSpPr>
                <a:spLocks/>
              </p:cNvSpPr>
              <p:nvPr/>
            </p:nvSpPr>
            <p:spPr bwMode="auto">
              <a:xfrm>
                <a:off x="5669502" y="2543781"/>
                <a:ext cx="5364" cy="1135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51" name="Freeform 509">
                <a:extLst>
                  <a:ext uri="{FF2B5EF4-FFF2-40B4-BE49-F238E27FC236}">
                    <a16:creationId xmlns:a16="http://schemas.microsoft.com/office/drawing/2014/main" id="{7946953E-3132-E600-15CB-CB2E8E5FFE1B}"/>
                  </a:ext>
                </a:extLst>
              </p:cNvPr>
              <p:cNvSpPr>
                <a:spLocks/>
              </p:cNvSpPr>
              <p:nvPr/>
            </p:nvSpPr>
            <p:spPr bwMode="auto">
              <a:xfrm>
                <a:off x="5669502" y="2555134"/>
                <a:ext cx="8942" cy="5677"/>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52" name="Freeform 510">
                <a:extLst>
                  <a:ext uri="{FF2B5EF4-FFF2-40B4-BE49-F238E27FC236}">
                    <a16:creationId xmlns:a16="http://schemas.microsoft.com/office/drawing/2014/main" id="{6E87E23F-7207-1F22-9932-4619BE8F1423}"/>
                  </a:ext>
                </a:extLst>
              </p:cNvPr>
              <p:cNvSpPr>
                <a:spLocks/>
              </p:cNvSpPr>
              <p:nvPr/>
            </p:nvSpPr>
            <p:spPr bwMode="auto">
              <a:xfrm>
                <a:off x="5710631" y="2638398"/>
                <a:ext cx="5364" cy="11355"/>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53" name="Rectangle 613">
                <a:extLst>
                  <a:ext uri="{FF2B5EF4-FFF2-40B4-BE49-F238E27FC236}">
                    <a16:creationId xmlns:a16="http://schemas.microsoft.com/office/drawing/2014/main" id="{59972FF6-88DB-392E-CA99-F3807D948B49}"/>
                  </a:ext>
                </a:extLst>
              </p:cNvPr>
              <p:cNvSpPr>
                <a:spLocks noChangeArrowheads="1"/>
              </p:cNvSpPr>
              <p:nvPr/>
            </p:nvSpPr>
            <p:spPr bwMode="auto">
              <a:xfrm>
                <a:off x="6250685" y="2038520"/>
                <a:ext cx="1790" cy="1894"/>
              </a:xfrm>
              <a:prstGeom prst="rect">
                <a:avLst/>
              </a:pr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54" name="Freeform 645">
                <a:extLst>
                  <a:ext uri="{FF2B5EF4-FFF2-40B4-BE49-F238E27FC236}">
                    <a16:creationId xmlns:a16="http://schemas.microsoft.com/office/drawing/2014/main" id="{217AD167-FD4A-FDA2-163F-24396336B87D}"/>
                  </a:ext>
                </a:extLst>
              </p:cNvPr>
              <p:cNvSpPr>
                <a:spLocks/>
              </p:cNvSpPr>
              <p:nvPr/>
            </p:nvSpPr>
            <p:spPr bwMode="auto">
              <a:xfrm>
                <a:off x="6150543" y="2761402"/>
                <a:ext cx="162732" cy="9461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55" name="Freeform 646">
                <a:extLst>
                  <a:ext uri="{FF2B5EF4-FFF2-40B4-BE49-F238E27FC236}">
                    <a16:creationId xmlns:a16="http://schemas.microsoft.com/office/drawing/2014/main" id="{1D9DC251-4BA1-DE9B-62E8-6AC87C1A675B}"/>
                  </a:ext>
                </a:extLst>
              </p:cNvPr>
              <p:cNvSpPr>
                <a:spLocks/>
              </p:cNvSpPr>
              <p:nvPr/>
            </p:nvSpPr>
            <p:spPr bwMode="auto">
              <a:xfrm>
                <a:off x="6077224" y="2838989"/>
                <a:ext cx="194918" cy="8894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56" name="Freeform 647">
                <a:extLst>
                  <a:ext uri="{FF2B5EF4-FFF2-40B4-BE49-F238E27FC236}">
                    <a16:creationId xmlns:a16="http://schemas.microsoft.com/office/drawing/2014/main" id="{08BAB3CC-68EA-789F-E5D8-72E7585955C4}"/>
                  </a:ext>
                </a:extLst>
              </p:cNvPr>
              <p:cNvSpPr>
                <a:spLocks/>
              </p:cNvSpPr>
              <p:nvPr/>
            </p:nvSpPr>
            <p:spPr bwMode="auto">
              <a:xfrm>
                <a:off x="6009270" y="2905222"/>
                <a:ext cx="298639" cy="306562"/>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57" name="Freeform 648">
                <a:extLst>
                  <a:ext uri="{FF2B5EF4-FFF2-40B4-BE49-F238E27FC236}">
                    <a16:creationId xmlns:a16="http://schemas.microsoft.com/office/drawing/2014/main" id="{A3EF9036-037E-43FC-810F-2117574DE99D}"/>
                  </a:ext>
                </a:extLst>
              </p:cNvPr>
              <p:cNvSpPr>
                <a:spLocks/>
              </p:cNvSpPr>
              <p:nvPr/>
            </p:nvSpPr>
            <p:spPr bwMode="auto">
              <a:xfrm>
                <a:off x="6182730" y="2922253"/>
                <a:ext cx="141272" cy="140035"/>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58" name="Freeform 649">
                <a:extLst>
                  <a:ext uri="{FF2B5EF4-FFF2-40B4-BE49-F238E27FC236}">
                    <a16:creationId xmlns:a16="http://schemas.microsoft.com/office/drawing/2014/main" id="{7CB43E3C-921F-CCC5-C2F0-FCF0456A9E3B}"/>
                  </a:ext>
                </a:extLst>
              </p:cNvPr>
              <p:cNvSpPr>
                <a:spLocks/>
              </p:cNvSpPr>
              <p:nvPr/>
            </p:nvSpPr>
            <p:spPr bwMode="auto">
              <a:xfrm>
                <a:off x="5699901" y="2761402"/>
                <a:ext cx="346921" cy="316025"/>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solidFill>
                <a:schemeClr val="accent2">
                  <a:lumMod val="50000"/>
                  <a:lumOff val="5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59" name="Freeform 650">
                <a:extLst>
                  <a:ext uri="{FF2B5EF4-FFF2-40B4-BE49-F238E27FC236}">
                    <a16:creationId xmlns:a16="http://schemas.microsoft.com/office/drawing/2014/main" id="{15FB7F93-11CC-B1AD-9F68-081939DCB91D}"/>
                  </a:ext>
                </a:extLst>
              </p:cNvPr>
              <p:cNvSpPr>
                <a:spLocks/>
              </p:cNvSpPr>
              <p:nvPr/>
            </p:nvSpPr>
            <p:spPr bwMode="auto">
              <a:xfrm>
                <a:off x="5987810" y="2884407"/>
                <a:ext cx="116236" cy="832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solidFill>
                <a:schemeClr val="accent2">
                  <a:lumMod val="10000"/>
                  <a:lumOff val="9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60" name="Freeform 651">
                <a:extLst>
                  <a:ext uri="{FF2B5EF4-FFF2-40B4-BE49-F238E27FC236}">
                    <a16:creationId xmlns:a16="http://schemas.microsoft.com/office/drawing/2014/main" id="{579B19FE-3FE6-40E0-DDE7-8BFAA5AE9E7B}"/>
                  </a:ext>
                </a:extLst>
              </p:cNvPr>
              <p:cNvSpPr>
                <a:spLocks/>
              </p:cNvSpPr>
              <p:nvPr/>
            </p:nvSpPr>
            <p:spPr bwMode="auto">
              <a:xfrm>
                <a:off x="5889457" y="2750048"/>
                <a:ext cx="109084" cy="71909"/>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61" name="Freeform 652">
                <a:extLst>
                  <a:ext uri="{FF2B5EF4-FFF2-40B4-BE49-F238E27FC236}">
                    <a16:creationId xmlns:a16="http://schemas.microsoft.com/office/drawing/2014/main" id="{1095AD5F-1374-DB70-DA55-C7CB2311C826}"/>
                  </a:ext>
                </a:extLst>
              </p:cNvPr>
              <p:cNvSpPr>
                <a:spLocks/>
              </p:cNvSpPr>
              <p:nvPr/>
            </p:nvSpPr>
            <p:spPr bwMode="auto">
              <a:xfrm>
                <a:off x="5978870" y="2801142"/>
                <a:ext cx="19671" cy="20817"/>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62" name="Freeform 653">
                <a:extLst>
                  <a:ext uri="{FF2B5EF4-FFF2-40B4-BE49-F238E27FC236}">
                    <a16:creationId xmlns:a16="http://schemas.microsoft.com/office/drawing/2014/main" id="{EFAC1F7A-C400-DE8C-890D-1D8AE8689D51}"/>
                  </a:ext>
                </a:extLst>
              </p:cNvPr>
              <p:cNvSpPr>
                <a:spLocks/>
              </p:cNvSpPr>
              <p:nvPr/>
            </p:nvSpPr>
            <p:spPr bwMode="auto">
              <a:xfrm>
                <a:off x="5914493" y="2672461"/>
                <a:ext cx="105509" cy="10029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63" name="Freeform 654">
                <a:extLst>
                  <a:ext uri="{FF2B5EF4-FFF2-40B4-BE49-F238E27FC236}">
                    <a16:creationId xmlns:a16="http://schemas.microsoft.com/office/drawing/2014/main" id="{D9FDAFC3-FA74-0EC4-B474-8816C5897013}"/>
                  </a:ext>
                </a:extLst>
              </p:cNvPr>
              <p:cNvSpPr>
                <a:spLocks/>
              </p:cNvSpPr>
              <p:nvPr/>
            </p:nvSpPr>
            <p:spPr bwMode="auto">
              <a:xfrm>
                <a:off x="6041457" y="2505932"/>
                <a:ext cx="78683" cy="123003"/>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64" name="Freeform 655">
                <a:extLst>
                  <a:ext uri="{FF2B5EF4-FFF2-40B4-BE49-F238E27FC236}">
                    <a16:creationId xmlns:a16="http://schemas.microsoft.com/office/drawing/2014/main" id="{66F45702-1CED-7DD2-9175-440BEA3CB7D3}"/>
                  </a:ext>
                </a:extLst>
              </p:cNvPr>
              <p:cNvSpPr>
                <a:spLocks/>
              </p:cNvSpPr>
              <p:nvPr/>
            </p:nvSpPr>
            <p:spPr bwMode="auto">
              <a:xfrm>
                <a:off x="5984234" y="2617584"/>
                <a:ext cx="234261" cy="287639"/>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solidFill>
                <a:schemeClr val="accent2">
                  <a:lumMod val="50000"/>
                  <a:lumOff val="5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65" name="Freeform 656">
                <a:extLst>
                  <a:ext uri="{FF2B5EF4-FFF2-40B4-BE49-F238E27FC236}">
                    <a16:creationId xmlns:a16="http://schemas.microsoft.com/office/drawing/2014/main" id="{82C66504-91AF-9040-2946-92F98623DD87}"/>
                  </a:ext>
                </a:extLst>
              </p:cNvPr>
              <p:cNvSpPr>
                <a:spLocks/>
              </p:cNvSpPr>
              <p:nvPr/>
            </p:nvSpPr>
            <p:spPr bwMode="auto">
              <a:xfrm>
                <a:off x="6397322" y="2706524"/>
                <a:ext cx="466735" cy="293317"/>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66" name="Freeform 657">
                <a:extLst>
                  <a:ext uri="{FF2B5EF4-FFF2-40B4-BE49-F238E27FC236}">
                    <a16:creationId xmlns:a16="http://schemas.microsoft.com/office/drawing/2014/main" id="{F983CC03-5E41-9AFB-6C2A-68A6A7C49943}"/>
                  </a:ext>
                </a:extLst>
              </p:cNvPr>
              <p:cNvSpPr>
                <a:spLocks/>
              </p:cNvSpPr>
              <p:nvPr/>
            </p:nvSpPr>
            <p:spPr bwMode="auto">
              <a:xfrm>
                <a:off x="6250685" y="2816280"/>
                <a:ext cx="157367" cy="68125"/>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67" name="Freeform 658">
                <a:extLst>
                  <a:ext uri="{FF2B5EF4-FFF2-40B4-BE49-F238E27FC236}">
                    <a16:creationId xmlns:a16="http://schemas.microsoft.com/office/drawing/2014/main" id="{0863C8A9-74C1-47A7-D1F7-CE2E23B49E3A}"/>
                  </a:ext>
                </a:extLst>
              </p:cNvPr>
              <p:cNvSpPr>
                <a:spLocks/>
              </p:cNvSpPr>
              <p:nvPr/>
            </p:nvSpPr>
            <p:spPr bwMode="auto">
              <a:xfrm>
                <a:off x="6424144" y="2566488"/>
                <a:ext cx="246779" cy="194915"/>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68" name="Freeform 659">
                <a:extLst>
                  <a:ext uri="{FF2B5EF4-FFF2-40B4-BE49-F238E27FC236}">
                    <a16:creationId xmlns:a16="http://schemas.microsoft.com/office/drawing/2014/main" id="{8038B1EA-1DA4-AF58-DAAF-9E49258299E4}"/>
                  </a:ext>
                </a:extLst>
              </p:cNvPr>
              <p:cNvSpPr>
                <a:spLocks/>
              </p:cNvSpPr>
              <p:nvPr/>
            </p:nvSpPr>
            <p:spPr bwMode="auto">
              <a:xfrm>
                <a:off x="6366921" y="2555134"/>
                <a:ext cx="152001" cy="105974"/>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69" name="Freeform 660">
                <a:extLst>
                  <a:ext uri="{FF2B5EF4-FFF2-40B4-BE49-F238E27FC236}">
                    <a16:creationId xmlns:a16="http://schemas.microsoft.com/office/drawing/2014/main" id="{1FB163EA-B468-8E26-14EC-82DDD1595597}"/>
                  </a:ext>
                </a:extLst>
              </p:cNvPr>
              <p:cNvSpPr>
                <a:spLocks/>
              </p:cNvSpPr>
              <p:nvPr/>
            </p:nvSpPr>
            <p:spPr bwMode="auto">
              <a:xfrm>
                <a:off x="6366921" y="2488902"/>
                <a:ext cx="187768" cy="10029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70" name="Freeform 661">
                <a:extLst>
                  <a:ext uri="{FF2B5EF4-FFF2-40B4-BE49-F238E27FC236}">
                    <a16:creationId xmlns:a16="http://schemas.microsoft.com/office/drawing/2014/main" id="{8724451A-1D11-93D7-17E6-50367A146442}"/>
                  </a:ext>
                </a:extLst>
              </p:cNvPr>
              <p:cNvSpPr>
                <a:spLocks/>
              </p:cNvSpPr>
              <p:nvPr/>
            </p:nvSpPr>
            <p:spPr bwMode="auto">
              <a:xfrm>
                <a:off x="6424144" y="2428347"/>
                <a:ext cx="125179" cy="832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71" name="Freeform 662">
                <a:extLst>
                  <a:ext uri="{FF2B5EF4-FFF2-40B4-BE49-F238E27FC236}">
                    <a16:creationId xmlns:a16="http://schemas.microsoft.com/office/drawing/2014/main" id="{95DAD31E-26F4-E60C-1313-2698900EDDE3}"/>
                  </a:ext>
                </a:extLst>
              </p:cNvPr>
              <p:cNvSpPr>
                <a:spLocks/>
              </p:cNvSpPr>
              <p:nvPr/>
            </p:nvSpPr>
            <p:spPr bwMode="auto">
              <a:xfrm>
                <a:off x="6329369" y="2600552"/>
                <a:ext cx="84048" cy="43525"/>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72" name="Freeform 663">
                <a:extLst>
                  <a:ext uri="{FF2B5EF4-FFF2-40B4-BE49-F238E27FC236}">
                    <a16:creationId xmlns:a16="http://schemas.microsoft.com/office/drawing/2014/main" id="{E8A94585-4813-C918-C463-D02CD6F5B6DB}"/>
                  </a:ext>
                </a:extLst>
              </p:cNvPr>
              <p:cNvSpPr>
                <a:spLocks/>
              </p:cNvSpPr>
              <p:nvPr/>
            </p:nvSpPr>
            <p:spPr bwMode="auto">
              <a:xfrm>
                <a:off x="6198824" y="2611904"/>
                <a:ext cx="250355" cy="232761"/>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73" name="Freeform 664">
                <a:extLst>
                  <a:ext uri="{FF2B5EF4-FFF2-40B4-BE49-F238E27FC236}">
                    <a16:creationId xmlns:a16="http://schemas.microsoft.com/office/drawing/2014/main" id="{4D2908CC-BEB0-0306-D7FF-E0522FFE79F9}"/>
                  </a:ext>
                </a:extLst>
              </p:cNvPr>
              <p:cNvSpPr>
                <a:spLocks/>
              </p:cNvSpPr>
              <p:nvPr/>
            </p:nvSpPr>
            <p:spPr bwMode="auto">
              <a:xfrm>
                <a:off x="6350825" y="2856021"/>
                <a:ext cx="241415" cy="1665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74" name="Freeform 665">
                <a:extLst>
                  <a:ext uri="{FF2B5EF4-FFF2-40B4-BE49-F238E27FC236}">
                    <a16:creationId xmlns:a16="http://schemas.microsoft.com/office/drawing/2014/main" id="{D4FDC574-FE65-7C84-B554-B2909673A747}"/>
                  </a:ext>
                </a:extLst>
              </p:cNvPr>
              <p:cNvSpPr>
                <a:spLocks/>
              </p:cNvSpPr>
              <p:nvPr/>
            </p:nvSpPr>
            <p:spPr bwMode="auto">
              <a:xfrm>
                <a:off x="6518922" y="2850344"/>
                <a:ext cx="87624" cy="111652"/>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75" name="Freeform 666">
                <a:extLst>
                  <a:ext uri="{FF2B5EF4-FFF2-40B4-BE49-F238E27FC236}">
                    <a16:creationId xmlns:a16="http://schemas.microsoft.com/office/drawing/2014/main" id="{714B1474-C048-9EF0-2BD9-89EC0321761F}"/>
                  </a:ext>
                </a:extLst>
              </p:cNvPr>
              <p:cNvSpPr>
                <a:spLocks/>
              </p:cNvSpPr>
              <p:nvPr/>
            </p:nvSpPr>
            <p:spPr bwMode="auto">
              <a:xfrm>
                <a:off x="6554687" y="2910898"/>
                <a:ext cx="51859" cy="56771"/>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76" name="Freeform 667">
                <a:extLst>
                  <a:ext uri="{FF2B5EF4-FFF2-40B4-BE49-F238E27FC236}">
                    <a16:creationId xmlns:a16="http://schemas.microsoft.com/office/drawing/2014/main" id="{336D7805-1562-A9DC-A987-82B02FBF8DD7}"/>
                  </a:ext>
                </a:extLst>
              </p:cNvPr>
              <p:cNvSpPr>
                <a:spLocks/>
              </p:cNvSpPr>
              <p:nvPr/>
            </p:nvSpPr>
            <p:spPr bwMode="auto">
              <a:xfrm>
                <a:off x="6397322" y="2999840"/>
                <a:ext cx="168096" cy="105974"/>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77" name="Freeform 668">
                <a:extLst>
                  <a:ext uri="{FF2B5EF4-FFF2-40B4-BE49-F238E27FC236}">
                    <a16:creationId xmlns:a16="http://schemas.microsoft.com/office/drawing/2014/main" id="{2275EE29-028A-7FCE-4AE3-BEC192CA452D}"/>
                  </a:ext>
                </a:extLst>
              </p:cNvPr>
              <p:cNvSpPr>
                <a:spLocks/>
              </p:cNvSpPr>
              <p:nvPr/>
            </p:nvSpPr>
            <p:spPr bwMode="auto">
              <a:xfrm>
                <a:off x="6234590" y="2973347"/>
                <a:ext cx="94778" cy="832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78" name="Freeform 669">
                <a:extLst>
                  <a:ext uri="{FF2B5EF4-FFF2-40B4-BE49-F238E27FC236}">
                    <a16:creationId xmlns:a16="http://schemas.microsoft.com/office/drawing/2014/main" id="{D7CD974A-5AAF-BBE2-DAAE-2F56A5634F9B}"/>
                  </a:ext>
                </a:extLst>
              </p:cNvPr>
              <p:cNvSpPr>
                <a:spLocks/>
              </p:cNvSpPr>
              <p:nvPr/>
            </p:nvSpPr>
            <p:spPr bwMode="auto">
              <a:xfrm>
                <a:off x="6302543" y="2933607"/>
                <a:ext cx="116236" cy="149496"/>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79" name="Freeform 670">
                <a:extLst>
                  <a:ext uri="{FF2B5EF4-FFF2-40B4-BE49-F238E27FC236}">
                    <a16:creationId xmlns:a16="http://schemas.microsoft.com/office/drawing/2014/main" id="{840AD585-D76E-3472-FC67-38358BAEE28C}"/>
                  </a:ext>
                </a:extLst>
              </p:cNvPr>
              <p:cNvSpPr>
                <a:spLocks/>
              </p:cNvSpPr>
              <p:nvPr/>
            </p:nvSpPr>
            <p:spPr bwMode="auto">
              <a:xfrm>
                <a:off x="6239955" y="2844667"/>
                <a:ext cx="184192" cy="105974"/>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80" name="Freeform 671">
                <a:extLst>
                  <a:ext uri="{FF2B5EF4-FFF2-40B4-BE49-F238E27FC236}">
                    <a16:creationId xmlns:a16="http://schemas.microsoft.com/office/drawing/2014/main" id="{8B63AB0A-CB44-CE31-DD7B-17798D16C5E3}"/>
                  </a:ext>
                </a:extLst>
              </p:cNvPr>
              <p:cNvSpPr>
                <a:spLocks/>
              </p:cNvSpPr>
              <p:nvPr/>
            </p:nvSpPr>
            <p:spPr bwMode="auto">
              <a:xfrm>
                <a:off x="6345460" y="3083105"/>
                <a:ext cx="162732" cy="177883"/>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81" name="Freeform 672">
                <a:extLst>
                  <a:ext uri="{FF2B5EF4-FFF2-40B4-BE49-F238E27FC236}">
                    <a16:creationId xmlns:a16="http://schemas.microsoft.com/office/drawing/2014/main" id="{AEB58C10-AF31-19E3-5597-C8A040647EB9}"/>
                  </a:ext>
                </a:extLst>
              </p:cNvPr>
              <p:cNvSpPr>
                <a:spLocks/>
              </p:cNvSpPr>
              <p:nvPr/>
            </p:nvSpPr>
            <p:spPr bwMode="auto">
              <a:xfrm>
                <a:off x="6492099" y="3073641"/>
                <a:ext cx="78683" cy="54878"/>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82" name="Freeform 673">
                <a:extLst>
                  <a:ext uri="{FF2B5EF4-FFF2-40B4-BE49-F238E27FC236}">
                    <a16:creationId xmlns:a16="http://schemas.microsoft.com/office/drawing/2014/main" id="{1A8CF8B2-834A-DBA1-8A45-109C5D896DD2}"/>
                  </a:ext>
                </a:extLst>
              </p:cNvPr>
              <p:cNvSpPr>
                <a:spLocks/>
              </p:cNvSpPr>
              <p:nvPr/>
            </p:nvSpPr>
            <p:spPr bwMode="auto">
              <a:xfrm>
                <a:off x="6324003" y="3056612"/>
                <a:ext cx="46495" cy="10029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83" name="Freeform 674">
                <a:extLst>
                  <a:ext uri="{FF2B5EF4-FFF2-40B4-BE49-F238E27FC236}">
                    <a16:creationId xmlns:a16="http://schemas.microsoft.com/office/drawing/2014/main" id="{3940A4A7-CD31-C791-E8C9-80DEE31C2855}"/>
                  </a:ext>
                </a:extLst>
              </p:cNvPr>
              <p:cNvSpPr>
                <a:spLocks/>
              </p:cNvSpPr>
              <p:nvPr/>
            </p:nvSpPr>
            <p:spPr bwMode="auto">
              <a:xfrm>
                <a:off x="6350825" y="3067966"/>
                <a:ext cx="67953" cy="49203"/>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84" name="Freeform 675">
                <a:extLst>
                  <a:ext uri="{FF2B5EF4-FFF2-40B4-BE49-F238E27FC236}">
                    <a16:creationId xmlns:a16="http://schemas.microsoft.com/office/drawing/2014/main" id="{6C012C36-BE7B-EAAB-EE21-55194A0E05D6}"/>
                  </a:ext>
                </a:extLst>
              </p:cNvPr>
              <p:cNvSpPr>
                <a:spLocks/>
              </p:cNvSpPr>
              <p:nvPr/>
            </p:nvSpPr>
            <p:spPr bwMode="auto">
              <a:xfrm>
                <a:off x="6926644" y="3100134"/>
                <a:ext cx="100143" cy="8894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85" name="Freeform 677">
                <a:extLst>
                  <a:ext uri="{FF2B5EF4-FFF2-40B4-BE49-F238E27FC236}">
                    <a16:creationId xmlns:a16="http://schemas.microsoft.com/office/drawing/2014/main" id="{03FE41CB-C161-F7A1-E507-46E3ABD824DC}"/>
                  </a:ext>
                </a:extLst>
              </p:cNvPr>
              <p:cNvSpPr>
                <a:spLocks/>
              </p:cNvSpPr>
              <p:nvPr/>
            </p:nvSpPr>
            <p:spPr bwMode="auto">
              <a:xfrm>
                <a:off x="6974927" y="3151230"/>
                <a:ext cx="41131" cy="32171"/>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86" name="Freeform 678">
                <a:extLst>
                  <a:ext uri="{FF2B5EF4-FFF2-40B4-BE49-F238E27FC236}">
                    <a16:creationId xmlns:a16="http://schemas.microsoft.com/office/drawing/2014/main" id="{21D35A1B-BEB8-3E99-1D31-CDBAE01BD15D}"/>
                  </a:ext>
                </a:extLst>
              </p:cNvPr>
              <p:cNvSpPr>
                <a:spLocks/>
              </p:cNvSpPr>
              <p:nvPr/>
            </p:nvSpPr>
            <p:spPr bwMode="auto">
              <a:xfrm>
                <a:off x="6853324" y="3016870"/>
                <a:ext cx="184192" cy="10029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87" name="Freeform 679">
                <a:extLst>
                  <a:ext uri="{FF2B5EF4-FFF2-40B4-BE49-F238E27FC236}">
                    <a16:creationId xmlns:a16="http://schemas.microsoft.com/office/drawing/2014/main" id="{9E02E673-8746-C97A-38C9-D045F9145D8F}"/>
                  </a:ext>
                </a:extLst>
              </p:cNvPr>
              <p:cNvSpPr>
                <a:spLocks/>
              </p:cNvSpPr>
              <p:nvPr/>
            </p:nvSpPr>
            <p:spPr bwMode="auto">
              <a:xfrm>
                <a:off x="6980293" y="3083105"/>
                <a:ext cx="141272" cy="117328"/>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88" name="Freeform 687">
                <a:extLst>
                  <a:ext uri="{FF2B5EF4-FFF2-40B4-BE49-F238E27FC236}">
                    <a16:creationId xmlns:a16="http://schemas.microsoft.com/office/drawing/2014/main" id="{C6C3F03E-DAB6-45C3-8AAC-EBBC2A79F271}"/>
                  </a:ext>
                </a:extLst>
              </p:cNvPr>
              <p:cNvSpPr>
                <a:spLocks/>
              </p:cNvSpPr>
              <p:nvPr/>
            </p:nvSpPr>
            <p:spPr bwMode="auto">
              <a:xfrm>
                <a:off x="6722783" y="3383991"/>
                <a:ext cx="16095" cy="39739"/>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89" name="Freeform 717">
                <a:extLst>
                  <a:ext uri="{FF2B5EF4-FFF2-40B4-BE49-F238E27FC236}">
                    <a16:creationId xmlns:a16="http://schemas.microsoft.com/office/drawing/2014/main" id="{D4F93A83-42DB-286D-ADAF-FD03E7B8930D}"/>
                  </a:ext>
                </a:extLst>
              </p:cNvPr>
              <p:cNvSpPr>
                <a:spLocks/>
              </p:cNvSpPr>
              <p:nvPr/>
            </p:nvSpPr>
            <p:spPr bwMode="auto">
              <a:xfrm>
                <a:off x="6120141" y="2000672"/>
                <a:ext cx="329038" cy="59988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solidFill>
                <a:schemeClr val="accent2">
                  <a:lumMod val="10000"/>
                  <a:lumOff val="90000"/>
                </a:schemeClr>
              </a:solid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90" name="Freeform 718">
                <a:extLst>
                  <a:ext uri="{FF2B5EF4-FFF2-40B4-BE49-F238E27FC236}">
                    <a16:creationId xmlns:a16="http://schemas.microsoft.com/office/drawing/2014/main" id="{9A993AB1-9CF5-98CA-FEC1-A76477DC579E}"/>
                  </a:ext>
                </a:extLst>
              </p:cNvPr>
              <p:cNvSpPr>
                <a:spLocks/>
              </p:cNvSpPr>
              <p:nvPr/>
            </p:nvSpPr>
            <p:spPr bwMode="auto">
              <a:xfrm>
                <a:off x="6361556" y="1955256"/>
                <a:ext cx="282545" cy="467415"/>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91" name="Freeform 719">
                <a:extLst>
                  <a:ext uri="{FF2B5EF4-FFF2-40B4-BE49-F238E27FC236}">
                    <a16:creationId xmlns:a16="http://schemas.microsoft.com/office/drawing/2014/main" id="{A58D22CA-5E5F-440F-177D-144BEC9E2F5E}"/>
                  </a:ext>
                </a:extLst>
              </p:cNvPr>
              <p:cNvSpPr>
                <a:spLocks/>
              </p:cNvSpPr>
              <p:nvPr/>
            </p:nvSpPr>
            <p:spPr bwMode="auto">
              <a:xfrm>
                <a:off x="5957410" y="1900376"/>
                <a:ext cx="670595" cy="59420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92" name="Freeform 725">
                <a:extLst>
                  <a:ext uri="{FF2B5EF4-FFF2-40B4-BE49-F238E27FC236}">
                    <a16:creationId xmlns:a16="http://schemas.microsoft.com/office/drawing/2014/main" id="{9869E997-75FE-C5B2-2ECD-2D4DACF66CC1}"/>
                  </a:ext>
                </a:extLst>
              </p:cNvPr>
              <p:cNvSpPr>
                <a:spLocks/>
              </p:cNvSpPr>
              <p:nvPr/>
            </p:nvSpPr>
            <p:spPr bwMode="auto">
              <a:xfrm>
                <a:off x="5553266" y="2611904"/>
                <a:ext cx="125179" cy="138141"/>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solidFill>
                <a:schemeClr val="accent1"/>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93" name="Freeform 726">
                <a:extLst>
                  <a:ext uri="{FF2B5EF4-FFF2-40B4-BE49-F238E27FC236}">
                    <a16:creationId xmlns:a16="http://schemas.microsoft.com/office/drawing/2014/main" id="{F29B5E7B-C4CA-AFB0-1960-6571C46AAA4F}"/>
                  </a:ext>
                </a:extLst>
              </p:cNvPr>
              <p:cNvSpPr>
                <a:spLocks/>
              </p:cNvSpPr>
              <p:nvPr/>
            </p:nvSpPr>
            <p:spPr bwMode="auto">
              <a:xfrm>
                <a:off x="5615853" y="2606229"/>
                <a:ext cx="84048" cy="54878"/>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94" name="Freeform 727">
                <a:extLst>
                  <a:ext uri="{FF2B5EF4-FFF2-40B4-BE49-F238E27FC236}">
                    <a16:creationId xmlns:a16="http://schemas.microsoft.com/office/drawing/2014/main" id="{8A84D2C2-5DCE-DAF7-98F4-CE99F578D91F}"/>
                  </a:ext>
                </a:extLst>
              </p:cNvPr>
              <p:cNvSpPr>
                <a:spLocks/>
              </p:cNvSpPr>
              <p:nvPr/>
            </p:nvSpPr>
            <p:spPr bwMode="auto">
              <a:xfrm>
                <a:off x="5585454" y="3022548"/>
                <a:ext cx="329038" cy="25547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95" name="Freeform 728">
                <a:extLst>
                  <a:ext uri="{FF2B5EF4-FFF2-40B4-BE49-F238E27FC236}">
                    <a16:creationId xmlns:a16="http://schemas.microsoft.com/office/drawing/2014/main" id="{BB7E7E05-946A-611A-B09A-B4F283A94217}"/>
                  </a:ext>
                </a:extLst>
              </p:cNvPr>
              <p:cNvSpPr>
                <a:spLocks/>
              </p:cNvSpPr>
              <p:nvPr/>
            </p:nvSpPr>
            <p:spPr bwMode="auto">
              <a:xfrm>
                <a:off x="5585454" y="3077428"/>
                <a:ext cx="84048" cy="168422"/>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grpSp>
        <p:sp>
          <p:nvSpPr>
            <p:cNvPr id="13" name="Freeform 677">
              <a:extLst>
                <a:ext uri="{FF2B5EF4-FFF2-40B4-BE49-F238E27FC236}">
                  <a16:creationId xmlns:a16="http://schemas.microsoft.com/office/drawing/2014/main" id="{9881EF16-368E-CD89-15F5-8D0633F1C804}"/>
                </a:ext>
              </a:extLst>
            </p:cNvPr>
            <p:cNvSpPr>
              <a:spLocks/>
            </p:cNvSpPr>
            <p:nvPr/>
          </p:nvSpPr>
          <p:spPr bwMode="auto">
            <a:xfrm>
              <a:off x="6974927" y="3151230"/>
              <a:ext cx="41131" cy="32171"/>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solidFill>
              <a:schemeClr val="tx2">
                <a:lumMod val="9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grpSp>
          <p:nvGrpSpPr>
            <p:cNvPr id="14" name="Group 13">
              <a:extLst>
                <a:ext uri="{FF2B5EF4-FFF2-40B4-BE49-F238E27FC236}">
                  <a16:creationId xmlns:a16="http://schemas.microsoft.com/office/drawing/2014/main" id="{8BDDF012-15F8-A326-2B4C-D1A8B55E8432}"/>
                </a:ext>
              </a:extLst>
            </p:cNvPr>
            <p:cNvGrpSpPr/>
            <p:nvPr/>
          </p:nvGrpSpPr>
          <p:grpSpPr>
            <a:xfrm>
              <a:off x="5379804" y="3234493"/>
              <a:ext cx="1766795" cy="2094846"/>
              <a:chOff x="5379804" y="3234493"/>
              <a:chExt cx="1766795" cy="2094846"/>
            </a:xfrm>
            <a:solidFill>
              <a:schemeClr val="tx2">
                <a:lumMod val="90000"/>
              </a:schemeClr>
            </a:solidFill>
          </p:grpSpPr>
          <p:sp>
            <p:nvSpPr>
              <p:cNvPr id="2482" name="Freeform 486">
                <a:extLst>
                  <a:ext uri="{FF2B5EF4-FFF2-40B4-BE49-F238E27FC236}">
                    <a16:creationId xmlns:a16="http://schemas.microsoft.com/office/drawing/2014/main" id="{325C017C-1D01-8ABC-64F6-9A20206F0C00}"/>
                  </a:ext>
                </a:extLst>
              </p:cNvPr>
              <p:cNvSpPr>
                <a:spLocks/>
              </p:cNvSpPr>
              <p:nvPr/>
            </p:nvSpPr>
            <p:spPr bwMode="auto">
              <a:xfrm>
                <a:off x="6932009" y="4657553"/>
                <a:ext cx="189554" cy="387933"/>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83" name="Freeform 729">
                <a:extLst>
                  <a:ext uri="{FF2B5EF4-FFF2-40B4-BE49-F238E27FC236}">
                    <a16:creationId xmlns:a16="http://schemas.microsoft.com/office/drawing/2014/main" id="{772AFA55-2636-2CEC-91DF-1E648CC3A87B}"/>
                  </a:ext>
                </a:extLst>
              </p:cNvPr>
              <p:cNvSpPr>
                <a:spLocks/>
              </p:cNvSpPr>
              <p:nvPr/>
            </p:nvSpPr>
            <p:spPr bwMode="auto">
              <a:xfrm>
                <a:off x="6597605" y="4600779"/>
                <a:ext cx="277180" cy="490123"/>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84" name="Freeform 730">
                <a:extLst>
                  <a:ext uri="{FF2B5EF4-FFF2-40B4-BE49-F238E27FC236}">
                    <a16:creationId xmlns:a16="http://schemas.microsoft.com/office/drawing/2014/main" id="{79C8CB38-04B8-B79C-68DF-D8E077255473}"/>
                  </a:ext>
                </a:extLst>
              </p:cNvPr>
              <p:cNvSpPr>
                <a:spLocks/>
              </p:cNvSpPr>
              <p:nvPr/>
            </p:nvSpPr>
            <p:spPr bwMode="auto">
              <a:xfrm>
                <a:off x="6660194" y="4585640"/>
                <a:ext cx="84048" cy="210054"/>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85" name="Freeform 731">
                <a:extLst>
                  <a:ext uri="{FF2B5EF4-FFF2-40B4-BE49-F238E27FC236}">
                    <a16:creationId xmlns:a16="http://schemas.microsoft.com/office/drawing/2014/main" id="{BF28E2C7-3CE9-EEEA-E4BD-9269EE19E15B}"/>
                  </a:ext>
                </a:extLst>
              </p:cNvPr>
              <p:cNvSpPr>
                <a:spLocks/>
              </p:cNvSpPr>
              <p:nvPr/>
            </p:nvSpPr>
            <p:spPr bwMode="auto">
              <a:xfrm>
                <a:off x="6375861" y="4545901"/>
                <a:ext cx="314732" cy="278179"/>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86" name="Freeform 732">
                <a:extLst>
                  <a:ext uri="{FF2B5EF4-FFF2-40B4-BE49-F238E27FC236}">
                    <a16:creationId xmlns:a16="http://schemas.microsoft.com/office/drawing/2014/main" id="{691420AC-895B-F795-FC6B-7BDA5726FC1E}"/>
                  </a:ext>
                </a:extLst>
              </p:cNvPr>
              <p:cNvSpPr>
                <a:spLocks/>
              </p:cNvSpPr>
              <p:nvPr/>
            </p:nvSpPr>
            <p:spPr bwMode="auto">
              <a:xfrm>
                <a:off x="6136236" y="4795693"/>
                <a:ext cx="334403" cy="35008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87" name="Freeform 733">
                <a:extLst>
                  <a:ext uri="{FF2B5EF4-FFF2-40B4-BE49-F238E27FC236}">
                    <a16:creationId xmlns:a16="http://schemas.microsoft.com/office/drawing/2014/main" id="{E9B685E5-AF92-06F8-763B-25864AC4A0F5}"/>
                  </a:ext>
                </a:extLst>
              </p:cNvPr>
              <p:cNvSpPr>
                <a:spLocks/>
              </p:cNvSpPr>
              <p:nvPr/>
            </p:nvSpPr>
            <p:spPr bwMode="auto">
              <a:xfrm>
                <a:off x="6145177" y="4167429"/>
                <a:ext cx="477465" cy="527971"/>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88" name="Freeform 734">
                <a:extLst>
                  <a:ext uri="{FF2B5EF4-FFF2-40B4-BE49-F238E27FC236}">
                    <a16:creationId xmlns:a16="http://schemas.microsoft.com/office/drawing/2014/main" id="{C8A3D989-54B7-FF08-7C3A-CC73E24A677B}"/>
                  </a:ext>
                </a:extLst>
              </p:cNvPr>
              <p:cNvSpPr>
                <a:spLocks/>
              </p:cNvSpPr>
              <p:nvPr/>
            </p:nvSpPr>
            <p:spPr bwMode="auto">
              <a:xfrm>
                <a:off x="6139812" y="4479669"/>
                <a:ext cx="295062" cy="35008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89" name="Freeform 735">
                <a:extLst>
                  <a:ext uri="{FF2B5EF4-FFF2-40B4-BE49-F238E27FC236}">
                    <a16:creationId xmlns:a16="http://schemas.microsoft.com/office/drawing/2014/main" id="{9F4657DD-C2AC-AA09-83F1-93575FCD18DC}"/>
                  </a:ext>
                </a:extLst>
              </p:cNvPr>
              <p:cNvSpPr>
                <a:spLocks/>
              </p:cNvSpPr>
              <p:nvPr/>
            </p:nvSpPr>
            <p:spPr bwMode="auto">
              <a:xfrm>
                <a:off x="6329368" y="4812725"/>
                <a:ext cx="241415" cy="266824"/>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90" name="Freeform 736">
                <a:extLst>
                  <a:ext uri="{FF2B5EF4-FFF2-40B4-BE49-F238E27FC236}">
                    <a16:creationId xmlns:a16="http://schemas.microsoft.com/office/drawing/2014/main" id="{D7FC94AB-07F2-6572-9991-FBDC432BC9BE}"/>
                  </a:ext>
                </a:extLst>
              </p:cNvPr>
              <p:cNvSpPr>
                <a:spLocks/>
              </p:cNvSpPr>
              <p:nvPr/>
            </p:nvSpPr>
            <p:spPr bwMode="auto">
              <a:xfrm>
                <a:off x="6459909" y="4757845"/>
                <a:ext cx="205650" cy="193021"/>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91" name="Freeform 737">
                <a:extLst>
                  <a:ext uri="{FF2B5EF4-FFF2-40B4-BE49-F238E27FC236}">
                    <a16:creationId xmlns:a16="http://schemas.microsoft.com/office/drawing/2014/main" id="{58A18601-816E-7DAF-ACF4-C5582A9B9526}"/>
                  </a:ext>
                </a:extLst>
              </p:cNvPr>
              <p:cNvSpPr>
                <a:spLocks/>
              </p:cNvSpPr>
              <p:nvPr/>
            </p:nvSpPr>
            <p:spPr bwMode="auto">
              <a:xfrm>
                <a:off x="6597605" y="5045484"/>
                <a:ext cx="51859" cy="62449"/>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92" name="Freeform 738">
                <a:extLst>
                  <a:ext uri="{FF2B5EF4-FFF2-40B4-BE49-F238E27FC236}">
                    <a16:creationId xmlns:a16="http://schemas.microsoft.com/office/drawing/2014/main" id="{3AECF309-B246-ECB8-CCF2-65E68237B81E}"/>
                  </a:ext>
                </a:extLst>
              </p:cNvPr>
              <p:cNvSpPr>
                <a:spLocks noEditPoints="1"/>
              </p:cNvSpPr>
              <p:nvPr/>
            </p:nvSpPr>
            <p:spPr bwMode="auto">
              <a:xfrm>
                <a:off x="6245319" y="4945190"/>
                <a:ext cx="414874" cy="384149"/>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93" name="Freeform 739">
                <a:extLst>
                  <a:ext uri="{FF2B5EF4-FFF2-40B4-BE49-F238E27FC236}">
                    <a16:creationId xmlns:a16="http://schemas.microsoft.com/office/drawing/2014/main" id="{92FE17C6-B8FB-6A6B-B284-58EF17496088}"/>
                  </a:ext>
                </a:extLst>
              </p:cNvPr>
              <p:cNvSpPr>
                <a:spLocks/>
              </p:cNvSpPr>
              <p:nvPr/>
            </p:nvSpPr>
            <p:spPr bwMode="auto">
              <a:xfrm>
                <a:off x="6513556" y="5128749"/>
                <a:ext cx="67953" cy="73803"/>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94" name="Freeform 740">
                <a:extLst>
                  <a:ext uri="{FF2B5EF4-FFF2-40B4-BE49-F238E27FC236}">
                    <a16:creationId xmlns:a16="http://schemas.microsoft.com/office/drawing/2014/main" id="{7E929E66-D54E-C4CB-901F-7F1DFE85C093}"/>
                  </a:ext>
                </a:extLst>
              </p:cNvPr>
              <p:cNvSpPr>
                <a:spLocks/>
              </p:cNvSpPr>
              <p:nvPr/>
            </p:nvSpPr>
            <p:spPr bwMode="auto">
              <a:xfrm>
                <a:off x="6145177" y="4439927"/>
                <a:ext cx="26823" cy="45416"/>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95" name="Freeform 741">
                <a:extLst>
                  <a:ext uri="{FF2B5EF4-FFF2-40B4-BE49-F238E27FC236}">
                    <a16:creationId xmlns:a16="http://schemas.microsoft.com/office/drawing/2014/main" id="{BADDF170-E499-020D-13CD-76869817AAF3}"/>
                  </a:ext>
                </a:extLst>
              </p:cNvPr>
              <p:cNvSpPr>
                <a:spLocks/>
              </p:cNvSpPr>
              <p:nvPr/>
            </p:nvSpPr>
            <p:spPr bwMode="auto">
              <a:xfrm>
                <a:off x="6120140" y="4212845"/>
                <a:ext cx="182402" cy="2497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96" name="Freeform 742">
                <a:extLst>
                  <a:ext uri="{FF2B5EF4-FFF2-40B4-BE49-F238E27FC236}">
                    <a16:creationId xmlns:a16="http://schemas.microsoft.com/office/drawing/2014/main" id="{5343FAE8-9657-2F0A-89EE-806EE919A5D3}"/>
                  </a:ext>
                </a:extLst>
              </p:cNvPr>
              <p:cNvSpPr>
                <a:spLocks/>
              </p:cNvSpPr>
              <p:nvPr/>
            </p:nvSpPr>
            <p:spPr bwMode="auto">
              <a:xfrm>
                <a:off x="6198824" y="4012254"/>
                <a:ext cx="334403" cy="2497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97" name="Freeform 743">
                <a:extLst>
                  <a:ext uri="{FF2B5EF4-FFF2-40B4-BE49-F238E27FC236}">
                    <a16:creationId xmlns:a16="http://schemas.microsoft.com/office/drawing/2014/main" id="{2A31F10D-58E7-1C55-0B55-DAA06B53B69E}"/>
                  </a:ext>
                </a:extLst>
              </p:cNvPr>
              <p:cNvSpPr>
                <a:spLocks/>
              </p:cNvSpPr>
              <p:nvPr/>
            </p:nvSpPr>
            <p:spPr bwMode="auto">
              <a:xfrm>
                <a:off x="5826867" y="3656490"/>
                <a:ext cx="613372" cy="456060"/>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98" name="Freeform 744">
                <a:extLst>
                  <a:ext uri="{FF2B5EF4-FFF2-40B4-BE49-F238E27FC236}">
                    <a16:creationId xmlns:a16="http://schemas.microsoft.com/office/drawing/2014/main" id="{5162ECC2-3101-18A2-06C5-7C3A7383EA6A}"/>
                  </a:ext>
                </a:extLst>
              </p:cNvPr>
              <p:cNvSpPr>
                <a:spLocks/>
              </p:cNvSpPr>
              <p:nvPr/>
            </p:nvSpPr>
            <p:spPr bwMode="auto">
              <a:xfrm>
                <a:off x="6381225" y="3667844"/>
                <a:ext cx="430969" cy="562032"/>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99" name="Freeform 745">
                <a:extLst>
                  <a:ext uri="{FF2B5EF4-FFF2-40B4-BE49-F238E27FC236}">
                    <a16:creationId xmlns:a16="http://schemas.microsoft.com/office/drawing/2014/main" id="{76814753-ECE8-E897-C1BC-286726A8CDAC}"/>
                  </a:ext>
                </a:extLst>
              </p:cNvPr>
              <p:cNvSpPr>
                <a:spLocks/>
              </p:cNvSpPr>
              <p:nvPr/>
            </p:nvSpPr>
            <p:spPr bwMode="auto">
              <a:xfrm>
                <a:off x="6758549" y="3811664"/>
                <a:ext cx="168096" cy="160852"/>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00" name="Freeform 746">
                <a:extLst>
                  <a:ext uri="{FF2B5EF4-FFF2-40B4-BE49-F238E27FC236}">
                    <a16:creationId xmlns:a16="http://schemas.microsoft.com/office/drawing/2014/main" id="{864BEC07-A030-75BC-B8BC-2675F88428E6}"/>
                  </a:ext>
                </a:extLst>
              </p:cNvPr>
              <p:cNvSpPr>
                <a:spLocks/>
              </p:cNvSpPr>
              <p:nvPr/>
            </p:nvSpPr>
            <p:spPr bwMode="auto">
              <a:xfrm>
                <a:off x="6670923" y="3889252"/>
                <a:ext cx="388051" cy="340625"/>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01" name="Freeform 747">
                <a:extLst>
                  <a:ext uri="{FF2B5EF4-FFF2-40B4-BE49-F238E27FC236}">
                    <a16:creationId xmlns:a16="http://schemas.microsoft.com/office/drawing/2014/main" id="{6821414E-EEB8-1A8F-8E70-DB686F4CB24F}"/>
                  </a:ext>
                </a:extLst>
              </p:cNvPr>
              <p:cNvSpPr>
                <a:spLocks/>
              </p:cNvSpPr>
              <p:nvPr/>
            </p:nvSpPr>
            <p:spPr bwMode="auto">
              <a:xfrm>
                <a:off x="6690594" y="3989547"/>
                <a:ext cx="456005" cy="461736"/>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02" name="Freeform 748">
                <a:extLst>
                  <a:ext uri="{FF2B5EF4-FFF2-40B4-BE49-F238E27FC236}">
                    <a16:creationId xmlns:a16="http://schemas.microsoft.com/office/drawing/2014/main" id="{FBBB73B7-DB7B-3B43-3689-A96E39AB9B06}"/>
                  </a:ext>
                </a:extLst>
              </p:cNvPr>
              <p:cNvSpPr>
                <a:spLocks/>
              </p:cNvSpPr>
              <p:nvPr/>
            </p:nvSpPr>
            <p:spPr bwMode="auto">
              <a:xfrm>
                <a:off x="6896245" y="3963053"/>
                <a:ext cx="46495" cy="60555"/>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03" name="Freeform 749">
                <a:extLst>
                  <a:ext uri="{FF2B5EF4-FFF2-40B4-BE49-F238E27FC236}">
                    <a16:creationId xmlns:a16="http://schemas.microsoft.com/office/drawing/2014/main" id="{C03DCA8C-144A-D643-D8A6-B369E388B49F}"/>
                  </a:ext>
                </a:extLst>
              </p:cNvPr>
              <p:cNvSpPr>
                <a:spLocks/>
              </p:cNvSpPr>
              <p:nvPr/>
            </p:nvSpPr>
            <p:spPr bwMode="auto">
              <a:xfrm>
                <a:off x="6581512" y="4207169"/>
                <a:ext cx="135906" cy="155174"/>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04" name="Freeform 750">
                <a:extLst>
                  <a:ext uri="{FF2B5EF4-FFF2-40B4-BE49-F238E27FC236}">
                    <a16:creationId xmlns:a16="http://schemas.microsoft.com/office/drawing/2014/main" id="{5B3E3953-9A3A-7952-E326-EE466395EC3A}"/>
                  </a:ext>
                </a:extLst>
              </p:cNvPr>
              <p:cNvSpPr>
                <a:spLocks/>
              </p:cNvSpPr>
              <p:nvPr/>
            </p:nvSpPr>
            <p:spPr bwMode="auto">
              <a:xfrm>
                <a:off x="6565417" y="4385050"/>
                <a:ext cx="51859" cy="54878"/>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05" name="Freeform 751">
                <a:extLst>
                  <a:ext uri="{FF2B5EF4-FFF2-40B4-BE49-F238E27FC236}">
                    <a16:creationId xmlns:a16="http://schemas.microsoft.com/office/drawing/2014/main" id="{0E59A66A-0DF9-D320-00AA-CCDDD65F07DE}"/>
                  </a:ext>
                </a:extLst>
              </p:cNvPr>
              <p:cNvSpPr>
                <a:spLocks/>
              </p:cNvSpPr>
              <p:nvPr/>
            </p:nvSpPr>
            <p:spPr bwMode="auto">
              <a:xfrm>
                <a:off x="6565417" y="4350989"/>
                <a:ext cx="57223" cy="51094"/>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06" name="Freeform 752">
                <a:extLst>
                  <a:ext uri="{FF2B5EF4-FFF2-40B4-BE49-F238E27FC236}">
                    <a16:creationId xmlns:a16="http://schemas.microsoft.com/office/drawing/2014/main" id="{82ED6ED2-B864-D028-6667-0BC2D4D2854D}"/>
                  </a:ext>
                </a:extLst>
              </p:cNvPr>
              <p:cNvSpPr>
                <a:spLocks/>
              </p:cNvSpPr>
              <p:nvPr/>
            </p:nvSpPr>
            <p:spPr bwMode="auto">
              <a:xfrm>
                <a:off x="6576147" y="4333956"/>
                <a:ext cx="282545" cy="323595"/>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07" name="Freeform 753">
                <a:extLst>
                  <a:ext uri="{FF2B5EF4-FFF2-40B4-BE49-F238E27FC236}">
                    <a16:creationId xmlns:a16="http://schemas.microsoft.com/office/drawing/2014/main" id="{0820C418-1CEE-B347-CE4A-EFE1E9C87A49}"/>
                  </a:ext>
                </a:extLst>
              </p:cNvPr>
              <p:cNvSpPr>
                <a:spLocks/>
              </p:cNvSpPr>
              <p:nvPr/>
            </p:nvSpPr>
            <p:spPr bwMode="auto">
              <a:xfrm>
                <a:off x="6062918" y="4256369"/>
                <a:ext cx="141272" cy="172206"/>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08" name="Freeform 754">
                <a:extLst>
                  <a:ext uri="{FF2B5EF4-FFF2-40B4-BE49-F238E27FC236}">
                    <a16:creationId xmlns:a16="http://schemas.microsoft.com/office/drawing/2014/main" id="{27D02010-F012-57CC-7E1D-26AAA3FB3CCA}"/>
                  </a:ext>
                </a:extLst>
              </p:cNvPr>
              <p:cNvSpPr>
                <a:spLocks/>
              </p:cNvSpPr>
              <p:nvPr/>
            </p:nvSpPr>
            <p:spPr bwMode="auto">
              <a:xfrm>
                <a:off x="6071859" y="4256369"/>
                <a:ext cx="59013" cy="39739"/>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09" name="Freeform 755">
                <a:extLst>
                  <a:ext uri="{FF2B5EF4-FFF2-40B4-BE49-F238E27FC236}">
                    <a16:creationId xmlns:a16="http://schemas.microsoft.com/office/drawing/2014/main" id="{564B0C69-FFC4-A652-A52C-583F25B8AE69}"/>
                  </a:ext>
                </a:extLst>
              </p:cNvPr>
              <p:cNvSpPr>
                <a:spLocks/>
              </p:cNvSpPr>
              <p:nvPr/>
            </p:nvSpPr>
            <p:spPr bwMode="auto">
              <a:xfrm>
                <a:off x="6052187" y="3957377"/>
                <a:ext cx="193132" cy="316025"/>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10" name="Freeform 756">
                <a:extLst>
                  <a:ext uri="{FF2B5EF4-FFF2-40B4-BE49-F238E27FC236}">
                    <a16:creationId xmlns:a16="http://schemas.microsoft.com/office/drawing/2014/main" id="{68FEFEB6-2E08-160F-A117-9DDAC0AB4C3C}"/>
                  </a:ext>
                </a:extLst>
              </p:cNvPr>
              <p:cNvSpPr>
                <a:spLocks/>
              </p:cNvSpPr>
              <p:nvPr/>
            </p:nvSpPr>
            <p:spPr bwMode="auto">
              <a:xfrm>
                <a:off x="5846540" y="3972515"/>
                <a:ext cx="78683" cy="172206"/>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11" name="Freeform 757">
                <a:extLst>
                  <a:ext uri="{FF2B5EF4-FFF2-40B4-BE49-F238E27FC236}">
                    <a16:creationId xmlns:a16="http://schemas.microsoft.com/office/drawing/2014/main" id="{549565CE-2458-8282-840F-999E0F430F95}"/>
                  </a:ext>
                </a:extLst>
              </p:cNvPr>
              <p:cNvSpPr>
                <a:spLocks/>
              </p:cNvSpPr>
              <p:nvPr/>
            </p:nvSpPr>
            <p:spPr bwMode="auto">
              <a:xfrm>
                <a:off x="5900187" y="3928989"/>
                <a:ext cx="309368" cy="283855"/>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12" name="Freeform 758">
                <a:extLst>
                  <a:ext uri="{FF2B5EF4-FFF2-40B4-BE49-F238E27FC236}">
                    <a16:creationId xmlns:a16="http://schemas.microsoft.com/office/drawing/2014/main" id="{AA61647D-F965-EAD2-59B9-7F38B7240EFC}"/>
                  </a:ext>
                </a:extLst>
              </p:cNvPr>
              <p:cNvSpPr>
                <a:spLocks/>
              </p:cNvSpPr>
              <p:nvPr/>
            </p:nvSpPr>
            <p:spPr bwMode="auto">
              <a:xfrm>
                <a:off x="5678444" y="3894926"/>
                <a:ext cx="221744" cy="1665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13" name="Freeform 759">
                <a:extLst>
                  <a:ext uri="{FF2B5EF4-FFF2-40B4-BE49-F238E27FC236}">
                    <a16:creationId xmlns:a16="http://schemas.microsoft.com/office/drawing/2014/main" id="{5EAC11ED-F1A1-3A3E-1DBC-A8B47180ED36}"/>
                  </a:ext>
                </a:extLst>
              </p:cNvPr>
              <p:cNvSpPr>
                <a:spLocks/>
              </p:cNvSpPr>
              <p:nvPr/>
            </p:nvSpPr>
            <p:spPr bwMode="auto">
              <a:xfrm>
                <a:off x="5826869" y="4017930"/>
                <a:ext cx="51859" cy="132467"/>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14" name="Freeform 760">
                <a:extLst>
                  <a:ext uri="{FF2B5EF4-FFF2-40B4-BE49-F238E27FC236}">
                    <a16:creationId xmlns:a16="http://schemas.microsoft.com/office/drawing/2014/main" id="{FA689335-6193-70D8-80BE-333B8461A804}"/>
                  </a:ext>
                </a:extLst>
              </p:cNvPr>
              <p:cNvSpPr>
                <a:spLocks/>
              </p:cNvSpPr>
              <p:nvPr/>
            </p:nvSpPr>
            <p:spPr bwMode="auto">
              <a:xfrm>
                <a:off x="5601548" y="4023608"/>
                <a:ext cx="166307" cy="172206"/>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15" name="Freeform 761">
                <a:extLst>
                  <a:ext uri="{FF2B5EF4-FFF2-40B4-BE49-F238E27FC236}">
                    <a16:creationId xmlns:a16="http://schemas.microsoft.com/office/drawing/2014/main" id="{6EBF812B-1AF4-2DCB-7B7D-B39DF4CD428C}"/>
                  </a:ext>
                </a:extLst>
              </p:cNvPr>
              <p:cNvSpPr>
                <a:spLocks/>
              </p:cNvSpPr>
              <p:nvPr/>
            </p:nvSpPr>
            <p:spPr bwMode="auto">
              <a:xfrm>
                <a:off x="5742820" y="4017930"/>
                <a:ext cx="119815" cy="1665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16" name="Freeform 762">
                <a:extLst>
                  <a:ext uri="{FF2B5EF4-FFF2-40B4-BE49-F238E27FC236}">
                    <a16:creationId xmlns:a16="http://schemas.microsoft.com/office/drawing/2014/main" id="{D843887A-52E7-EDE2-8A68-019A4751C918}"/>
                  </a:ext>
                </a:extLst>
              </p:cNvPr>
              <p:cNvSpPr>
                <a:spLocks/>
              </p:cNvSpPr>
              <p:nvPr/>
            </p:nvSpPr>
            <p:spPr bwMode="auto">
              <a:xfrm>
                <a:off x="5479947" y="4034961"/>
                <a:ext cx="78683" cy="100296"/>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17" name="Freeform 763">
                <a:extLst>
                  <a:ext uri="{FF2B5EF4-FFF2-40B4-BE49-F238E27FC236}">
                    <a16:creationId xmlns:a16="http://schemas.microsoft.com/office/drawing/2014/main" id="{5524297C-262A-9624-EDFA-DB76F7E49C03}"/>
                  </a:ext>
                </a:extLst>
              </p:cNvPr>
              <p:cNvSpPr>
                <a:spLocks/>
              </p:cNvSpPr>
              <p:nvPr/>
            </p:nvSpPr>
            <p:spPr bwMode="auto">
              <a:xfrm>
                <a:off x="5526441" y="4078486"/>
                <a:ext cx="116236" cy="117328"/>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18" name="Freeform 764">
                <a:extLst>
                  <a:ext uri="{FF2B5EF4-FFF2-40B4-BE49-F238E27FC236}">
                    <a16:creationId xmlns:a16="http://schemas.microsoft.com/office/drawing/2014/main" id="{E45B1BF2-A878-7EB7-F898-561EF96891F3}"/>
                  </a:ext>
                </a:extLst>
              </p:cNvPr>
              <p:cNvSpPr>
                <a:spLocks/>
              </p:cNvSpPr>
              <p:nvPr/>
            </p:nvSpPr>
            <p:spPr bwMode="auto">
              <a:xfrm>
                <a:off x="5444181" y="3966838"/>
                <a:ext cx="182402" cy="162744"/>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19" name="Freeform 765">
                <a:extLst>
                  <a:ext uri="{FF2B5EF4-FFF2-40B4-BE49-F238E27FC236}">
                    <a16:creationId xmlns:a16="http://schemas.microsoft.com/office/drawing/2014/main" id="{D368C886-0685-7169-E97A-F22E324B1BFE}"/>
                  </a:ext>
                </a:extLst>
              </p:cNvPr>
              <p:cNvSpPr>
                <a:spLocks/>
              </p:cNvSpPr>
              <p:nvPr/>
            </p:nvSpPr>
            <p:spPr bwMode="auto">
              <a:xfrm>
                <a:off x="5395899" y="3972515"/>
                <a:ext cx="84048" cy="39739"/>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20" name="Freeform 766">
                <a:extLst>
                  <a:ext uri="{FF2B5EF4-FFF2-40B4-BE49-F238E27FC236}">
                    <a16:creationId xmlns:a16="http://schemas.microsoft.com/office/drawing/2014/main" id="{4D6858E6-D664-4B54-FB30-0BDC0CB9E504}"/>
                  </a:ext>
                </a:extLst>
              </p:cNvPr>
              <p:cNvSpPr>
                <a:spLocks/>
              </p:cNvSpPr>
              <p:nvPr/>
            </p:nvSpPr>
            <p:spPr bwMode="auto">
              <a:xfrm>
                <a:off x="5390533" y="3934667"/>
                <a:ext cx="78683" cy="22709"/>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21" name="Freeform 767">
                <a:extLst>
                  <a:ext uri="{FF2B5EF4-FFF2-40B4-BE49-F238E27FC236}">
                    <a16:creationId xmlns:a16="http://schemas.microsoft.com/office/drawing/2014/main" id="{354D3D16-EEEB-F5D1-4E82-DB70145983BF}"/>
                  </a:ext>
                </a:extLst>
              </p:cNvPr>
              <p:cNvSpPr>
                <a:spLocks/>
              </p:cNvSpPr>
              <p:nvPr/>
            </p:nvSpPr>
            <p:spPr bwMode="auto">
              <a:xfrm>
                <a:off x="5379804" y="3544841"/>
                <a:ext cx="314732" cy="378471"/>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22" name="Freeform 768">
                <a:extLst>
                  <a:ext uri="{FF2B5EF4-FFF2-40B4-BE49-F238E27FC236}">
                    <a16:creationId xmlns:a16="http://schemas.microsoft.com/office/drawing/2014/main" id="{477236D6-F469-6C8A-635C-31F2F8A0ADFE}"/>
                  </a:ext>
                </a:extLst>
              </p:cNvPr>
              <p:cNvSpPr>
                <a:spLocks/>
              </p:cNvSpPr>
              <p:nvPr/>
            </p:nvSpPr>
            <p:spPr bwMode="auto">
              <a:xfrm>
                <a:off x="5379804" y="3857080"/>
                <a:ext cx="152001" cy="126790"/>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23" name="Freeform 769">
                <a:extLst>
                  <a:ext uri="{FF2B5EF4-FFF2-40B4-BE49-F238E27FC236}">
                    <a16:creationId xmlns:a16="http://schemas.microsoft.com/office/drawing/2014/main" id="{CBC9AE24-462B-9D9C-3DC3-E1E7EBD3FF6B}"/>
                  </a:ext>
                </a:extLst>
              </p:cNvPr>
              <p:cNvSpPr>
                <a:spLocks/>
              </p:cNvSpPr>
              <p:nvPr/>
            </p:nvSpPr>
            <p:spPr bwMode="auto">
              <a:xfrm>
                <a:off x="5512135" y="3607288"/>
                <a:ext cx="439910" cy="43335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24" name="Freeform 770">
                <a:extLst>
                  <a:ext uri="{FF2B5EF4-FFF2-40B4-BE49-F238E27FC236}">
                    <a16:creationId xmlns:a16="http://schemas.microsoft.com/office/drawing/2014/main" id="{F5531549-CF67-8A43-890F-DAA561381B8A}"/>
                  </a:ext>
                </a:extLst>
              </p:cNvPr>
              <p:cNvSpPr>
                <a:spLocks/>
              </p:cNvSpPr>
              <p:nvPr/>
            </p:nvSpPr>
            <p:spPr bwMode="auto">
              <a:xfrm>
                <a:off x="6454545" y="3406696"/>
                <a:ext cx="289696" cy="298994"/>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25" name="Freeform 771">
                <a:extLst>
                  <a:ext uri="{FF2B5EF4-FFF2-40B4-BE49-F238E27FC236}">
                    <a16:creationId xmlns:a16="http://schemas.microsoft.com/office/drawing/2014/main" id="{9FE6C092-9351-E7FF-C88C-18DD2DECEBBE}"/>
                  </a:ext>
                </a:extLst>
              </p:cNvPr>
              <p:cNvSpPr>
                <a:spLocks/>
              </p:cNvSpPr>
              <p:nvPr/>
            </p:nvSpPr>
            <p:spPr bwMode="auto">
              <a:xfrm>
                <a:off x="6025363" y="3234493"/>
                <a:ext cx="105509" cy="215730"/>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26" name="Freeform 772">
                <a:extLst>
                  <a:ext uri="{FF2B5EF4-FFF2-40B4-BE49-F238E27FC236}">
                    <a16:creationId xmlns:a16="http://schemas.microsoft.com/office/drawing/2014/main" id="{A8707969-064D-4101-69E3-66B7FF6A197E}"/>
                  </a:ext>
                </a:extLst>
              </p:cNvPr>
              <p:cNvSpPr>
                <a:spLocks/>
              </p:cNvSpPr>
              <p:nvPr/>
            </p:nvSpPr>
            <p:spPr bwMode="auto">
              <a:xfrm>
                <a:off x="6071860" y="3361280"/>
                <a:ext cx="398782" cy="406860"/>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27" name="Freeform 773">
                <a:extLst>
                  <a:ext uri="{FF2B5EF4-FFF2-40B4-BE49-F238E27FC236}">
                    <a16:creationId xmlns:a16="http://schemas.microsoft.com/office/drawing/2014/main" id="{2EFF3E08-87BE-6536-FADC-6A917EF931AB}"/>
                  </a:ext>
                </a:extLst>
              </p:cNvPr>
              <p:cNvSpPr>
                <a:spLocks/>
              </p:cNvSpPr>
              <p:nvPr/>
            </p:nvSpPr>
            <p:spPr bwMode="auto">
              <a:xfrm>
                <a:off x="5385169" y="3533487"/>
                <a:ext cx="219956" cy="189237"/>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28" name="Freeform 774">
                <a:extLst>
                  <a:ext uri="{FF2B5EF4-FFF2-40B4-BE49-F238E27FC236}">
                    <a16:creationId xmlns:a16="http://schemas.microsoft.com/office/drawing/2014/main" id="{8B477CFA-A717-93FD-058B-E12AA22B4BFD}"/>
                  </a:ext>
                </a:extLst>
              </p:cNvPr>
              <p:cNvSpPr>
                <a:spLocks/>
              </p:cNvSpPr>
              <p:nvPr/>
            </p:nvSpPr>
            <p:spPr bwMode="auto">
              <a:xfrm>
                <a:off x="5490676" y="3266662"/>
                <a:ext cx="314732" cy="266824"/>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529" name="Freeform 775">
                <a:extLst>
                  <a:ext uri="{FF2B5EF4-FFF2-40B4-BE49-F238E27FC236}">
                    <a16:creationId xmlns:a16="http://schemas.microsoft.com/office/drawing/2014/main" id="{6E751E71-02FF-5F2E-1ECE-DDA70302E014}"/>
                  </a:ext>
                </a:extLst>
              </p:cNvPr>
              <p:cNvSpPr>
                <a:spLocks/>
              </p:cNvSpPr>
              <p:nvPr/>
            </p:nvSpPr>
            <p:spPr bwMode="auto">
              <a:xfrm>
                <a:off x="5601549" y="3240170"/>
                <a:ext cx="543629" cy="548785"/>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grpSp>
        <p:grpSp>
          <p:nvGrpSpPr>
            <p:cNvPr id="15" name="Group 14">
              <a:extLst>
                <a:ext uri="{FF2B5EF4-FFF2-40B4-BE49-F238E27FC236}">
                  <a16:creationId xmlns:a16="http://schemas.microsoft.com/office/drawing/2014/main" id="{85425523-4F94-7A38-37C3-A06E1CAEB9EF}"/>
                </a:ext>
              </a:extLst>
            </p:cNvPr>
            <p:cNvGrpSpPr/>
            <p:nvPr/>
          </p:nvGrpSpPr>
          <p:grpSpPr>
            <a:xfrm>
              <a:off x="8725627" y="4402083"/>
              <a:ext cx="1718510" cy="1339795"/>
              <a:chOff x="8725627" y="4402083"/>
              <a:chExt cx="1718510" cy="1339795"/>
            </a:xfrm>
            <a:solidFill>
              <a:schemeClr val="accent2">
                <a:lumMod val="10000"/>
                <a:lumOff val="90000"/>
              </a:schemeClr>
            </a:solidFill>
          </p:grpSpPr>
          <p:sp>
            <p:nvSpPr>
              <p:cNvPr id="2466" name="Freeform 403">
                <a:extLst>
                  <a:ext uri="{FF2B5EF4-FFF2-40B4-BE49-F238E27FC236}">
                    <a16:creationId xmlns:a16="http://schemas.microsoft.com/office/drawing/2014/main" id="{6547207F-E172-A513-B182-5EB9F53ECEE6}"/>
                  </a:ext>
                </a:extLst>
              </p:cNvPr>
              <p:cNvSpPr>
                <a:spLocks/>
              </p:cNvSpPr>
              <p:nvPr/>
            </p:nvSpPr>
            <p:spPr bwMode="auto">
              <a:xfrm>
                <a:off x="8725627" y="4629165"/>
                <a:ext cx="1069375" cy="845885"/>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67" name="Freeform 472">
                <a:extLst>
                  <a:ext uri="{FF2B5EF4-FFF2-40B4-BE49-F238E27FC236}">
                    <a16:creationId xmlns:a16="http://schemas.microsoft.com/office/drawing/2014/main" id="{DFF20E48-7324-89AC-6ABB-B6E50C3DFFB2}"/>
                  </a:ext>
                </a:extLst>
              </p:cNvPr>
              <p:cNvSpPr>
                <a:spLocks/>
              </p:cNvSpPr>
              <p:nvPr/>
            </p:nvSpPr>
            <p:spPr bwMode="auto">
              <a:xfrm>
                <a:off x="9659096" y="4439930"/>
                <a:ext cx="109084" cy="66233"/>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solidFill>
                <a:schemeClr val="tx2"/>
              </a:solid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68" name="Freeform 473">
                <a:extLst>
                  <a:ext uri="{FF2B5EF4-FFF2-40B4-BE49-F238E27FC236}">
                    <a16:creationId xmlns:a16="http://schemas.microsoft.com/office/drawing/2014/main" id="{CA94122D-236D-1273-84B1-B9E581FC0567}"/>
                  </a:ext>
                </a:extLst>
              </p:cNvPr>
              <p:cNvSpPr>
                <a:spLocks/>
              </p:cNvSpPr>
              <p:nvPr/>
            </p:nvSpPr>
            <p:spPr bwMode="auto">
              <a:xfrm>
                <a:off x="9816463" y="4473991"/>
                <a:ext cx="46495" cy="60555"/>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solidFill>
                <a:schemeClr val="tx2"/>
              </a:solid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69" name="Freeform 474">
                <a:extLst>
                  <a:ext uri="{FF2B5EF4-FFF2-40B4-BE49-F238E27FC236}">
                    <a16:creationId xmlns:a16="http://schemas.microsoft.com/office/drawing/2014/main" id="{880C5971-7B11-A4D9-2E4F-F69543EB4628}"/>
                  </a:ext>
                </a:extLst>
              </p:cNvPr>
              <p:cNvSpPr>
                <a:spLocks/>
              </p:cNvSpPr>
              <p:nvPr/>
            </p:nvSpPr>
            <p:spPr bwMode="auto">
              <a:xfrm>
                <a:off x="9952369" y="4585643"/>
                <a:ext cx="30400" cy="32169"/>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70" name="Freeform 475">
                <a:extLst>
                  <a:ext uri="{FF2B5EF4-FFF2-40B4-BE49-F238E27FC236}">
                    <a16:creationId xmlns:a16="http://schemas.microsoft.com/office/drawing/2014/main" id="{BD69243B-A14B-17A6-D1B4-C10CBE89B1B7}"/>
                  </a:ext>
                </a:extLst>
              </p:cNvPr>
              <p:cNvSpPr>
                <a:spLocks/>
              </p:cNvSpPr>
              <p:nvPr/>
            </p:nvSpPr>
            <p:spPr bwMode="auto">
              <a:xfrm>
                <a:off x="9920181" y="4534548"/>
                <a:ext cx="48283" cy="34061"/>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71" name="Freeform 476">
                <a:extLst>
                  <a:ext uri="{FF2B5EF4-FFF2-40B4-BE49-F238E27FC236}">
                    <a16:creationId xmlns:a16="http://schemas.microsoft.com/office/drawing/2014/main" id="{5F80C3BD-C275-CA85-7698-E6002ED16534}"/>
                  </a:ext>
                </a:extLst>
              </p:cNvPr>
              <p:cNvSpPr>
                <a:spLocks/>
              </p:cNvSpPr>
              <p:nvPr/>
            </p:nvSpPr>
            <p:spPr bwMode="auto">
              <a:xfrm>
                <a:off x="9873686" y="4511839"/>
                <a:ext cx="21459" cy="28387"/>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72" name="Freeform 477">
                <a:extLst>
                  <a:ext uri="{FF2B5EF4-FFF2-40B4-BE49-F238E27FC236}">
                    <a16:creationId xmlns:a16="http://schemas.microsoft.com/office/drawing/2014/main" id="{9D571D69-E1F4-8464-9A07-E4E3CCC638EA}"/>
                  </a:ext>
                </a:extLst>
              </p:cNvPr>
              <p:cNvSpPr>
                <a:spLocks/>
              </p:cNvSpPr>
              <p:nvPr/>
            </p:nvSpPr>
            <p:spPr bwMode="auto">
              <a:xfrm>
                <a:off x="10066816" y="4901666"/>
                <a:ext cx="84047" cy="66233"/>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73" name="Freeform 478">
                <a:extLst>
                  <a:ext uri="{FF2B5EF4-FFF2-40B4-BE49-F238E27FC236}">
                    <a16:creationId xmlns:a16="http://schemas.microsoft.com/office/drawing/2014/main" id="{9CBFB57C-069F-1294-7D05-E6ED825AFE07}"/>
                  </a:ext>
                </a:extLst>
              </p:cNvPr>
              <p:cNvSpPr>
                <a:spLocks/>
              </p:cNvSpPr>
              <p:nvPr/>
            </p:nvSpPr>
            <p:spPr bwMode="auto">
              <a:xfrm>
                <a:off x="10292136" y="5323663"/>
                <a:ext cx="59013" cy="77587"/>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74" name="Freeform 479">
                <a:extLst>
                  <a:ext uri="{FF2B5EF4-FFF2-40B4-BE49-F238E27FC236}">
                    <a16:creationId xmlns:a16="http://schemas.microsoft.com/office/drawing/2014/main" id="{F08527DD-4B58-01AB-8FD8-3AA29AAFECD6}"/>
                  </a:ext>
                </a:extLst>
              </p:cNvPr>
              <p:cNvSpPr>
                <a:spLocks/>
              </p:cNvSpPr>
              <p:nvPr/>
            </p:nvSpPr>
            <p:spPr bwMode="auto">
              <a:xfrm>
                <a:off x="10308231" y="5395573"/>
                <a:ext cx="135906" cy="168421"/>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75" name="Freeform 480">
                <a:extLst>
                  <a:ext uri="{FF2B5EF4-FFF2-40B4-BE49-F238E27FC236}">
                    <a16:creationId xmlns:a16="http://schemas.microsoft.com/office/drawing/2014/main" id="{DC01C5A3-13BF-0809-0B74-65CF726370DC}"/>
                  </a:ext>
                </a:extLst>
              </p:cNvPr>
              <p:cNvSpPr>
                <a:spLocks/>
              </p:cNvSpPr>
              <p:nvPr/>
            </p:nvSpPr>
            <p:spPr bwMode="auto">
              <a:xfrm>
                <a:off x="10129407" y="5518577"/>
                <a:ext cx="205650" cy="211945"/>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76" name="Freeform 481">
                <a:extLst>
                  <a:ext uri="{FF2B5EF4-FFF2-40B4-BE49-F238E27FC236}">
                    <a16:creationId xmlns:a16="http://schemas.microsoft.com/office/drawing/2014/main" id="{D5851BD3-A193-9626-3A52-93738C535500}"/>
                  </a:ext>
                </a:extLst>
              </p:cNvPr>
              <p:cNvSpPr>
                <a:spLocks/>
              </p:cNvSpPr>
              <p:nvPr/>
            </p:nvSpPr>
            <p:spPr bwMode="auto">
              <a:xfrm>
                <a:off x="10161594" y="5730523"/>
                <a:ext cx="10730" cy="11355"/>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77" name="Freeform 482">
                <a:extLst>
                  <a:ext uri="{FF2B5EF4-FFF2-40B4-BE49-F238E27FC236}">
                    <a16:creationId xmlns:a16="http://schemas.microsoft.com/office/drawing/2014/main" id="{958A1855-C2D2-07E0-74D7-035A0AAC648C}"/>
                  </a:ext>
                </a:extLst>
              </p:cNvPr>
              <p:cNvSpPr>
                <a:spLocks/>
              </p:cNvSpPr>
              <p:nvPr/>
            </p:nvSpPr>
            <p:spPr bwMode="auto">
              <a:xfrm>
                <a:off x="9558954" y="5524255"/>
                <a:ext cx="100143" cy="100296"/>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78" name="Freeform 483">
                <a:extLst>
                  <a:ext uri="{FF2B5EF4-FFF2-40B4-BE49-F238E27FC236}">
                    <a16:creationId xmlns:a16="http://schemas.microsoft.com/office/drawing/2014/main" id="{EB02F389-3B2A-086A-C585-07EA7AA39B0A}"/>
                  </a:ext>
                </a:extLst>
              </p:cNvPr>
              <p:cNvSpPr>
                <a:spLocks/>
              </p:cNvSpPr>
              <p:nvPr/>
            </p:nvSpPr>
            <p:spPr bwMode="auto">
              <a:xfrm>
                <a:off x="9637637" y="5495869"/>
                <a:ext cx="16094" cy="28387"/>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79" name="Freeform 484">
                <a:extLst>
                  <a:ext uri="{FF2B5EF4-FFF2-40B4-BE49-F238E27FC236}">
                    <a16:creationId xmlns:a16="http://schemas.microsoft.com/office/drawing/2014/main" id="{12CB52C3-633A-89EE-8370-BBE75E263276}"/>
                  </a:ext>
                </a:extLst>
              </p:cNvPr>
              <p:cNvSpPr>
                <a:spLocks/>
              </p:cNvSpPr>
              <p:nvPr/>
            </p:nvSpPr>
            <p:spPr bwMode="auto">
              <a:xfrm>
                <a:off x="9532130" y="5495869"/>
                <a:ext cx="10730" cy="11355"/>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80" name="Freeform 612">
                <a:extLst>
                  <a:ext uri="{FF2B5EF4-FFF2-40B4-BE49-F238E27FC236}">
                    <a16:creationId xmlns:a16="http://schemas.microsoft.com/office/drawing/2014/main" id="{AB7A5445-748D-916F-A09A-F55200DDBFBE}"/>
                  </a:ext>
                </a:extLst>
              </p:cNvPr>
              <p:cNvSpPr>
                <a:spLocks/>
              </p:cNvSpPr>
              <p:nvPr/>
            </p:nvSpPr>
            <p:spPr bwMode="auto">
              <a:xfrm>
                <a:off x="9344362" y="5357725"/>
                <a:ext cx="35765" cy="28387"/>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81" name="Freeform 708">
                <a:extLst>
                  <a:ext uri="{FF2B5EF4-FFF2-40B4-BE49-F238E27FC236}">
                    <a16:creationId xmlns:a16="http://schemas.microsoft.com/office/drawing/2014/main" id="{1067DFAC-C8BA-712B-8FA4-C97AD1F046CB}"/>
                  </a:ext>
                </a:extLst>
              </p:cNvPr>
              <p:cNvSpPr>
                <a:spLocks/>
              </p:cNvSpPr>
              <p:nvPr/>
            </p:nvSpPr>
            <p:spPr bwMode="auto">
              <a:xfrm>
                <a:off x="9458810" y="4402083"/>
                <a:ext cx="268238" cy="227083"/>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solidFill>
                <a:schemeClr val="tx2">
                  <a:lumMod val="90000"/>
                </a:schemeClr>
              </a:solidFill>
              <a:ln w="3175" cap="flat">
                <a:solidFill>
                  <a:schemeClr val="tx2">
                    <a:lumMod val="9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grpSp>
        <p:grpSp>
          <p:nvGrpSpPr>
            <p:cNvPr id="16" name="Group 15">
              <a:extLst>
                <a:ext uri="{FF2B5EF4-FFF2-40B4-BE49-F238E27FC236}">
                  <a16:creationId xmlns:a16="http://schemas.microsoft.com/office/drawing/2014/main" id="{22E3A476-A143-8525-8C60-4AC09014ED82}"/>
                </a:ext>
              </a:extLst>
            </p:cNvPr>
            <p:cNvGrpSpPr/>
            <p:nvPr/>
          </p:nvGrpSpPr>
          <p:grpSpPr>
            <a:xfrm>
              <a:off x="3650564" y="3972515"/>
              <a:ext cx="1278601" cy="2085385"/>
              <a:chOff x="3650564" y="3972515"/>
              <a:chExt cx="1278601" cy="2085385"/>
            </a:xfrm>
            <a:solidFill>
              <a:schemeClr val="tx2">
                <a:lumMod val="90000"/>
              </a:schemeClr>
            </a:solidFill>
          </p:grpSpPr>
          <p:sp>
            <p:nvSpPr>
              <p:cNvPr id="2436" name="Freeform 512">
                <a:extLst>
                  <a:ext uri="{FF2B5EF4-FFF2-40B4-BE49-F238E27FC236}">
                    <a16:creationId xmlns:a16="http://schemas.microsoft.com/office/drawing/2014/main" id="{5ED744B8-A457-9ACE-7E57-7BBB3DE37F69}"/>
                  </a:ext>
                </a:extLst>
              </p:cNvPr>
              <p:cNvSpPr>
                <a:spLocks/>
              </p:cNvSpPr>
              <p:nvPr/>
            </p:nvSpPr>
            <p:spPr bwMode="auto">
              <a:xfrm>
                <a:off x="3897342" y="5929221"/>
                <a:ext cx="62589" cy="34061"/>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37" name="Freeform 513">
                <a:extLst>
                  <a:ext uri="{FF2B5EF4-FFF2-40B4-BE49-F238E27FC236}">
                    <a16:creationId xmlns:a16="http://schemas.microsoft.com/office/drawing/2014/main" id="{3275904B-C18C-98A5-705F-EACD3A8A1DE1}"/>
                  </a:ext>
                </a:extLst>
              </p:cNvPr>
              <p:cNvSpPr>
                <a:spLocks/>
              </p:cNvSpPr>
              <p:nvPr/>
            </p:nvSpPr>
            <p:spPr bwMode="auto">
              <a:xfrm>
                <a:off x="3891977" y="5963282"/>
                <a:ext cx="46495" cy="34061"/>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38" name="Freeform 514">
                <a:extLst>
                  <a:ext uri="{FF2B5EF4-FFF2-40B4-BE49-F238E27FC236}">
                    <a16:creationId xmlns:a16="http://schemas.microsoft.com/office/drawing/2014/main" id="{2D13D2B3-BC67-DCBC-6D30-ACBA9C44F39B}"/>
                  </a:ext>
                </a:extLst>
              </p:cNvPr>
              <p:cNvSpPr>
                <a:spLocks/>
              </p:cNvSpPr>
              <p:nvPr/>
            </p:nvSpPr>
            <p:spPr bwMode="auto">
              <a:xfrm>
                <a:off x="3886614" y="5919759"/>
                <a:ext cx="41130" cy="26493"/>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39" name="Freeform 515">
                <a:extLst>
                  <a:ext uri="{FF2B5EF4-FFF2-40B4-BE49-F238E27FC236}">
                    <a16:creationId xmlns:a16="http://schemas.microsoft.com/office/drawing/2014/main" id="{9593AEAE-1A4A-D37C-67F2-9C092B9A3987}"/>
                  </a:ext>
                </a:extLst>
              </p:cNvPr>
              <p:cNvSpPr>
                <a:spLocks/>
              </p:cNvSpPr>
              <p:nvPr/>
            </p:nvSpPr>
            <p:spPr bwMode="auto">
              <a:xfrm>
                <a:off x="3865154" y="5940575"/>
                <a:ext cx="42917" cy="28387"/>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40" name="Freeform 516">
                <a:extLst>
                  <a:ext uri="{FF2B5EF4-FFF2-40B4-BE49-F238E27FC236}">
                    <a16:creationId xmlns:a16="http://schemas.microsoft.com/office/drawing/2014/main" id="{C653E149-681F-37A0-197D-9E5FA47632EC}"/>
                  </a:ext>
                </a:extLst>
              </p:cNvPr>
              <p:cNvSpPr>
                <a:spLocks/>
              </p:cNvSpPr>
              <p:nvPr/>
            </p:nvSpPr>
            <p:spPr bwMode="auto">
              <a:xfrm>
                <a:off x="3854424" y="5902726"/>
                <a:ext cx="16094" cy="17031"/>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41" name="Freeform 517">
                <a:extLst>
                  <a:ext uri="{FF2B5EF4-FFF2-40B4-BE49-F238E27FC236}">
                    <a16:creationId xmlns:a16="http://schemas.microsoft.com/office/drawing/2014/main" id="{1D44FF2D-1E98-8F56-2027-970486DAD2B9}"/>
                  </a:ext>
                </a:extLst>
              </p:cNvPr>
              <p:cNvSpPr>
                <a:spLocks/>
              </p:cNvSpPr>
              <p:nvPr/>
            </p:nvSpPr>
            <p:spPr bwMode="auto">
              <a:xfrm>
                <a:off x="3854424" y="5857310"/>
                <a:ext cx="37553" cy="39739"/>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42" name="Freeform 518">
                <a:extLst>
                  <a:ext uri="{FF2B5EF4-FFF2-40B4-BE49-F238E27FC236}">
                    <a16:creationId xmlns:a16="http://schemas.microsoft.com/office/drawing/2014/main" id="{17929504-2136-2C90-55DD-42DF3C245D5F}"/>
                  </a:ext>
                </a:extLst>
              </p:cNvPr>
              <p:cNvSpPr>
                <a:spLocks/>
              </p:cNvSpPr>
              <p:nvPr/>
            </p:nvSpPr>
            <p:spPr bwMode="auto">
              <a:xfrm>
                <a:off x="3849059" y="5785401"/>
                <a:ext cx="26823" cy="60555"/>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43" name="Freeform 519">
                <a:extLst>
                  <a:ext uri="{FF2B5EF4-FFF2-40B4-BE49-F238E27FC236}">
                    <a16:creationId xmlns:a16="http://schemas.microsoft.com/office/drawing/2014/main" id="{ECFEA1BB-F315-ED42-E2FF-90AF12C58BE8}"/>
                  </a:ext>
                </a:extLst>
              </p:cNvPr>
              <p:cNvSpPr>
                <a:spLocks/>
              </p:cNvSpPr>
              <p:nvPr/>
            </p:nvSpPr>
            <p:spPr bwMode="auto">
              <a:xfrm>
                <a:off x="3843695" y="5834601"/>
                <a:ext cx="16094" cy="34061"/>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44" name="Freeform 520">
                <a:extLst>
                  <a:ext uri="{FF2B5EF4-FFF2-40B4-BE49-F238E27FC236}">
                    <a16:creationId xmlns:a16="http://schemas.microsoft.com/office/drawing/2014/main" id="{B6792F62-EAF2-C629-4705-9F78E051504C}"/>
                  </a:ext>
                </a:extLst>
              </p:cNvPr>
              <p:cNvSpPr>
                <a:spLocks/>
              </p:cNvSpPr>
              <p:nvPr/>
            </p:nvSpPr>
            <p:spPr bwMode="auto">
              <a:xfrm>
                <a:off x="3843695" y="5762692"/>
                <a:ext cx="26823" cy="39739"/>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45" name="Freeform 521">
                <a:extLst>
                  <a:ext uri="{FF2B5EF4-FFF2-40B4-BE49-F238E27FC236}">
                    <a16:creationId xmlns:a16="http://schemas.microsoft.com/office/drawing/2014/main" id="{91D4D88F-CDE7-AC9E-727D-FBDB265B4C3E}"/>
                  </a:ext>
                </a:extLst>
              </p:cNvPr>
              <p:cNvSpPr>
                <a:spLocks/>
              </p:cNvSpPr>
              <p:nvPr/>
            </p:nvSpPr>
            <p:spPr bwMode="auto">
              <a:xfrm>
                <a:off x="3870520" y="5652934"/>
                <a:ext cx="26823" cy="26493"/>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46" name="Freeform 522">
                <a:extLst>
                  <a:ext uri="{FF2B5EF4-FFF2-40B4-BE49-F238E27FC236}">
                    <a16:creationId xmlns:a16="http://schemas.microsoft.com/office/drawing/2014/main" id="{40A8151B-C8A6-3404-DC22-91F45CD66C00}"/>
                  </a:ext>
                </a:extLst>
              </p:cNvPr>
              <p:cNvSpPr>
                <a:spLocks/>
              </p:cNvSpPr>
              <p:nvPr/>
            </p:nvSpPr>
            <p:spPr bwMode="auto">
              <a:xfrm>
                <a:off x="3875884" y="5552640"/>
                <a:ext cx="32188" cy="60555"/>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47" name="Freeform 523">
                <a:extLst>
                  <a:ext uri="{FF2B5EF4-FFF2-40B4-BE49-F238E27FC236}">
                    <a16:creationId xmlns:a16="http://schemas.microsoft.com/office/drawing/2014/main" id="{7B6DDE85-928E-4AFE-BE2B-00825C04231F}"/>
                  </a:ext>
                </a:extLst>
              </p:cNvPr>
              <p:cNvSpPr>
                <a:spLocks/>
              </p:cNvSpPr>
              <p:nvPr/>
            </p:nvSpPr>
            <p:spPr bwMode="auto">
              <a:xfrm>
                <a:off x="3981390" y="3978192"/>
                <a:ext cx="25036" cy="22709"/>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48" name="Freeform 524">
                <a:extLst>
                  <a:ext uri="{FF2B5EF4-FFF2-40B4-BE49-F238E27FC236}">
                    <a16:creationId xmlns:a16="http://schemas.microsoft.com/office/drawing/2014/main" id="{B907644C-2569-AD1B-8429-6ACF0711E920}"/>
                  </a:ext>
                </a:extLst>
              </p:cNvPr>
              <p:cNvSpPr>
                <a:spLocks/>
              </p:cNvSpPr>
              <p:nvPr/>
            </p:nvSpPr>
            <p:spPr bwMode="auto">
              <a:xfrm>
                <a:off x="4206710" y="4012255"/>
                <a:ext cx="30400" cy="43525"/>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49" name="Freeform 525">
                <a:extLst>
                  <a:ext uri="{FF2B5EF4-FFF2-40B4-BE49-F238E27FC236}">
                    <a16:creationId xmlns:a16="http://schemas.microsoft.com/office/drawing/2014/main" id="{56907E18-3F6E-0DE4-282E-20EC8EFD027E}"/>
                  </a:ext>
                </a:extLst>
              </p:cNvPr>
              <p:cNvSpPr>
                <a:spLocks/>
              </p:cNvSpPr>
              <p:nvPr/>
            </p:nvSpPr>
            <p:spPr bwMode="auto">
              <a:xfrm>
                <a:off x="4494620" y="4313141"/>
                <a:ext cx="73319" cy="71909"/>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50" name="Freeform 614">
                <a:extLst>
                  <a:ext uri="{FF2B5EF4-FFF2-40B4-BE49-F238E27FC236}">
                    <a16:creationId xmlns:a16="http://schemas.microsoft.com/office/drawing/2014/main" id="{E4084E57-1729-C0AA-CDFA-F6576CCD8DB1}"/>
                  </a:ext>
                </a:extLst>
              </p:cNvPr>
              <p:cNvSpPr>
                <a:spLocks/>
              </p:cNvSpPr>
              <p:nvPr/>
            </p:nvSpPr>
            <p:spPr bwMode="auto">
              <a:xfrm>
                <a:off x="4457066" y="5191198"/>
                <a:ext cx="53647" cy="49203"/>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51" name="Freeform 616">
                <a:extLst>
                  <a:ext uri="{FF2B5EF4-FFF2-40B4-BE49-F238E27FC236}">
                    <a16:creationId xmlns:a16="http://schemas.microsoft.com/office/drawing/2014/main" id="{8092D250-FEA4-4A4E-6FDC-1F7953D23E80}"/>
                  </a:ext>
                </a:extLst>
              </p:cNvPr>
              <p:cNvSpPr>
                <a:spLocks/>
              </p:cNvSpPr>
              <p:nvPr/>
            </p:nvSpPr>
            <p:spPr bwMode="auto">
              <a:xfrm>
                <a:off x="4022519" y="5940572"/>
                <a:ext cx="94778" cy="8894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52" name="Freeform 617">
                <a:extLst>
                  <a:ext uri="{FF2B5EF4-FFF2-40B4-BE49-F238E27FC236}">
                    <a16:creationId xmlns:a16="http://schemas.microsoft.com/office/drawing/2014/main" id="{CF95A3AB-F3AE-719D-19F3-83D06667D9F1}"/>
                  </a:ext>
                </a:extLst>
              </p:cNvPr>
              <p:cNvSpPr>
                <a:spLocks/>
              </p:cNvSpPr>
              <p:nvPr/>
            </p:nvSpPr>
            <p:spPr bwMode="auto">
              <a:xfrm>
                <a:off x="3922379" y="5929221"/>
                <a:ext cx="157367" cy="128679"/>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53" name="Freeform 618">
                <a:extLst>
                  <a:ext uri="{FF2B5EF4-FFF2-40B4-BE49-F238E27FC236}">
                    <a16:creationId xmlns:a16="http://schemas.microsoft.com/office/drawing/2014/main" id="{E8C94FBC-E761-C15E-2F93-51927E552C2E}"/>
                  </a:ext>
                </a:extLst>
              </p:cNvPr>
              <p:cNvSpPr>
                <a:spLocks/>
              </p:cNvSpPr>
              <p:nvPr/>
            </p:nvSpPr>
            <p:spPr bwMode="auto">
              <a:xfrm>
                <a:off x="3897342" y="4000900"/>
                <a:ext cx="398782" cy="306562"/>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54" name="Freeform 619">
                <a:extLst>
                  <a:ext uri="{FF2B5EF4-FFF2-40B4-BE49-F238E27FC236}">
                    <a16:creationId xmlns:a16="http://schemas.microsoft.com/office/drawing/2014/main" id="{AF479FB1-302E-E2F6-F03B-6812FBFEEA59}"/>
                  </a:ext>
                </a:extLst>
              </p:cNvPr>
              <p:cNvSpPr>
                <a:spLocks/>
              </p:cNvSpPr>
              <p:nvPr/>
            </p:nvSpPr>
            <p:spPr bwMode="auto">
              <a:xfrm>
                <a:off x="4217440" y="4084164"/>
                <a:ext cx="135906" cy="211945"/>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55" name="Freeform 620">
                <a:extLst>
                  <a:ext uri="{FF2B5EF4-FFF2-40B4-BE49-F238E27FC236}">
                    <a16:creationId xmlns:a16="http://schemas.microsoft.com/office/drawing/2014/main" id="{21C21D62-2121-3C6F-2758-6A29C237EDBC}"/>
                  </a:ext>
                </a:extLst>
              </p:cNvPr>
              <p:cNvSpPr>
                <a:spLocks/>
              </p:cNvSpPr>
              <p:nvPr/>
            </p:nvSpPr>
            <p:spPr bwMode="auto">
              <a:xfrm>
                <a:off x="4305064" y="4150397"/>
                <a:ext cx="116236" cy="128679"/>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56" name="Freeform 621">
                <a:extLst>
                  <a:ext uri="{FF2B5EF4-FFF2-40B4-BE49-F238E27FC236}">
                    <a16:creationId xmlns:a16="http://schemas.microsoft.com/office/drawing/2014/main" id="{148DD8CB-A08F-7836-BB4C-375EF8E9F9BD}"/>
                  </a:ext>
                </a:extLst>
              </p:cNvPr>
              <p:cNvSpPr>
                <a:spLocks/>
              </p:cNvSpPr>
              <p:nvPr/>
            </p:nvSpPr>
            <p:spPr bwMode="auto">
              <a:xfrm>
                <a:off x="4399842" y="4161753"/>
                <a:ext cx="84048" cy="10029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57" name="Freeform 622">
                <a:extLst>
                  <a:ext uri="{FF2B5EF4-FFF2-40B4-BE49-F238E27FC236}">
                    <a16:creationId xmlns:a16="http://schemas.microsoft.com/office/drawing/2014/main" id="{CF8C5901-C700-C908-31AB-D1218EDA4846}"/>
                  </a:ext>
                </a:extLst>
              </p:cNvPr>
              <p:cNvSpPr>
                <a:spLocks/>
              </p:cNvSpPr>
              <p:nvPr/>
            </p:nvSpPr>
            <p:spPr bwMode="auto">
              <a:xfrm>
                <a:off x="3650564" y="3972515"/>
                <a:ext cx="423817" cy="467415"/>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58" name="Freeform 623">
                <a:extLst>
                  <a:ext uri="{FF2B5EF4-FFF2-40B4-BE49-F238E27FC236}">
                    <a16:creationId xmlns:a16="http://schemas.microsoft.com/office/drawing/2014/main" id="{BED1DEFA-94F8-E050-5A72-AD312996C5C0}"/>
                  </a:ext>
                </a:extLst>
              </p:cNvPr>
              <p:cNvSpPr>
                <a:spLocks/>
              </p:cNvSpPr>
              <p:nvPr/>
            </p:nvSpPr>
            <p:spPr bwMode="auto">
              <a:xfrm>
                <a:off x="3707787" y="4284754"/>
                <a:ext cx="146636" cy="183561"/>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59" name="Freeform 624">
                <a:extLst>
                  <a:ext uri="{FF2B5EF4-FFF2-40B4-BE49-F238E27FC236}">
                    <a16:creationId xmlns:a16="http://schemas.microsoft.com/office/drawing/2014/main" id="{648C9A73-53BD-EAAE-EA79-98F5B93A4577}"/>
                  </a:ext>
                </a:extLst>
              </p:cNvPr>
              <p:cNvSpPr>
                <a:spLocks/>
              </p:cNvSpPr>
              <p:nvPr/>
            </p:nvSpPr>
            <p:spPr bwMode="auto">
              <a:xfrm>
                <a:off x="3691693" y="4318817"/>
                <a:ext cx="336192" cy="527971"/>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60" name="Freeform 625">
                <a:extLst>
                  <a:ext uri="{FF2B5EF4-FFF2-40B4-BE49-F238E27FC236}">
                    <a16:creationId xmlns:a16="http://schemas.microsoft.com/office/drawing/2014/main" id="{64B34734-C022-4007-EA30-FA7E2F6FA0E0}"/>
                  </a:ext>
                </a:extLst>
              </p:cNvPr>
              <p:cNvSpPr>
                <a:spLocks/>
              </p:cNvSpPr>
              <p:nvPr/>
            </p:nvSpPr>
            <p:spPr bwMode="auto">
              <a:xfrm>
                <a:off x="3840119" y="4812725"/>
                <a:ext cx="228896" cy="1178944"/>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61" name="Freeform 626">
                <a:extLst>
                  <a:ext uri="{FF2B5EF4-FFF2-40B4-BE49-F238E27FC236}">
                    <a16:creationId xmlns:a16="http://schemas.microsoft.com/office/drawing/2014/main" id="{B274A1B0-EB28-654B-D422-8FEF83D86E93}"/>
                  </a:ext>
                </a:extLst>
              </p:cNvPr>
              <p:cNvSpPr>
                <a:spLocks/>
              </p:cNvSpPr>
              <p:nvPr/>
            </p:nvSpPr>
            <p:spPr bwMode="auto">
              <a:xfrm>
                <a:off x="3995696" y="4585640"/>
                <a:ext cx="336192" cy="387935"/>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62" name="Freeform 627">
                <a:extLst>
                  <a:ext uri="{FF2B5EF4-FFF2-40B4-BE49-F238E27FC236}">
                    <a16:creationId xmlns:a16="http://schemas.microsoft.com/office/drawing/2014/main" id="{4E0231E4-93E6-25E5-02CA-E080EB9FBEB6}"/>
                  </a:ext>
                </a:extLst>
              </p:cNvPr>
              <p:cNvSpPr>
                <a:spLocks/>
              </p:cNvSpPr>
              <p:nvPr/>
            </p:nvSpPr>
            <p:spPr bwMode="auto">
              <a:xfrm>
                <a:off x="4185252" y="4861926"/>
                <a:ext cx="236050" cy="246007"/>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63" name="Freeform 628">
                <a:extLst>
                  <a:ext uri="{FF2B5EF4-FFF2-40B4-BE49-F238E27FC236}">
                    <a16:creationId xmlns:a16="http://schemas.microsoft.com/office/drawing/2014/main" id="{0C16E25F-DDBF-008F-906D-326F5DE18597}"/>
                  </a:ext>
                </a:extLst>
              </p:cNvPr>
              <p:cNvSpPr>
                <a:spLocks noEditPoints="1"/>
              </p:cNvSpPr>
              <p:nvPr/>
            </p:nvSpPr>
            <p:spPr bwMode="auto">
              <a:xfrm>
                <a:off x="3886614" y="4178782"/>
                <a:ext cx="1042551" cy="1118388"/>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64" name="Freeform 629">
                <a:extLst>
                  <a:ext uri="{FF2B5EF4-FFF2-40B4-BE49-F238E27FC236}">
                    <a16:creationId xmlns:a16="http://schemas.microsoft.com/office/drawing/2014/main" id="{9FE7C4D7-5F47-6168-24FE-50A2E0FDC057}"/>
                  </a:ext>
                </a:extLst>
              </p:cNvPr>
              <p:cNvSpPr>
                <a:spLocks/>
              </p:cNvSpPr>
              <p:nvPr/>
            </p:nvSpPr>
            <p:spPr bwMode="auto">
              <a:xfrm>
                <a:off x="4290758" y="5179843"/>
                <a:ext cx="141272" cy="155174"/>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65" name="Freeform 630">
                <a:extLst>
                  <a:ext uri="{FF2B5EF4-FFF2-40B4-BE49-F238E27FC236}">
                    <a16:creationId xmlns:a16="http://schemas.microsoft.com/office/drawing/2014/main" id="{678F51C3-DFF8-0663-58E3-76F9FF131B52}"/>
                  </a:ext>
                </a:extLst>
              </p:cNvPr>
              <p:cNvSpPr>
                <a:spLocks/>
              </p:cNvSpPr>
              <p:nvPr/>
            </p:nvSpPr>
            <p:spPr bwMode="auto">
              <a:xfrm>
                <a:off x="3886614" y="4935728"/>
                <a:ext cx="540052" cy="993491"/>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grpSp>
        <p:grpSp>
          <p:nvGrpSpPr>
            <p:cNvPr id="17" name="Group 16">
              <a:extLst>
                <a:ext uri="{FF2B5EF4-FFF2-40B4-BE49-F238E27FC236}">
                  <a16:creationId xmlns:a16="http://schemas.microsoft.com/office/drawing/2014/main" id="{397B852C-A604-19D6-ADD2-2978833692DB}"/>
                </a:ext>
              </a:extLst>
            </p:cNvPr>
            <p:cNvGrpSpPr/>
            <p:nvPr/>
          </p:nvGrpSpPr>
          <p:grpSpPr>
            <a:xfrm>
              <a:off x="1417035" y="1160463"/>
              <a:ext cx="4100465" cy="2935054"/>
              <a:chOff x="1417035" y="1160463"/>
              <a:chExt cx="4100465" cy="2935054"/>
            </a:xfrm>
            <a:solidFill>
              <a:schemeClr val="tx2">
                <a:lumMod val="90000"/>
              </a:schemeClr>
            </a:solidFill>
          </p:grpSpPr>
          <p:sp>
            <p:nvSpPr>
              <p:cNvPr id="51" name="Freeform 534">
                <a:extLst>
                  <a:ext uri="{FF2B5EF4-FFF2-40B4-BE49-F238E27FC236}">
                    <a16:creationId xmlns:a16="http://schemas.microsoft.com/office/drawing/2014/main" id="{E42BD990-924E-C16D-FDBC-E64DE34A4661}"/>
                  </a:ext>
                </a:extLst>
              </p:cNvPr>
              <p:cNvSpPr>
                <a:spLocks/>
              </p:cNvSpPr>
              <p:nvPr/>
            </p:nvSpPr>
            <p:spPr bwMode="auto">
              <a:xfrm>
                <a:off x="4144123" y="2801142"/>
                <a:ext cx="82259" cy="43525"/>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52" name="Freeform 537">
                <a:extLst>
                  <a:ext uri="{FF2B5EF4-FFF2-40B4-BE49-F238E27FC236}">
                    <a16:creationId xmlns:a16="http://schemas.microsoft.com/office/drawing/2014/main" id="{09AB2122-6621-B2F5-5B0D-5C279481FD12}"/>
                  </a:ext>
                </a:extLst>
              </p:cNvPr>
              <p:cNvSpPr>
                <a:spLocks/>
              </p:cNvSpPr>
              <p:nvPr/>
            </p:nvSpPr>
            <p:spPr bwMode="auto">
              <a:xfrm>
                <a:off x="4117299" y="2333728"/>
                <a:ext cx="16094" cy="32169"/>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55" name="Freeform 538">
                <a:extLst>
                  <a:ext uri="{FF2B5EF4-FFF2-40B4-BE49-F238E27FC236}">
                    <a16:creationId xmlns:a16="http://schemas.microsoft.com/office/drawing/2014/main" id="{4F5A3307-8A29-E2AF-5BC1-39497255B992}"/>
                  </a:ext>
                </a:extLst>
              </p:cNvPr>
              <p:cNvSpPr>
                <a:spLocks/>
              </p:cNvSpPr>
              <p:nvPr/>
            </p:nvSpPr>
            <p:spPr bwMode="auto">
              <a:xfrm>
                <a:off x="4038616" y="2388608"/>
                <a:ext cx="16094" cy="17031"/>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56" name="Freeform 539">
                <a:extLst>
                  <a:ext uri="{FF2B5EF4-FFF2-40B4-BE49-F238E27FC236}">
                    <a16:creationId xmlns:a16="http://schemas.microsoft.com/office/drawing/2014/main" id="{BD36898F-1014-95B0-C441-4D2DC22D40BD}"/>
                  </a:ext>
                </a:extLst>
              </p:cNvPr>
              <p:cNvSpPr>
                <a:spLocks/>
              </p:cNvSpPr>
              <p:nvPr/>
            </p:nvSpPr>
            <p:spPr bwMode="auto">
              <a:xfrm>
                <a:off x="3677388" y="2683817"/>
                <a:ext cx="35765" cy="22709"/>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57" name="Freeform 540">
                <a:extLst>
                  <a:ext uri="{FF2B5EF4-FFF2-40B4-BE49-F238E27FC236}">
                    <a16:creationId xmlns:a16="http://schemas.microsoft.com/office/drawing/2014/main" id="{FCA8BCF1-F9CF-114C-94CD-0D6893D67F5D}"/>
                  </a:ext>
                </a:extLst>
              </p:cNvPr>
              <p:cNvSpPr>
                <a:spLocks/>
              </p:cNvSpPr>
              <p:nvPr/>
            </p:nvSpPr>
            <p:spPr bwMode="auto">
              <a:xfrm>
                <a:off x="3734611" y="2549459"/>
                <a:ext cx="32188" cy="34061"/>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58" name="Freeform 541">
                <a:extLst>
                  <a:ext uri="{FF2B5EF4-FFF2-40B4-BE49-F238E27FC236}">
                    <a16:creationId xmlns:a16="http://schemas.microsoft.com/office/drawing/2014/main" id="{7099F6D0-0F32-064F-62EA-565EE6323AC8}"/>
                  </a:ext>
                </a:extLst>
              </p:cNvPr>
              <p:cNvSpPr>
                <a:spLocks/>
              </p:cNvSpPr>
              <p:nvPr/>
            </p:nvSpPr>
            <p:spPr bwMode="auto">
              <a:xfrm>
                <a:off x="3718517" y="2311019"/>
                <a:ext cx="32188" cy="39739"/>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59" name="Freeform 542">
                <a:extLst>
                  <a:ext uri="{FF2B5EF4-FFF2-40B4-BE49-F238E27FC236}">
                    <a16:creationId xmlns:a16="http://schemas.microsoft.com/office/drawing/2014/main" id="{EC60A0D4-E9B9-C992-62BC-42BA3ADACF46}"/>
                  </a:ext>
                </a:extLst>
              </p:cNvPr>
              <p:cNvSpPr>
                <a:spLocks/>
              </p:cNvSpPr>
              <p:nvPr/>
            </p:nvSpPr>
            <p:spPr bwMode="auto">
              <a:xfrm>
                <a:off x="3629105" y="2288312"/>
                <a:ext cx="62589" cy="34061"/>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60" name="Freeform 543">
                <a:extLst>
                  <a:ext uri="{FF2B5EF4-FFF2-40B4-BE49-F238E27FC236}">
                    <a16:creationId xmlns:a16="http://schemas.microsoft.com/office/drawing/2014/main" id="{8A4EB14E-9E8E-DF04-AD0C-0EDC9D9743A8}"/>
                  </a:ext>
                </a:extLst>
              </p:cNvPr>
              <p:cNvSpPr>
                <a:spLocks/>
              </p:cNvSpPr>
              <p:nvPr/>
            </p:nvSpPr>
            <p:spPr bwMode="auto">
              <a:xfrm>
                <a:off x="3761435" y="2267495"/>
                <a:ext cx="35765" cy="15139"/>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61" name="Freeform 544">
                <a:extLst>
                  <a:ext uri="{FF2B5EF4-FFF2-40B4-BE49-F238E27FC236}">
                    <a16:creationId xmlns:a16="http://schemas.microsoft.com/office/drawing/2014/main" id="{CE79DA63-31A2-998D-E25B-7B35510EA54D}"/>
                  </a:ext>
                </a:extLst>
              </p:cNvPr>
              <p:cNvSpPr>
                <a:spLocks/>
              </p:cNvSpPr>
              <p:nvPr/>
            </p:nvSpPr>
            <p:spPr bwMode="auto">
              <a:xfrm>
                <a:off x="3539691" y="2155846"/>
                <a:ext cx="178826" cy="132467"/>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62" name="Freeform 545">
                <a:extLst>
                  <a:ext uri="{FF2B5EF4-FFF2-40B4-BE49-F238E27FC236}">
                    <a16:creationId xmlns:a16="http://schemas.microsoft.com/office/drawing/2014/main" id="{93318245-A879-A361-948D-9322C36F624A}"/>
                  </a:ext>
                </a:extLst>
              </p:cNvPr>
              <p:cNvSpPr>
                <a:spLocks/>
              </p:cNvSpPr>
              <p:nvPr/>
            </p:nvSpPr>
            <p:spPr bwMode="auto">
              <a:xfrm>
                <a:off x="3609435" y="2144490"/>
                <a:ext cx="35765" cy="28387"/>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63" name="Freeform 546">
                <a:extLst>
                  <a:ext uri="{FF2B5EF4-FFF2-40B4-BE49-F238E27FC236}">
                    <a16:creationId xmlns:a16="http://schemas.microsoft.com/office/drawing/2014/main" id="{DD84B905-F1D2-02DE-EAD9-DA0CCD091184}"/>
                  </a:ext>
                </a:extLst>
              </p:cNvPr>
              <p:cNvSpPr>
                <a:spLocks/>
              </p:cNvSpPr>
              <p:nvPr/>
            </p:nvSpPr>
            <p:spPr bwMode="auto">
              <a:xfrm>
                <a:off x="3598704" y="2150168"/>
                <a:ext cx="19671" cy="28387"/>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240" name="Freeform 547">
                <a:extLst>
                  <a:ext uri="{FF2B5EF4-FFF2-40B4-BE49-F238E27FC236}">
                    <a16:creationId xmlns:a16="http://schemas.microsoft.com/office/drawing/2014/main" id="{FA5E150D-B96F-4882-7FBA-4004B4D402FA}"/>
                  </a:ext>
                </a:extLst>
              </p:cNvPr>
              <p:cNvSpPr>
                <a:spLocks/>
              </p:cNvSpPr>
              <p:nvPr/>
            </p:nvSpPr>
            <p:spPr bwMode="auto">
              <a:xfrm>
                <a:off x="3550421" y="2044198"/>
                <a:ext cx="16094" cy="34061"/>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241" name="Freeform 548">
                <a:extLst>
                  <a:ext uri="{FF2B5EF4-FFF2-40B4-BE49-F238E27FC236}">
                    <a16:creationId xmlns:a16="http://schemas.microsoft.com/office/drawing/2014/main" id="{F3BB9AD7-EBE0-D4F6-AB6A-E7D2A0F4CB24}"/>
                  </a:ext>
                </a:extLst>
              </p:cNvPr>
              <p:cNvSpPr>
                <a:spLocks/>
              </p:cNvSpPr>
              <p:nvPr/>
            </p:nvSpPr>
            <p:spPr bwMode="auto">
              <a:xfrm>
                <a:off x="3471738" y="1754666"/>
                <a:ext cx="754643" cy="584739"/>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243" name="Freeform 549">
                <a:extLst>
                  <a:ext uri="{FF2B5EF4-FFF2-40B4-BE49-F238E27FC236}">
                    <a16:creationId xmlns:a16="http://schemas.microsoft.com/office/drawing/2014/main" id="{5BF5A596-19D4-71FA-6F15-1D52A3E4A791}"/>
                  </a:ext>
                </a:extLst>
              </p:cNvPr>
              <p:cNvSpPr>
                <a:spLocks/>
              </p:cNvSpPr>
              <p:nvPr/>
            </p:nvSpPr>
            <p:spPr bwMode="auto">
              <a:xfrm>
                <a:off x="3959931" y="2299667"/>
                <a:ext cx="32188" cy="11355"/>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244" name="Freeform 550">
                <a:extLst>
                  <a:ext uri="{FF2B5EF4-FFF2-40B4-BE49-F238E27FC236}">
                    <a16:creationId xmlns:a16="http://schemas.microsoft.com/office/drawing/2014/main" id="{2C754C49-2144-9F23-8E01-93DAEFC5908B}"/>
                  </a:ext>
                </a:extLst>
              </p:cNvPr>
              <p:cNvSpPr>
                <a:spLocks/>
              </p:cNvSpPr>
              <p:nvPr/>
            </p:nvSpPr>
            <p:spPr bwMode="auto">
              <a:xfrm>
                <a:off x="3865154" y="2055552"/>
                <a:ext cx="42917" cy="11355"/>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245" name="Freeform 551">
                <a:extLst>
                  <a:ext uri="{FF2B5EF4-FFF2-40B4-BE49-F238E27FC236}">
                    <a16:creationId xmlns:a16="http://schemas.microsoft.com/office/drawing/2014/main" id="{C8BED8A7-B419-310F-BB93-3BA09153D2DC}"/>
                  </a:ext>
                </a:extLst>
              </p:cNvPr>
              <p:cNvSpPr>
                <a:spLocks/>
              </p:cNvSpPr>
              <p:nvPr/>
            </p:nvSpPr>
            <p:spPr bwMode="auto">
              <a:xfrm>
                <a:off x="3802565" y="2044198"/>
                <a:ext cx="62589" cy="54878"/>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246" name="Freeform 552">
                <a:extLst>
                  <a:ext uri="{FF2B5EF4-FFF2-40B4-BE49-F238E27FC236}">
                    <a16:creationId xmlns:a16="http://schemas.microsoft.com/office/drawing/2014/main" id="{D4E7FAA4-CE4E-307E-69A1-FD76803B8F02}"/>
                  </a:ext>
                </a:extLst>
              </p:cNvPr>
              <p:cNvSpPr>
                <a:spLocks/>
              </p:cNvSpPr>
              <p:nvPr/>
            </p:nvSpPr>
            <p:spPr bwMode="auto">
              <a:xfrm>
                <a:off x="3745341" y="1994996"/>
                <a:ext cx="35765" cy="20817"/>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247" name="Freeform 553">
                <a:extLst>
                  <a:ext uri="{FF2B5EF4-FFF2-40B4-BE49-F238E27FC236}">
                    <a16:creationId xmlns:a16="http://schemas.microsoft.com/office/drawing/2014/main" id="{267DA354-4099-3339-4DF7-059D3346455F}"/>
                  </a:ext>
                </a:extLst>
              </p:cNvPr>
              <p:cNvSpPr>
                <a:spLocks/>
              </p:cNvSpPr>
              <p:nvPr/>
            </p:nvSpPr>
            <p:spPr bwMode="auto">
              <a:xfrm>
                <a:off x="3797201" y="1989318"/>
                <a:ext cx="32188" cy="17031"/>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248" name="Freeform 554">
                <a:extLst>
                  <a:ext uri="{FF2B5EF4-FFF2-40B4-BE49-F238E27FC236}">
                    <a16:creationId xmlns:a16="http://schemas.microsoft.com/office/drawing/2014/main" id="{D52A6C0E-64B2-F2AA-DA3C-0E0FEED8FFB9}"/>
                  </a:ext>
                </a:extLst>
              </p:cNvPr>
              <p:cNvSpPr>
                <a:spLocks/>
              </p:cNvSpPr>
              <p:nvPr/>
            </p:nvSpPr>
            <p:spPr bwMode="auto">
              <a:xfrm>
                <a:off x="3766800" y="1977965"/>
                <a:ext cx="25036" cy="11355"/>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250" name="Freeform 555">
                <a:extLst>
                  <a:ext uri="{FF2B5EF4-FFF2-40B4-BE49-F238E27FC236}">
                    <a16:creationId xmlns:a16="http://schemas.microsoft.com/office/drawing/2014/main" id="{9430B4C0-6DE2-DE9B-79C9-D490E05C0668}"/>
                  </a:ext>
                </a:extLst>
              </p:cNvPr>
              <p:cNvSpPr>
                <a:spLocks/>
              </p:cNvSpPr>
              <p:nvPr/>
            </p:nvSpPr>
            <p:spPr bwMode="auto">
              <a:xfrm>
                <a:off x="3702423" y="1766019"/>
                <a:ext cx="137695" cy="62449"/>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251" name="Freeform 569">
                <a:extLst>
                  <a:ext uri="{FF2B5EF4-FFF2-40B4-BE49-F238E27FC236}">
                    <a16:creationId xmlns:a16="http://schemas.microsoft.com/office/drawing/2014/main" id="{6DD0A276-DE52-4C27-F756-A49E07066F99}"/>
                  </a:ext>
                </a:extLst>
              </p:cNvPr>
              <p:cNvSpPr>
                <a:spLocks/>
              </p:cNvSpPr>
              <p:nvPr/>
            </p:nvSpPr>
            <p:spPr bwMode="auto">
              <a:xfrm>
                <a:off x="3226747" y="1966609"/>
                <a:ext cx="109084" cy="71909"/>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252" name="Freeform 570">
                <a:extLst>
                  <a:ext uri="{FF2B5EF4-FFF2-40B4-BE49-F238E27FC236}">
                    <a16:creationId xmlns:a16="http://schemas.microsoft.com/office/drawing/2014/main" id="{F93277B5-A709-6CB0-32D2-F97536174939}"/>
                  </a:ext>
                </a:extLst>
              </p:cNvPr>
              <p:cNvSpPr>
                <a:spLocks/>
              </p:cNvSpPr>
              <p:nvPr/>
            </p:nvSpPr>
            <p:spPr bwMode="auto">
              <a:xfrm>
                <a:off x="3189195" y="2000672"/>
                <a:ext cx="26823" cy="20817"/>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253" name="Freeform 571">
                <a:extLst>
                  <a:ext uri="{FF2B5EF4-FFF2-40B4-BE49-F238E27FC236}">
                    <a16:creationId xmlns:a16="http://schemas.microsoft.com/office/drawing/2014/main" id="{C2289039-5762-54CE-E5FA-76FFB437B67E}"/>
                  </a:ext>
                </a:extLst>
              </p:cNvPr>
              <p:cNvSpPr>
                <a:spLocks/>
              </p:cNvSpPr>
              <p:nvPr/>
            </p:nvSpPr>
            <p:spPr bwMode="auto">
              <a:xfrm>
                <a:off x="3157006" y="2021487"/>
                <a:ext cx="10730" cy="11355"/>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255" name="Freeform 572">
                <a:extLst>
                  <a:ext uri="{FF2B5EF4-FFF2-40B4-BE49-F238E27FC236}">
                    <a16:creationId xmlns:a16="http://schemas.microsoft.com/office/drawing/2014/main" id="{489F8A47-FCE1-C96E-F367-460B53D47C09}"/>
                  </a:ext>
                </a:extLst>
              </p:cNvPr>
              <p:cNvSpPr>
                <a:spLocks/>
              </p:cNvSpPr>
              <p:nvPr/>
            </p:nvSpPr>
            <p:spPr bwMode="auto">
              <a:xfrm>
                <a:off x="2706365" y="1788728"/>
                <a:ext cx="482829" cy="2497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256" name="Freeform 573">
                <a:extLst>
                  <a:ext uri="{FF2B5EF4-FFF2-40B4-BE49-F238E27FC236}">
                    <a16:creationId xmlns:a16="http://schemas.microsoft.com/office/drawing/2014/main" id="{47591F5E-7080-1768-8A40-3959B525B4F0}"/>
                  </a:ext>
                </a:extLst>
              </p:cNvPr>
              <p:cNvSpPr>
                <a:spLocks/>
              </p:cNvSpPr>
              <p:nvPr/>
            </p:nvSpPr>
            <p:spPr bwMode="auto">
              <a:xfrm>
                <a:off x="3026464" y="1766019"/>
                <a:ext cx="73319" cy="51094"/>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285" name="Freeform 574">
                <a:extLst>
                  <a:ext uri="{FF2B5EF4-FFF2-40B4-BE49-F238E27FC236}">
                    <a16:creationId xmlns:a16="http://schemas.microsoft.com/office/drawing/2014/main" id="{45BFF9F4-B400-3965-EB57-319D008CC221}"/>
                  </a:ext>
                </a:extLst>
              </p:cNvPr>
              <p:cNvSpPr>
                <a:spLocks/>
              </p:cNvSpPr>
              <p:nvPr/>
            </p:nvSpPr>
            <p:spPr bwMode="auto">
              <a:xfrm>
                <a:off x="3142700" y="1743310"/>
                <a:ext cx="166307" cy="162744"/>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287" name="Freeform 575">
                <a:extLst>
                  <a:ext uri="{FF2B5EF4-FFF2-40B4-BE49-F238E27FC236}">
                    <a16:creationId xmlns:a16="http://schemas.microsoft.com/office/drawing/2014/main" id="{2A763310-E7A0-8B38-D836-D9558AE46E04}"/>
                  </a:ext>
                </a:extLst>
              </p:cNvPr>
              <p:cNvSpPr>
                <a:spLocks/>
              </p:cNvSpPr>
              <p:nvPr/>
            </p:nvSpPr>
            <p:spPr bwMode="auto">
              <a:xfrm>
                <a:off x="3319737" y="1743310"/>
                <a:ext cx="146636" cy="123003"/>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45" name="Freeform 577">
                <a:extLst>
                  <a:ext uri="{FF2B5EF4-FFF2-40B4-BE49-F238E27FC236}">
                    <a16:creationId xmlns:a16="http://schemas.microsoft.com/office/drawing/2014/main" id="{CFAC025B-9516-850C-0ED7-699D35267CB2}"/>
                  </a:ext>
                </a:extLst>
              </p:cNvPr>
              <p:cNvSpPr>
                <a:spLocks/>
              </p:cNvSpPr>
              <p:nvPr/>
            </p:nvSpPr>
            <p:spPr bwMode="auto">
              <a:xfrm>
                <a:off x="3083688" y="1677078"/>
                <a:ext cx="37553" cy="22709"/>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46" name="Freeform 578">
                <a:extLst>
                  <a:ext uri="{FF2B5EF4-FFF2-40B4-BE49-F238E27FC236}">
                    <a16:creationId xmlns:a16="http://schemas.microsoft.com/office/drawing/2014/main" id="{CC281D6C-BD75-6707-884D-B1108F46A6B9}"/>
                  </a:ext>
                </a:extLst>
              </p:cNvPr>
              <p:cNvSpPr>
                <a:spLocks/>
              </p:cNvSpPr>
              <p:nvPr/>
            </p:nvSpPr>
            <p:spPr bwMode="auto">
              <a:xfrm>
                <a:off x="2760013" y="1576784"/>
                <a:ext cx="314732" cy="157066"/>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47" name="Freeform 579">
                <a:extLst>
                  <a:ext uri="{FF2B5EF4-FFF2-40B4-BE49-F238E27FC236}">
                    <a16:creationId xmlns:a16="http://schemas.microsoft.com/office/drawing/2014/main" id="{DBB32150-E899-4321-A511-DE681068B632}"/>
                  </a:ext>
                </a:extLst>
              </p:cNvPr>
              <p:cNvSpPr>
                <a:spLocks/>
              </p:cNvSpPr>
              <p:nvPr/>
            </p:nvSpPr>
            <p:spPr bwMode="auto">
              <a:xfrm>
                <a:off x="2706365" y="1639232"/>
                <a:ext cx="53647" cy="37847"/>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48" name="Freeform 581">
                <a:extLst>
                  <a:ext uri="{FF2B5EF4-FFF2-40B4-BE49-F238E27FC236}">
                    <a16:creationId xmlns:a16="http://schemas.microsoft.com/office/drawing/2014/main" id="{B596E1C3-E3FF-0B39-8D82-DB07CFE4C56B}"/>
                  </a:ext>
                </a:extLst>
              </p:cNvPr>
              <p:cNvSpPr>
                <a:spLocks/>
              </p:cNvSpPr>
              <p:nvPr/>
            </p:nvSpPr>
            <p:spPr bwMode="auto">
              <a:xfrm>
                <a:off x="2822602" y="1593813"/>
                <a:ext cx="41130" cy="11355"/>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49" name="Freeform 582">
                <a:extLst>
                  <a:ext uri="{FF2B5EF4-FFF2-40B4-BE49-F238E27FC236}">
                    <a16:creationId xmlns:a16="http://schemas.microsoft.com/office/drawing/2014/main" id="{C314BE1E-7A9B-8C78-D792-EAAF5DAE9A1E}"/>
                  </a:ext>
                </a:extLst>
              </p:cNvPr>
              <p:cNvSpPr>
                <a:spLocks/>
              </p:cNvSpPr>
              <p:nvPr/>
            </p:nvSpPr>
            <p:spPr bwMode="auto">
              <a:xfrm>
                <a:off x="2858368" y="1516229"/>
                <a:ext cx="110872" cy="54878"/>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50" name="Freeform 583">
                <a:extLst>
                  <a:ext uri="{FF2B5EF4-FFF2-40B4-BE49-F238E27FC236}">
                    <a16:creationId xmlns:a16="http://schemas.microsoft.com/office/drawing/2014/main" id="{95413D85-EE84-4A9F-FCF6-55FDEB436708}"/>
                  </a:ext>
                </a:extLst>
              </p:cNvPr>
              <p:cNvSpPr>
                <a:spLocks/>
              </p:cNvSpPr>
              <p:nvPr/>
            </p:nvSpPr>
            <p:spPr bwMode="auto">
              <a:xfrm>
                <a:off x="2811872" y="1527582"/>
                <a:ext cx="41130" cy="22709"/>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51" name="Freeform 584">
                <a:extLst>
                  <a:ext uri="{FF2B5EF4-FFF2-40B4-BE49-F238E27FC236}">
                    <a16:creationId xmlns:a16="http://schemas.microsoft.com/office/drawing/2014/main" id="{A56E13DC-BE21-FD65-61DB-D300A2968CB1}"/>
                  </a:ext>
                </a:extLst>
              </p:cNvPr>
              <p:cNvSpPr>
                <a:spLocks/>
              </p:cNvSpPr>
              <p:nvPr/>
            </p:nvSpPr>
            <p:spPr bwMode="auto">
              <a:xfrm>
                <a:off x="2869097" y="1476488"/>
                <a:ext cx="110872" cy="39739"/>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52" name="Freeform 585">
                <a:extLst>
                  <a:ext uri="{FF2B5EF4-FFF2-40B4-BE49-F238E27FC236}">
                    <a16:creationId xmlns:a16="http://schemas.microsoft.com/office/drawing/2014/main" id="{E8FFC72A-FE6F-3F0F-821D-BA65234F9679}"/>
                  </a:ext>
                </a:extLst>
              </p:cNvPr>
              <p:cNvSpPr>
                <a:spLocks/>
              </p:cNvSpPr>
              <p:nvPr/>
            </p:nvSpPr>
            <p:spPr bwMode="auto">
              <a:xfrm>
                <a:off x="3137334" y="1593813"/>
                <a:ext cx="146636" cy="105974"/>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53" name="Freeform 586">
                <a:extLst>
                  <a:ext uri="{FF2B5EF4-FFF2-40B4-BE49-F238E27FC236}">
                    <a16:creationId xmlns:a16="http://schemas.microsoft.com/office/drawing/2014/main" id="{26762CAA-F960-E33D-8B5E-EB0EC9B8D5A9}"/>
                  </a:ext>
                </a:extLst>
              </p:cNvPr>
              <p:cNvSpPr>
                <a:spLocks/>
              </p:cNvSpPr>
              <p:nvPr/>
            </p:nvSpPr>
            <p:spPr bwMode="auto">
              <a:xfrm>
                <a:off x="3121241" y="1644908"/>
                <a:ext cx="46495" cy="15139"/>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54" name="Freeform 587">
                <a:extLst>
                  <a:ext uri="{FF2B5EF4-FFF2-40B4-BE49-F238E27FC236}">
                    <a16:creationId xmlns:a16="http://schemas.microsoft.com/office/drawing/2014/main" id="{EDB473DF-34A4-BA58-92FA-84DE3A178B7C}"/>
                  </a:ext>
                </a:extLst>
              </p:cNvPr>
              <p:cNvSpPr>
                <a:spLocks/>
              </p:cNvSpPr>
              <p:nvPr/>
            </p:nvSpPr>
            <p:spPr bwMode="auto">
              <a:xfrm>
                <a:off x="3110511" y="1639232"/>
                <a:ext cx="42917" cy="11355"/>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55" name="Freeform 588">
                <a:extLst>
                  <a:ext uri="{FF2B5EF4-FFF2-40B4-BE49-F238E27FC236}">
                    <a16:creationId xmlns:a16="http://schemas.microsoft.com/office/drawing/2014/main" id="{EFDD6EF0-E822-5E2D-A4DA-4E07AE296790}"/>
                  </a:ext>
                </a:extLst>
              </p:cNvPr>
              <p:cNvSpPr>
                <a:spLocks/>
              </p:cNvSpPr>
              <p:nvPr/>
            </p:nvSpPr>
            <p:spPr bwMode="auto">
              <a:xfrm>
                <a:off x="3089052" y="1622199"/>
                <a:ext cx="53647" cy="28387"/>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56" name="Freeform 589">
                <a:extLst>
                  <a:ext uri="{FF2B5EF4-FFF2-40B4-BE49-F238E27FC236}">
                    <a16:creationId xmlns:a16="http://schemas.microsoft.com/office/drawing/2014/main" id="{E520087F-C0A3-41EF-551F-76CA1EFAB612}"/>
                  </a:ext>
                </a:extLst>
              </p:cNvPr>
              <p:cNvSpPr>
                <a:spLocks/>
              </p:cNvSpPr>
              <p:nvPr/>
            </p:nvSpPr>
            <p:spPr bwMode="auto">
              <a:xfrm>
                <a:off x="3094417" y="1599492"/>
                <a:ext cx="37553" cy="28387"/>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57" name="Freeform 590">
                <a:extLst>
                  <a:ext uri="{FF2B5EF4-FFF2-40B4-BE49-F238E27FC236}">
                    <a16:creationId xmlns:a16="http://schemas.microsoft.com/office/drawing/2014/main" id="{B5D8128A-3F57-1F86-28E3-B20B459D02C4}"/>
                  </a:ext>
                </a:extLst>
              </p:cNvPr>
              <p:cNvSpPr>
                <a:spLocks/>
              </p:cNvSpPr>
              <p:nvPr/>
            </p:nvSpPr>
            <p:spPr bwMode="auto">
              <a:xfrm>
                <a:off x="3042558" y="1533258"/>
                <a:ext cx="62589" cy="49203"/>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58" name="Freeform 591">
                <a:extLst>
                  <a:ext uri="{FF2B5EF4-FFF2-40B4-BE49-F238E27FC236}">
                    <a16:creationId xmlns:a16="http://schemas.microsoft.com/office/drawing/2014/main" id="{5280E354-59E6-F474-CC64-84AD3989F2B2}"/>
                  </a:ext>
                </a:extLst>
              </p:cNvPr>
              <p:cNvSpPr>
                <a:spLocks/>
              </p:cNvSpPr>
              <p:nvPr/>
            </p:nvSpPr>
            <p:spPr bwMode="auto">
              <a:xfrm>
                <a:off x="3142700" y="1527582"/>
                <a:ext cx="46495" cy="17031"/>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59" name="Freeform 592">
                <a:extLst>
                  <a:ext uri="{FF2B5EF4-FFF2-40B4-BE49-F238E27FC236}">
                    <a16:creationId xmlns:a16="http://schemas.microsoft.com/office/drawing/2014/main" id="{C9B3B99C-3D81-035A-6CE3-797ADFD662F3}"/>
                  </a:ext>
                </a:extLst>
              </p:cNvPr>
              <p:cNvSpPr>
                <a:spLocks/>
              </p:cNvSpPr>
              <p:nvPr/>
            </p:nvSpPr>
            <p:spPr bwMode="auto">
              <a:xfrm>
                <a:off x="3053286" y="1438640"/>
                <a:ext cx="187767" cy="105974"/>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60" name="Freeform 593">
                <a:extLst>
                  <a:ext uri="{FF2B5EF4-FFF2-40B4-BE49-F238E27FC236}">
                    <a16:creationId xmlns:a16="http://schemas.microsoft.com/office/drawing/2014/main" id="{F2258C96-A38F-7F74-4DF3-D1CBAA5BAD83}"/>
                  </a:ext>
                </a:extLst>
              </p:cNvPr>
              <p:cNvSpPr>
                <a:spLocks/>
              </p:cNvSpPr>
              <p:nvPr/>
            </p:nvSpPr>
            <p:spPr bwMode="auto">
              <a:xfrm>
                <a:off x="3199923" y="1387546"/>
                <a:ext cx="57223" cy="28387"/>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61" name="Freeform 594">
                <a:extLst>
                  <a:ext uri="{FF2B5EF4-FFF2-40B4-BE49-F238E27FC236}">
                    <a16:creationId xmlns:a16="http://schemas.microsoft.com/office/drawing/2014/main" id="{FA6E3AE2-16DB-7A0E-7FD7-327DD932CEE2}"/>
                  </a:ext>
                </a:extLst>
              </p:cNvPr>
              <p:cNvSpPr>
                <a:spLocks/>
              </p:cNvSpPr>
              <p:nvPr/>
            </p:nvSpPr>
            <p:spPr bwMode="auto">
              <a:xfrm>
                <a:off x="3246418" y="1476488"/>
                <a:ext cx="105506" cy="62449"/>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62" name="Freeform 595">
                <a:extLst>
                  <a:ext uri="{FF2B5EF4-FFF2-40B4-BE49-F238E27FC236}">
                    <a16:creationId xmlns:a16="http://schemas.microsoft.com/office/drawing/2014/main" id="{BE26378B-E906-BAAD-480B-E3F53A0F92EC}"/>
                  </a:ext>
                </a:extLst>
              </p:cNvPr>
              <p:cNvSpPr>
                <a:spLocks/>
              </p:cNvSpPr>
              <p:nvPr/>
            </p:nvSpPr>
            <p:spPr bwMode="auto">
              <a:xfrm>
                <a:off x="3305431" y="1533258"/>
                <a:ext cx="92988" cy="28387"/>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63" name="Freeform 596">
                <a:extLst>
                  <a:ext uri="{FF2B5EF4-FFF2-40B4-BE49-F238E27FC236}">
                    <a16:creationId xmlns:a16="http://schemas.microsoft.com/office/drawing/2014/main" id="{A2D024F1-BD80-82A0-FBAE-655B9F87FA39}"/>
                  </a:ext>
                </a:extLst>
              </p:cNvPr>
              <p:cNvSpPr>
                <a:spLocks/>
              </p:cNvSpPr>
              <p:nvPr/>
            </p:nvSpPr>
            <p:spPr bwMode="auto">
              <a:xfrm>
                <a:off x="3300067" y="1660047"/>
                <a:ext cx="87624" cy="62449"/>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64" name="Freeform 597">
                <a:extLst>
                  <a:ext uri="{FF2B5EF4-FFF2-40B4-BE49-F238E27FC236}">
                    <a16:creationId xmlns:a16="http://schemas.microsoft.com/office/drawing/2014/main" id="{2E8997CE-F068-6F2A-2660-AA6665FBD720}"/>
                  </a:ext>
                </a:extLst>
              </p:cNvPr>
              <p:cNvSpPr>
                <a:spLocks/>
              </p:cNvSpPr>
              <p:nvPr/>
            </p:nvSpPr>
            <p:spPr bwMode="auto">
              <a:xfrm>
                <a:off x="3341196" y="1644908"/>
                <a:ext cx="21459" cy="15139"/>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65" name="Freeform 598">
                <a:extLst>
                  <a:ext uri="{FF2B5EF4-FFF2-40B4-BE49-F238E27FC236}">
                    <a16:creationId xmlns:a16="http://schemas.microsoft.com/office/drawing/2014/main" id="{0E22067F-0DA9-A3D9-196B-0376ACF2CA65}"/>
                  </a:ext>
                </a:extLst>
              </p:cNvPr>
              <p:cNvSpPr>
                <a:spLocks/>
              </p:cNvSpPr>
              <p:nvPr/>
            </p:nvSpPr>
            <p:spPr bwMode="auto">
              <a:xfrm>
                <a:off x="3435973" y="1544612"/>
                <a:ext cx="46495" cy="32169"/>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66" name="Freeform 599">
                <a:extLst>
                  <a:ext uri="{FF2B5EF4-FFF2-40B4-BE49-F238E27FC236}">
                    <a16:creationId xmlns:a16="http://schemas.microsoft.com/office/drawing/2014/main" id="{CA64AFC7-28E7-8B39-1DDC-B51ECA0BBED0}"/>
                  </a:ext>
                </a:extLst>
              </p:cNvPr>
              <p:cNvSpPr>
                <a:spLocks/>
              </p:cNvSpPr>
              <p:nvPr/>
            </p:nvSpPr>
            <p:spPr bwMode="auto">
              <a:xfrm>
                <a:off x="3461008" y="1593813"/>
                <a:ext cx="16094" cy="22709"/>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67" name="Freeform 600">
                <a:extLst>
                  <a:ext uri="{FF2B5EF4-FFF2-40B4-BE49-F238E27FC236}">
                    <a16:creationId xmlns:a16="http://schemas.microsoft.com/office/drawing/2014/main" id="{F7695610-AA4A-3060-5C68-8B3C11A8C2C6}"/>
                  </a:ext>
                </a:extLst>
              </p:cNvPr>
              <p:cNvSpPr>
                <a:spLocks/>
              </p:cNvSpPr>
              <p:nvPr/>
            </p:nvSpPr>
            <p:spPr bwMode="auto">
              <a:xfrm>
                <a:off x="3289336" y="1576784"/>
                <a:ext cx="466735" cy="151390"/>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68" name="Freeform 601">
                <a:extLst>
                  <a:ext uri="{FF2B5EF4-FFF2-40B4-BE49-F238E27FC236}">
                    <a16:creationId xmlns:a16="http://schemas.microsoft.com/office/drawing/2014/main" id="{2EA8B2C5-BF25-F2CC-A1AD-2C1C7199D4D6}"/>
                  </a:ext>
                </a:extLst>
              </p:cNvPr>
              <p:cNvSpPr>
                <a:spLocks/>
              </p:cNvSpPr>
              <p:nvPr/>
            </p:nvSpPr>
            <p:spPr bwMode="auto">
              <a:xfrm>
                <a:off x="3300067" y="1315637"/>
                <a:ext cx="309368" cy="206268"/>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69" name="Freeform 602">
                <a:extLst>
                  <a:ext uri="{FF2B5EF4-FFF2-40B4-BE49-F238E27FC236}">
                    <a16:creationId xmlns:a16="http://schemas.microsoft.com/office/drawing/2014/main" id="{85B0F993-1268-1A54-0812-887054341C2F}"/>
                  </a:ext>
                </a:extLst>
              </p:cNvPr>
              <p:cNvSpPr>
                <a:spLocks/>
              </p:cNvSpPr>
              <p:nvPr/>
            </p:nvSpPr>
            <p:spPr bwMode="auto">
              <a:xfrm>
                <a:off x="3425243" y="1188850"/>
                <a:ext cx="817232" cy="450382"/>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70" name="Freeform 604">
                <a:extLst>
                  <a:ext uri="{FF2B5EF4-FFF2-40B4-BE49-F238E27FC236}">
                    <a16:creationId xmlns:a16="http://schemas.microsoft.com/office/drawing/2014/main" id="{ADD1C3E8-7E5D-6B29-233E-8D47B62E974D}"/>
                  </a:ext>
                </a:extLst>
              </p:cNvPr>
              <p:cNvSpPr>
                <a:spLocks/>
              </p:cNvSpPr>
              <p:nvPr/>
            </p:nvSpPr>
            <p:spPr bwMode="auto">
              <a:xfrm>
                <a:off x="3807931" y="1438640"/>
                <a:ext cx="73319" cy="28387"/>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71" name="Freeform 605">
                <a:extLst>
                  <a:ext uri="{FF2B5EF4-FFF2-40B4-BE49-F238E27FC236}">
                    <a16:creationId xmlns:a16="http://schemas.microsoft.com/office/drawing/2014/main" id="{8BFB01BA-D261-F7E1-A419-9A8FC3ADF089}"/>
                  </a:ext>
                </a:extLst>
              </p:cNvPr>
              <p:cNvSpPr>
                <a:spLocks/>
              </p:cNvSpPr>
              <p:nvPr/>
            </p:nvSpPr>
            <p:spPr bwMode="auto">
              <a:xfrm>
                <a:off x="3604069" y="1461347"/>
                <a:ext cx="30401" cy="11355"/>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72" name="Freeform 606">
                <a:extLst>
                  <a:ext uri="{FF2B5EF4-FFF2-40B4-BE49-F238E27FC236}">
                    <a16:creationId xmlns:a16="http://schemas.microsoft.com/office/drawing/2014/main" id="{03CDCFEB-FB12-A1A1-BD1F-0C10A0250478}"/>
                  </a:ext>
                </a:extLst>
              </p:cNvPr>
              <p:cNvSpPr>
                <a:spLocks/>
              </p:cNvSpPr>
              <p:nvPr/>
            </p:nvSpPr>
            <p:spPr bwMode="auto">
              <a:xfrm>
                <a:off x="3739977" y="1633554"/>
                <a:ext cx="30401" cy="17033"/>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73" name="Freeform 786">
                <a:extLst>
                  <a:ext uri="{FF2B5EF4-FFF2-40B4-BE49-F238E27FC236}">
                    <a16:creationId xmlns:a16="http://schemas.microsoft.com/office/drawing/2014/main" id="{51F8088E-74DC-47CC-41BB-F3E8AA93818A}"/>
                  </a:ext>
                </a:extLst>
              </p:cNvPr>
              <p:cNvSpPr>
                <a:spLocks/>
              </p:cNvSpPr>
              <p:nvPr/>
            </p:nvSpPr>
            <p:spPr bwMode="auto">
              <a:xfrm>
                <a:off x="5192038" y="1800080"/>
                <a:ext cx="89412" cy="54878"/>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74" name="Freeform 788">
                <a:extLst>
                  <a:ext uri="{FF2B5EF4-FFF2-40B4-BE49-F238E27FC236}">
                    <a16:creationId xmlns:a16="http://schemas.microsoft.com/office/drawing/2014/main" id="{7E798772-356A-1F27-0266-7A62D37BCFB2}"/>
                  </a:ext>
                </a:extLst>
              </p:cNvPr>
              <p:cNvSpPr>
                <a:spLocks/>
              </p:cNvSpPr>
              <p:nvPr/>
            </p:nvSpPr>
            <p:spPr bwMode="auto">
              <a:xfrm>
                <a:off x="5102627" y="1906053"/>
                <a:ext cx="67953" cy="37847"/>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75" name="Freeform 781">
                <a:extLst>
                  <a:ext uri="{FF2B5EF4-FFF2-40B4-BE49-F238E27FC236}">
                    <a16:creationId xmlns:a16="http://schemas.microsoft.com/office/drawing/2014/main" id="{23B83AA7-7856-A341-2856-2E40B25DF2CE}"/>
                  </a:ext>
                </a:extLst>
              </p:cNvPr>
              <p:cNvSpPr>
                <a:spLocks/>
              </p:cNvSpPr>
              <p:nvPr/>
            </p:nvSpPr>
            <p:spPr bwMode="auto">
              <a:xfrm>
                <a:off x="4771799" y="1183172"/>
                <a:ext cx="48283" cy="22709"/>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76" name="Freeform 777">
                <a:extLst>
                  <a:ext uri="{FF2B5EF4-FFF2-40B4-BE49-F238E27FC236}">
                    <a16:creationId xmlns:a16="http://schemas.microsoft.com/office/drawing/2014/main" id="{8FACFB40-273D-8C15-2D4E-57FD9B866C08}"/>
                  </a:ext>
                </a:extLst>
              </p:cNvPr>
              <p:cNvSpPr>
                <a:spLocks/>
              </p:cNvSpPr>
              <p:nvPr/>
            </p:nvSpPr>
            <p:spPr bwMode="auto">
              <a:xfrm>
                <a:off x="4389112" y="1943902"/>
                <a:ext cx="84048" cy="62449"/>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77" name="Freeform 778">
                <a:extLst>
                  <a:ext uri="{FF2B5EF4-FFF2-40B4-BE49-F238E27FC236}">
                    <a16:creationId xmlns:a16="http://schemas.microsoft.com/office/drawing/2014/main" id="{D70904C6-9AEB-61E5-322F-DA072D51EB5B}"/>
                  </a:ext>
                </a:extLst>
              </p:cNvPr>
              <p:cNvSpPr>
                <a:spLocks/>
              </p:cNvSpPr>
              <p:nvPr/>
            </p:nvSpPr>
            <p:spPr bwMode="auto">
              <a:xfrm>
                <a:off x="4415937" y="1900376"/>
                <a:ext cx="21459" cy="11355"/>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78" name="Freeform 779">
                <a:extLst>
                  <a:ext uri="{FF2B5EF4-FFF2-40B4-BE49-F238E27FC236}">
                    <a16:creationId xmlns:a16="http://schemas.microsoft.com/office/drawing/2014/main" id="{A703926D-4F16-0EBE-83C6-1EC5CAAEC494}"/>
                  </a:ext>
                </a:extLst>
              </p:cNvPr>
              <p:cNvSpPr>
                <a:spLocks/>
              </p:cNvSpPr>
              <p:nvPr/>
            </p:nvSpPr>
            <p:spPr bwMode="auto">
              <a:xfrm>
                <a:off x="4432031" y="1243726"/>
                <a:ext cx="57223" cy="34061"/>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79" name="Freeform 780">
                <a:extLst>
                  <a:ext uri="{FF2B5EF4-FFF2-40B4-BE49-F238E27FC236}">
                    <a16:creationId xmlns:a16="http://schemas.microsoft.com/office/drawing/2014/main" id="{1F7EFC5F-120E-356F-94B0-421BC19ED2BF}"/>
                  </a:ext>
                </a:extLst>
              </p:cNvPr>
              <p:cNvSpPr>
                <a:spLocks/>
              </p:cNvSpPr>
              <p:nvPr/>
            </p:nvSpPr>
            <p:spPr bwMode="auto">
              <a:xfrm>
                <a:off x="4609068" y="1194523"/>
                <a:ext cx="42917" cy="26493"/>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80" name="Freeform 782">
                <a:extLst>
                  <a:ext uri="{FF2B5EF4-FFF2-40B4-BE49-F238E27FC236}">
                    <a16:creationId xmlns:a16="http://schemas.microsoft.com/office/drawing/2014/main" id="{09458654-B53A-905C-D28B-BE9B888C425C}"/>
                  </a:ext>
                </a:extLst>
              </p:cNvPr>
              <p:cNvSpPr>
                <a:spLocks/>
              </p:cNvSpPr>
              <p:nvPr/>
            </p:nvSpPr>
            <p:spPr bwMode="auto">
              <a:xfrm>
                <a:off x="5286816" y="1266435"/>
                <a:ext cx="30401" cy="22709"/>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81" name="Freeform 783">
                <a:extLst>
                  <a:ext uri="{FF2B5EF4-FFF2-40B4-BE49-F238E27FC236}">
                    <a16:creationId xmlns:a16="http://schemas.microsoft.com/office/drawing/2014/main" id="{C756668B-74DC-4A98-D374-680D46765084}"/>
                  </a:ext>
                </a:extLst>
              </p:cNvPr>
              <p:cNvSpPr>
                <a:spLocks/>
              </p:cNvSpPr>
              <p:nvPr/>
            </p:nvSpPr>
            <p:spPr bwMode="auto">
              <a:xfrm>
                <a:off x="5327946" y="1289142"/>
                <a:ext cx="26823" cy="567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82" name="Freeform 784">
                <a:extLst>
                  <a:ext uri="{FF2B5EF4-FFF2-40B4-BE49-F238E27FC236}">
                    <a16:creationId xmlns:a16="http://schemas.microsoft.com/office/drawing/2014/main" id="{0AF76402-4FBA-55FA-2A10-4FBAAC6A04CB}"/>
                  </a:ext>
                </a:extLst>
              </p:cNvPr>
              <p:cNvSpPr>
                <a:spLocks/>
              </p:cNvSpPr>
              <p:nvPr/>
            </p:nvSpPr>
            <p:spPr bwMode="auto">
              <a:xfrm>
                <a:off x="5327946" y="1605167"/>
                <a:ext cx="21459" cy="39739"/>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83" name="Freeform 789">
                <a:extLst>
                  <a:ext uri="{FF2B5EF4-FFF2-40B4-BE49-F238E27FC236}">
                    <a16:creationId xmlns:a16="http://schemas.microsoft.com/office/drawing/2014/main" id="{24A9ABD3-335A-47CD-6478-F276F54D1E13}"/>
                  </a:ext>
                </a:extLst>
              </p:cNvPr>
              <p:cNvSpPr>
                <a:spLocks/>
              </p:cNvSpPr>
              <p:nvPr/>
            </p:nvSpPr>
            <p:spPr bwMode="auto">
              <a:xfrm>
                <a:off x="4483890" y="1960932"/>
                <a:ext cx="21459" cy="34061"/>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84" name="Freeform 790">
                <a:extLst>
                  <a:ext uri="{FF2B5EF4-FFF2-40B4-BE49-F238E27FC236}">
                    <a16:creationId xmlns:a16="http://schemas.microsoft.com/office/drawing/2014/main" id="{D17DD656-D099-D495-C72A-D62028AF3180}"/>
                  </a:ext>
                </a:extLst>
              </p:cNvPr>
              <p:cNvSpPr>
                <a:spLocks/>
              </p:cNvSpPr>
              <p:nvPr/>
            </p:nvSpPr>
            <p:spPr bwMode="auto">
              <a:xfrm>
                <a:off x="4437395" y="1889022"/>
                <a:ext cx="19671" cy="22709"/>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85" name="Freeform 791">
                <a:extLst>
                  <a:ext uri="{FF2B5EF4-FFF2-40B4-BE49-F238E27FC236}">
                    <a16:creationId xmlns:a16="http://schemas.microsoft.com/office/drawing/2014/main" id="{4BFDD46C-F51A-303F-32D1-FB28FF10E484}"/>
                  </a:ext>
                </a:extLst>
              </p:cNvPr>
              <p:cNvSpPr>
                <a:spLocks/>
              </p:cNvSpPr>
              <p:nvPr/>
            </p:nvSpPr>
            <p:spPr bwMode="auto">
              <a:xfrm>
                <a:off x="5360134" y="1533258"/>
                <a:ext cx="10730" cy="11355"/>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86" name="Freeform 792">
                <a:extLst>
                  <a:ext uri="{FF2B5EF4-FFF2-40B4-BE49-F238E27FC236}">
                    <a16:creationId xmlns:a16="http://schemas.microsoft.com/office/drawing/2014/main" id="{35C8D0E5-0B4E-B766-F0ED-3CE970CD2142}"/>
                  </a:ext>
                </a:extLst>
              </p:cNvPr>
              <p:cNvSpPr>
                <a:spLocks/>
              </p:cNvSpPr>
              <p:nvPr/>
            </p:nvSpPr>
            <p:spPr bwMode="auto">
              <a:xfrm>
                <a:off x="5317216" y="1472702"/>
                <a:ext cx="16095" cy="9462"/>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87" name="Freeform 793">
                <a:extLst>
                  <a:ext uri="{FF2B5EF4-FFF2-40B4-BE49-F238E27FC236}">
                    <a16:creationId xmlns:a16="http://schemas.microsoft.com/office/drawing/2014/main" id="{53F4A392-1D73-D86E-723A-C3E8D25AAA27}"/>
                  </a:ext>
                </a:extLst>
              </p:cNvPr>
              <p:cNvSpPr>
                <a:spLocks/>
              </p:cNvSpPr>
              <p:nvPr/>
            </p:nvSpPr>
            <p:spPr bwMode="auto">
              <a:xfrm>
                <a:off x="5360134" y="1449993"/>
                <a:ext cx="14306" cy="17033"/>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88" name="Freeform 794">
                <a:extLst>
                  <a:ext uri="{FF2B5EF4-FFF2-40B4-BE49-F238E27FC236}">
                    <a16:creationId xmlns:a16="http://schemas.microsoft.com/office/drawing/2014/main" id="{FB6C91D5-FBAC-2219-F9C2-216664A485B4}"/>
                  </a:ext>
                </a:extLst>
              </p:cNvPr>
              <p:cNvSpPr>
                <a:spLocks/>
              </p:cNvSpPr>
              <p:nvPr/>
            </p:nvSpPr>
            <p:spPr bwMode="auto">
              <a:xfrm>
                <a:off x="3927743" y="1561643"/>
                <a:ext cx="26823" cy="3784"/>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89" name="Freeform 795">
                <a:extLst>
                  <a:ext uri="{FF2B5EF4-FFF2-40B4-BE49-F238E27FC236}">
                    <a16:creationId xmlns:a16="http://schemas.microsoft.com/office/drawing/2014/main" id="{CDDFE95A-F95B-C921-D613-4773B042E85A}"/>
                  </a:ext>
                </a:extLst>
              </p:cNvPr>
              <p:cNvSpPr>
                <a:spLocks/>
              </p:cNvSpPr>
              <p:nvPr/>
            </p:nvSpPr>
            <p:spPr bwMode="auto">
              <a:xfrm>
                <a:off x="3959931" y="1561643"/>
                <a:ext cx="32188"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90" name="Freeform 796">
                <a:extLst>
                  <a:ext uri="{FF2B5EF4-FFF2-40B4-BE49-F238E27FC236}">
                    <a16:creationId xmlns:a16="http://schemas.microsoft.com/office/drawing/2014/main" id="{ACA5ED78-4CE0-D38A-A6D8-A42BB7AAABF1}"/>
                  </a:ext>
                </a:extLst>
              </p:cNvPr>
              <p:cNvSpPr>
                <a:spLocks/>
              </p:cNvSpPr>
              <p:nvPr/>
            </p:nvSpPr>
            <p:spPr bwMode="auto">
              <a:xfrm>
                <a:off x="4562574" y="1209665"/>
                <a:ext cx="21459" cy="11355"/>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91" name="Freeform 776">
                <a:extLst>
                  <a:ext uri="{FF2B5EF4-FFF2-40B4-BE49-F238E27FC236}">
                    <a16:creationId xmlns:a16="http://schemas.microsoft.com/office/drawing/2014/main" id="{1EFF8240-7A2E-3560-ED62-C9C2781C684F}"/>
                  </a:ext>
                </a:extLst>
              </p:cNvPr>
              <p:cNvSpPr>
                <a:spLocks/>
              </p:cNvSpPr>
              <p:nvPr/>
            </p:nvSpPr>
            <p:spPr bwMode="auto">
              <a:xfrm>
                <a:off x="3917013" y="1160463"/>
                <a:ext cx="1600487" cy="1262207"/>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solidFill>
                <a:schemeClr val="tx2">
                  <a:lumMod val="90000"/>
                </a:schemeClr>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92" name="Freeform 785">
                <a:extLst>
                  <a:ext uri="{FF2B5EF4-FFF2-40B4-BE49-F238E27FC236}">
                    <a16:creationId xmlns:a16="http://schemas.microsoft.com/office/drawing/2014/main" id="{9072000D-6184-12F3-86C0-A9E39A86DCF3}"/>
                  </a:ext>
                </a:extLst>
              </p:cNvPr>
              <p:cNvSpPr>
                <a:spLocks/>
              </p:cNvSpPr>
              <p:nvPr/>
            </p:nvSpPr>
            <p:spPr bwMode="auto">
              <a:xfrm>
                <a:off x="5338676" y="1677076"/>
                <a:ext cx="35765" cy="22709"/>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93" name="Freeform 787">
                <a:extLst>
                  <a:ext uri="{FF2B5EF4-FFF2-40B4-BE49-F238E27FC236}">
                    <a16:creationId xmlns:a16="http://schemas.microsoft.com/office/drawing/2014/main" id="{D989CEE9-539A-B694-F253-CF17397822EB}"/>
                  </a:ext>
                </a:extLst>
              </p:cNvPr>
              <p:cNvSpPr>
                <a:spLocks/>
              </p:cNvSpPr>
              <p:nvPr/>
            </p:nvSpPr>
            <p:spPr bwMode="auto">
              <a:xfrm>
                <a:off x="5175945" y="1788728"/>
                <a:ext cx="46495" cy="17033"/>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94" name="Freeform 526">
                <a:extLst>
                  <a:ext uri="{FF2B5EF4-FFF2-40B4-BE49-F238E27FC236}">
                    <a16:creationId xmlns:a16="http://schemas.microsoft.com/office/drawing/2014/main" id="{3DD57751-A0CA-2646-AD52-144DCCCB8DFE}"/>
                  </a:ext>
                </a:extLst>
              </p:cNvPr>
              <p:cNvSpPr>
                <a:spLocks/>
              </p:cNvSpPr>
              <p:nvPr/>
            </p:nvSpPr>
            <p:spPr bwMode="auto">
              <a:xfrm>
                <a:off x="4065439" y="3800311"/>
                <a:ext cx="51859" cy="22709"/>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95" name="Freeform 527">
                <a:extLst>
                  <a:ext uri="{FF2B5EF4-FFF2-40B4-BE49-F238E27FC236}">
                    <a16:creationId xmlns:a16="http://schemas.microsoft.com/office/drawing/2014/main" id="{C2EC9728-D6C0-C7DF-5674-C14A6936D8C3}"/>
                  </a:ext>
                </a:extLst>
              </p:cNvPr>
              <p:cNvSpPr>
                <a:spLocks/>
              </p:cNvSpPr>
              <p:nvPr/>
            </p:nvSpPr>
            <p:spPr bwMode="auto">
              <a:xfrm>
                <a:off x="3770376" y="3794633"/>
                <a:ext cx="59013" cy="28387"/>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96" name="Freeform 528">
                <a:extLst>
                  <a:ext uri="{FF2B5EF4-FFF2-40B4-BE49-F238E27FC236}">
                    <a16:creationId xmlns:a16="http://schemas.microsoft.com/office/drawing/2014/main" id="{D6866186-F7C9-FCEC-64D0-7A501AAB3C61}"/>
                  </a:ext>
                </a:extLst>
              </p:cNvPr>
              <p:cNvSpPr>
                <a:spLocks/>
              </p:cNvSpPr>
              <p:nvPr/>
            </p:nvSpPr>
            <p:spPr bwMode="auto">
              <a:xfrm>
                <a:off x="3609435" y="3667845"/>
                <a:ext cx="271815" cy="100296"/>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97" name="Freeform 529">
                <a:extLst>
                  <a:ext uri="{FF2B5EF4-FFF2-40B4-BE49-F238E27FC236}">
                    <a16:creationId xmlns:a16="http://schemas.microsoft.com/office/drawing/2014/main" id="{3D5025B6-487E-8D7D-BDFF-4E986E8BAEEC}"/>
                  </a:ext>
                </a:extLst>
              </p:cNvPr>
              <p:cNvSpPr>
                <a:spLocks/>
              </p:cNvSpPr>
              <p:nvPr/>
            </p:nvSpPr>
            <p:spPr bwMode="auto">
              <a:xfrm>
                <a:off x="3770376" y="3607289"/>
                <a:ext cx="21459" cy="20817"/>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98" name="Freeform 530">
                <a:extLst>
                  <a:ext uri="{FF2B5EF4-FFF2-40B4-BE49-F238E27FC236}">
                    <a16:creationId xmlns:a16="http://schemas.microsoft.com/office/drawing/2014/main" id="{F4BB36A2-4BD5-3A1F-7B7F-392572CDB0C3}"/>
                  </a:ext>
                </a:extLst>
              </p:cNvPr>
              <p:cNvSpPr>
                <a:spLocks/>
              </p:cNvSpPr>
              <p:nvPr/>
            </p:nvSpPr>
            <p:spPr bwMode="auto">
              <a:xfrm>
                <a:off x="3902708" y="3722724"/>
                <a:ext cx="10730" cy="11355"/>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399" name="Freeform 631">
                <a:extLst>
                  <a:ext uri="{FF2B5EF4-FFF2-40B4-BE49-F238E27FC236}">
                    <a16:creationId xmlns:a16="http://schemas.microsoft.com/office/drawing/2014/main" id="{A984A669-7965-034D-7E52-7049A85FBCE3}"/>
                  </a:ext>
                </a:extLst>
              </p:cNvPr>
              <p:cNvSpPr>
                <a:spLocks/>
              </p:cNvSpPr>
              <p:nvPr/>
            </p:nvSpPr>
            <p:spPr bwMode="auto">
              <a:xfrm>
                <a:off x="3536115" y="3889252"/>
                <a:ext cx="114449" cy="134357"/>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00" name="Freeform 632">
                <a:extLst>
                  <a:ext uri="{FF2B5EF4-FFF2-40B4-BE49-F238E27FC236}">
                    <a16:creationId xmlns:a16="http://schemas.microsoft.com/office/drawing/2014/main" id="{133B957B-8054-D1E4-0977-2F5EB14C7812}"/>
                  </a:ext>
                </a:extLst>
              </p:cNvPr>
              <p:cNvSpPr>
                <a:spLocks/>
              </p:cNvSpPr>
              <p:nvPr/>
            </p:nvSpPr>
            <p:spPr bwMode="auto">
              <a:xfrm>
                <a:off x="3571882" y="4012254"/>
                <a:ext cx="89412" cy="832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01" name="Freeform 633">
                <a:extLst>
                  <a:ext uri="{FF2B5EF4-FFF2-40B4-BE49-F238E27FC236}">
                    <a16:creationId xmlns:a16="http://schemas.microsoft.com/office/drawing/2014/main" id="{48C91995-10DC-0177-EC73-55EF17257742}"/>
                  </a:ext>
                </a:extLst>
              </p:cNvPr>
              <p:cNvSpPr>
                <a:spLocks/>
              </p:cNvSpPr>
              <p:nvPr/>
            </p:nvSpPr>
            <p:spPr bwMode="auto">
              <a:xfrm>
                <a:off x="3471738" y="3917636"/>
                <a:ext cx="59013" cy="49203"/>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02" name="Freeform 634">
                <a:extLst>
                  <a:ext uri="{FF2B5EF4-FFF2-40B4-BE49-F238E27FC236}">
                    <a16:creationId xmlns:a16="http://schemas.microsoft.com/office/drawing/2014/main" id="{F6FED75C-C221-E492-3E54-D1DE25670E72}"/>
                  </a:ext>
                </a:extLst>
              </p:cNvPr>
              <p:cNvSpPr>
                <a:spLocks/>
              </p:cNvSpPr>
              <p:nvPr/>
            </p:nvSpPr>
            <p:spPr bwMode="auto">
              <a:xfrm>
                <a:off x="3409149" y="3817343"/>
                <a:ext cx="105509" cy="128679"/>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03" name="Freeform 635">
                <a:extLst>
                  <a:ext uri="{FF2B5EF4-FFF2-40B4-BE49-F238E27FC236}">
                    <a16:creationId xmlns:a16="http://schemas.microsoft.com/office/drawing/2014/main" id="{CA22DA11-8721-19C6-E6F1-7676902F0870}"/>
                  </a:ext>
                </a:extLst>
              </p:cNvPr>
              <p:cNvSpPr>
                <a:spLocks/>
              </p:cNvSpPr>
              <p:nvPr/>
            </p:nvSpPr>
            <p:spPr bwMode="auto">
              <a:xfrm>
                <a:off x="2770743" y="3378314"/>
                <a:ext cx="785045" cy="533647"/>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04" name="Freeform 636">
                <a:extLst>
                  <a:ext uri="{FF2B5EF4-FFF2-40B4-BE49-F238E27FC236}">
                    <a16:creationId xmlns:a16="http://schemas.microsoft.com/office/drawing/2014/main" id="{553FC5A7-F9A0-2F7F-6D7A-F03C6558FDF3}"/>
                  </a:ext>
                </a:extLst>
              </p:cNvPr>
              <p:cNvSpPr>
                <a:spLocks/>
              </p:cNvSpPr>
              <p:nvPr/>
            </p:nvSpPr>
            <p:spPr bwMode="auto">
              <a:xfrm>
                <a:off x="3487833" y="3874113"/>
                <a:ext cx="157367" cy="8894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05" name="Freeform 637">
                <a:extLst>
                  <a:ext uri="{FF2B5EF4-FFF2-40B4-BE49-F238E27FC236}">
                    <a16:creationId xmlns:a16="http://schemas.microsoft.com/office/drawing/2014/main" id="{A8777C5D-EF52-22EE-E744-F64D164D5B4D}"/>
                  </a:ext>
                </a:extLst>
              </p:cNvPr>
              <p:cNvSpPr>
                <a:spLocks/>
              </p:cNvSpPr>
              <p:nvPr/>
            </p:nvSpPr>
            <p:spPr bwMode="auto">
              <a:xfrm>
                <a:off x="3487833" y="3800311"/>
                <a:ext cx="37553" cy="832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06" name="Freeform 638">
                <a:extLst>
                  <a:ext uri="{FF2B5EF4-FFF2-40B4-BE49-F238E27FC236}">
                    <a16:creationId xmlns:a16="http://schemas.microsoft.com/office/drawing/2014/main" id="{DE83DE7E-0FDD-F062-4ACF-EACFD0BCF005}"/>
                  </a:ext>
                </a:extLst>
              </p:cNvPr>
              <p:cNvSpPr>
                <a:spLocks/>
              </p:cNvSpPr>
              <p:nvPr/>
            </p:nvSpPr>
            <p:spPr bwMode="auto">
              <a:xfrm>
                <a:off x="3881247" y="3751108"/>
                <a:ext cx="67953" cy="60555"/>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07" name="Freeform 639">
                <a:extLst>
                  <a:ext uri="{FF2B5EF4-FFF2-40B4-BE49-F238E27FC236}">
                    <a16:creationId xmlns:a16="http://schemas.microsoft.com/office/drawing/2014/main" id="{80369369-DED7-D810-B1E6-884A92121BF2}"/>
                  </a:ext>
                </a:extLst>
              </p:cNvPr>
              <p:cNvSpPr>
                <a:spLocks/>
              </p:cNvSpPr>
              <p:nvPr/>
            </p:nvSpPr>
            <p:spPr bwMode="auto">
              <a:xfrm>
                <a:off x="3943837" y="3751108"/>
                <a:ext cx="94778" cy="832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08" name="Freeform 531">
                <a:extLst>
                  <a:ext uri="{FF2B5EF4-FFF2-40B4-BE49-F238E27FC236}">
                    <a16:creationId xmlns:a16="http://schemas.microsoft.com/office/drawing/2014/main" id="{CCBC06BF-5277-2D8E-1479-FCF2F23643AE}"/>
                  </a:ext>
                </a:extLst>
              </p:cNvPr>
              <p:cNvSpPr>
                <a:spLocks/>
              </p:cNvSpPr>
              <p:nvPr/>
            </p:nvSpPr>
            <p:spPr bwMode="auto">
              <a:xfrm>
                <a:off x="4217440" y="2905223"/>
                <a:ext cx="30400" cy="56771"/>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09" name="Freeform 532">
                <a:extLst>
                  <a:ext uri="{FF2B5EF4-FFF2-40B4-BE49-F238E27FC236}">
                    <a16:creationId xmlns:a16="http://schemas.microsoft.com/office/drawing/2014/main" id="{1D448489-D129-C8CE-8690-CD601D8AD491}"/>
                  </a:ext>
                </a:extLst>
              </p:cNvPr>
              <p:cNvSpPr>
                <a:spLocks/>
              </p:cNvSpPr>
              <p:nvPr/>
            </p:nvSpPr>
            <p:spPr bwMode="auto">
              <a:xfrm>
                <a:off x="4231746" y="2933609"/>
                <a:ext cx="37553" cy="22709"/>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10" name="Freeform 533">
                <a:extLst>
                  <a:ext uri="{FF2B5EF4-FFF2-40B4-BE49-F238E27FC236}">
                    <a16:creationId xmlns:a16="http://schemas.microsoft.com/office/drawing/2014/main" id="{1FE5B278-C50B-EF77-1AD5-FC9E25F117D8}"/>
                  </a:ext>
                </a:extLst>
              </p:cNvPr>
              <p:cNvSpPr>
                <a:spLocks/>
              </p:cNvSpPr>
              <p:nvPr/>
            </p:nvSpPr>
            <p:spPr bwMode="auto">
              <a:xfrm>
                <a:off x="4128026" y="2910900"/>
                <a:ext cx="78683" cy="39739"/>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11" name="Freeform 535">
                <a:extLst>
                  <a:ext uri="{FF2B5EF4-FFF2-40B4-BE49-F238E27FC236}">
                    <a16:creationId xmlns:a16="http://schemas.microsoft.com/office/drawing/2014/main" id="{B50C9F67-6189-E2F2-62AA-90E7D6A8D051}"/>
                  </a:ext>
                </a:extLst>
              </p:cNvPr>
              <p:cNvSpPr>
                <a:spLocks/>
              </p:cNvSpPr>
              <p:nvPr/>
            </p:nvSpPr>
            <p:spPr bwMode="auto">
              <a:xfrm>
                <a:off x="4274664" y="2744372"/>
                <a:ext cx="168096" cy="172205"/>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12" name="Freeform 536">
                <a:extLst>
                  <a:ext uri="{FF2B5EF4-FFF2-40B4-BE49-F238E27FC236}">
                    <a16:creationId xmlns:a16="http://schemas.microsoft.com/office/drawing/2014/main" id="{D05EF03F-470B-B792-F1AC-B0AFAF4B06E3}"/>
                  </a:ext>
                </a:extLst>
              </p:cNvPr>
              <p:cNvSpPr>
                <a:spLocks/>
              </p:cNvSpPr>
              <p:nvPr/>
            </p:nvSpPr>
            <p:spPr bwMode="auto">
              <a:xfrm>
                <a:off x="4410572" y="2867374"/>
                <a:ext cx="42917" cy="54878"/>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13" name="Freeform 556">
                <a:extLst>
                  <a:ext uri="{FF2B5EF4-FFF2-40B4-BE49-F238E27FC236}">
                    <a16:creationId xmlns:a16="http://schemas.microsoft.com/office/drawing/2014/main" id="{235ED377-8C44-4BB2-C85C-9FDB51ED9AAD}"/>
                  </a:ext>
                </a:extLst>
              </p:cNvPr>
              <p:cNvSpPr>
                <a:spLocks/>
              </p:cNvSpPr>
              <p:nvPr/>
            </p:nvSpPr>
            <p:spPr bwMode="auto">
              <a:xfrm>
                <a:off x="2464951" y="2772758"/>
                <a:ext cx="152001" cy="105974"/>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14" name="Freeform 557">
                <a:extLst>
                  <a:ext uri="{FF2B5EF4-FFF2-40B4-BE49-F238E27FC236}">
                    <a16:creationId xmlns:a16="http://schemas.microsoft.com/office/drawing/2014/main" id="{186D53CA-0D65-C9B7-FB11-C560AD0458ED}"/>
                  </a:ext>
                </a:extLst>
              </p:cNvPr>
              <p:cNvSpPr>
                <a:spLocks/>
              </p:cNvSpPr>
              <p:nvPr/>
            </p:nvSpPr>
            <p:spPr bwMode="auto">
              <a:xfrm>
                <a:off x="2345139" y="2649754"/>
                <a:ext cx="67953" cy="77587"/>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15" name="Freeform 558">
                <a:extLst>
                  <a:ext uri="{FF2B5EF4-FFF2-40B4-BE49-F238E27FC236}">
                    <a16:creationId xmlns:a16="http://schemas.microsoft.com/office/drawing/2014/main" id="{6EF750A7-A773-3159-5433-971672C045AA}"/>
                  </a:ext>
                </a:extLst>
              </p:cNvPr>
              <p:cNvSpPr>
                <a:spLocks/>
              </p:cNvSpPr>
              <p:nvPr/>
            </p:nvSpPr>
            <p:spPr bwMode="auto">
              <a:xfrm>
                <a:off x="2350505" y="2560812"/>
                <a:ext cx="21459" cy="22709"/>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16" name="Freeform 559">
                <a:extLst>
                  <a:ext uri="{FF2B5EF4-FFF2-40B4-BE49-F238E27FC236}">
                    <a16:creationId xmlns:a16="http://schemas.microsoft.com/office/drawing/2014/main" id="{88F68BD0-9CA3-310D-5730-54162C658429}"/>
                  </a:ext>
                </a:extLst>
              </p:cNvPr>
              <p:cNvSpPr>
                <a:spLocks/>
              </p:cNvSpPr>
              <p:nvPr/>
            </p:nvSpPr>
            <p:spPr bwMode="auto">
              <a:xfrm>
                <a:off x="2323679" y="2534321"/>
                <a:ext cx="32188" cy="32169"/>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17" name="Freeform 560">
                <a:extLst>
                  <a:ext uri="{FF2B5EF4-FFF2-40B4-BE49-F238E27FC236}">
                    <a16:creationId xmlns:a16="http://schemas.microsoft.com/office/drawing/2014/main" id="{46187F02-F0C4-A746-A2B9-95C513DFCE21}"/>
                  </a:ext>
                </a:extLst>
              </p:cNvPr>
              <p:cNvSpPr>
                <a:spLocks/>
              </p:cNvSpPr>
              <p:nvPr/>
            </p:nvSpPr>
            <p:spPr bwMode="auto">
              <a:xfrm>
                <a:off x="2309374" y="2543781"/>
                <a:ext cx="19671" cy="34061"/>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18" name="Freeform 561">
                <a:extLst>
                  <a:ext uri="{FF2B5EF4-FFF2-40B4-BE49-F238E27FC236}">
                    <a16:creationId xmlns:a16="http://schemas.microsoft.com/office/drawing/2014/main" id="{290D807D-32B9-9625-F5D9-29BE23DA22ED}"/>
                  </a:ext>
                </a:extLst>
              </p:cNvPr>
              <p:cNvSpPr>
                <a:spLocks/>
              </p:cNvSpPr>
              <p:nvPr/>
            </p:nvSpPr>
            <p:spPr bwMode="auto">
              <a:xfrm>
                <a:off x="2277185" y="2511610"/>
                <a:ext cx="26823" cy="60555"/>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19" name="Freeform 562">
                <a:extLst>
                  <a:ext uri="{FF2B5EF4-FFF2-40B4-BE49-F238E27FC236}">
                    <a16:creationId xmlns:a16="http://schemas.microsoft.com/office/drawing/2014/main" id="{284B72E0-E07A-A67E-9A16-C02E94927174}"/>
                  </a:ext>
                </a:extLst>
              </p:cNvPr>
              <p:cNvSpPr>
                <a:spLocks/>
              </p:cNvSpPr>
              <p:nvPr/>
            </p:nvSpPr>
            <p:spPr bwMode="auto">
              <a:xfrm>
                <a:off x="2255725" y="2488902"/>
                <a:ext cx="37553" cy="39739"/>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20" name="Freeform 563">
                <a:extLst>
                  <a:ext uri="{FF2B5EF4-FFF2-40B4-BE49-F238E27FC236}">
                    <a16:creationId xmlns:a16="http://schemas.microsoft.com/office/drawing/2014/main" id="{E06DE381-B4AC-FD13-1212-A4A0754EB196}"/>
                  </a:ext>
                </a:extLst>
              </p:cNvPr>
              <p:cNvSpPr>
                <a:spLocks/>
              </p:cNvSpPr>
              <p:nvPr/>
            </p:nvSpPr>
            <p:spPr bwMode="auto">
              <a:xfrm>
                <a:off x="2293279" y="2488902"/>
                <a:ext cx="35765" cy="51094"/>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21" name="Freeform 564">
                <a:extLst>
                  <a:ext uri="{FF2B5EF4-FFF2-40B4-BE49-F238E27FC236}">
                    <a16:creationId xmlns:a16="http://schemas.microsoft.com/office/drawing/2014/main" id="{D0C95C45-B9EC-6EB0-D0DA-D01E34C8443D}"/>
                  </a:ext>
                </a:extLst>
              </p:cNvPr>
              <p:cNvSpPr>
                <a:spLocks/>
              </p:cNvSpPr>
              <p:nvPr/>
            </p:nvSpPr>
            <p:spPr bwMode="auto">
              <a:xfrm>
                <a:off x="2282549" y="2500256"/>
                <a:ext cx="16094" cy="5677"/>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22" name="Freeform 565">
                <a:extLst>
                  <a:ext uri="{FF2B5EF4-FFF2-40B4-BE49-F238E27FC236}">
                    <a16:creationId xmlns:a16="http://schemas.microsoft.com/office/drawing/2014/main" id="{338CB76C-1244-9159-CF1F-0768AEC9EF21}"/>
                  </a:ext>
                </a:extLst>
              </p:cNvPr>
              <p:cNvSpPr>
                <a:spLocks/>
              </p:cNvSpPr>
              <p:nvPr/>
            </p:nvSpPr>
            <p:spPr bwMode="auto">
              <a:xfrm>
                <a:off x="1778262" y="2505934"/>
                <a:ext cx="69741" cy="37847"/>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23" name="Freeform 566">
                <a:extLst>
                  <a:ext uri="{FF2B5EF4-FFF2-40B4-BE49-F238E27FC236}">
                    <a16:creationId xmlns:a16="http://schemas.microsoft.com/office/drawing/2014/main" id="{CAA8B6B8-D3C7-C528-1E98-679200A93190}"/>
                  </a:ext>
                </a:extLst>
              </p:cNvPr>
              <p:cNvSpPr>
                <a:spLocks/>
              </p:cNvSpPr>
              <p:nvPr/>
            </p:nvSpPr>
            <p:spPr bwMode="auto">
              <a:xfrm>
                <a:off x="1805086" y="2471871"/>
                <a:ext cx="42917" cy="39739"/>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24" name="Freeform 567">
                <a:extLst>
                  <a:ext uri="{FF2B5EF4-FFF2-40B4-BE49-F238E27FC236}">
                    <a16:creationId xmlns:a16="http://schemas.microsoft.com/office/drawing/2014/main" id="{E3C44C26-1756-11E3-2678-22DB37AE9C45}"/>
                  </a:ext>
                </a:extLst>
              </p:cNvPr>
              <p:cNvSpPr>
                <a:spLocks/>
              </p:cNvSpPr>
              <p:nvPr/>
            </p:nvSpPr>
            <p:spPr bwMode="auto">
              <a:xfrm>
                <a:off x="1506447" y="2623259"/>
                <a:ext cx="51859" cy="20817"/>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25" name="Freeform 568">
                <a:extLst>
                  <a:ext uri="{FF2B5EF4-FFF2-40B4-BE49-F238E27FC236}">
                    <a16:creationId xmlns:a16="http://schemas.microsoft.com/office/drawing/2014/main" id="{049EB130-1A7E-C69A-729C-83CF8AE6FD0C}"/>
                  </a:ext>
                </a:extLst>
              </p:cNvPr>
              <p:cNvSpPr>
                <a:spLocks/>
              </p:cNvSpPr>
              <p:nvPr/>
            </p:nvSpPr>
            <p:spPr bwMode="auto">
              <a:xfrm>
                <a:off x="1443858" y="2655430"/>
                <a:ext cx="30400" cy="28387"/>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26" name="Freeform 576">
                <a:extLst>
                  <a:ext uri="{FF2B5EF4-FFF2-40B4-BE49-F238E27FC236}">
                    <a16:creationId xmlns:a16="http://schemas.microsoft.com/office/drawing/2014/main" id="{45AA117D-314C-6C7F-98FA-0D420AD606AC}"/>
                  </a:ext>
                </a:extLst>
              </p:cNvPr>
              <p:cNvSpPr>
                <a:spLocks/>
              </p:cNvSpPr>
              <p:nvPr/>
            </p:nvSpPr>
            <p:spPr bwMode="auto">
              <a:xfrm>
                <a:off x="2534694" y="1728172"/>
                <a:ext cx="282545" cy="183559"/>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27" name="Freeform 580">
                <a:extLst>
                  <a:ext uri="{FF2B5EF4-FFF2-40B4-BE49-F238E27FC236}">
                    <a16:creationId xmlns:a16="http://schemas.microsoft.com/office/drawing/2014/main" id="{C05321C2-D75A-3A4E-7978-D0F1A7559DCC}"/>
                  </a:ext>
                </a:extLst>
              </p:cNvPr>
              <p:cNvSpPr>
                <a:spLocks/>
              </p:cNvSpPr>
              <p:nvPr/>
            </p:nvSpPr>
            <p:spPr bwMode="auto">
              <a:xfrm>
                <a:off x="2613377" y="1555968"/>
                <a:ext cx="193132" cy="9461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28" name="Freeform 607">
                <a:extLst>
                  <a:ext uri="{FF2B5EF4-FFF2-40B4-BE49-F238E27FC236}">
                    <a16:creationId xmlns:a16="http://schemas.microsoft.com/office/drawing/2014/main" id="{958EE6F7-3A3F-FEF3-912A-4ED8ABBF4744}"/>
                  </a:ext>
                </a:extLst>
              </p:cNvPr>
              <p:cNvSpPr>
                <a:spLocks/>
              </p:cNvSpPr>
              <p:nvPr/>
            </p:nvSpPr>
            <p:spPr bwMode="auto">
              <a:xfrm>
                <a:off x="1957087" y="2405638"/>
                <a:ext cx="26823" cy="22709"/>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29" name="Freeform 608">
                <a:extLst>
                  <a:ext uri="{FF2B5EF4-FFF2-40B4-BE49-F238E27FC236}">
                    <a16:creationId xmlns:a16="http://schemas.microsoft.com/office/drawing/2014/main" id="{729E91E8-406F-56EF-3CB9-3F22F1CA5273}"/>
                  </a:ext>
                </a:extLst>
              </p:cNvPr>
              <p:cNvSpPr>
                <a:spLocks/>
              </p:cNvSpPr>
              <p:nvPr/>
            </p:nvSpPr>
            <p:spPr bwMode="auto">
              <a:xfrm>
                <a:off x="1994642" y="2399960"/>
                <a:ext cx="5366" cy="567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30" name="Freeform 609">
                <a:extLst>
                  <a:ext uri="{FF2B5EF4-FFF2-40B4-BE49-F238E27FC236}">
                    <a16:creationId xmlns:a16="http://schemas.microsoft.com/office/drawing/2014/main" id="{C82802DC-2353-3B27-47D7-9E4FC260B974}"/>
                  </a:ext>
                </a:extLst>
              </p:cNvPr>
              <p:cNvSpPr>
                <a:spLocks/>
              </p:cNvSpPr>
              <p:nvPr/>
            </p:nvSpPr>
            <p:spPr bwMode="auto">
              <a:xfrm>
                <a:off x="1459952" y="2405638"/>
                <a:ext cx="35765" cy="34061"/>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31" name="Freeform 615">
                <a:extLst>
                  <a:ext uri="{FF2B5EF4-FFF2-40B4-BE49-F238E27FC236}">
                    <a16:creationId xmlns:a16="http://schemas.microsoft.com/office/drawing/2014/main" id="{A7F29F26-213D-D68C-40F2-721B726A6B80}"/>
                  </a:ext>
                </a:extLst>
              </p:cNvPr>
              <p:cNvSpPr>
                <a:spLocks/>
              </p:cNvSpPr>
              <p:nvPr/>
            </p:nvSpPr>
            <p:spPr bwMode="auto">
              <a:xfrm>
                <a:off x="3650564" y="2950639"/>
                <a:ext cx="37553" cy="17033"/>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32" name="Freeform 640">
                <a:extLst>
                  <a:ext uri="{FF2B5EF4-FFF2-40B4-BE49-F238E27FC236}">
                    <a16:creationId xmlns:a16="http://schemas.microsoft.com/office/drawing/2014/main" id="{E2A35CE7-F25A-703D-D337-BBBFE6F13CB0}"/>
                  </a:ext>
                </a:extLst>
              </p:cNvPr>
              <p:cNvSpPr>
                <a:spLocks/>
              </p:cNvSpPr>
              <p:nvPr/>
            </p:nvSpPr>
            <p:spPr bwMode="auto">
              <a:xfrm>
                <a:off x="1417035" y="1900376"/>
                <a:ext cx="1017518" cy="722883"/>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solidFill>
                <a:srgbClr val="0083B8"/>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33" name="Freeform 641">
                <a:extLst>
                  <a:ext uri="{FF2B5EF4-FFF2-40B4-BE49-F238E27FC236}">
                    <a16:creationId xmlns:a16="http://schemas.microsoft.com/office/drawing/2014/main" id="{C0FDA7D5-D6A6-F31F-8A59-264EBAB22A4B}"/>
                  </a:ext>
                </a:extLst>
              </p:cNvPr>
              <p:cNvSpPr>
                <a:spLocks/>
              </p:cNvSpPr>
              <p:nvPr/>
            </p:nvSpPr>
            <p:spPr bwMode="auto">
              <a:xfrm>
                <a:off x="2565093" y="2821957"/>
                <a:ext cx="1514651" cy="794793"/>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solidFill>
                <a:srgbClr val="0083B8"/>
              </a:solid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34" name="Freeform 642">
                <a:extLst>
                  <a:ext uri="{FF2B5EF4-FFF2-40B4-BE49-F238E27FC236}">
                    <a16:creationId xmlns:a16="http://schemas.microsoft.com/office/drawing/2014/main" id="{5BAAD5C4-8283-7B57-10DF-A91B496470FF}"/>
                  </a:ext>
                </a:extLst>
              </p:cNvPr>
              <p:cNvSpPr>
                <a:spLocks noEditPoints="1"/>
              </p:cNvSpPr>
              <p:nvPr/>
            </p:nvSpPr>
            <p:spPr bwMode="auto">
              <a:xfrm>
                <a:off x="2141278" y="1866315"/>
                <a:ext cx="2237105" cy="1216791"/>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solidFill>
                <a:schemeClr val="accent2">
                  <a:lumMod val="10000"/>
                  <a:lumOff val="90000"/>
                </a:schemeClr>
              </a:solidFill>
              <a:ln w="3175" cap="flat">
                <a:solidFill>
                  <a:schemeClr val="bg2">
                    <a:lumMod val="40000"/>
                    <a:lumOff val="60000"/>
                  </a:schemeClr>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sp>
            <p:nvSpPr>
              <p:cNvPr id="2435" name="Freeform 797">
                <a:extLst>
                  <a:ext uri="{FF2B5EF4-FFF2-40B4-BE49-F238E27FC236}">
                    <a16:creationId xmlns:a16="http://schemas.microsoft.com/office/drawing/2014/main" id="{549B9C1C-6A9B-122C-A014-ADA3697F14D8}"/>
                  </a:ext>
                </a:extLst>
              </p:cNvPr>
              <p:cNvSpPr>
                <a:spLocks/>
              </p:cNvSpPr>
              <p:nvPr/>
            </p:nvSpPr>
            <p:spPr bwMode="auto">
              <a:xfrm>
                <a:off x="2329039" y="2566470"/>
                <a:ext cx="48283" cy="66233"/>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3175" cap="flat">
                <a:solidFill>
                  <a:schemeClr val="bg1"/>
                </a:solid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Calibri" panose="020F0502020204030204" pitchFamily="34" charset="0"/>
                </a:endParaRPr>
              </a:p>
            </p:txBody>
          </p:sp>
        </p:grpSp>
        <p:sp>
          <p:nvSpPr>
            <p:cNvPr id="18" name="TextBox 17">
              <a:extLst>
                <a:ext uri="{FF2B5EF4-FFF2-40B4-BE49-F238E27FC236}">
                  <a16:creationId xmlns:a16="http://schemas.microsoft.com/office/drawing/2014/main" id="{D591AB77-00B1-559A-D488-391070AD0038}"/>
                </a:ext>
              </a:extLst>
            </p:cNvPr>
            <p:cNvSpPr txBox="1"/>
            <p:nvPr/>
          </p:nvSpPr>
          <p:spPr bwMode="gray">
            <a:xfrm>
              <a:off x="2924177" y="3052597"/>
              <a:ext cx="678948" cy="299807"/>
            </a:xfrm>
            <a:prstGeom prst="rect">
              <a:avLst/>
            </a:prstGeom>
            <a:noFill/>
          </p:spPr>
          <p:txBody>
            <a:bodyPr wrap="square">
              <a:spAutoFit/>
            </a:bodyPr>
            <a:lstStyle/>
            <a:p>
              <a:r>
                <a:rPr lang="en-US" sz="900" b="1"/>
                <a:t>U.S.</a:t>
              </a:r>
              <a:endParaRPr lang="en-US" sz="900"/>
            </a:p>
          </p:txBody>
        </p:sp>
        <p:sp>
          <p:nvSpPr>
            <p:cNvPr id="19" name="TextBox 18">
              <a:extLst>
                <a:ext uri="{FF2B5EF4-FFF2-40B4-BE49-F238E27FC236}">
                  <a16:creationId xmlns:a16="http://schemas.microsoft.com/office/drawing/2014/main" id="{644D8999-09DA-2AF2-298B-88FA5948574B}"/>
                </a:ext>
              </a:extLst>
            </p:cNvPr>
            <p:cNvSpPr txBox="1"/>
            <p:nvPr/>
          </p:nvSpPr>
          <p:spPr bwMode="gray">
            <a:xfrm>
              <a:off x="2666999" y="2423947"/>
              <a:ext cx="936126" cy="299807"/>
            </a:xfrm>
            <a:prstGeom prst="rect">
              <a:avLst/>
            </a:prstGeom>
            <a:noFill/>
          </p:spPr>
          <p:txBody>
            <a:bodyPr wrap="square">
              <a:spAutoFit/>
            </a:bodyPr>
            <a:lstStyle/>
            <a:p>
              <a:r>
                <a:rPr lang="en-US" sz="900" b="1"/>
                <a:t>Canada</a:t>
              </a:r>
              <a:endParaRPr lang="en-US" sz="900"/>
            </a:p>
          </p:txBody>
        </p:sp>
        <p:sp>
          <p:nvSpPr>
            <p:cNvPr id="20" name="TextBox 19">
              <a:extLst>
                <a:ext uri="{FF2B5EF4-FFF2-40B4-BE49-F238E27FC236}">
                  <a16:creationId xmlns:a16="http://schemas.microsoft.com/office/drawing/2014/main" id="{CBE7FBFD-4FA0-A909-845D-B066315B9A1B}"/>
                </a:ext>
              </a:extLst>
            </p:cNvPr>
            <p:cNvSpPr txBox="1"/>
            <p:nvPr/>
          </p:nvSpPr>
          <p:spPr bwMode="gray">
            <a:xfrm>
              <a:off x="8896351" y="4900446"/>
              <a:ext cx="942975" cy="255239"/>
            </a:xfrm>
            <a:prstGeom prst="rect">
              <a:avLst/>
            </a:prstGeom>
            <a:noFill/>
          </p:spPr>
          <p:txBody>
            <a:bodyPr wrap="square">
              <a:spAutoFit/>
            </a:bodyPr>
            <a:lstStyle/>
            <a:p>
              <a:r>
                <a:rPr lang="en-US" sz="900" b="1"/>
                <a:t>Australia</a:t>
              </a:r>
              <a:endParaRPr lang="en-US" sz="900"/>
            </a:p>
          </p:txBody>
        </p:sp>
        <p:sp>
          <p:nvSpPr>
            <p:cNvPr id="21" name="TextBox 20">
              <a:extLst>
                <a:ext uri="{FF2B5EF4-FFF2-40B4-BE49-F238E27FC236}">
                  <a16:creationId xmlns:a16="http://schemas.microsoft.com/office/drawing/2014/main" id="{13105E9C-71C4-A403-DE05-824F960F2CD2}"/>
                </a:ext>
              </a:extLst>
            </p:cNvPr>
            <p:cNvSpPr txBox="1"/>
            <p:nvPr/>
          </p:nvSpPr>
          <p:spPr bwMode="gray">
            <a:xfrm>
              <a:off x="9925050" y="5059333"/>
              <a:ext cx="1095375" cy="255239"/>
            </a:xfrm>
            <a:prstGeom prst="rect">
              <a:avLst/>
            </a:prstGeom>
            <a:noFill/>
          </p:spPr>
          <p:txBody>
            <a:bodyPr wrap="square">
              <a:spAutoFit/>
            </a:bodyPr>
            <a:lstStyle/>
            <a:p>
              <a:r>
                <a:rPr lang="en-US" sz="900" b="1"/>
                <a:t>New Zealand</a:t>
              </a:r>
              <a:endParaRPr lang="en-US" sz="900"/>
            </a:p>
          </p:txBody>
        </p:sp>
        <p:sp>
          <p:nvSpPr>
            <p:cNvPr id="22" name="TextBox 21">
              <a:extLst>
                <a:ext uri="{FF2B5EF4-FFF2-40B4-BE49-F238E27FC236}">
                  <a16:creationId xmlns:a16="http://schemas.microsoft.com/office/drawing/2014/main" id="{22D6613A-D684-BC6F-D8C3-130551098A58}"/>
                </a:ext>
              </a:extLst>
            </p:cNvPr>
            <p:cNvSpPr txBox="1"/>
            <p:nvPr/>
          </p:nvSpPr>
          <p:spPr bwMode="gray">
            <a:xfrm>
              <a:off x="8172448" y="3151230"/>
              <a:ext cx="1095375" cy="255239"/>
            </a:xfrm>
            <a:prstGeom prst="rect">
              <a:avLst/>
            </a:prstGeom>
            <a:noFill/>
          </p:spPr>
          <p:txBody>
            <a:bodyPr wrap="square">
              <a:spAutoFit/>
            </a:bodyPr>
            <a:lstStyle/>
            <a:p>
              <a:r>
                <a:rPr lang="en-US" sz="900" b="1"/>
                <a:t>China</a:t>
              </a:r>
              <a:endParaRPr lang="en-US" sz="900"/>
            </a:p>
          </p:txBody>
        </p:sp>
        <p:sp>
          <p:nvSpPr>
            <p:cNvPr id="23" name="TextBox 22">
              <a:extLst>
                <a:ext uri="{FF2B5EF4-FFF2-40B4-BE49-F238E27FC236}">
                  <a16:creationId xmlns:a16="http://schemas.microsoft.com/office/drawing/2014/main" id="{8DD5C426-2145-CEFB-9E1F-D0DAEE22E1AF}"/>
                </a:ext>
              </a:extLst>
            </p:cNvPr>
            <p:cNvSpPr txBox="1"/>
            <p:nvPr/>
          </p:nvSpPr>
          <p:spPr bwMode="gray">
            <a:xfrm>
              <a:off x="7624761" y="3532230"/>
              <a:ext cx="1095375" cy="255239"/>
            </a:xfrm>
            <a:prstGeom prst="rect">
              <a:avLst/>
            </a:prstGeom>
            <a:noFill/>
          </p:spPr>
          <p:txBody>
            <a:bodyPr wrap="square">
              <a:spAutoFit/>
            </a:bodyPr>
            <a:lstStyle/>
            <a:p>
              <a:r>
                <a:rPr lang="en-US" sz="900" b="1"/>
                <a:t>India</a:t>
              </a:r>
              <a:endParaRPr lang="en-US" sz="900"/>
            </a:p>
          </p:txBody>
        </p:sp>
        <p:sp>
          <p:nvSpPr>
            <p:cNvPr id="24" name="TextBox 23">
              <a:extLst>
                <a:ext uri="{FF2B5EF4-FFF2-40B4-BE49-F238E27FC236}">
                  <a16:creationId xmlns:a16="http://schemas.microsoft.com/office/drawing/2014/main" id="{6801994B-B3B7-1D98-A1E4-EE43A3F09DBA}"/>
                </a:ext>
              </a:extLst>
            </p:cNvPr>
            <p:cNvSpPr txBox="1"/>
            <p:nvPr/>
          </p:nvSpPr>
          <p:spPr bwMode="gray">
            <a:xfrm>
              <a:off x="9125170" y="3186121"/>
              <a:ext cx="1095375" cy="255240"/>
            </a:xfrm>
            <a:prstGeom prst="rect">
              <a:avLst/>
            </a:prstGeom>
            <a:noFill/>
          </p:spPr>
          <p:txBody>
            <a:bodyPr wrap="square">
              <a:spAutoFit/>
            </a:bodyPr>
            <a:lstStyle/>
            <a:p>
              <a:r>
                <a:rPr lang="en-US" sz="900" b="1" dirty="0"/>
                <a:t>Japan</a:t>
              </a:r>
              <a:endParaRPr lang="en-US" sz="900" dirty="0"/>
            </a:p>
          </p:txBody>
        </p:sp>
        <p:sp>
          <p:nvSpPr>
            <p:cNvPr id="25" name="TextBox 24">
              <a:extLst>
                <a:ext uri="{FF2B5EF4-FFF2-40B4-BE49-F238E27FC236}">
                  <a16:creationId xmlns:a16="http://schemas.microsoft.com/office/drawing/2014/main" id="{C65C23CA-6CA7-6042-3AA5-737E59F32C33}"/>
                </a:ext>
              </a:extLst>
            </p:cNvPr>
            <p:cNvSpPr txBox="1"/>
            <p:nvPr/>
          </p:nvSpPr>
          <p:spPr bwMode="gray">
            <a:xfrm>
              <a:off x="6378284" y="3344482"/>
              <a:ext cx="1095375" cy="255240"/>
            </a:xfrm>
            <a:prstGeom prst="rect">
              <a:avLst/>
            </a:prstGeom>
            <a:noFill/>
          </p:spPr>
          <p:txBody>
            <a:bodyPr wrap="square">
              <a:spAutoFit/>
            </a:bodyPr>
            <a:lstStyle/>
            <a:p>
              <a:r>
                <a:rPr lang="en-US" sz="900" b="1"/>
                <a:t>Israel</a:t>
              </a:r>
              <a:endParaRPr lang="en-US" sz="900"/>
            </a:p>
          </p:txBody>
        </p:sp>
        <p:sp>
          <p:nvSpPr>
            <p:cNvPr id="26" name="TextBox 25">
              <a:extLst>
                <a:ext uri="{FF2B5EF4-FFF2-40B4-BE49-F238E27FC236}">
                  <a16:creationId xmlns:a16="http://schemas.microsoft.com/office/drawing/2014/main" id="{17310022-DAD3-ED0F-C82D-40EC414BB1BA}"/>
                </a:ext>
              </a:extLst>
            </p:cNvPr>
            <p:cNvSpPr txBox="1"/>
            <p:nvPr/>
          </p:nvSpPr>
          <p:spPr bwMode="gray">
            <a:xfrm>
              <a:off x="5881341" y="2617880"/>
              <a:ext cx="1095375" cy="255240"/>
            </a:xfrm>
            <a:prstGeom prst="rect">
              <a:avLst/>
            </a:prstGeom>
            <a:noFill/>
          </p:spPr>
          <p:txBody>
            <a:bodyPr wrap="square">
              <a:spAutoFit/>
            </a:bodyPr>
            <a:lstStyle/>
            <a:p>
              <a:r>
                <a:rPr lang="en-US" sz="900" b="1"/>
                <a:t>Germany</a:t>
              </a:r>
              <a:endParaRPr lang="en-US" sz="900"/>
            </a:p>
          </p:txBody>
        </p:sp>
        <p:sp>
          <p:nvSpPr>
            <p:cNvPr id="27" name="TextBox 26">
              <a:extLst>
                <a:ext uri="{FF2B5EF4-FFF2-40B4-BE49-F238E27FC236}">
                  <a16:creationId xmlns:a16="http://schemas.microsoft.com/office/drawing/2014/main" id="{7CD3E4DD-A0EC-612A-D6D6-A1A6E846BAD2}"/>
                </a:ext>
              </a:extLst>
            </p:cNvPr>
            <p:cNvSpPr txBox="1"/>
            <p:nvPr/>
          </p:nvSpPr>
          <p:spPr bwMode="gray">
            <a:xfrm>
              <a:off x="5338038" y="2820198"/>
              <a:ext cx="1095373" cy="255240"/>
            </a:xfrm>
            <a:prstGeom prst="rect">
              <a:avLst/>
            </a:prstGeom>
            <a:noFill/>
          </p:spPr>
          <p:txBody>
            <a:bodyPr wrap="square">
              <a:spAutoFit/>
            </a:bodyPr>
            <a:lstStyle/>
            <a:p>
              <a:r>
                <a:rPr lang="en-US" sz="900" b="1"/>
                <a:t>France</a:t>
              </a:r>
              <a:endParaRPr lang="en-US" sz="900"/>
            </a:p>
          </p:txBody>
        </p:sp>
        <p:sp>
          <p:nvSpPr>
            <p:cNvPr id="28" name="TextBox 27">
              <a:extLst>
                <a:ext uri="{FF2B5EF4-FFF2-40B4-BE49-F238E27FC236}">
                  <a16:creationId xmlns:a16="http://schemas.microsoft.com/office/drawing/2014/main" id="{221051BC-70DC-647A-D315-D717041B1FF7}"/>
                </a:ext>
              </a:extLst>
            </p:cNvPr>
            <p:cNvSpPr txBox="1"/>
            <p:nvPr/>
          </p:nvSpPr>
          <p:spPr bwMode="gray">
            <a:xfrm>
              <a:off x="5456076" y="2466587"/>
              <a:ext cx="1095375" cy="299807"/>
            </a:xfrm>
            <a:prstGeom prst="rect">
              <a:avLst/>
            </a:prstGeom>
            <a:noFill/>
          </p:spPr>
          <p:txBody>
            <a:bodyPr wrap="square">
              <a:spAutoFit/>
            </a:bodyPr>
            <a:lstStyle/>
            <a:p>
              <a:r>
                <a:rPr lang="en-US" sz="900" b="1"/>
                <a:t>U.K.</a:t>
              </a:r>
              <a:endParaRPr lang="en-US" sz="900"/>
            </a:p>
          </p:txBody>
        </p:sp>
        <p:sp>
          <p:nvSpPr>
            <p:cNvPr id="29" name="TextBox 28">
              <a:extLst>
                <a:ext uri="{FF2B5EF4-FFF2-40B4-BE49-F238E27FC236}">
                  <a16:creationId xmlns:a16="http://schemas.microsoft.com/office/drawing/2014/main" id="{F9890460-5F3F-0F7D-9938-E6E1F2FA68BC}"/>
                </a:ext>
              </a:extLst>
            </p:cNvPr>
            <p:cNvSpPr txBox="1"/>
            <p:nvPr/>
          </p:nvSpPr>
          <p:spPr bwMode="gray">
            <a:xfrm>
              <a:off x="5766649" y="2033226"/>
              <a:ext cx="1095375" cy="255239"/>
            </a:xfrm>
            <a:prstGeom prst="rect">
              <a:avLst/>
            </a:prstGeom>
            <a:noFill/>
          </p:spPr>
          <p:txBody>
            <a:bodyPr wrap="square">
              <a:spAutoFit/>
            </a:bodyPr>
            <a:lstStyle/>
            <a:p>
              <a:r>
                <a:rPr lang="en-US" sz="900" b="1"/>
                <a:t>Sweden</a:t>
              </a:r>
              <a:endParaRPr lang="en-US" sz="900"/>
            </a:p>
          </p:txBody>
        </p:sp>
        <p:sp>
          <p:nvSpPr>
            <p:cNvPr id="32" name="TextBox 31">
              <a:extLst>
                <a:ext uri="{FF2B5EF4-FFF2-40B4-BE49-F238E27FC236}">
                  <a16:creationId xmlns:a16="http://schemas.microsoft.com/office/drawing/2014/main" id="{7080E7BC-EAD5-6633-4707-CC3959BBEBBE}"/>
                </a:ext>
              </a:extLst>
            </p:cNvPr>
            <p:cNvSpPr txBox="1"/>
            <p:nvPr/>
          </p:nvSpPr>
          <p:spPr bwMode="gray">
            <a:xfrm>
              <a:off x="5917518" y="2899588"/>
              <a:ext cx="1095375" cy="255240"/>
            </a:xfrm>
            <a:prstGeom prst="rect">
              <a:avLst/>
            </a:prstGeom>
            <a:noFill/>
          </p:spPr>
          <p:txBody>
            <a:bodyPr wrap="square">
              <a:spAutoFit/>
            </a:bodyPr>
            <a:lstStyle/>
            <a:p>
              <a:r>
                <a:rPr lang="en-US" sz="900" b="1"/>
                <a:t>Switzerland</a:t>
              </a:r>
              <a:endParaRPr lang="en-US" sz="900"/>
            </a:p>
          </p:txBody>
        </p:sp>
        <p:sp>
          <p:nvSpPr>
            <p:cNvPr id="33" name="Flowchart: Connector 32">
              <a:extLst>
                <a:ext uri="{FF2B5EF4-FFF2-40B4-BE49-F238E27FC236}">
                  <a16:creationId xmlns:a16="http://schemas.microsoft.com/office/drawing/2014/main" id="{C0566F58-A7A1-3D49-C495-B5165092C545}"/>
                </a:ext>
              </a:extLst>
            </p:cNvPr>
            <p:cNvSpPr/>
            <p:nvPr/>
          </p:nvSpPr>
          <p:spPr bwMode="gray">
            <a:xfrm>
              <a:off x="2739909" y="3069908"/>
              <a:ext cx="264822" cy="261279"/>
            </a:xfrm>
            <a:prstGeom prst="flowChartConnector">
              <a:avLst/>
            </a:prstGeom>
            <a:solidFill>
              <a:schemeClr val="tx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indent="0" algn="ctr">
                <a:buNone/>
              </a:pPr>
              <a:r>
                <a:rPr lang="en-US" sz="900" b="1">
                  <a:solidFill>
                    <a:schemeClr val="bg1"/>
                  </a:solidFill>
                </a:rPr>
                <a:t>29</a:t>
              </a:r>
            </a:p>
          </p:txBody>
        </p:sp>
        <p:sp>
          <p:nvSpPr>
            <p:cNvPr id="34" name="Flowchart: Connector 33">
              <a:extLst>
                <a:ext uri="{FF2B5EF4-FFF2-40B4-BE49-F238E27FC236}">
                  <a16:creationId xmlns:a16="http://schemas.microsoft.com/office/drawing/2014/main" id="{DAF3B548-C203-AED4-5C19-EBBE2B059EEF}"/>
                </a:ext>
              </a:extLst>
            </p:cNvPr>
            <p:cNvSpPr/>
            <p:nvPr/>
          </p:nvSpPr>
          <p:spPr bwMode="gray">
            <a:xfrm>
              <a:off x="2511417" y="2430038"/>
              <a:ext cx="264822" cy="261279"/>
            </a:xfrm>
            <a:prstGeom prst="flowChartConnector">
              <a:avLst/>
            </a:prstGeom>
            <a:solidFill>
              <a:schemeClr val="tx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bg1"/>
                  </a:solidFill>
                </a:rPr>
                <a:t>1</a:t>
              </a:r>
            </a:p>
          </p:txBody>
        </p:sp>
        <p:sp>
          <p:nvSpPr>
            <p:cNvPr id="35" name="Flowchart: Connector 34">
              <a:extLst>
                <a:ext uri="{FF2B5EF4-FFF2-40B4-BE49-F238E27FC236}">
                  <a16:creationId xmlns:a16="http://schemas.microsoft.com/office/drawing/2014/main" id="{849AC7AC-F099-76F2-F183-5F3AAEED7319}"/>
                </a:ext>
              </a:extLst>
            </p:cNvPr>
            <p:cNvSpPr/>
            <p:nvPr/>
          </p:nvSpPr>
          <p:spPr bwMode="gray">
            <a:xfrm>
              <a:off x="5287345" y="2419538"/>
              <a:ext cx="264822" cy="261279"/>
            </a:xfrm>
            <a:prstGeom prst="flowChartConnector">
              <a:avLst/>
            </a:prstGeom>
            <a:solidFill>
              <a:schemeClr val="tx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bg1"/>
                  </a:solidFill>
                </a:rPr>
                <a:t>4</a:t>
              </a:r>
            </a:p>
          </p:txBody>
        </p:sp>
        <p:sp>
          <p:nvSpPr>
            <p:cNvPr id="36" name="Flowchart: Connector 35">
              <a:extLst>
                <a:ext uri="{FF2B5EF4-FFF2-40B4-BE49-F238E27FC236}">
                  <a16:creationId xmlns:a16="http://schemas.microsoft.com/office/drawing/2014/main" id="{78BE88D9-E34C-AFB6-62AA-CFFF4F4AD930}"/>
                </a:ext>
              </a:extLst>
            </p:cNvPr>
            <p:cNvSpPr/>
            <p:nvPr/>
          </p:nvSpPr>
          <p:spPr bwMode="gray">
            <a:xfrm>
              <a:off x="5880571" y="2274165"/>
              <a:ext cx="264822" cy="261279"/>
            </a:xfrm>
            <a:prstGeom prst="flowChartConnector">
              <a:avLst/>
            </a:prstGeom>
            <a:solidFill>
              <a:schemeClr val="tx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bg1"/>
                  </a:solidFill>
                </a:rPr>
                <a:t>1</a:t>
              </a:r>
            </a:p>
          </p:txBody>
        </p:sp>
        <p:sp>
          <p:nvSpPr>
            <p:cNvPr id="38" name="Flowchart: Connector 37">
              <a:extLst>
                <a:ext uri="{FF2B5EF4-FFF2-40B4-BE49-F238E27FC236}">
                  <a16:creationId xmlns:a16="http://schemas.microsoft.com/office/drawing/2014/main" id="{15B6A1DA-542A-CFCD-A3C9-65341D8B2E4A}"/>
                </a:ext>
              </a:extLst>
            </p:cNvPr>
            <p:cNvSpPr/>
            <p:nvPr/>
          </p:nvSpPr>
          <p:spPr bwMode="gray">
            <a:xfrm>
              <a:off x="6548189" y="2465066"/>
              <a:ext cx="264822" cy="261279"/>
            </a:xfrm>
            <a:prstGeom prst="flowChartConnector">
              <a:avLst/>
            </a:prstGeom>
            <a:solidFill>
              <a:schemeClr val="tx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bg1"/>
                  </a:solidFill>
                </a:rPr>
                <a:t>3</a:t>
              </a:r>
            </a:p>
          </p:txBody>
        </p:sp>
        <p:sp>
          <p:nvSpPr>
            <p:cNvPr id="39" name="Flowchart: Connector 38">
              <a:extLst>
                <a:ext uri="{FF2B5EF4-FFF2-40B4-BE49-F238E27FC236}">
                  <a16:creationId xmlns:a16="http://schemas.microsoft.com/office/drawing/2014/main" id="{8A5466E0-9053-66C5-FD93-2DCCE342F507}"/>
                </a:ext>
              </a:extLst>
            </p:cNvPr>
            <p:cNvSpPr/>
            <p:nvPr/>
          </p:nvSpPr>
          <p:spPr bwMode="gray">
            <a:xfrm>
              <a:off x="5175159" y="2857817"/>
              <a:ext cx="264822" cy="261279"/>
            </a:xfrm>
            <a:prstGeom prst="flowChartConnector">
              <a:avLst/>
            </a:prstGeom>
            <a:solidFill>
              <a:schemeClr val="tx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bg1"/>
                  </a:solidFill>
                </a:rPr>
                <a:t>3</a:t>
              </a:r>
            </a:p>
          </p:txBody>
        </p:sp>
        <p:sp>
          <p:nvSpPr>
            <p:cNvPr id="41" name="Flowchart: Connector 40">
              <a:extLst>
                <a:ext uri="{FF2B5EF4-FFF2-40B4-BE49-F238E27FC236}">
                  <a16:creationId xmlns:a16="http://schemas.microsoft.com/office/drawing/2014/main" id="{FA145FB8-7F7A-A2F6-D170-4639B1E67F8F}"/>
                </a:ext>
              </a:extLst>
            </p:cNvPr>
            <p:cNvSpPr/>
            <p:nvPr/>
          </p:nvSpPr>
          <p:spPr bwMode="gray">
            <a:xfrm>
              <a:off x="6770675" y="2679738"/>
              <a:ext cx="264822" cy="261279"/>
            </a:xfrm>
            <a:prstGeom prst="flowChartConnector">
              <a:avLst/>
            </a:prstGeom>
            <a:solidFill>
              <a:schemeClr val="tx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bg1"/>
                  </a:solidFill>
                </a:rPr>
                <a:t>1</a:t>
              </a:r>
            </a:p>
          </p:txBody>
        </p:sp>
        <p:sp>
          <p:nvSpPr>
            <p:cNvPr id="42" name="Flowchart: Connector 41">
              <a:extLst>
                <a:ext uri="{FF2B5EF4-FFF2-40B4-BE49-F238E27FC236}">
                  <a16:creationId xmlns:a16="http://schemas.microsoft.com/office/drawing/2014/main" id="{3A141BCC-1F38-4486-BD3F-036404FB4874}"/>
                </a:ext>
              </a:extLst>
            </p:cNvPr>
            <p:cNvSpPr/>
            <p:nvPr/>
          </p:nvSpPr>
          <p:spPr bwMode="gray">
            <a:xfrm>
              <a:off x="6220125" y="3305166"/>
              <a:ext cx="264822" cy="261279"/>
            </a:xfrm>
            <a:prstGeom prst="flowChartConnector">
              <a:avLst/>
            </a:prstGeom>
            <a:solidFill>
              <a:schemeClr val="tx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bg1"/>
                  </a:solidFill>
                </a:rPr>
                <a:t>1</a:t>
              </a:r>
            </a:p>
          </p:txBody>
        </p:sp>
        <p:sp>
          <p:nvSpPr>
            <p:cNvPr id="43" name="Flowchart: Connector 42">
              <a:extLst>
                <a:ext uri="{FF2B5EF4-FFF2-40B4-BE49-F238E27FC236}">
                  <a16:creationId xmlns:a16="http://schemas.microsoft.com/office/drawing/2014/main" id="{D843213D-6A4D-B366-26A4-1B9C3A770A02}"/>
                </a:ext>
              </a:extLst>
            </p:cNvPr>
            <p:cNvSpPr/>
            <p:nvPr/>
          </p:nvSpPr>
          <p:spPr bwMode="gray">
            <a:xfrm>
              <a:off x="7450599" y="3694185"/>
              <a:ext cx="264822" cy="261279"/>
            </a:xfrm>
            <a:prstGeom prst="flowChartConnector">
              <a:avLst/>
            </a:prstGeom>
            <a:solidFill>
              <a:schemeClr val="tx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bg1"/>
                  </a:solidFill>
                </a:rPr>
                <a:t>2</a:t>
              </a:r>
            </a:p>
          </p:txBody>
        </p:sp>
        <p:sp>
          <p:nvSpPr>
            <p:cNvPr id="45" name="Flowchart: Connector 44">
              <a:extLst>
                <a:ext uri="{FF2B5EF4-FFF2-40B4-BE49-F238E27FC236}">
                  <a16:creationId xmlns:a16="http://schemas.microsoft.com/office/drawing/2014/main" id="{AD0B9806-1BB5-C1B1-545B-0074D136184D}"/>
                </a:ext>
              </a:extLst>
            </p:cNvPr>
            <p:cNvSpPr/>
            <p:nvPr/>
          </p:nvSpPr>
          <p:spPr bwMode="gray">
            <a:xfrm>
              <a:off x="8025242" y="3177227"/>
              <a:ext cx="264822" cy="261279"/>
            </a:xfrm>
            <a:prstGeom prst="flowChartConnector">
              <a:avLst/>
            </a:prstGeom>
            <a:solidFill>
              <a:schemeClr val="tx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bg1"/>
                  </a:solidFill>
                </a:rPr>
                <a:t>3</a:t>
              </a:r>
            </a:p>
          </p:txBody>
        </p:sp>
        <p:sp>
          <p:nvSpPr>
            <p:cNvPr id="47" name="Flowchart: Connector 46">
              <a:extLst>
                <a:ext uri="{FF2B5EF4-FFF2-40B4-BE49-F238E27FC236}">
                  <a16:creationId xmlns:a16="http://schemas.microsoft.com/office/drawing/2014/main" id="{520E2D77-52FF-AADF-7E24-BE9CF2C6B1F2}"/>
                </a:ext>
              </a:extLst>
            </p:cNvPr>
            <p:cNvSpPr/>
            <p:nvPr/>
          </p:nvSpPr>
          <p:spPr bwMode="gray">
            <a:xfrm>
              <a:off x="9538173" y="3023919"/>
              <a:ext cx="264822" cy="261279"/>
            </a:xfrm>
            <a:prstGeom prst="flowChartConnector">
              <a:avLst/>
            </a:prstGeom>
            <a:solidFill>
              <a:schemeClr val="tx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bg1"/>
                  </a:solidFill>
                </a:rPr>
                <a:t>3</a:t>
              </a:r>
            </a:p>
          </p:txBody>
        </p:sp>
        <p:sp>
          <p:nvSpPr>
            <p:cNvPr id="49" name="Flowchart: Connector 48">
              <a:extLst>
                <a:ext uri="{FF2B5EF4-FFF2-40B4-BE49-F238E27FC236}">
                  <a16:creationId xmlns:a16="http://schemas.microsoft.com/office/drawing/2014/main" id="{3A74DC09-7265-3907-D4C6-D0157541A1A0}"/>
                </a:ext>
              </a:extLst>
            </p:cNvPr>
            <p:cNvSpPr/>
            <p:nvPr/>
          </p:nvSpPr>
          <p:spPr bwMode="gray">
            <a:xfrm>
              <a:off x="8703630" y="4809298"/>
              <a:ext cx="264822" cy="261279"/>
            </a:xfrm>
            <a:prstGeom prst="flowChartConnector">
              <a:avLst/>
            </a:prstGeom>
            <a:solidFill>
              <a:schemeClr val="tx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bg1"/>
                  </a:solidFill>
                </a:rPr>
                <a:t>1</a:t>
              </a:r>
            </a:p>
          </p:txBody>
        </p:sp>
        <p:sp>
          <p:nvSpPr>
            <p:cNvPr id="50" name="Flowchart: Connector 49">
              <a:extLst>
                <a:ext uri="{FF2B5EF4-FFF2-40B4-BE49-F238E27FC236}">
                  <a16:creationId xmlns:a16="http://schemas.microsoft.com/office/drawing/2014/main" id="{4C8D9451-7473-5E62-3A2E-29F60A6B8353}"/>
                </a:ext>
              </a:extLst>
            </p:cNvPr>
            <p:cNvSpPr/>
            <p:nvPr/>
          </p:nvSpPr>
          <p:spPr bwMode="gray">
            <a:xfrm>
              <a:off x="10472736" y="4976202"/>
              <a:ext cx="264822" cy="261279"/>
            </a:xfrm>
            <a:prstGeom prst="flowChartConnector">
              <a:avLst/>
            </a:prstGeom>
            <a:solidFill>
              <a:schemeClr val="tx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bg1"/>
                  </a:solidFill>
                </a:rPr>
                <a:t>1</a:t>
              </a:r>
            </a:p>
          </p:txBody>
        </p:sp>
      </p:grpSp>
      <p:sp>
        <p:nvSpPr>
          <p:cNvPr id="7" name="TextBox 8">
            <a:extLst>
              <a:ext uri="{FF2B5EF4-FFF2-40B4-BE49-F238E27FC236}">
                <a16:creationId xmlns:a16="http://schemas.microsoft.com/office/drawing/2014/main" id="{C6B9EA91-1F6A-A246-318F-EA627859E790}"/>
              </a:ext>
            </a:extLst>
          </p:cNvPr>
          <p:cNvSpPr txBox="1"/>
          <p:nvPr/>
        </p:nvSpPr>
        <p:spPr bwMode="gray">
          <a:xfrm>
            <a:off x="8883887" y="1410303"/>
            <a:ext cx="3021571" cy="4616648"/>
          </a:xfrm>
          <a:prstGeom prst="rect">
            <a:avLst/>
          </a:prstGeom>
          <a:solidFill>
            <a:srgbClr val="E3E8EE"/>
          </a:solidFill>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Observations</a:t>
            </a:r>
          </a:p>
          <a:p>
            <a:pPr marL="173736" indent="-173736">
              <a:spcAft>
                <a:spcPts val="400"/>
              </a:spcAft>
              <a:buFont typeface="Arial" panose="020B0604020202020204" pitchFamily="34" charset="0"/>
              <a:buChar char="•"/>
            </a:pPr>
            <a:r>
              <a:rPr lang="en-US" sz="1000" b="1"/>
              <a:t>Fusion has received a total of $9.7B </a:t>
            </a:r>
            <a:r>
              <a:rPr lang="en-US" sz="1000"/>
              <a:t>funding to date; </a:t>
            </a:r>
            <a:r>
              <a:rPr lang="en-US" sz="1000" b="1"/>
              <a:t>27% in 2025 </a:t>
            </a:r>
            <a:r>
              <a:rPr lang="en-US" sz="1000"/>
              <a:t>and </a:t>
            </a:r>
            <a:r>
              <a:rPr lang="en-US" sz="1000" b="1"/>
              <a:t>92% </a:t>
            </a:r>
            <a:r>
              <a:rPr lang="en-US" sz="1000"/>
              <a:t>from </a:t>
            </a:r>
            <a:r>
              <a:rPr lang="en-US" sz="1000" b="1"/>
              <a:t>private sources. </a:t>
            </a:r>
            <a:r>
              <a:rPr lang="en-US" sz="1000"/>
              <a:t>Commonwealth Fusion Systems, TAE Technologies, and Helion Energy have all received over $1B.</a:t>
            </a:r>
          </a:p>
          <a:p>
            <a:pPr marL="173736" indent="-173736">
              <a:spcAft>
                <a:spcPts val="400"/>
              </a:spcAft>
              <a:buFont typeface="Arial" panose="020B0604020202020204" pitchFamily="34" charset="0"/>
              <a:buChar char="•"/>
            </a:pPr>
            <a:r>
              <a:rPr lang="en-US" sz="1000"/>
              <a:t>Most companies </a:t>
            </a:r>
            <a:r>
              <a:rPr lang="en-US" sz="1000" b="1"/>
              <a:t>(47%) </a:t>
            </a:r>
            <a:r>
              <a:rPr lang="en-US" sz="1000"/>
              <a:t>are </a:t>
            </a:r>
            <a:r>
              <a:rPr lang="en-US" sz="1000" b="1"/>
              <a:t>MCF </a:t>
            </a:r>
            <a:r>
              <a:rPr lang="en-US" sz="1000"/>
              <a:t>and use </a:t>
            </a:r>
            <a:r>
              <a:rPr lang="en-US" sz="1000" b="1"/>
              <a:t>deuterium-tritium as fuel (68%).</a:t>
            </a:r>
          </a:p>
          <a:p>
            <a:pPr marL="173736" indent="-173736">
              <a:spcAft>
                <a:spcPts val="400"/>
              </a:spcAft>
              <a:buFont typeface="Arial" panose="020B0604020202020204" pitchFamily="34" charset="0"/>
              <a:buChar char="•"/>
            </a:pPr>
            <a:r>
              <a:rPr lang="en-US" sz="1000" b="1"/>
              <a:t>Most fusion startups are backed by public-private partnerships</a:t>
            </a:r>
            <a:r>
              <a:rPr lang="en-US" sz="1000"/>
              <a:t>, with </a:t>
            </a:r>
            <a:r>
              <a:rPr lang="en-US" sz="1000" b="1"/>
              <a:t>the United States </a:t>
            </a:r>
            <a:r>
              <a:rPr lang="en-US" sz="1000"/>
              <a:t>being the country that provides the </a:t>
            </a:r>
            <a:r>
              <a:rPr lang="en-US" sz="1000" b="1"/>
              <a:t>most support </a:t>
            </a:r>
            <a:r>
              <a:rPr lang="en-US" sz="1000"/>
              <a:t>through the Department of Energy, including:</a:t>
            </a:r>
          </a:p>
          <a:p>
            <a:endParaRPr lang="en-US" sz="500" b="1"/>
          </a:p>
          <a:p>
            <a:pPr marL="356616" indent="-173736">
              <a:spcAft>
                <a:spcPts val="400"/>
              </a:spcAft>
              <a:buFont typeface="+mj-lt"/>
              <a:buAutoNum type="arabicPeriod"/>
            </a:pPr>
            <a:r>
              <a:rPr lang="en-US" sz="1000" b="1"/>
              <a:t>Milestone-based fusion development program: </a:t>
            </a:r>
            <a:r>
              <a:rPr lang="en-US" sz="1000"/>
              <a:t>Supports the development of a fusion pilot plant and fusion power commercialization.</a:t>
            </a:r>
          </a:p>
          <a:p>
            <a:pPr marL="356616" indent="-173736">
              <a:spcAft>
                <a:spcPts val="400"/>
              </a:spcAft>
              <a:buFont typeface="+mj-lt"/>
              <a:buAutoNum type="arabicPeriod"/>
            </a:pPr>
            <a:r>
              <a:rPr lang="en-US" sz="1000" b="1"/>
              <a:t>Innovation network for fusion energy (INFUSE):</a:t>
            </a:r>
            <a:r>
              <a:rPr lang="en-US" sz="1000"/>
              <a:t> Provides access to national laboratories. </a:t>
            </a:r>
          </a:p>
          <a:p>
            <a:pPr marL="356616" indent="-173736">
              <a:spcAft>
                <a:spcPts val="400"/>
              </a:spcAft>
              <a:buFont typeface="+mj-lt"/>
              <a:buAutoNum type="arabicPeriod"/>
            </a:pPr>
            <a:r>
              <a:rPr lang="en-US" sz="1000" b="1"/>
              <a:t>INCITE:</a:t>
            </a:r>
            <a:r>
              <a:rPr lang="en-US" sz="1000"/>
              <a:t> Provides </a:t>
            </a:r>
            <a:r>
              <a:rPr lang="en-US" sz="1000" b="1"/>
              <a:t>access to the DOE’s supercomputing facilities.  </a:t>
            </a:r>
          </a:p>
          <a:p>
            <a:pPr marL="356616" indent="-173736">
              <a:spcAft>
                <a:spcPts val="400"/>
              </a:spcAft>
              <a:buFont typeface="+mj-lt"/>
              <a:buAutoNum type="arabicPeriod"/>
            </a:pPr>
            <a:r>
              <a:rPr lang="en-US" sz="1000" b="1"/>
              <a:t>Chadwick:</a:t>
            </a:r>
            <a:r>
              <a:rPr lang="en-US" sz="1000"/>
              <a:t> Contributes </a:t>
            </a:r>
            <a:r>
              <a:rPr lang="en-US" sz="1000" b="1"/>
              <a:t>to the development of advanced materials for the first wall of fusion materials. </a:t>
            </a:r>
          </a:p>
        </p:txBody>
      </p:sp>
      <p:sp>
        <p:nvSpPr>
          <p:cNvPr id="8" name="Rectangle 7">
            <a:extLst>
              <a:ext uri="{FF2B5EF4-FFF2-40B4-BE49-F238E27FC236}">
                <a16:creationId xmlns:a16="http://schemas.microsoft.com/office/drawing/2014/main" id="{3E072EC0-DAC8-2DE2-DDA9-7DF4598C85E9}"/>
              </a:ext>
            </a:extLst>
          </p:cNvPr>
          <p:cNvSpPr/>
          <p:nvPr/>
        </p:nvSpPr>
        <p:spPr bwMode="gray">
          <a:xfrm>
            <a:off x="5315469" y="2042475"/>
            <a:ext cx="942019" cy="258115"/>
          </a:xfrm>
          <a:prstGeom prst="rect">
            <a:avLst/>
          </a:prstGeom>
          <a:gradFill flip="none" rotWithShape="1">
            <a:gsLst>
              <a:gs pos="30000">
                <a:schemeClr val="accent1"/>
              </a:gs>
              <a:gs pos="14000">
                <a:schemeClr val="accent1">
                  <a:lumMod val="50000"/>
                </a:schemeClr>
              </a:gs>
              <a:gs pos="54000">
                <a:schemeClr val="accent2">
                  <a:lumMod val="50000"/>
                  <a:lumOff val="50000"/>
                </a:schemeClr>
              </a:gs>
              <a:gs pos="100000">
                <a:schemeClr val="tx2">
                  <a:lumMod val="90000"/>
                </a:schemeClr>
              </a:gs>
              <a:gs pos="81000">
                <a:schemeClr val="accent2">
                  <a:lumMod val="10000"/>
                  <a:lumOff val="90000"/>
                </a:schemeClr>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717" name="TextBox 2716">
            <a:extLst>
              <a:ext uri="{FF2B5EF4-FFF2-40B4-BE49-F238E27FC236}">
                <a16:creationId xmlns:a16="http://schemas.microsoft.com/office/drawing/2014/main" id="{F6F4F33E-8F63-FD47-811A-6834DF8E16DF}"/>
              </a:ext>
            </a:extLst>
          </p:cNvPr>
          <p:cNvSpPr txBox="1"/>
          <p:nvPr/>
        </p:nvSpPr>
        <p:spPr bwMode="gray">
          <a:xfrm>
            <a:off x="5212985" y="1705740"/>
            <a:ext cx="1146986" cy="369332"/>
          </a:xfrm>
          <a:prstGeom prst="rect">
            <a:avLst/>
          </a:prstGeom>
          <a:noFill/>
        </p:spPr>
        <p:txBody>
          <a:bodyPr wrap="square">
            <a:spAutoFit/>
          </a:bodyPr>
          <a:lstStyle/>
          <a:p>
            <a:pPr algn="ctr"/>
            <a:r>
              <a:rPr lang="en-US" sz="900" b="1"/>
              <a:t>Concentration of fusion startups</a:t>
            </a:r>
            <a:endParaRPr lang="en-US" sz="900"/>
          </a:p>
        </p:txBody>
      </p:sp>
      <p:sp>
        <p:nvSpPr>
          <p:cNvPr id="2719" name="TextBox 2718">
            <a:extLst>
              <a:ext uri="{FF2B5EF4-FFF2-40B4-BE49-F238E27FC236}">
                <a16:creationId xmlns:a16="http://schemas.microsoft.com/office/drawing/2014/main" id="{3D91101E-0D0F-2045-383B-8D39DA6A7843}"/>
              </a:ext>
            </a:extLst>
          </p:cNvPr>
          <p:cNvSpPr txBox="1"/>
          <p:nvPr/>
        </p:nvSpPr>
        <p:spPr bwMode="gray">
          <a:xfrm>
            <a:off x="4835831" y="2045948"/>
            <a:ext cx="477185" cy="230832"/>
          </a:xfrm>
          <a:prstGeom prst="rect">
            <a:avLst/>
          </a:prstGeom>
          <a:noFill/>
        </p:spPr>
        <p:txBody>
          <a:bodyPr wrap="square">
            <a:spAutoFit/>
          </a:bodyPr>
          <a:lstStyle/>
          <a:p>
            <a:r>
              <a:rPr lang="en-US" sz="900"/>
              <a:t>More</a:t>
            </a:r>
          </a:p>
        </p:txBody>
      </p:sp>
      <p:sp>
        <p:nvSpPr>
          <p:cNvPr id="2720" name="TextBox 2719">
            <a:extLst>
              <a:ext uri="{FF2B5EF4-FFF2-40B4-BE49-F238E27FC236}">
                <a16:creationId xmlns:a16="http://schemas.microsoft.com/office/drawing/2014/main" id="{2838E846-CF5D-E8B0-B3E8-F695004744F7}"/>
              </a:ext>
            </a:extLst>
          </p:cNvPr>
          <p:cNvSpPr txBox="1"/>
          <p:nvPr/>
        </p:nvSpPr>
        <p:spPr bwMode="gray">
          <a:xfrm>
            <a:off x="6259428" y="2026888"/>
            <a:ext cx="520088" cy="230832"/>
          </a:xfrm>
          <a:prstGeom prst="rect">
            <a:avLst/>
          </a:prstGeom>
          <a:noFill/>
        </p:spPr>
        <p:txBody>
          <a:bodyPr wrap="square">
            <a:spAutoFit/>
          </a:bodyPr>
          <a:lstStyle/>
          <a:p>
            <a:r>
              <a:rPr lang="en-US" sz="900"/>
              <a:t>Zero</a:t>
            </a:r>
          </a:p>
        </p:txBody>
      </p:sp>
      <p:sp>
        <p:nvSpPr>
          <p:cNvPr id="2721" name="Flowchart: Connector 2720">
            <a:extLst>
              <a:ext uri="{FF2B5EF4-FFF2-40B4-BE49-F238E27FC236}">
                <a16:creationId xmlns:a16="http://schemas.microsoft.com/office/drawing/2014/main" id="{175CC93B-7733-D419-8823-2FBEDC58EB1A}"/>
              </a:ext>
            </a:extLst>
          </p:cNvPr>
          <p:cNvSpPr/>
          <p:nvPr/>
        </p:nvSpPr>
        <p:spPr bwMode="gray">
          <a:xfrm>
            <a:off x="7201686" y="2041668"/>
            <a:ext cx="201168" cy="196518"/>
          </a:xfrm>
          <a:prstGeom prst="flowChartConnector">
            <a:avLst/>
          </a:prstGeom>
          <a:solidFill>
            <a:schemeClr val="tx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bg1"/>
                </a:solidFill>
              </a:rPr>
              <a:t>#</a:t>
            </a:r>
          </a:p>
        </p:txBody>
      </p:sp>
      <p:sp>
        <p:nvSpPr>
          <p:cNvPr id="2729" name="TextBox 2728">
            <a:extLst>
              <a:ext uri="{FF2B5EF4-FFF2-40B4-BE49-F238E27FC236}">
                <a16:creationId xmlns:a16="http://schemas.microsoft.com/office/drawing/2014/main" id="{8719F785-B916-737E-3393-70990327CB7C}"/>
              </a:ext>
            </a:extLst>
          </p:cNvPr>
          <p:cNvSpPr txBox="1"/>
          <p:nvPr/>
        </p:nvSpPr>
        <p:spPr bwMode="gray">
          <a:xfrm>
            <a:off x="6767585" y="1705740"/>
            <a:ext cx="1069371" cy="369332"/>
          </a:xfrm>
          <a:prstGeom prst="rect">
            <a:avLst/>
          </a:prstGeom>
          <a:noFill/>
        </p:spPr>
        <p:txBody>
          <a:bodyPr wrap="square">
            <a:spAutoFit/>
          </a:bodyPr>
          <a:lstStyle/>
          <a:p>
            <a:pPr algn="ctr"/>
            <a:r>
              <a:rPr lang="en-US" sz="900" b="1"/>
              <a:t>Number of fusion startups</a:t>
            </a:r>
          </a:p>
        </p:txBody>
      </p:sp>
      <p:sp>
        <p:nvSpPr>
          <p:cNvPr id="451" name="Speech Bubble: Rectangle 2731">
            <a:extLst>
              <a:ext uri="{FF2B5EF4-FFF2-40B4-BE49-F238E27FC236}">
                <a16:creationId xmlns:a16="http://schemas.microsoft.com/office/drawing/2014/main" id="{4C46C6EB-542E-BFF9-82B7-0F586A716A0C}"/>
              </a:ext>
            </a:extLst>
          </p:cNvPr>
          <p:cNvSpPr/>
          <p:nvPr>
            <p:custDataLst>
              <p:tags r:id="rId4"/>
            </p:custDataLst>
          </p:nvPr>
        </p:nvSpPr>
        <p:spPr>
          <a:xfrm>
            <a:off x="719482" y="4461802"/>
            <a:ext cx="2190492" cy="1304910"/>
          </a:xfrm>
          <a:prstGeom prst="wedgeRectCallout">
            <a:avLst>
              <a:gd name="adj1" fmla="val 24820"/>
              <a:gd name="adj2" fmla="val -74231"/>
            </a:avLst>
          </a:prstGeom>
          <a:solidFill>
            <a:srgbClr val="0083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lang="en-US" sz="900">
                <a:solidFill>
                  <a:schemeClr val="bg1"/>
                </a:solidFill>
                <a:latin typeface="Arial (body)"/>
              </a:rPr>
              <a:t>Companies are attracted by </a:t>
            </a:r>
            <a:r>
              <a:rPr lang="en-US" sz="900" b="1">
                <a:solidFill>
                  <a:schemeClr val="bg1"/>
                </a:solidFill>
                <a:latin typeface="Arial (body)"/>
              </a:rPr>
              <a:t>California’s momentum </a:t>
            </a:r>
            <a:r>
              <a:rPr lang="en-US" sz="900">
                <a:solidFill>
                  <a:schemeClr val="bg1"/>
                </a:solidFill>
                <a:latin typeface="Arial (body)"/>
              </a:rPr>
              <a:t>on fusion, led by </a:t>
            </a:r>
            <a:r>
              <a:rPr lang="en-US" sz="900" b="1">
                <a:solidFill>
                  <a:schemeClr val="bg1"/>
                </a:solidFill>
                <a:latin typeface="Arial (body)"/>
              </a:rPr>
              <a:t>universities </a:t>
            </a:r>
            <a:r>
              <a:rPr lang="en-US" sz="900">
                <a:solidFill>
                  <a:schemeClr val="bg1"/>
                </a:solidFill>
                <a:latin typeface="Arial (body)"/>
              </a:rPr>
              <a:t>and their scientific breakthroughs, </a:t>
            </a:r>
            <a:r>
              <a:rPr lang="en-US" sz="900" b="1">
                <a:solidFill>
                  <a:schemeClr val="bg1"/>
                </a:solidFill>
                <a:latin typeface="Arial (body)"/>
              </a:rPr>
              <a:t>the state’s venture capital presence,</a:t>
            </a:r>
            <a:r>
              <a:rPr lang="en-US" sz="900">
                <a:solidFill>
                  <a:schemeClr val="bg1"/>
                </a:solidFill>
                <a:latin typeface="Arial (body)"/>
              </a:rPr>
              <a:t> and </a:t>
            </a:r>
            <a:r>
              <a:rPr lang="en-US" sz="900" b="1">
                <a:solidFill>
                  <a:schemeClr val="bg1"/>
                </a:solidFill>
                <a:latin typeface="Arial (body)"/>
              </a:rPr>
              <a:t>state government support </a:t>
            </a:r>
            <a:r>
              <a:rPr lang="en-US" sz="900">
                <a:solidFill>
                  <a:schemeClr val="bg1"/>
                </a:solidFill>
                <a:latin typeface="Arial (body)"/>
              </a:rPr>
              <a:t>(California was the first state to recognize fusion as distinct from nuclear fission).</a:t>
            </a:r>
            <a:endParaRPr lang="en-US" sz="900" b="1">
              <a:solidFill>
                <a:schemeClr val="bg1"/>
              </a:solidFill>
              <a:latin typeface="Arial (body)"/>
            </a:endParaRPr>
          </a:p>
        </p:txBody>
      </p:sp>
    </p:spTree>
    <p:extLst>
      <p:ext uri="{BB962C8B-B14F-4D97-AF65-F5344CB8AC3E}">
        <p14:creationId xmlns:p14="http://schemas.microsoft.com/office/powerpoint/2010/main" val="349046855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11B23-4F66-D4B6-14C1-707ADC6205B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E6733C-70E1-D116-D3B9-EE6D31ECA0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05" imgH="405" progId="TCLayout.ActiveDocument.1">
                  <p:embed/>
                </p:oleObj>
              </mc:Choice>
              <mc:Fallback>
                <p:oleObj name="think-cell Slide" r:id="rId42" imgW="405" imgH="405" progId="TCLayout.ActiveDocument.1">
                  <p:embed/>
                  <p:pic>
                    <p:nvPicPr>
                      <p:cNvPr id="4" name="think-cell data - do not delete" hidden="1">
                        <a:extLst>
                          <a:ext uri="{FF2B5EF4-FFF2-40B4-BE49-F238E27FC236}">
                            <a16:creationId xmlns:a16="http://schemas.microsoft.com/office/drawing/2014/main" id="{D1E6733C-70E1-D116-D3B9-EE6D31ECA0C7}"/>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5" name="Rectangle 4">
            <a:hlinkClick r:id="rId44"/>
            <a:extLst>
              <a:ext uri="{FF2B5EF4-FFF2-40B4-BE49-F238E27FC236}">
                <a16:creationId xmlns:a16="http://schemas.microsoft.com/office/drawing/2014/main" id="{14C33D6E-490A-B0AF-0658-ED1D683E2C1A}"/>
              </a:ext>
            </a:extLst>
          </p:cNvPr>
          <p:cNvSpPr/>
          <p:nvPr/>
        </p:nvSpPr>
        <p:spPr bwMode="gray">
          <a:xfrm>
            <a:off x="6003493" y="1445321"/>
            <a:ext cx="5119726" cy="4637845"/>
          </a:xfrm>
          <a:prstGeom prst="rect">
            <a:avLst/>
          </a:prstGeom>
          <a:solidFill>
            <a:schemeClr val="accent6">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 name="Rectangle 2">
            <a:extLst>
              <a:ext uri="{FF2B5EF4-FFF2-40B4-BE49-F238E27FC236}">
                <a16:creationId xmlns:a16="http://schemas.microsoft.com/office/drawing/2014/main" id="{8F40BB01-5958-9CE2-6D3C-8F6C4BAE9AE0}"/>
              </a:ext>
            </a:extLst>
          </p:cNvPr>
          <p:cNvSpPr/>
          <p:nvPr/>
        </p:nvSpPr>
        <p:spPr bwMode="gray">
          <a:xfrm>
            <a:off x="786312" y="1445321"/>
            <a:ext cx="5018848" cy="4637845"/>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 name="Title 1">
            <a:extLst>
              <a:ext uri="{FF2B5EF4-FFF2-40B4-BE49-F238E27FC236}">
                <a16:creationId xmlns:a16="http://schemas.microsoft.com/office/drawing/2014/main" id="{77ABD0E6-A79D-D211-0483-BC8072F8415F}"/>
              </a:ext>
            </a:extLst>
          </p:cNvPr>
          <p:cNvSpPr>
            <a:spLocks noGrp="1"/>
          </p:cNvSpPr>
          <p:nvPr>
            <p:ph type="title"/>
          </p:nvPr>
        </p:nvSpPr>
        <p:spPr/>
        <p:txBody>
          <a:bodyPr vert="horz">
            <a:noAutofit/>
          </a:bodyPr>
          <a:lstStyle/>
          <a:p>
            <a:r>
              <a:rPr lang="en-US"/>
              <a:t>The two leading startups in MCF and ICF are Commonwealth Fusion Systems and Marvel Fusion, respectively</a:t>
            </a:r>
          </a:p>
        </p:txBody>
      </p:sp>
      <p:sp>
        <p:nvSpPr>
          <p:cNvPr id="9" name="btfpNotesBox368131">
            <a:hlinkClick r:id="rId45"/>
            <a:extLst>
              <a:ext uri="{FF2B5EF4-FFF2-40B4-BE49-F238E27FC236}">
                <a16:creationId xmlns:a16="http://schemas.microsoft.com/office/drawing/2014/main" id="{C55995E4-C476-2105-BE68-0753F1D74BB0}"/>
              </a:ext>
            </a:extLst>
          </p:cNvPr>
          <p:cNvSpPr txBox="1"/>
          <p:nvPr>
            <p:custDataLst>
              <p:tags r:id="rId2"/>
            </p:custDataLst>
          </p:nvPr>
        </p:nvSpPr>
        <p:spPr bwMode="gray">
          <a:xfrm>
            <a:off x="329184" y="6309360"/>
            <a:ext cx="9411804"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lvl="0"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err="1">
                <a:solidFill>
                  <a:srgbClr val="000000"/>
                </a:solidFill>
                <a:latin typeface="Arial"/>
              </a:rPr>
              <a:t>PitchBook</a:t>
            </a:r>
            <a:r>
              <a:rPr lang="en-US" sz="800" dirty="0">
                <a:solidFill>
                  <a:srgbClr val="000000"/>
                </a:solidFill>
                <a:latin typeface="Arial"/>
              </a:rPr>
              <a:t>, </a:t>
            </a:r>
            <a:r>
              <a:rPr lang="en-US" sz="800" dirty="0">
                <a:solidFill>
                  <a:srgbClr val="000000"/>
                </a:solidFill>
                <a:latin typeface="Arial"/>
                <a:hlinkClick r:id="rId46"/>
              </a:rPr>
              <a:t>Company profiles</a:t>
            </a:r>
            <a:r>
              <a:rPr lang="en-US" sz="800" dirty="0">
                <a:solidFill>
                  <a:srgbClr val="000000"/>
                </a:solidFill>
                <a:latin typeface="Arial"/>
              </a:rPr>
              <a:t> (2025); MIT, </a:t>
            </a:r>
            <a:r>
              <a:rPr lang="en-US" sz="800" dirty="0">
                <a:solidFill>
                  <a:srgbClr val="000000"/>
                </a:solidFill>
                <a:latin typeface="Arial"/>
                <a:hlinkClick r:id="rId47"/>
              </a:rPr>
              <a:t>MIT spinout Commonwealth Fusion Systems unveils plans for the world’s first fusion power plant</a:t>
            </a:r>
            <a:r>
              <a:rPr lang="en-US" sz="800" dirty="0">
                <a:solidFill>
                  <a:srgbClr val="000000"/>
                </a:solidFill>
                <a:latin typeface="Arial"/>
              </a:rPr>
              <a:t> (2024); </a:t>
            </a:r>
            <a:r>
              <a:rPr lang="en-US" sz="800" dirty="0">
                <a:solidFill>
                  <a:srgbClr val="000000"/>
                </a:solidFill>
              </a:rPr>
              <a:t>WNN, </a:t>
            </a:r>
            <a:r>
              <a:rPr lang="en-US" sz="800" dirty="0">
                <a:solidFill>
                  <a:srgbClr val="000000"/>
                </a:solidFill>
                <a:hlinkClick r:id="rId44"/>
              </a:rPr>
              <a:t>Germany's Marvel Fusion raises further EUR113 million</a:t>
            </a:r>
            <a:r>
              <a:rPr lang="en-US" sz="800" dirty="0">
                <a:solidFill>
                  <a:srgbClr val="000000"/>
                </a:solidFill>
              </a:rPr>
              <a:t> (2025).</a:t>
            </a:r>
          </a:p>
          <a:p>
            <a:pPr lvl="0" defTabSz="711200">
              <a:defRPr/>
            </a:pPr>
            <a:r>
              <a:rPr lang="en-US" sz="800" dirty="0">
                <a:solidFill>
                  <a:srgbClr val="000000"/>
                </a:solidFill>
                <a:latin typeface="Arial"/>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rPr>
              <a:t>redit</a:t>
            </a:r>
            <a:r>
              <a:rPr kumimoji="0" lang="en-US" sz="800" b="0" i="0" u="none" strike="noStrike" kern="1200" cap="none" spc="0" normalizeH="0" baseline="0" noProof="0" dirty="0">
                <a:ln>
                  <a:noFill/>
                </a:ln>
                <a:solidFill>
                  <a:srgbClr val="000000"/>
                </a:solidFill>
                <a:effectLst/>
                <a:uLnTx/>
                <a:uFillTx/>
                <a:latin typeface="Arial"/>
                <a:ea typeface="+mn-ea"/>
                <a:cs typeface="+mn-cs"/>
              </a:rPr>
              <a: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9"/>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cxnSp>
        <p:nvCxnSpPr>
          <p:cNvPr id="1176" name="Straight Connector 1175">
            <a:extLst>
              <a:ext uri="{FF2B5EF4-FFF2-40B4-BE49-F238E27FC236}">
                <a16:creationId xmlns:a16="http://schemas.microsoft.com/office/drawing/2014/main" id="{FFF7C896-E92F-DC18-D8D8-E5F98054F736}"/>
              </a:ext>
            </a:extLst>
          </p:cNvPr>
          <p:cNvCxnSpPr/>
          <p:nvPr/>
        </p:nvCxnSpPr>
        <p:spPr bwMode="gray">
          <a:xfrm>
            <a:off x="943794" y="2299984"/>
            <a:ext cx="467736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77" name="Straight Connector 1176">
            <a:extLst>
              <a:ext uri="{FF2B5EF4-FFF2-40B4-BE49-F238E27FC236}">
                <a16:creationId xmlns:a16="http://schemas.microsoft.com/office/drawing/2014/main" id="{F2BF7497-F659-52E3-1398-CCD9DE983535}"/>
              </a:ext>
            </a:extLst>
          </p:cNvPr>
          <p:cNvCxnSpPr/>
          <p:nvPr/>
        </p:nvCxnSpPr>
        <p:spPr bwMode="gray">
          <a:xfrm>
            <a:off x="6224676" y="4512993"/>
            <a:ext cx="467736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2050" name="Picture 2" descr="Commonwealth Fusion Systems logo">
            <a:extLst>
              <a:ext uri="{FF2B5EF4-FFF2-40B4-BE49-F238E27FC236}">
                <a16:creationId xmlns:a16="http://schemas.microsoft.com/office/drawing/2014/main" id="{8A750C8B-70F8-F8C8-F5A4-902403F13CE1}"/>
              </a:ext>
            </a:extLst>
          </p:cNvPr>
          <p:cNvPicPr>
            <a:picLocks noChangeAspect="1" noChangeArrowheads="1"/>
          </p:cNvPicPr>
          <p:nvPr/>
        </p:nvPicPr>
        <p:blipFill>
          <a:blip r:embed="rId50" cstate="screen">
            <a:extLst>
              <a:ext uri="{28A0092B-C50C-407E-A947-70E740481C1C}">
                <a14:useLocalDpi xmlns:a14="http://schemas.microsoft.com/office/drawing/2010/main"/>
              </a:ext>
            </a:extLst>
          </a:blip>
          <a:srcRect/>
          <a:stretch>
            <a:fillRect/>
          </a:stretch>
        </p:blipFill>
        <p:spPr bwMode="auto">
          <a:xfrm>
            <a:off x="943794" y="1653083"/>
            <a:ext cx="3770735" cy="44286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arvel Fusion - PRIMEPULSE SE">
            <a:extLst>
              <a:ext uri="{FF2B5EF4-FFF2-40B4-BE49-F238E27FC236}">
                <a16:creationId xmlns:a16="http://schemas.microsoft.com/office/drawing/2014/main" id="{4FD6C98A-D261-3788-583D-499F2FC82AB2}"/>
              </a:ext>
            </a:extLst>
          </p:cNvPr>
          <p:cNvPicPr>
            <a:picLocks noChangeAspect="1" noChangeArrowheads="1"/>
          </p:cNvPicPr>
          <p:nvPr/>
        </p:nvPicPr>
        <p:blipFill>
          <a:blip r:embed="rId51" cstate="screen">
            <a:extLst>
              <a:ext uri="{BEBA8EAE-BF5A-486C-A8C5-ECC9F3942E4B}">
                <a14:imgProps xmlns:a14="http://schemas.microsoft.com/office/drawing/2010/main">
                  <a14:imgLayer r:embed="rId52">
                    <a14:imgEffect>
                      <a14:backgroundRemoval t="8824" b="94118" l="2167" r="98000">
                        <a14:foregroundMark x1="6667" y1="42647" x2="6667" y2="42647"/>
                        <a14:foregroundMark x1="2167" y1="82353" x2="3167" y2="77941"/>
                        <a14:foregroundMark x1="10167" y1="8824" x2="10167" y2="8824"/>
                        <a14:foregroundMark x1="17833" y1="91176" x2="17833" y2="91176"/>
                        <a14:foregroundMark x1="10167" y1="95588" x2="10167" y2="95588"/>
                        <a14:foregroundMark x1="25167" y1="57353" x2="25167" y2="57353"/>
                        <a14:foregroundMark x1="38667" y1="54412" x2="38667" y2="54412"/>
                        <a14:foregroundMark x1="43500" y1="58824" x2="43500" y2="58824"/>
                        <a14:foregroundMark x1="48333" y1="55882" x2="48333" y2="55882"/>
                        <a14:foregroundMark x1="57000" y1="70588" x2="57000" y2="70588"/>
                        <a14:foregroundMark x1="61500" y1="57353" x2="61500" y2="57353"/>
                        <a14:foregroundMark x1="65333" y1="57353" x2="65333" y2="57353"/>
                        <a14:foregroundMark x1="71833" y1="58824" x2="71833" y2="58824"/>
                        <a14:foregroundMark x1="78500" y1="63235" x2="78500" y2="63235"/>
                        <a14:foregroundMark x1="84167" y1="51471" x2="84167" y2="51471"/>
                        <a14:foregroundMark x1="84167" y1="25000" x2="84167" y2="25000"/>
                        <a14:foregroundMark x1="86500" y1="60294" x2="86500" y2="60294"/>
                        <a14:foregroundMark x1="94333" y1="55882" x2="94333" y2="55882"/>
                        <a14:foregroundMark x1="93833" y1="64706" x2="93833" y2="64706"/>
                        <a14:foregroundMark x1="91500" y1="58824" x2="91500" y2="58824"/>
                        <a14:foregroundMark x1="98000" y1="55882" x2="98000" y2="55882"/>
                        <a14:backgroundMark x1="39000" y1="98529" x2="39000" y2="98529"/>
                      </a14:backgroundRemoval>
                    </a14:imgEffect>
                  </a14:imgLayer>
                </a14:imgProps>
              </a:ext>
              <a:ext uri="{28A0092B-C50C-407E-A947-70E740481C1C}">
                <a14:useLocalDpi xmlns:a14="http://schemas.microsoft.com/office/drawing/2010/main"/>
              </a:ext>
            </a:extLst>
          </a:blip>
          <a:srcRect/>
          <a:stretch>
            <a:fillRect/>
          </a:stretch>
        </p:blipFill>
        <p:spPr bwMode="auto">
          <a:xfrm>
            <a:off x="6224676" y="1716725"/>
            <a:ext cx="2784528" cy="31558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285" name="Chart 2284">
            <a:extLst>
              <a:ext uri="{FF2B5EF4-FFF2-40B4-BE49-F238E27FC236}">
                <a16:creationId xmlns:a16="http://schemas.microsoft.com/office/drawing/2014/main" id="{FE6C67F3-9309-1509-1B5D-BECA6EC70D15}"/>
              </a:ext>
            </a:extLst>
          </p:cNvPr>
          <p:cNvGraphicFramePr/>
          <p:nvPr>
            <p:custDataLst>
              <p:tags r:id="rId3"/>
            </p:custDataLst>
          </p:nvPr>
        </p:nvGraphicFramePr>
        <p:xfrm>
          <a:off x="6142038" y="5065713"/>
          <a:ext cx="4841875" cy="938212"/>
        </p:xfrm>
        <a:graphic>
          <a:graphicData uri="http://schemas.openxmlformats.org/drawingml/2006/chart">
            <c:chart xmlns:c="http://schemas.openxmlformats.org/drawingml/2006/chart" xmlns:r="http://schemas.openxmlformats.org/officeDocument/2006/relationships" r:id="rId53"/>
          </a:graphicData>
        </a:graphic>
      </p:graphicFrame>
      <p:cxnSp>
        <p:nvCxnSpPr>
          <p:cNvPr id="2277" name="Straight Connector 2276">
            <a:extLst>
              <a:ext uri="{FF2B5EF4-FFF2-40B4-BE49-F238E27FC236}">
                <a16:creationId xmlns:a16="http://schemas.microsoft.com/office/drawing/2014/main" id="{AECC0352-1019-2277-D59A-807DEE37CE23}"/>
              </a:ext>
            </a:extLst>
          </p:cNvPr>
          <p:cNvCxnSpPr/>
          <p:nvPr>
            <p:custDataLst>
              <p:tags r:id="rId4"/>
            </p:custDataLst>
          </p:nvPr>
        </p:nvCxnSpPr>
        <p:spPr bwMode="auto">
          <a:xfrm>
            <a:off x="6557963" y="5667375"/>
            <a:ext cx="0" cy="238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6411913" y="5865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BC97636-48AA-4496-89D4-7942E1F33DEE}" type="datetime'''''''''''''''2''''''''''''''0''''''''''''1''''''9'''">
              <a:rPr lang="en-US" altLang="en-US" sz="1000" smtClean="0"/>
              <a:pPr marL="0" lvl="0" indent="0" algn="ctr">
                <a:spcBef>
                  <a:spcPct val="0"/>
                </a:spcBef>
                <a:spcAft>
                  <a:spcPct val="0"/>
                </a:spcAft>
                <a:buNone/>
              </a:pPr>
              <a:t>2019</a:t>
            </a:fld>
            <a:endParaRPr lang="en-US" sz="10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7080250" y="5865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BF12A4-5AC2-411D-8331-5AF45F395DB2}" type="datetime'''''2''''''''''''0''''''''''''2''''''''''''''''0'''''''''''">
              <a:rPr lang="en-US" altLang="en-US" sz="1000" smtClean="0"/>
              <a:pPr marL="0" lvl="0" indent="0" algn="ctr">
                <a:spcBef>
                  <a:spcPct val="0"/>
                </a:spcBef>
                <a:spcAft>
                  <a:spcPct val="0"/>
                </a:spcAft>
                <a:buNone/>
              </a:pPr>
              <a:t>2020</a:t>
            </a:fld>
            <a:endParaRPr lang="en-US" sz="100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7748588" y="5865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04CCF2-5369-48AC-B436-C044A502819C}" type="datetime'''''2''''0''''2''''''''1'''''''''''''''''''">
              <a:rPr lang="en-US" altLang="en-US" sz="1000" smtClean="0"/>
              <a:pPr marL="0" lvl="0" indent="0" algn="ctr">
                <a:spcBef>
                  <a:spcPct val="0"/>
                </a:spcBef>
                <a:spcAft>
                  <a:spcPct val="0"/>
                </a:spcAft>
                <a:buNone/>
              </a:pPr>
              <a:t>2021</a:t>
            </a:fld>
            <a:endParaRPr lang="en-US" sz="1000"/>
          </a:p>
        </p:txBody>
      </p:sp>
      <p:sp>
        <p:nvSpPr>
          <p:cNvPr id="1042" name="Text Placeholder 10">
            <a:extLst>
              <a:ext uri="{FF2B5EF4-FFF2-40B4-BE49-F238E27FC236}">
                <a16:creationId xmlns:a16="http://schemas.microsoft.com/office/drawing/2014/main" id="{411921A4-5365-F793-A091-2EC0964436E8}"/>
              </a:ext>
            </a:extLst>
          </p:cNvPr>
          <p:cNvSpPr>
            <a:spLocks noGrp="1"/>
          </p:cNvSpPr>
          <p:nvPr>
            <p:custDataLst>
              <p:tags r:id="rId8"/>
            </p:custDataLst>
          </p:nvPr>
        </p:nvSpPr>
        <p:spPr bwMode="auto">
          <a:xfrm>
            <a:off x="8416925" y="5865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39C7F53-C2B4-4EF1-A951-33DE6F2E89E9}" type="datetime'''''''''''''2''''''''''0''''2''''2'''''''''''''''''''''''''''">
              <a:rPr lang="en-US" altLang="en-US" sz="1000" smtClean="0"/>
              <a:pPr marL="0" lvl="0" indent="0" algn="ctr">
                <a:spcBef>
                  <a:spcPct val="0"/>
                </a:spcBef>
                <a:spcAft>
                  <a:spcPct val="0"/>
                </a:spcAft>
                <a:buNone/>
              </a:pPr>
              <a:t>2022</a:t>
            </a:fld>
            <a:endParaRPr lang="en-US" sz="1000"/>
          </a:p>
        </p:txBody>
      </p:sp>
      <p:sp>
        <p:nvSpPr>
          <p:cNvPr id="1112"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9271000" y="5457825"/>
            <a:ext cx="104775" cy="152400"/>
          </a:xfrm>
          <a:prstGeom prst="rect">
            <a:avLst/>
          </a:prstGeom>
          <a:solidFill>
            <a:srgbClr val="969696"/>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DC2F3B2-D984-4967-BB13-009712907EC4}" type="datetime'''''''''''3'''''''">
              <a:rPr lang="en-US" altLang="en-US" sz="1000" smtClean="0">
                <a:effectLst/>
              </a:rPr>
              <a:pPr marL="0" lvl="0" indent="0" algn="ctr">
                <a:spcBef>
                  <a:spcPct val="0"/>
                </a:spcBef>
                <a:spcAft>
                  <a:spcPct val="0"/>
                </a:spcAft>
                <a:buNone/>
              </a:pPr>
              <a:t>3</a:t>
            </a:fld>
            <a:endParaRPr lang="en-US" sz="1000"/>
          </a:p>
        </p:txBody>
      </p:sp>
      <p:sp>
        <p:nvSpPr>
          <p:cNvPr id="1043" name="Text Placeholder 10">
            <a:extLst>
              <a:ext uri="{FF2B5EF4-FFF2-40B4-BE49-F238E27FC236}">
                <a16:creationId xmlns:a16="http://schemas.microsoft.com/office/drawing/2014/main" id="{EA35890D-7718-2A5F-9175-63292431831A}"/>
              </a:ext>
            </a:extLst>
          </p:cNvPr>
          <p:cNvSpPr>
            <a:spLocks noGrp="1"/>
          </p:cNvSpPr>
          <p:nvPr>
            <p:custDataLst>
              <p:tags r:id="rId10"/>
            </p:custDataLst>
          </p:nvPr>
        </p:nvSpPr>
        <p:spPr bwMode="auto">
          <a:xfrm>
            <a:off x="9083675" y="5865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E561B1-3871-49D3-82FD-F12FF717A7FA}" type="datetime'''''''''''''2''''''0''''''''''''''''23'''''''">
              <a:rPr lang="en-US" altLang="en-US" sz="1000" smtClean="0"/>
              <a:pPr marL="0" lvl="0" indent="0" algn="ctr">
                <a:spcBef>
                  <a:spcPct val="0"/>
                </a:spcBef>
                <a:spcAft>
                  <a:spcPct val="0"/>
                </a:spcAft>
                <a:buNone/>
              </a:pPr>
              <a:t>2023</a:t>
            </a:fld>
            <a:endParaRPr lang="en-US" sz="1000"/>
          </a:p>
        </p:txBody>
      </p:sp>
      <p:sp>
        <p:nvSpPr>
          <p:cNvPr id="1046" name="Text Placeholder 10">
            <a:extLst>
              <a:ext uri="{FF2B5EF4-FFF2-40B4-BE49-F238E27FC236}">
                <a16:creationId xmlns:a16="http://schemas.microsoft.com/office/drawing/2014/main" id="{54F204E4-1A71-EFB5-CE4B-F653D05B30FE}"/>
              </a:ext>
            </a:extLst>
          </p:cNvPr>
          <p:cNvSpPr>
            <a:spLocks noGrp="1"/>
          </p:cNvSpPr>
          <p:nvPr>
            <p:custDataLst>
              <p:tags r:id="rId11"/>
            </p:custDataLst>
          </p:nvPr>
        </p:nvSpPr>
        <p:spPr bwMode="auto">
          <a:xfrm>
            <a:off x="9752013" y="5865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4975B43-DE14-40CE-BC0C-E40342FC558E}" type="datetime'20''''''''''2''''''4'''''''''''''''">
              <a:rPr lang="en-US" altLang="en-US" sz="1000" smtClean="0"/>
              <a:pPr marL="0" lvl="0" indent="0" algn="ctr">
                <a:spcBef>
                  <a:spcPct val="0"/>
                </a:spcBef>
                <a:spcAft>
                  <a:spcPct val="0"/>
                </a:spcAft>
                <a:buNone/>
              </a:pPr>
              <a:t>2024</a:t>
            </a:fld>
            <a:endParaRPr lang="en-US" sz="1000"/>
          </a:p>
        </p:txBody>
      </p:sp>
      <p:sp>
        <p:nvSpPr>
          <p:cNvPr id="1047" name="Text Placeholder 10">
            <a:extLst>
              <a:ext uri="{FF2B5EF4-FFF2-40B4-BE49-F238E27FC236}">
                <a16:creationId xmlns:a16="http://schemas.microsoft.com/office/drawing/2014/main" id="{5CA4D312-2D6C-069A-386C-E9FA34D029EA}"/>
              </a:ext>
            </a:extLst>
          </p:cNvPr>
          <p:cNvSpPr>
            <a:spLocks noGrp="1"/>
          </p:cNvSpPr>
          <p:nvPr>
            <p:custDataLst>
              <p:tags r:id="rId12"/>
            </p:custDataLst>
          </p:nvPr>
        </p:nvSpPr>
        <p:spPr bwMode="auto">
          <a:xfrm>
            <a:off x="10420350" y="58658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F5BBD21-9720-468B-93C5-1CF772676C96}" type="datetime'202''''''''''''''''''''''''''''''''''''''''5'''">
              <a:rPr lang="en-US" altLang="en-US" sz="1000" smtClean="0"/>
              <a:pPr marL="0" lvl="0" indent="0" algn="ctr">
                <a:spcBef>
                  <a:spcPct val="0"/>
                </a:spcBef>
                <a:spcAft>
                  <a:spcPct val="0"/>
                </a:spcAft>
                <a:buNone/>
              </a:pPr>
              <a:t>2025</a:t>
            </a:fld>
            <a:endParaRPr lang="en-US" sz="1000"/>
          </a:p>
        </p:txBody>
      </p:sp>
      <p:sp>
        <p:nvSpPr>
          <p:cNvPr id="2276"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8475663" y="5670550"/>
            <a:ext cx="17462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4993DE-FDC6-401E-8F80-97DA965B843C}" type="datetime'''''''4''''''''''''''''''''''''''''''''''''0'''''">
              <a:rPr lang="en-US" altLang="en-US" sz="1000" smtClean="0">
                <a:solidFill>
                  <a:schemeClr val="bg1"/>
                </a:solidFill>
                <a:effectLst/>
              </a:rPr>
              <a:pPr marL="0" lvl="0" indent="0" algn="ctr">
                <a:spcBef>
                  <a:spcPct val="0"/>
                </a:spcBef>
                <a:spcAft>
                  <a:spcPct val="0"/>
                </a:spcAft>
                <a:buNone/>
              </a:pPr>
              <a:t>40</a:t>
            </a:fld>
            <a:endParaRPr lang="en-US" sz="1000">
              <a:solidFill>
                <a:schemeClr val="bg1"/>
              </a:solidFill>
            </a:endParaRPr>
          </a:p>
        </p:txBody>
      </p:sp>
      <p:sp>
        <p:nvSpPr>
          <p:cNvPr id="2284"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9015413" y="5581650"/>
            <a:ext cx="244475" cy="152400"/>
          </a:xfrm>
          <a:prstGeom prst="rect">
            <a:avLst/>
          </a:prstGeom>
          <a:solidFill>
            <a:srgbClr val="C0C0C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A6EE899-2607-491F-9DC4-0D66CF6388E7}" type="datetime'''''15''''''''''''''''''0'''''''''''''">
              <a:rPr lang="en-US" altLang="en-US" sz="1000" smtClean="0">
                <a:effectLst/>
              </a:rPr>
              <a:pPr marL="0" lvl="0" indent="0" algn="ctr">
                <a:spcBef>
                  <a:spcPct val="0"/>
                </a:spcBef>
                <a:spcAft>
                  <a:spcPct val="0"/>
                </a:spcAft>
                <a:buNone/>
              </a:pPr>
              <a:t>150</a:t>
            </a:fld>
            <a:endParaRPr lang="en-US" sz="1000"/>
          </a:p>
        </p:txBody>
      </p:sp>
      <p:cxnSp>
        <p:nvCxnSpPr>
          <p:cNvPr id="53" name="Straight Connector 52">
            <a:extLst>
              <a:ext uri="{FF2B5EF4-FFF2-40B4-BE49-F238E27FC236}">
                <a16:creationId xmlns:a16="http://schemas.microsoft.com/office/drawing/2014/main" id="{1E0943E8-75E0-056F-5AC4-BA0A4F68217C}"/>
              </a:ext>
            </a:extLst>
          </p:cNvPr>
          <p:cNvCxnSpPr/>
          <p:nvPr>
            <p:custDataLst>
              <p:tags r:id="rId15"/>
            </p:custDataLst>
          </p:nvPr>
        </p:nvCxnSpPr>
        <p:spPr bwMode="auto">
          <a:xfrm>
            <a:off x="6280150" y="4673600"/>
            <a:ext cx="187325" cy="0"/>
          </a:xfrm>
          <a:prstGeom prst="line">
            <a:avLst/>
          </a:prstGeom>
          <a:ln w="28575" cap="rnd"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4" name="Rectangle 53">
            <a:extLst>
              <a:ext uri="{FF2B5EF4-FFF2-40B4-BE49-F238E27FC236}">
                <a16:creationId xmlns:a16="http://schemas.microsoft.com/office/drawing/2014/main" id="{A5D8AE9D-A1A9-C839-E275-2AAADD816FC8}"/>
              </a:ext>
            </a:extLst>
          </p:cNvPr>
          <p:cNvSpPr/>
          <p:nvPr>
            <p:custDataLst>
              <p:tags r:id="rId16"/>
            </p:custDataLst>
          </p:nvPr>
        </p:nvSpPr>
        <p:spPr bwMode="auto">
          <a:xfrm>
            <a:off x="6338888" y="4794250"/>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04" name="Rectangle 1103">
            <a:extLst>
              <a:ext uri="{FF2B5EF4-FFF2-40B4-BE49-F238E27FC236}">
                <a16:creationId xmlns:a16="http://schemas.microsoft.com/office/drawing/2014/main" id="{3B854FD4-628F-200E-EEBB-976FD7DF56AA}"/>
              </a:ext>
            </a:extLst>
          </p:cNvPr>
          <p:cNvSpPr/>
          <p:nvPr>
            <p:custDataLst>
              <p:tags r:id="rId17"/>
            </p:custDataLst>
          </p:nvPr>
        </p:nvSpPr>
        <p:spPr bwMode="auto">
          <a:xfrm>
            <a:off x="7275513" y="4621213"/>
            <a:ext cx="142875" cy="106363"/>
          </a:xfrm>
          <a:prstGeom prst="rect">
            <a:avLst/>
          </a:prstGeom>
          <a:solidFill>
            <a:srgbClr val="96969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19" name="Rectangle 1118">
            <a:extLst>
              <a:ext uri="{FF2B5EF4-FFF2-40B4-BE49-F238E27FC236}">
                <a16:creationId xmlns:a16="http://schemas.microsoft.com/office/drawing/2014/main" id="{DA676225-08A8-4381-312A-375140048F9D}"/>
              </a:ext>
            </a:extLst>
          </p:cNvPr>
          <p:cNvSpPr/>
          <p:nvPr>
            <p:custDataLst>
              <p:tags r:id="rId18"/>
            </p:custDataLst>
          </p:nvPr>
        </p:nvSpPr>
        <p:spPr bwMode="auto">
          <a:xfrm>
            <a:off x="7275513" y="4794250"/>
            <a:ext cx="142875" cy="106363"/>
          </a:xfrm>
          <a:prstGeom prst="rect">
            <a:avLst/>
          </a:prstGeom>
          <a:solidFill>
            <a:srgbClr val="C0C0C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19" name="Oval 2118">
            <a:extLst>
              <a:ext uri="{FF2B5EF4-FFF2-40B4-BE49-F238E27FC236}">
                <a16:creationId xmlns:a16="http://schemas.microsoft.com/office/drawing/2014/main" id="{F8F69004-D5FF-1758-1F5E-7935B9654026}"/>
              </a:ext>
            </a:extLst>
          </p:cNvPr>
          <p:cNvSpPr/>
          <p:nvPr>
            <p:custDataLst>
              <p:tags r:id="rId19"/>
            </p:custDataLst>
          </p:nvPr>
        </p:nvSpPr>
        <p:spPr bwMode="auto">
          <a:xfrm>
            <a:off x="6342063" y="4641850"/>
            <a:ext cx="63500" cy="635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6532563" y="4616450"/>
            <a:ext cx="5048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8548468-AB0D-4716-832A-B0F3CD5931AD}" type="datetime'Emplo''''''''''''''''''''''''''''''''''y''''''''''e''''es'''">
              <a:rPr lang="en-US" altLang="en-US" sz="800" smtClean="0"/>
              <a:pPr marL="0" lvl="0" indent="0">
                <a:spcBef>
                  <a:spcPct val="0"/>
                </a:spcBef>
                <a:spcAft>
                  <a:spcPct val="0"/>
                </a:spcAft>
                <a:buNone/>
              </a:pPr>
              <a:t>Employees</a:t>
            </a:fld>
            <a:endParaRPr lang="en-US" sz="8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6532563" y="4789488"/>
            <a:ext cx="5683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3476E99-1444-4880-AF34-1C7746F0A3E8}" type="datetime'''''''''''''''''''''''Fu''''''''n''''''''''''d''i''n''''g'''">
              <a:rPr lang="en-US" altLang="en-US" sz="800" smtClean="0"/>
              <a:pPr marL="0" lvl="0" indent="0">
                <a:spcBef>
                  <a:spcPct val="0"/>
                </a:spcBef>
                <a:spcAft>
                  <a:spcPct val="0"/>
                </a:spcAft>
                <a:buNone/>
              </a:pPr>
              <a:t>Funding</a:t>
            </a:fld>
            <a:r>
              <a:rPr lang="en-US" altLang="en-US" sz="800"/>
              <a:t>, $M</a:t>
            </a:r>
            <a:endParaRPr lang="en-US" sz="800"/>
          </a:p>
        </p:txBody>
      </p:sp>
      <p:sp>
        <p:nvSpPr>
          <p:cNvPr id="1100" name="Text Placeholder 10">
            <a:extLst>
              <a:ext uri="{FF2B5EF4-FFF2-40B4-BE49-F238E27FC236}">
                <a16:creationId xmlns:a16="http://schemas.microsoft.com/office/drawing/2014/main" id="{DD977EA1-AFFA-C99B-F34E-D0256B065A8E}"/>
              </a:ext>
            </a:extLst>
          </p:cNvPr>
          <p:cNvSpPr>
            <a:spLocks noGrp="1"/>
          </p:cNvSpPr>
          <p:nvPr>
            <p:custDataLst>
              <p:tags r:id="rId22"/>
            </p:custDataLst>
          </p:nvPr>
        </p:nvSpPr>
        <p:spPr bwMode="auto">
          <a:xfrm>
            <a:off x="7469188" y="4616450"/>
            <a:ext cx="5048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4EABAD8-1A50-40C0-A4E5-60DD00E04FC6}" type="datetime'G''''r''''''''''''''a''''''n''''''ts'''''''''''''">
              <a:rPr lang="en-US" altLang="en-US" sz="800" smtClean="0"/>
              <a:pPr marL="0" lvl="0" indent="0">
                <a:spcBef>
                  <a:spcPct val="0"/>
                </a:spcBef>
                <a:spcAft>
                  <a:spcPct val="0"/>
                </a:spcAft>
                <a:buNone/>
              </a:pPr>
              <a:t>Grants</a:t>
            </a:fld>
            <a:r>
              <a:rPr lang="en-US" altLang="en-US" sz="800"/>
              <a:t>, $M</a:t>
            </a:r>
            <a:endParaRPr lang="en-US" sz="800"/>
          </a:p>
        </p:txBody>
      </p:sp>
      <p:sp>
        <p:nvSpPr>
          <p:cNvPr id="1110" name="Text Placeholder 10">
            <a:extLst>
              <a:ext uri="{FF2B5EF4-FFF2-40B4-BE49-F238E27FC236}">
                <a16:creationId xmlns:a16="http://schemas.microsoft.com/office/drawing/2014/main" id="{926B25A7-00AF-5569-4F49-ED997A91977C}"/>
              </a:ext>
            </a:extLst>
          </p:cNvPr>
          <p:cNvSpPr>
            <a:spLocks noGrp="1"/>
          </p:cNvSpPr>
          <p:nvPr>
            <p:custDataLst>
              <p:tags r:id="rId23"/>
            </p:custDataLst>
          </p:nvPr>
        </p:nvSpPr>
        <p:spPr bwMode="auto">
          <a:xfrm>
            <a:off x="7469188" y="4789488"/>
            <a:ext cx="135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0E28C48-E5A0-4FAC-A374-77B123533934}" type="datetime'''P''u''bl''ic-p''r''''i''''''''vate'' par''''t''''nersh''ip'">
              <a:rPr lang="en-US" altLang="en-US" sz="800" smtClean="0"/>
              <a:pPr marL="0" lvl="0" indent="0">
                <a:spcBef>
                  <a:spcPct val="0"/>
                </a:spcBef>
                <a:spcAft>
                  <a:spcPct val="0"/>
                </a:spcAft>
                <a:buNone/>
              </a:pPr>
              <a:t>Public-private partnership</a:t>
            </a:fld>
            <a:r>
              <a:rPr lang="en-US" altLang="en-US" sz="800"/>
              <a:t>, $M</a:t>
            </a:r>
            <a:endParaRPr lang="en-US" sz="800"/>
          </a:p>
        </p:txBody>
      </p:sp>
      <p:cxnSp>
        <p:nvCxnSpPr>
          <p:cNvPr id="2124" name="Straight Connector 2123">
            <a:extLst>
              <a:ext uri="{FF2B5EF4-FFF2-40B4-BE49-F238E27FC236}">
                <a16:creationId xmlns:a16="http://schemas.microsoft.com/office/drawing/2014/main" id="{D66CA300-BF03-DB94-33CF-9A83CC1D3859}"/>
              </a:ext>
            </a:extLst>
          </p:cNvPr>
          <p:cNvCxnSpPr/>
          <p:nvPr/>
        </p:nvCxnSpPr>
        <p:spPr bwMode="gray">
          <a:xfrm>
            <a:off x="944564" y="4513263"/>
            <a:ext cx="467677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2287" name="Chart 2286">
            <a:extLst>
              <a:ext uri="{FF2B5EF4-FFF2-40B4-BE49-F238E27FC236}">
                <a16:creationId xmlns:a16="http://schemas.microsoft.com/office/drawing/2014/main" id="{BEDD2294-453D-4C00-E3B0-DA1645514FFD}"/>
              </a:ext>
            </a:extLst>
          </p:cNvPr>
          <p:cNvGraphicFramePr/>
          <p:nvPr>
            <p:custDataLst>
              <p:tags r:id="rId24"/>
            </p:custDataLst>
          </p:nvPr>
        </p:nvGraphicFramePr>
        <p:xfrm>
          <a:off x="862013" y="4427538"/>
          <a:ext cx="4841875" cy="1576387"/>
        </p:xfrm>
        <a:graphic>
          <a:graphicData uri="http://schemas.openxmlformats.org/drawingml/2006/chart">
            <c:chart xmlns:c="http://schemas.openxmlformats.org/drawingml/2006/chart" xmlns:r="http://schemas.openxmlformats.org/officeDocument/2006/relationships" r:id="rId54"/>
          </a:graphicData>
        </a:graphic>
      </p:graphicFrame>
      <p:sp>
        <p:nvSpPr>
          <p:cNvPr id="2126" name="Text Placeholder 10">
            <a:extLst>
              <a:ext uri="{FF2B5EF4-FFF2-40B4-BE49-F238E27FC236}">
                <a16:creationId xmlns:a16="http://schemas.microsoft.com/office/drawing/2014/main" id="{7C98A43A-685D-0B07-5345-6538DBCDDAA3}"/>
              </a:ext>
            </a:extLst>
          </p:cNvPr>
          <p:cNvSpPr>
            <a:spLocks noGrp="1"/>
          </p:cNvSpPr>
          <p:nvPr>
            <p:custDataLst>
              <p:tags r:id="rId25"/>
            </p:custDataLst>
          </p:nvPr>
        </p:nvSpPr>
        <p:spPr bwMode="auto">
          <a:xfrm>
            <a:off x="1131888" y="58959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A4679C-B337-4A79-ADB6-05E710F30E20}" type="datetime'''''''''''''''''''''''''''''''2''0''''1''''''''''9'">
              <a:rPr lang="en-US" altLang="en-US" sz="1000" smtClean="0"/>
              <a:pPr marL="0" lvl="0" indent="0" algn="ctr">
                <a:spcBef>
                  <a:spcPct val="0"/>
                </a:spcBef>
                <a:spcAft>
                  <a:spcPct val="0"/>
                </a:spcAft>
                <a:buNone/>
              </a:pPr>
              <a:t>2019</a:t>
            </a:fld>
            <a:endParaRPr lang="en-US" sz="1000"/>
          </a:p>
        </p:txBody>
      </p:sp>
      <p:sp>
        <p:nvSpPr>
          <p:cNvPr id="2176"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1952625" y="5678488"/>
            <a:ext cx="17462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F384E0F-F8D1-48DA-AEBB-3EA89FDC1D05}" type="datetime'''''''8''''''''''''''''''''4'''''''''''''''''''''''''''''">
              <a:rPr lang="en-US" altLang="en-US" sz="1000" smtClean="0">
                <a:solidFill>
                  <a:schemeClr val="bg1"/>
                </a:solidFill>
                <a:effectLst/>
              </a:rPr>
              <a:pPr marL="0" lvl="0" indent="0" algn="ctr">
                <a:spcBef>
                  <a:spcPct val="0"/>
                </a:spcBef>
                <a:spcAft>
                  <a:spcPct val="0"/>
                </a:spcAft>
                <a:buNone/>
              </a:pPr>
              <a:t>84</a:t>
            </a:fld>
            <a:endParaRPr lang="en-US" sz="1000">
              <a:solidFill>
                <a:schemeClr val="bg1"/>
              </a:solidFill>
            </a:endParaRPr>
          </a:p>
        </p:txBody>
      </p:sp>
      <p:sp>
        <p:nvSpPr>
          <p:cNvPr id="2174" name="Text Placeholder 10">
            <a:extLst>
              <a:ext uri="{FF2B5EF4-FFF2-40B4-BE49-F238E27FC236}">
                <a16:creationId xmlns:a16="http://schemas.microsoft.com/office/drawing/2014/main" id="{F883CFA8-0861-6429-8361-30C356AC575A}"/>
              </a:ext>
            </a:extLst>
          </p:cNvPr>
          <p:cNvSpPr>
            <a:spLocks noGrp="1"/>
          </p:cNvSpPr>
          <p:nvPr>
            <p:custDataLst>
              <p:tags r:id="rId27"/>
            </p:custDataLst>
          </p:nvPr>
        </p:nvSpPr>
        <p:spPr bwMode="gray">
          <a:xfrm>
            <a:off x="1801813" y="5700713"/>
            <a:ext cx="104775" cy="152400"/>
          </a:xfrm>
          <a:prstGeom prst="rect">
            <a:avLst/>
          </a:prstGeom>
          <a:solidFill>
            <a:srgbClr val="969696"/>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B91C07-9EE8-48F5-8484-9A56903DD8E9}" type="datetime'''''''5'''''''''''''''''">
              <a:rPr lang="en-US" altLang="en-US" sz="1000" smtClean="0">
                <a:effectLst/>
              </a:rPr>
              <a:pPr marL="0" lvl="0" indent="0" algn="ctr">
                <a:spcBef>
                  <a:spcPct val="0"/>
                </a:spcBef>
                <a:spcAft>
                  <a:spcPct val="0"/>
                </a:spcAft>
                <a:buNone/>
              </a:pPr>
              <a:t>5</a:t>
            </a:fld>
            <a:endParaRPr lang="en-US" sz="1000"/>
          </a:p>
        </p:txBody>
      </p:sp>
      <p:sp>
        <p:nvSpPr>
          <p:cNvPr id="2127" name="Text Placeholder 10">
            <a:extLst>
              <a:ext uri="{FF2B5EF4-FFF2-40B4-BE49-F238E27FC236}">
                <a16:creationId xmlns:a16="http://schemas.microsoft.com/office/drawing/2014/main" id="{B6F87F8C-8DED-8211-BE0B-973394FB1CDA}"/>
              </a:ext>
            </a:extLst>
          </p:cNvPr>
          <p:cNvSpPr>
            <a:spLocks noGrp="1"/>
          </p:cNvSpPr>
          <p:nvPr>
            <p:custDataLst>
              <p:tags r:id="rId28"/>
            </p:custDataLst>
          </p:nvPr>
        </p:nvSpPr>
        <p:spPr bwMode="auto">
          <a:xfrm>
            <a:off x="1800225" y="58959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85983A2-3F34-4AEE-9C65-B404D618C4A2}" type="datetime'''''''''''''''''''''2''''''''''''''''''''0''''2''''0'''''">
              <a:rPr lang="en-US" altLang="en-US" sz="1000" smtClean="0"/>
              <a:pPr marL="0" lvl="0" indent="0" algn="ctr">
                <a:spcBef>
                  <a:spcPct val="0"/>
                </a:spcBef>
                <a:spcAft>
                  <a:spcPct val="0"/>
                </a:spcAft>
                <a:buNone/>
              </a:pPr>
              <a:t>2020</a:t>
            </a:fld>
            <a:endParaRPr lang="en-US" sz="1000"/>
          </a:p>
        </p:txBody>
      </p:sp>
      <p:sp>
        <p:nvSpPr>
          <p:cNvPr id="2128" name="Text Placeholder 10">
            <a:extLst>
              <a:ext uri="{FF2B5EF4-FFF2-40B4-BE49-F238E27FC236}">
                <a16:creationId xmlns:a16="http://schemas.microsoft.com/office/drawing/2014/main" id="{8A9FC8B7-8546-8744-5D5D-64B99F4CCC57}"/>
              </a:ext>
            </a:extLst>
          </p:cNvPr>
          <p:cNvSpPr>
            <a:spLocks noGrp="1"/>
          </p:cNvSpPr>
          <p:nvPr>
            <p:custDataLst>
              <p:tags r:id="rId29"/>
            </p:custDataLst>
          </p:nvPr>
        </p:nvSpPr>
        <p:spPr bwMode="auto">
          <a:xfrm>
            <a:off x="2468563" y="58959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1892B15-AE7F-4850-BCEC-63F68122B5F8}" type="datetime'2''''''0''''''''''''''''''''''''''2''''''''''1'">
              <a:rPr lang="en-US" altLang="en-US" sz="1000" smtClean="0"/>
              <a:pPr marL="0" lvl="0" indent="0" algn="ctr">
                <a:spcBef>
                  <a:spcPct val="0"/>
                </a:spcBef>
                <a:spcAft>
                  <a:spcPct val="0"/>
                </a:spcAft>
                <a:buNone/>
              </a:pPr>
              <a:t>2021</a:t>
            </a:fld>
            <a:endParaRPr lang="en-US" sz="1000"/>
          </a:p>
        </p:txBody>
      </p:sp>
      <p:sp>
        <p:nvSpPr>
          <p:cNvPr id="2129" name="Text Placeholder 10">
            <a:extLst>
              <a:ext uri="{FF2B5EF4-FFF2-40B4-BE49-F238E27FC236}">
                <a16:creationId xmlns:a16="http://schemas.microsoft.com/office/drawing/2014/main" id="{FC09C6E2-DA36-D861-4F37-CDC6EC95C0E5}"/>
              </a:ext>
            </a:extLst>
          </p:cNvPr>
          <p:cNvSpPr>
            <a:spLocks noGrp="1"/>
          </p:cNvSpPr>
          <p:nvPr>
            <p:custDataLst>
              <p:tags r:id="rId30"/>
            </p:custDataLst>
          </p:nvPr>
        </p:nvSpPr>
        <p:spPr bwMode="auto">
          <a:xfrm>
            <a:off x="3136900" y="58959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51ACAA-5ABA-4803-BECA-DA5823CA7FD1}" type="datetime'''''2''0''''''''''2''''''''''''2'''''''''''''''''''">
              <a:rPr lang="en-US" altLang="en-US" sz="1000" smtClean="0"/>
              <a:pPr marL="0" lvl="0" indent="0" algn="ctr">
                <a:spcBef>
                  <a:spcPct val="0"/>
                </a:spcBef>
                <a:spcAft>
                  <a:spcPct val="0"/>
                </a:spcAft>
                <a:buNone/>
              </a:pPr>
              <a:t>2022</a:t>
            </a:fld>
            <a:endParaRPr lang="en-US" sz="1000"/>
          </a:p>
        </p:txBody>
      </p:sp>
      <p:sp>
        <p:nvSpPr>
          <p:cNvPr id="2131" name="Text Placeholder 10">
            <a:extLst>
              <a:ext uri="{FF2B5EF4-FFF2-40B4-BE49-F238E27FC236}">
                <a16:creationId xmlns:a16="http://schemas.microsoft.com/office/drawing/2014/main" id="{27F77713-2328-D625-6028-522E81E2284A}"/>
              </a:ext>
            </a:extLst>
          </p:cNvPr>
          <p:cNvSpPr>
            <a:spLocks noGrp="1"/>
          </p:cNvSpPr>
          <p:nvPr>
            <p:custDataLst>
              <p:tags r:id="rId31"/>
            </p:custDataLst>
          </p:nvPr>
        </p:nvSpPr>
        <p:spPr bwMode="auto">
          <a:xfrm>
            <a:off x="3803650" y="58959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1A8DD6-A50D-4ACD-AF78-118D5D9E08A2}" type="datetime'''''''''2''0''''2''''''''''''''''''3'''''''''''''''''''''''">
              <a:rPr lang="en-US" altLang="en-US" sz="1000" smtClean="0"/>
              <a:pPr marL="0" lvl="0" indent="0" algn="ctr">
                <a:spcBef>
                  <a:spcPct val="0"/>
                </a:spcBef>
                <a:spcAft>
                  <a:spcPct val="0"/>
                </a:spcAft>
                <a:buNone/>
              </a:pPr>
              <a:t>2023</a:t>
            </a:fld>
            <a:endParaRPr lang="en-US" sz="1000"/>
          </a:p>
        </p:txBody>
      </p:sp>
      <p:sp>
        <p:nvSpPr>
          <p:cNvPr id="2132" name="Text Placeholder 10">
            <a:extLst>
              <a:ext uri="{FF2B5EF4-FFF2-40B4-BE49-F238E27FC236}">
                <a16:creationId xmlns:a16="http://schemas.microsoft.com/office/drawing/2014/main" id="{86431120-CED6-B01D-049B-6A7DE7C790EB}"/>
              </a:ext>
            </a:extLst>
          </p:cNvPr>
          <p:cNvSpPr>
            <a:spLocks noGrp="1"/>
          </p:cNvSpPr>
          <p:nvPr>
            <p:custDataLst>
              <p:tags r:id="rId32"/>
            </p:custDataLst>
          </p:nvPr>
        </p:nvSpPr>
        <p:spPr bwMode="auto">
          <a:xfrm>
            <a:off x="4471988" y="58959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6544D14-0B9F-4BA5-94D3-08E01159EF4E}" type="datetime'''''''''''''''''''20''''''''2''''''''''''''''4'''''''''''''''">
              <a:rPr lang="en-US" altLang="en-US" sz="1000" smtClean="0"/>
              <a:pPr marL="0" lvl="0" indent="0" algn="ctr">
                <a:spcBef>
                  <a:spcPct val="0"/>
                </a:spcBef>
                <a:spcAft>
                  <a:spcPct val="0"/>
                </a:spcAft>
                <a:buNone/>
              </a:pPr>
              <a:t>2024</a:t>
            </a:fld>
            <a:endParaRPr lang="en-US" sz="1000"/>
          </a:p>
        </p:txBody>
      </p:sp>
      <p:sp>
        <p:nvSpPr>
          <p:cNvPr id="2133" name="Text Placeholder 10">
            <a:extLst>
              <a:ext uri="{FF2B5EF4-FFF2-40B4-BE49-F238E27FC236}">
                <a16:creationId xmlns:a16="http://schemas.microsoft.com/office/drawing/2014/main" id="{DDA9F526-61A5-4B65-DE9D-AAA4D37FBD85}"/>
              </a:ext>
            </a:extLst>
          </p:cNvPr>
          <p:cNvSpPr>
            <a:spLocks noGrp="1"/>
          </p:cNvSpPr>
          <p:nvPr>
            <p:custDataLst>
              <p:tags r:id="rId33"/>
            </p:custDataLst>
          </p:nvPr>
        </p:nvSpPr>
        <p:spPr bwMode="auto">
          <a:xfrm>
            <a:off x="5140325" y="58959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403D729-9679-4B38-B035-628E10B46A26}" type="datetime'''''''''2''''''0''''2''''5'''''''''''''''''''''''''''''">
              <a:rPr lang="en-US" altLang="en-US" sz="1000" smtClean="0"/>
              <a:pPr marL="0" lvl="0" indent="0" algn="ctr">
                <a:spcBef>
                  <a:spcPct val="0"/>
                </a:spcBef>
                <a:spcAft>
                  <a:spcPct val="0"/>
                </a:spcAft>
                <a:buNone/>
              </a:pPr>
              <a:t>2025</a:t>
            </a:fld>
            <a:endParaRPr lang="en-US" sz="1000"/>
          </a:p>
        </p:txBody>
      </p:sp>
      <p:cxnSp>
        <p:nvCxnSpPr>
          <p:cNvPr id="2134" name="Straight Connector 2133">
            <a:extLst>
              <a:ext uri="{FF2B5EF4-FFF2-40B4-BE49-F238E27FC236}">
                <a16:creationId xmlns:a16="http://schemas.microsoft.com/office/drawing/2014/main" id="{61A78E19-7A45-0CBF-7356-959EB38B300A}"/>
              </a:ext>
            </a:extLst>
          </p:cNvPr>
          <p:cNvCxnSpPr/>
          <p:nvPr>
            <p:custDataLst>
              <p:tags r:id="rId34"/>
            </p:custDataLst>
          </p:nvPr>
        </p:nvCxnSpPr>
        <p:spPr bwMode="auto">
          <a:xfrm>
            <a:off x="1000125" y="4611688"/>
            <a:ext cx="187325" cy="0"/>
          </a:xfrm>
          <a:prstGeom prst="line">
            <a:avLst/>
          </a:prstGeom>
          <a:ln w="28575" cap="rnd"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135" name="Rectangle 2134">
            <a:extLst>
              <a:ext uri="{FF2B5EF4-FFF2-40B4-BE49-F238E27FC236}">
                <a16:creationId xmlns:a16="http://schemas.microsoft.com/office/drawing/2014/main" id="{4227EB83-C540-56B2-9D0C-E4CB1377CCD5}"/>
              </a:ext>
            </a:extLst>
          </p:cNvPr>
          <p:cNvSpPr/>
          <p:nvPr>
            <p:custDataLst>
              <p:tags r:id="rId35"/>
            </p:custDataLst>
          </p:nvPr>
        </p:nvSpPr>
        <p:spPr bwMode="auto">
          <a:xfrm>
            <a:off x="1058863" y="4732338"/>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36" name="Rectangle 2135">
            <a:extLst>
              <a:ext uri="{FF2B5EF4-FFF2-40B4-BE49-F238E27FC236}">
                <a16:creationId xmlns:a16="http://schemas.microsoft.com/office/drawing/2014/main" id="{5BCFE8EC-F18C-2F06-687D-F831BB0B7BA1}"/>
              </a:ext>
            </a:extLst>
          </p:cNvPr>
          <p:cNvSpPr/>
          <p:nvPr>
            <p:custDataLst>
              <p:tags r:id="rId36"/>
            </p:custDataLst>
          </p:nvPr>
        </p:nvSpPr>
        <p:spPr bwMode="auto">
          <a:xfrm>
            <a:off x="1995488" y="4559300"/>
            <a:ext cx="142875" cy="106363"/>
          </a:xfrm>
          <a:prstGeom prst="rect">
            <a:avLst/>
          </a:prstGeom>
          <a:solidFill>
            <a:srgbClr val="96969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38" name="Oval 2137">
            <a:extLst>
              <a:ext uri="{FF2B5EF4-FFF2-40B4-BE49-F238E27FC236}">
                <a16:creationId xmlns:a16="http://schemas.microsoft.com/office/drawing/2014/main" id="{0810C3CB-B946-2FA2-2A23-24B2829FDC2D}"/>
              </a:ext>
            </a:extLst>
          </p:cNvPr>
          <p:cNvSpPr/>
          <p:nvPr>
            <p:custDataLst>
              <p:tags r:id="rId37"/>
            </p:custDataLst>
          </p:nvPr>
        </p:nvSpPr>
        <p:spPr bwMode="auto">
          <a:xfrm>
            <a:off x="1062038" y="4579938"/>
            <a:ext cx="63500" cy="635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39" name="Text Placeholder 10">
            <a:extLst>
              <a:ext uri="{FF2B5EF4-FFF2-40B4-BE49-F238E27FC236}">
                <a16:creationId xmlns:a16="http://schemas.microsoft.com/office/drawing/2014/main" id="{9FA8DCD9-3B72-44FB-E8DE-7FD15E6C97A9}"/>
              </a:ext>
            </a:extLst>
          </p:cNvPr>
          <p:cNvSpPr>
            <a:spLocks noGrp="1"/>
          </p:cNvSpPr>
          <p:nvPr>
            <p:custDataLst>
              <p:tags r:id="rId38"/>
            </p:custDataLst>
          </p:nvPr>
        </p:nvSpPr>
        <p:spPr bwMode="auto">
          <a:xfrm>
            <a:off x="1252538" y="4554538"/>
            <a:ext cx="5048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EAB2211-FC97-415F-B502-3AEA0E0DEA71}" type="datetime'E''''''''m''p''l''''''''''o''''''yee''''''''''''s'''''''''">
              <a:rPr lang="en-US" altLang="en-US" sz="800" smtClean="0"/>
              <a:pPr marL="0" lvl="0" indent="0">
                <a:spcBef>
                  <a:spcPct val="0"/>
                </a:spcBef>
                <a:spcAft>
                  <a:spcPct val="0"/>
                </a:spcAft>
                <a:buNone/>
              </a:pPr>
              <a:t>Employees</a:t>
            </a:fld>
            <a:endParaRPr lang="en-US" sz="800"/>
          </a:p>
        </p:txBody>
      </p:sp>
      <p:sp>
        <p:nvSpPr>
          <p:cNvPr id="2140" name="Text Placeholder 10">
            <a:extLst>
              <a:ext uri="{FF2B5EF4-FFF2-40B4-BE49-F238E27FC236}">
                <a16:creationId xmlns:a16="http://schemas.microsoft.com/office/drawing/2014/main" id="{FF604190-D1F4-FE1E-C8C7-B147ED30A305}"/>
              </a:ext>
            </a:extLst>
          </p:cNvPr>
          <p:cNvSpPr>
            <a:spLocks noGrp="1"/>
          </p:cNvSpPr>
          <p:nvPr>
            <p:custDataLst>
              <p:tags r:id="rId39"/>
            </p:custDataLst>
          </p:nvPr>
        </p:nvSpPr>
        <p:spPr bwMode="auto">
          <a:xfrm>
            <a:off x="1252538" y="4727575"/>
            <a:ext cx="5683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3A14404-6995-415B-A410-D0A877CFB8A3}" type="datetime'''F''''''''u''''''n''d''''i''''''n''''''''g'''''">
              <a:rPr lang="en-US" altLang="en-US" sz="800" smtClean="0"/>
              <a:pPr marL="0" lvl="0" indent="0">
                <a:spcBef>
                  <a:spcPct val="0"/>
                </a:spcBef>
                <a:spcAft>
                  <a:spcPct val="0"/>
                </a:spcAft>
                <a:buNone/>
              </a:pPr>
              <a:t>Funding</a:t>
            </a:fld>
            <a:r>
              <a:rPr lang="en-US" altLang="en-US" sz="800"/>
              <a:t>, $M</a:t>
            </a:r>
            <a:endParaRPr lang="en-US" sz="800"/>
          </a:p>
        </p:txBody>
      </p:sp>
      <p:sp>
        <p:nvSpPr>
          <p:cNvPr id="2141" name="Text Placeholder 10">
            <a:extLst>
              <a:ext uri="{FF2B5EF4-FFF2-40B4-BE49-F238E27FC236}">
                <a16:creationId xmlns:a16="http://schemas.microsoft.com/office/drawing/2014/main" id="{0246FF8A-0DBF-BD14-23CC-CE896B9C66B3}"/>
              </a:ext>
            </a:extLst>
          </p:cNvPr>
          <p:cNvSpPr>
            <a:spLocks noGrp="1"/>
          </p:cNvSpPr>
          <p:nvPr>
            <p:custDataLst>
              <p:tags r:id="rId40"/>
            </p:custDataLst>
          </p:nvPr>
        </p:nvSpPr>
        <p:spPr bwMode="auto">
          <a:xfrm>
            <a:off x="2189163" y="4554538"/>
            <a:ext cx="5048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AD9A172-6EF8-4710-985F-760B072EF6AE}" type="datetime'''G''r''''''''''''''a''''''''''''''''''n''t''''''s'''''''">
              <a:rPr lang="en-US" altLang="en-US" sz="800" smtClean="0"/>
              <a:pPr marL="0" lvl="0" indent="0">
                <a:spcBef>
                  <a:spcPct val="0"/>
                </a:spcBef>
                <a:spcAft>
                  <a:spcPct val="0"/>
                </a:spcAft>
                <a:buNone/>
              </a:pPr>
              <a:t>Grants</a:t>
            </a:fld>
            <a:r>
              <a:rPr lang="en-US" altLang="en-US" sz="800"/>
              <a:t>, $M</a:t>
            </a:r>
            <a:endParaRPr lang="en-US" sz="800"/>
          </a:p>
        </p:txBody>
      </p:sp>
      <p:cxnSp>
        <p:nvCxnSpPr>
          <p:cNvPr id="2291" name="Straight Connector 2290">
            <a:extLst>
              <a:ext uri="{FF2B5EF4-FFF2-40B4-BE49-F238E27FC236}">
                <a16:creationId xmlns:a16="http://schemas.microsoft.com/office/drawing/2014/main" id="{85993DBF-AA8F-E5A6-C670-3190628017B2}"/>
              </a:ext>
            </a:extLst>
          </p:cNvPr>
          <p:cNvCxnSpPr/>
          <p:nvPr/>
        </p:nvCxnSpPr>
        <p:spPr bwMode="gray">
          <a:xfrm>
            <a:off x="6224676" y="2299984"/>
            <a:ext cx="467736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92" name="TextBox 2291">
            <a:extLst>
              <a:ext uri="{FF2B5EF4-FFF2-40B4-BE49-F238E27FC236}">
                <a16:creationId xmlns:a16="http://schemas.microsoft.com/office/drawing/2014/main" id="{28094AE8-C133-113F-898E-603F116840C8}"/>
              </a:ext>
            </a:extLst>
          </p:cNvPr>
          <p:cNvSpPr txBox="1"/>
          <p:nvPr/>
        </p:nvSpPr>
        <p:spPr bwMode="gray">
          <a:xfrm>
            <a:off x="1041400" y="2455728"/>
            <a:ext cx="4579754" cy="1754326"/>
          </a:xfrm>
          <a:prstGeom prst="rect">
            <a:avLst/>
          </a:prstGeom>
          <a:noFill/>
        </p:spPr>
        <p:txBody>
          <a:bodyPr wrap="square" lIns="36576" tIns="0" rIns="0" bIns="0" rtlCol="0">
            <a:spAutoFit/>
          </a:bodyPr>
          <a:lstStyle/>
          <a:p>
            <a:pPr marL="171450" indent="-171450" algn="l">
              <a:spcAft>
                <a:spcPts val="600"/>
              </a:spcAft>
              <a:buFont typeface="Arial" panose="020B0604020202020204" pitchFamily="34" charset="0"/>
              <a:buChar char="•"/>
            </a:pPr>
            <a:r>
              <a:rPr lang="en-US" sz="1100"/>
              <a:t>Founded in 2018 as a spin-off from </a:t>
            </a:r>
            <a:r>
              <a:rPr lang="en-US" sz="1100" b="1"/>
              <a:t>MIT</a:t>
            </a:r>
            <a:r>
              <a:rPr lang="en-US" sz="1100"/>
              <a:t>, CFS is by far the best funded fusion company in the world with </a:t>
            </a:r>
            <a:r>
              <a:rPr lang="en-US" sz="1100" b="1"/>
              <a:t>~$2 billion in total funding.</a:t>
            </a:r>
          </a:p>
          <a:p>
            <a:pPr marL="171450" indent="-171450" algn="l">
              <a:spcAft>
                <a:spcPts val="600"/>
              </a:spcAft>
              <a:buFont typeface="Arial" panose="020B0604020202020204" pitchFamily="34" charset="0"/>
              <a:buChar char="•"/>
            </a:pPr>
            <a:r>
              <a:rPr lang="en-US" sz="1100"/>
              <a:t>CFS believes it can revolutionize fusion engineering employing its research into </a:t>
            </a:r>
            <a:r>
              <a:rPr lang="en-US" sz="1100" b="1"/>
              <a:t>high-temperature superconducting magnets.</a:t>
            </a:r>
          </a:p>
          <a:p>
            <a:pPr marL="171450" indent="-171450" algn="l">
              <a:spcAft>
                <a:spcPts val="600"/>
              </a:spcAft>
              <a:buFont typeface="Arial" panose="020B0604020202020204" pitchFamily="34" charset="0"/>
              <a:buChar char="•"/>
            </a:pPr>
            <a:r>
              <a:rPr lang="en-US" sz="1100"/>
              <a:t>The company aims to build a more compact tokamak, named </a:t>
            </a:r>
            <a:r>
              <a:rPr lang="en-US" sz="1100" b="1"/>
              <a:t>ARC, in the early 2030s with ~400 MW clean power.</a:t>
            </a:r>
          </a:p>
          <a:p>
            <a:pPr marL="171450" indent="-171450" algn="l">
              <a:spcAft>
                <a:spcPts val="600"/>
              </a:spcAft>
              <a:buFont typeface="Arial" panose="020B0604020202020204" pitchFamily="34" charset="0"/>
              <a:buChar char="•"/>
            </a:pPr>
            <a:r>
              <a:rPr lang="en-US" sz="1100"/>
              <a:t>Before that, CFS is developing SPARC to pave the way for ARC. </a:t>
            </a:r>
            <a:r>
              <a:rPr lang="en-US" sz="1100" b="1"/>
              <a:t>SPARC is expected to produce plasma in 2026 and have a net gain shortly after.</a:t>
            </a:r>
            <a:endParaRPr lang="en-US" sz="1100"/>
          </a:p>
        </p:txBody>
      </p:sp>
      <p:sp>
        <p:nvSpPr>
          <p:cNvPr id="2293" name="TextBox 2292">
            <a:extLst>
              <a:ext uri="{FF2B5EF4-FFF2-40B4-BE49-F238E27FC236}">
                <a16:creationId xmlns:a16="http://schemas.microsoft.com/office/drawing/2014/main" id="{B8BFF398-975C-47F7-1627-1E5E9A831B87}"/>
              </a:ext>
            </a:extLst>
          </p:cNvPr>
          <p:cNvSpPr txBox="1"/>
          <p:nvPr/>
        </p:nvSpPr>
        <p:spPr bwMode="gray">
          <a:xfrm>
            <a:off x="6322282" y="2455728"/>
            <a:ext cx="4579754" cy="1754326"/>
          </a:xfrm>
          <a:prstGeom prst="rect">
            <a:avLst/>
          </a:prstGeom>
          <a:noFill/>
        </p:spPr>
        <p:txBody>
          <a:bodyPr wrap="square" lIns="36576" tIns="0" rIns="0" bIns="0" rtlCol="0">
            <a:spAutoFit/>
          </a:bodyPr>
          <a:lstStyle/>
          <a:p>
            <a:pPr marL="171450" indent="-171450" algn="l">
              <a:spcAft>
                <a:spcPts val="600"/>
              </a:spcAft>
              <a:buFont typeface="Arial" panose="020B0604020202020204" pitchFamily="34" charset="0"/>
              <a:buChar char="•"/>
            </a:pPr>
            <a:r>
              <a:rPr lang="en-US" sz="1100" b="1"/>
              <a:t>Marvel was founded in 2019 following the Nobel Prize in physics in 2018 for breakthrough laser technologies.</a:t>
            </a:r>
          </a:p>
          <a:p>
            <a:pPr marL="171450" indent="-171450" algn="l">
              <a:spcAft>
                <a:spcPts val="600"/>
              </a:spcAft>
              <a:buFont typeface="Arial" panose="020B0604020202020204" pitchFamily="34" charset="0"/>
              <a:buChar char="•"/>
            </a:pPr>
            <a:r>
              <a:rPr lang="en-US" sz="1100"/>
              <a:t>Using this novel laser technology and new fuel pellets, Marvel believes it can </a:t>
            </a:r>
            <a:r>
              <a:rPr lang="en-US" sz="1100" b="1"/>
              <a:t>improve the efficiency of NIF </a:t>
            </a:r>
            <a:r>
              <a:rPr lang="en-US" sz="1100"/>
              <a:t>to reach commercially viable fusion energy by the mid-2030s.</a:t>
            </a:r>
            <a:endParaRPr lang="en-US" sz="1100" b="1"/>
          </a:p>
          <a:p>
            <a:pPr marL="171450" indent="-171450" algn="l">
              <a:spcAft>
                <a:spcPts val="600"/>
              </a:spcAft>
              <a:buFont typeface="Arial" panose="020B0604020202020204" pitchFamily="34" charset="0"/>
              <a:buChar char="•"/>
            </a:pPr>
            <a:r>
              <a:rPr lang="en-US" sz="1100"/>
              <a:t>The company is building a </a:t>
            </a:r>
            <a:r>
              <a:rPr lang="en-US" sz="1100" b="1"/>
              <a:t>$150 million proof of technology with Colorado State University</a:t>
            </a:r>
            <a:r>
              <a:rPr lang="en-US" sz="1100"/>
              <a:t> to test the new laser technology by 2027.</a:t>
            </a:r>
          </a:p>
          <a:p>
            <a:pPr marL="171450" indent="-171450" algn="l">
              <a:spcAft>
                <a:spcPts val="600"/>
              </a:spcAft>
              <a:buFont typeface="Arial" panose="020B0604020202020204" pitchFamily="34" charset="0"/>
              <a:buChar char="•"/>
            </a:pPr>
            <a:r>
              <a:rPr lang="en-US" sz="1100"/>
              <a:t>Marvel aims to build its </a:t>
            </a:r>
            <a:r>
              <a:rPr lang="en-US" sz="1100" b="1"/>
              <a:t>first power plant prototype </a:t>
            </a:r>
            <a:r>
              <a:rPr lang="en-US" sz="1100"/>
              <a:t>with </a:t>
            </a:r>
            <a:r>
              <a:rPr lang="en-US" sz="1100" b="1"/>
              <a:t>Siemens Energy </a:t>
            </a:r>
            <a:r>
              <a:rPr lang="en-US" sz="1100"/>
              <a:t>by </a:t>
            </a:r>
            <a:r>
              <a:rPr lang="en-US" sz="1100" b="1"/>
              <a:t>2032 </a:t>
            </a:r>
            <a:r>
              <a:rPr lang="en-US" sz="1100"/>
              <a:t>and have </a:t>
            </a:r>
            <a:r>
              <a:rPr lang="en-US" sz="1100" b="1"/>
              <a:t>commercial power by 2035.</a:t>
            </a:r>
          </a:p>
        </p:txBody>
      </p:sp>
      <p:pic>
        <p:nvPicPr>
          <p:cNvPr id="1026" name="Picture 2" descr="Printable Country Flag of the United States of America ...">
            <a:extLst>
              <a:ext uri="{FF2B5EF4-FFF2-40B4-BE49-F238E27FC236}">
                <a16:creationId xmlns:a16="http://schemas.microsoft.com/office/drawing/2014/main" id="{0C14C2A2-A309-C1B4-A49E-2068876CA8AD}"/>
              </a:ext>
            </a:extLst>
          </p:cNvPr>
          <p:cNvPicPr>
            <a:picLocks noChangeAspect="1" noChangeArrowheads="1"/>
          </p:cNvPicPr>
          <p:nvPr/>
        </p:nvPicPr>
        <p:blipFill>
          <a:blip r:embed="rId55" cstate="screen">
            <a:extLst>
              <a:ext uri="{28A0092B-C50C-407E-A947-70E740481C1C}">
                <a14:useLocalDpi xmlns:a14="http://schemas.microsoft.com/office/drawing/2010/main"/>
              </a:ext>
            </a:extLst>
          </a:blip>
          <a:srcRect/>
          <a:stretch>
            <a:fillRect/>
          </a:stretch>
        </p:blipFill>
        <p:spPr bwMode="auto">
          <a:xfrm>
            <a:off x="4977926" y="1552901"/>
            <a:ext cx="643227" cy="64322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Germany Flag Round PNGs for Free Download">
            <a:extLst>
              <a:ext uri="{FF2B5EF4-FFF2-40B4-BE49-F238E27FC236}">
                <a16:creationId xmlns:a16="http://schemas.microsoft.com/office/drawing/2014/main" id="{EE73DE0A-F1E5-5C75-76F4-D43F592582C0}"/>
              </a:ext>
            </a:extLst>
          </p:cNvPr>
          <p:cNvPicPr>
            <a:picLocks noChangeAspect="1" noChangeArrowheads="1"/>
          </p:cNvPicPr>
          <p:nvPr/>
        </p:nvPicPr>
        <p:blipFill>
          <a:blip r:embed="rId56" cstate="screen">
            <a:extLst>
              <a:ext uri="{28A0092B-C50C-407E-A947-70E740481C1C}">
                <a14:useLocalDpi xmlns:a14="http://schemas.microsoft.com/office/drawing/2010/main"/>
              </a:ext>
            </a:extLst>
          </a:blip>
          <a:srcRect/>
          <a:stretch>
            <a:fillRect/>
          </a:stretch>
        </p:blipFill>
        <p:spPr bwMode="auto">
          <a:xfrm>
            <a:off x="10264408" y="1552901"/>
            <a:ext cx="643227" cy="643227"/>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DEA9D4FE-EDCD-590B-0992-DB7ED4A26201}"/>
              </a:ext>
            </a:extLst>
          </p:cNvPr>
          <p:cNvSpPr/>
          <p:nvPr/>
        </p:nvSpPr>
        <p:spPr bwMode="gray">
          <a:xfrm>
            <a:off x="0" y="0"/>
            <a:ext cx="4024490" cy="384048"/>
          </a:xfrm>
          <a:prstGeom prst="rect">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bg1"/>
                </a:solidFill>
              </a:rPr>
              <a:t>Case study: Commonwealth and Marvel Fusion</a:t>
            </a:r>
          </a:p>
        </p:txBody>
      </p:sp>
    </p:spTree>
    <p:extLst>
      <p:ext uri="{BB962C8B-B14F-4D97-AF65-F5344CB8AC3E}">
        <p14:creationId xmlns:p14="http://schemas.microsoft.com/office/powerpoint/2010/main" val="36983343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9CF2A3B-3694-47EA-35D2-A2B1A8170440}"/>
              </a:ext>
            </a:extLst>
          </p:cNvPr>
          <p:cNvGraphicFramePr>
            <a:graphicFrameLocks noChangeAspect="1"/>
          </p:cNvGraphicFramePr>
          <p:nvPr>
            <p:custDataLst>
              <p:tags r:id="rId1"/>
            </p:custDataLst>
            <p:extLst>
              <p:ext uri="{D42A27DB-BD31-4B8C-83A1-F6EECF244321}">
                <p14:modId xmlns:p14="http://schemas.microsoft.com/office/powerpoint/2010/main" val="938358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0" imgW="405" imgH="405" progId="TCLayout.ActiveDocument.1">
                  <p:embed/>
                </p:oleObj>
              </mc:Choice>
              <mc:Fallback>
                <p:oleObj name="think-cell Slide" r:id="rId70" imgW="405" imgH="405" progId="TCLayout.ActiveDocument.1">
                  <p:embed/>
                  <p:pic>
                    <p:nvPicPr>
                      <p:cNvPr id="0" name=""/>
                      <p:cNvPicPr/>
                      <p:nvPr/>
                    </p:nvPicPr>
                    <p:blipFill>
                      <a:blip r:embed="rId71"/>
                      <a:stretch>
                        <a:fillRect/>
                      </a:stretch>
                    </p:blipFill>
                    <p:spPr>
                      <a:xfrm>
                        <a:off x="1588" y="1588"/>
                        <a:ext cx="1588" cy="1588"/>
                      </a:xfrm>
                      <a:prstGeom prst="rect">
                        <a:avLst/>
                      </a:prstGeom>
                    </p:spPr>
                  </p:pic>
                </p:oleObj>
              </mc:Fallback>
            </mc:AlternateContent>
          </a:graphicData>
        </a:graphic>
      </p:graphicFrame>
      <p:cxnSp>
        <p:nvCxnSpPr>
          <p:cNvPr id="322" name="Straight Connector 321">
            <a:extLst>
              <a:ext uri="{FF2B5EF4-FFF2-40B4-BE49-F238E27FC236}">
                <a16:creationId xmlns:a16="http://schemas.microsoft.com/office/drawing/2014/main" id="{345212C2-D9C8-1271-FB83-EADC667E9D5C}"/>
              </a:ext>
            </a:extLst>
          </p:cNvPr>
          <p:cNvCxnSpPr>
            <a:cxnSpLocks/>
          </p:cNvCxnSpPr>
          <p:nvPr/>
        </p:nvCxnSpPr>
        <p:spPr bwMode="gray">
          <a:xfrm>
            <a:off x="452582" y="3833221"/>
            <a:ext cx="717665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25" name="Rectangle 324">
            <a:extLst>
              <a:ext uri="{FF2B5EF4-FFF2-40B4-BE49-F238E27FC236}">
                <a16:creationId xmlns:a16="http://schemas.microsoft.com/office/drawing/2014/main" id="{801C7B28-7ACA-70AA-0379-448680F57C72}"/>
              </a:ext>
            </a:extLst>
          </p:cNvPr>
          <p:cNvSpPr/>
          <p:nvPr/>
        </p:nvSpPr>
        <p:spPr bwMode="gray">
          <a:xfrm>
            <a:off x="449263" y="3355268"/>
            <a:ext cx="914400" cy="97065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 name="Title 1">
            <a:extLst>
              <a:ext uri="{FF2B5EF4-FFF2-40B4-BE49-F238E27FC236}">
                <a16:creationId xmlns:a16="http://schemas.microsoft.com/office/drawing/2014/main" id="{882B8C54-AB19-0704-62B1-C4EE411D5A5E}"/>
              </a:ext>
            </a:extLst>
          </p:cNvPr>
          <p:cNvSpPr>
            <a:spLocks noGrp="1"/>
          </p:cNvSpPr>
          <p:nvPr>
            <p:ph type="title"/>
          </p:nvPr>
        </p:nvSpPr>
        <p:spPr/>
        <p:txBody>
          <a:bodyPr vert="horz">
            <a:noAutofit/>
          </a:bodyPr>
          <a:lstStyle/>
          <a:p>
            <a:r>
              <a:rPr lang="en-US"/>
              <a:t>Despite a long timeline to commercialization, fusion is collecting significantly more funding than fission, driven by ambitious policy</a:t>
            </a:r>
          </a:p>
        </p:txBody>
      </p:sp>
      <p:graphicFrame>
        <p:nvGraphicFramePr>
          <p:cNvPr id="357" name="Chart 356">
            <a:extLst>
              <a:ext uri="{FF2B5EF4-FFF2-40B4-BE49-F238E27FC236}">
                <a16:creationId xmlns:a16="http://schemas.microsoft.com/office/drawing/2014/main" id="{1F7596BC-0DE5-8DE1-B253-B36F9EF03C95}"/>
              </a:ext>
            </a:extLst>
          </p:cNvPr>
          <p:cNvGraphicFramePr/>
          <p:nvPr>
            <p:custDataLst>
              <p:tags r:id="rId2"/>
            </p:custDataLst>
            <p:extLst>
              <p:ext uri="{D42A27DB-BD31-4B8C-83A1-F6EECF244321}">
                <p14:modId xmlns:p14="http://schemas.microsoft.com/office/powerpoint/2010/main" val="2612791778"/>
              </p:ext>
            </p:extLst>
          </p:nvPr>
        </p:nvGraphicFramePr>
        <p:xfrm>
          <a:off x="1649413" y="1808163"/>
          <a:ext cx="2930525" cy="2030412"/>
        </p:xfrm>
        <a:graphic>
          <a:graphicData uri="http://schemas.openxmlformats.org/drawingml/2006/chart">
            <c:chart xmlns:c="http://schemas.openxmlformats.org/drawingml/2006/chart" xmlns:r="http://schemas.openxmlformats.org/officeDocument/2006/relationships" r:id="rId72"/>
          </a:graphicData>
        </a:graphic>
      </p:graphicFrame>
      <p:sp>
        <p:nvSpPr>
          <p:cNvPr id="346" name="Text Placeholder 10">
            <a:extLst>
              <a:ext uri="{FF2B5EF4-FFF2-40B4-BE49-F238E27FC236}">
                <a16:creationId xmlns:a16="http://schemas.microsoft.com/office/drawing/2014/main" id="{115DFB91-512B-3844-A114-92FBEDCA92F2}"/>
              </a:ext>
            </a:extLst>
          </p:cNvPr>
          <p:cNvSpPr>
            <a:spLocks noGrp="1"/>
          </p:cNvSpPr>
          <p:nvPr>
            <p:custDataLst>
              <p:tags r:id="rId3"/>
            </p:custDataLst>
          </p:nvPr>
        </p:nvSpPr>
        <p:spPr bwMode="auto">
          <a:xfrm>
            <a:off x="1930400" y="36560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9C62893-E4AA-465E-8107-FCAC9A823F38}" type="datetime'2''02''1'''''''''''''''''''''''''''''''''''''''''">
              <a:rPr lang="en-US" altLang="en-US" sz="1000" smtClean="0">
                <a:effectLst/>
              </a:rPr>
              <a:pPr marL="0" lvl="0" indent="0" algn="ctr">
                <a:spcBef>
                  <a:spcPct val="0"/>
                </a:spcBef>
                <a:spcAft>
                  <a:spcPct val="0"/>
                </a:spcAft>
                <a:buNone/>
              </a:pPr>
              <a:t>2021</a:t>
            </a:fld>
            <a:endParaRPr lang="en-US" sz="1000"/>
          </a:p>
        </p:txBody>
      </p:sp>
      <p:sp>
        <p:nvSpPr>
          <p:cNvPr id="348"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auto">
          <a:xfrm>
            <a:off x="2622550" y="36560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2946D9F-673F-4803-83D5-A5B6363ECF70}" type="datetime'''''2''''''''''''0''''''''''''''''''''''''2''''''2'''''">
              <a:rPr lang="en-US" altLang="en-US" sz="1000" smtClean="0">
                <a:effectLst/>
              </a:rPr>
              <a:pPr marL="0" lvl="0" indent="0" algn="ctr">
                <a:spcBef>
                  <a:spcPct val="0"/>
                </a:spcBef>
                <a:spcAft>
                  <a:spcPct val="0"/>
                </a:spcAft>
                <a:buNone/>
              </a:pPr>
              <a:t>2022</a:t>
            </a:fld>
            <a:endParaRPr lang="en-US" sz="1000"/>
          </a:p>
        </p:txBody>
      </p:sp>
      <p:sp>
        <p:nvSpPr>
          <p:cNvPr id="349"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3313113" y="36560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120A93B-0009-40F4-84F5-4E7B3DB729F3}" type="datetime'''2''''''''''''''''''0''''2''''''''''''3'''''''''">
              <a:rPr lang="en-US" altLang="en-US" sz="1000" smtClean="0">
                <a:effectLst/>
              </a:rPr>
              <a:pPr marL="0" lvl="0" indent="0" algn="ctr">
                <a:spcBef>
                  <a:spcPct val="0"/>
                </a:spcBef>
                <a:spcAft>
                  <a:spcPct val="0"/>
                </a:spcAft>
                <a:buNone/>
              </a:pPr>
              <a:t>2023</a:t>
            </a:fld>
            <a:endParaRPr lang="en-US" sz="1000"/>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4029075" y="2971800"/>
            <a:ext cx="244475" cy="152400"/>
          </a:xfrm>
          <a:prstGeom prst="rect">
            <a:avLst/>
          </a:prstGeom>
          <a:solidFill>
            <a:srgbClr val="DFE5EF"/>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4BA3C59-8621-42F9-82D6-02AD2AAD9EF3}" type="datetime'''''''''''''2''2''''''''''5'''''''''''''''''''''''''''''''">
              <a:rPr lang="en-US" altLang="en-US" sz="1000" smtClean="0">
                <a:effectLst/>
              </a:rPr>
              <a:pPr marL="0" lvl="0" indent="0" algn="ctr">
                <a:spcBef>
                  <a:spcPct val="0"/>
                </a:spcBef>
                <a:spcAft>
                  <a:spcPct val="0"/>
                </a:spcAft>
                <a:buNone/>
              </a:pPr>
              <a:t>225</a:t>
            </a:fld>
            <a:endParaRPr lang="en-US" sz="1000"/>
          </a:p>
        </p:txBody>
      </p:sp>
      <p:sp>
        <p:nvSpPr>
          <p:cNvPr id="350"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4005263" y="36560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673DB4-11B4-44D2-BF45-8C040C7D5D16}" type="datetime'''''''''''''''20''''2''''''''''''''''''''''4'''''''''''''''">
              <a:rPr lang="en-US" altLang="en-US" sz="1000" smtClean="0">
                <a:effectLst/>
              </a:rPr>
              <a:pPr marL="0" lvl="0" indent="0" algn="ctr">
                <a:spcBef>
                  <a:spcPct val="0"/>
                </a:spcBef>
                <a:spcAft>
                  <a:spcPct val="0"/>
                </a:spcAft>
                <a:buNone/>
              </a:pPr>
              <a:t>2024</a:t>
            </a:fld>
            <a:endParaRPr lang="en-US" sz="1000"/>
          </a:p>
        </p:txBody>
      </p:sp>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1901825" y="27813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A92E0D8-5BF4-4B32-AEA7-9CB228B8BD5F}" type="datetime'''''''''''1'''''''''',6''3''''''''''''''''''''4'''''''''''''''">
              <a:rPr lang="en-US" altLang="en-US" sz="1000" smtClean="0"/>
              <a:pPr marL="0" lvl="0" indent="0" algn="ctr">
                <a:spcBef>
                  <a:spcPct val="0"/>
                </a:spcBef>
                <a:spcAft>
                  <a:spcPct val="0"/>
                </a:spcAft>
                <a:buNone/>
              </a:pPr>
              <a:t>1,634</a:t>
            </a:fld>
            <a:endParaRPr lang="en-US" sz="1000"/>
          </a:p>
        </p:txBody>
      </p:sp>
      <p:sp>
        <p:nvSpPr>
          <p:cNvPr id="14"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2593975" y="27813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86EE15-FF2A-477C-8310-ECDA48EE958A}" type="datetime'1'''''''',''6''''''''''''3''''''''''''''''''4'''''">
              <a:rPr lang="en-US" altLang="en-US" sz="1000" smtClean="0"/>
              <a:pPr marL="0" lvl="0" indent="0" algn="ctr">
                <a:spcBef>
                  <a:spcPct val="0"/>
                </a:spcBef>
                <a:spcAft>
                  <a:spcPct val="0"/>
                </a:spcAft>
                <a:buNone/>
              </a:pPr>
              <a:t>1,634</a:t>
            </a:fld>
            <a:endParaRPr lang="en-US" sz="1000"/>
          </a:p>
        </p:txBody>
      </p:sp>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3284538" y="20812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5091E5C-5E4B-46E3-9CC8-5F59377BD019}" type="datetime'''''''''''''3'''''',3''''''''''8''''8'''">
              <a:rPr lang="en-US" altLang="en-US" sz="1000" smtClean="0"/>
              <a:pPr marL="0" lvl="0" indent="0" algn="ctr">
                <a:spcBef>
                  <a:spcPct val="0"/>
                </a:spcBef>
                <a:spcAft>
                  <a:spcPct val="0"/>
                </a:spcAft>
                <a:buNone/>
              </a:pPr>
              <a:t>3,388</a:t>
            </a:fld>
            <a:endParaRPr lang="en-US" sz="1000"/>
          </a:p>
        </p:txBody>
      </p:sp>
      <p:sp>
        <p:nvSpPr>
          <p:cNvPr id="24" name="Text Placeholder 10">
            <a:extLst>
              <a:ext uri="{FF2B5EF4-FFF2-40B4-BE49-F238E27FC236}">
                <a16:creationId xmlns:a16="http://schemas.microsoft.com/office/drawing/2014/main" id="{6AC4107C-1282-B5D5-4FB7-6245DF7187A3}"/>
              </a:ext>
            </a:extLst>
          </p:cNvPr>
          <p:cNvSpPr>
            <a:spLocks noGrp="1"/>
          </p:cNvSpPr>
          <p:nvPr>
            <p:custDataLst>
              <p:tags r:id="rId11"/>
            </p:custDataLst>
          </p:nvPr>
        </p:nvSpPr>
        <p:spPr bwMode="gray">
          <a:xfrm>
            <a:off x="3976688" y="18557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23130FB-F2AD-4C32-A881-D15802E224CA}" type="datetime'3,''''''''''''''''''''''''''9''''''''50'''''''">
              <a:rPr lang="en-US" altLang="en-US" sz="1000" smtClean="0"/>
              <a:pPr marL="0" lvl="0" indent="0" algn="ctr">
                <a:spcBef>
                  <a:spcPct val="0"/>
                </a:spcBef>
                <a:spcAft>
                  <a:spcPct val="0"/>
                </a:spcAft>
                <a:buNone/>
              </a:pPr>
              <a:t>3,950</a:t>
            </a:fld>
            <a:endParaRPr lang="en-US" sz="1000"/>
          </a:p>
        </p:txBody>
      </p:sp>
      <p:sp>
        <p:nvSpPr>
          <p:cNvPr id="41" name="Rectangle 40">
            <a:extLst>
              <a:ext uri="{FF2B5EF4-FFF2-40B4-BE49-F238E27FC236}">
                <a16:creationId xmlns:a16="http://schemas.microsoft.com/office/drawing/2014/main" id="{9480588D-8193-499A-1A4B-791F77BA6112}"/>
              </a:ext>
            </a:extLst>
          </p:cNvPr>
          <p:cNvSpPr/>
          <p:nvPr>
            <p:custDataLst>
              <p:tags r:id="rId12"/>
            </p:custDataLst>
          </p:nvPr>
        </p:nvSpPr>
        <p:spPr bwMode="auto">
          <a:xfrm>
            <a:off x="496888" y="3403600"/>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 name="Rectangle 41">
            <a:extLst>
              <a:ext uri="{FF2B5EF4-FFF2-40B4-BE49-F238E27FC236}">
                <a16:creationId xmlns:a16="http://schemas.microsoft.com/office/drawing/2014/main" id="{61F11387-3AD6-E3AE-CB7D-B443ADB9DF43}"/>
              </a:ext>
            </a:extLst>
          </p:cNvPr>
          <p:cNvSpPr/>
          <p:nvPr>
            <p:custDataLst>
              <p:tags r:id="rId13"/>
            </p:custDataLst>
          </p:nvPr>
        </p:nvSpPr>
        <p:spPr bwMode="auto">
          <a:xfrm>
            <a:off x="496888" y="3636963"/>
            <a:ext cx="214313" cy="160338"/>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 name="Rectangle 42">
            <a:extLst>
              <a:ext uri="{FF2B5EF4-FFF2-40B4-BE49-F238E27FC236}">
                <a16:creationId xmlns:a16="http://schemas.microsoft.com/office/drawing/2014/main" id="{D648555E-BEF4-3383-7AD7-56141AFD7BA6}"/>
              </a:ext>
            </a:extLst>
          </p:cNvPr>
          <p:cNvSpPr/>
          <p:nvPr>
            <p:custDataLst>
              <p:tags r:id="rId14"/>
            </p:custDataLst>
          </p:nvPr>
        </p:nvSpPr>
        <p:spPr bwMode="auto">
          <a:xfrm>
            <a:off x="496888" y="3870325"/>
            <a:ext cx="214313" cy="160338"/>
          </a:xfrm>
          <a:prstGeom prst="rect">
            <a:avLst/>
          </a:prstGeom>
          <a:solidFill>
            <a:srgbClr val="DFE5E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4" name="Rectangle 43">
            <a:extLst>
              <a:ext uri="{FF2B5EF4-FFF2-40B4-BE49-F238E27FC236}">
                <a16:creationId xmlns:a16="http://schemas.microsoft.com/office/drawing/2014/main" id="{69BB8BB8-F3E2-20C1-DCC8-F83D091912CD}"/>
              </a:ext>
            </a:extLst>
          </p:cNvPr>
          <p:cNvSpPr/>
          <p:nvPr>
            <p:custDataLst>
              <p:tags r:id="rId15"/>
            </p:custDataLst>
          </p:nvPr>
        </p:nvSpPr>
        <p:spPr bwMode="auto">
          <a:xfrm>
            <a:off x="496888" y="4103688"/>
            <a:ext cx="214313" cy="160338"/>
          </a:xfrm>
          <a:prstGeom prst="rect">
            <a:avLst/>
          </a:prstGeom>
          <a:solidFill>
            <a:srgbClr val="C3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762000" y="3398838"/>
            <a:ext cx="4889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F67F503-FE10-4FD7-A080-E0C4EB9342B3}" type="datetime'''E''''u''''''''''''''''''''''''''''''r''o''''''''''p''e'">
              <a:rPr lang="en-US" altLang="en-US" sz="1200" smtClean="0"/>
              <a:pPr marL="0" lvl="0" indent="0">
                <a:spcBef>
                  <a:spcPct val="0"/>
                </a:spcBef>
                <a:spcAft>
                  <a:spcPct val="0"/>
                </a:spcAft>
                <a:buNone/>
              </a:pPr>
              <a:t>Europe</a:t>
            </a:fld>
            <a:endParaRPr lang="en-US" sz="12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762000" y="3632200"/>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U.S.</a:t>
            </a:r>
            <a:endParaRPr lang="en-US" sz="1200"/>
          </a:p>
        </p:txBody>
      </p: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762000" y="3865563"/>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1200"/>
              <a:t>U.K.</a:t>
            </a:r>
          </a:p>
        </p:txBody>
      </p:sp>
      <p:sp>
        <p:nvSpPr>
          <p:cNvPr id="23" name="Text Placeholder 10">
            <a:extLst>
              <a:ext uri="{FF2B5EF4-FFF2-40B4-BE49-F238E27FC236}">
                <a16:creationId xmlns:a16="http://schemas.microsoft.com/office/drawing/2014/main" id="{960C8378-2948-1C59-6F01-1E3ABE7AD044}"/>
              </a:ext>
            </a:extLst>
          </p:cNvPr>
          <p:cNvSpPr>
            <a:spLocks noGrp="1"/>
          </p:cNvSpPr>
          <p:nvPr>
            <p:custDataLst>
              <p:tags r:id="rId19"/>
            </p:custDataLst>
          </p:nvPr>
        </p:nvSpPr>
        <p:spPr bwMode="auto">
          <a:xfrm>
            <a:off x="762000" y="4098925"/>
            <a:ext cx="395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E7309BD-1E3B-4CE6-8427-062F0E2F3C38}" type="datetime'''''''C''''''''''h''''''''i''''n''''''a'''''''''''">
              <a:rPr lang="en-US" altLang="en-US" sz="1200" smtClean="0"/>
              <a:pPr marL="0" lvl="0" indent="0">
                <a:spcBef>
                  <a:spcPct val="0"/>
                </a:spcBef>
                <a:spcAft>
                  <a:spcPct val="0"/>
                </a:spcAft>
                <a:buNone/>
              </a:pPr>
              <a:t>China</a:t>
            </a:fld>
            <a:endParaRPr lang="en-US" sz="1200"/>
          </a:p>
        </p:txBody>
      </p:sp>
      <p:graphicFrame>
        <p:nvGraphicFramePr>
          <p:cNvPr id="5" name="Chart 4">
            <a:extLst>
              <a:ext uri="{FF2B5EF4-FFF2-40B4-BE49-F238E27FC236}">
                <a16:creationId xmlns:a16="http://schemas.microsoft.com/office/drawing/2014/main" id="{7B4C6E73-2BCB-DED2-75FA-171D9B3062EF}"/>
              </a:ext>
            </a:extLst>
          </p:cNvPr>
          <p:cNvGraphicFramePr/>
          <p:nvPr>
            <p:custDataLst>
              <p:tags r:id="rId20"/>
            </p:custDataLst>
            <p:extLst>
              <p:ext uri="{D42A27DB-BD31-4B8C-83A1-F6EECF244321}">
                <p14:modId xmlns:p14="http://schemas.microsoft.com/office/powerpoint/2010/main" val="3969821732"/>
              </p:ext>
            </p:extLst>
          </p:nvPr>
        </p:nvGraphicFramePr>
        <p:xfrm>
          <a:off x="4722813" y="1808163"/>
          <a:ext cx="2930525" cy="2030412"/>
        </p:xfrm>
        <a:graphic>
          <a:graphicData uri="http://schemas.openxmlformats.org/drawingml/2006/chart">
            <c:chart xmlns:c="http://schemas.openxmlformats.org/drawingml/2006/chart" xmlns:r="http://schemas.openxmlformats.org/officeDocument/2006/relationships" r:id="rId73"/>
          </a:graphicData>
        </a:graphic>
      </p:graphicFrame>
      <p:sp>
        <p:nvSpPr>
          <p:cNvPr id="352"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5003800" y="36718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341E455-C732-4A23-AAEB-60014166DA56}" type="datetime'''2''''''0''''''''''''''2''''''''''1'''''''''''''''''">
              <a:rPr lang="en-US" altLang="en-US" sz="1000" smtClean="0">
                <a:effectLst/>
              </a:rPr>
              <a:pPr marL="0" lvl="0" indent="0" algn="ctr">
                <a:spcBef>
                  <a:spcPct val="0"/>
                </a:spcBef>
                <a:spcAft>
                  <a:spcPct val="0"/>
                </a:spcAft>
                <a:buNone/>
              </a:pPr>
              <a:t>2021</a:t>
            </a:fld>
            <a:endParaRPr lang="en-US" sz="1000"/>
          </a:p>
        </p:txBody>
      </p:sp>
      <p:sp>
        <p:nvSpPr>
          <p:cNvPr id="238"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5816600" y="3216275"/>
            <a:ext cx="24447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94D531-BAC5-4838-AFCF-A5441794F2ED}" type="datetime'''''''10''''''''''''''''''''''''''''0'''''''''''''''''''">
              <a:rPr lang="en-US" altLang="en-US" sz="1000" smtClean="0">
                <a:solidFill>
                  <a:schemeClr val="bg1"/>
                </a:solidFill>
                <a:effectLst/>
              </a:rPr>
              <a:pPr marL="0" lvl="0" indent="0" algn="ctr">
                <a:spcBef>
                  <a:spcPct val="0"/>
                </a:spcBef>
                <a:spcAft>
                  <a:spcPct val="0"/>
                </a:spcAft>
                <a:buNone/>
              </a:pPr>
              <a:t>100</a:t>
            </a:fld>
            <a:endParaRPr lang="en-US" sz="1000">
              <a:solidFill>
                <a:schemeClr val="bg1"/>
              </a:solidFill>
            </a:endParaRPr>
          </a:p>
        </p:txBody>
      </p:sp>
      <p:sp>
        <p:nvSpPr>
          <p:cNvPr id="240"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5624513" y="3316288"/>
            <a:ext cx="244475" cy="152400"/>
          </a:xfrm>
          <a:prstGeom prst="rect">
            <a:avLst/>
          </a:prstGeom>
          <a:solidFill>
            <a:srgbClr val="4C6C9C"/>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3C7399-1AC2-4B8A-A253-D8099B7AFD4E}" type="datetime'''''''''''''''''''''''''4''''''''''''00'''''''''''''''''''''''">
              <a:rPr lang="en-US" altLang="en-US" sz="1000" smtClean="0">
                <a:solidFill>
                  <a:schemeClr val="bg1"/>
                </a:solidFill>
                <a:effectLst/>
              </a:rPr>
              <a:pPr marL="0" lvl="0" indent="0" algn="ctr">
                <a:spcBef>
                  <a:spcPct val="0"/>
                </a:spcBef>
                <a:spcAft>
                  <a:spcPct val="0"/>
                </a:spcAft>
                <a:buNone/>
              </a:pPr>
              <a:t>400</a:t>
            </a:fld>
            <a:endParaRPr lang="en-US" sz="1000">
              <a:solidFill>
                <a:schemeClr val="bg1"/>
              </a:solidFill>
            </a:endParaRPr>
          </a:p>
        </p:txBody>
      </p:sp>
      <p:sp>
        <p:nvSpPr>
          <p:cNvPr id="230"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5851526" y="3406775"/>
            <a:ext cx="174625" cy="152400"/>
          </a:xfrm>
          <a:prstGeom prst="rect">
            <a:avLst/>
          </a:prstGeom>
          <a:solidFill>
            <a:srgbClr val="DFE5EF"/>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C27236-9B77-4229-A25A-C5B5BE130773}" type="datetime'''''''''''''''''''5''''''''''''''''''0'''''''''''''">
              <a:rPr lang="en-US" altLang="en-US" sz="1000" smtClean="0">
                <a:effectLst/>
              </a:rPr>
              <a:pPr marL="0" lvl="0" indent="0" algn="ctr">
                <a:spcBef>
                  <a:spcPct val="0"/>
                </a:spcBef>
                <a:spcAft>
                  <a:spcPct val="0"/>
                </a:spcAft>
                <a:buNone/>
              </a:pPr>
              <a:t>50</a:t>
            </a:fld>
            <a:endParaRPr lang="en-US" sz="1000"/>
          </a:p>
        </p:txBody>
      </p:sp>
      <p:sp>
        <p:nvSpPr>
          <p:cNvPr id="241"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5624513" y="3476625"/>
            <a:ext cx="244475" cy="152400"/>
          </a:xfrm>
          <a:prstGeom prst="rect">
            <a:avLst/>
          </a:prstGeom>
          <a:solidFill>
            <a:srgbClr val="C30C3E"/>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C0288A7-E8BA-4AA6-B66B-F72F2DE403AD}" type="datetime'''''30''''''''''''''''''''''''''''0'''''''''''''''''">
              <a:rPr lang="en-US" altLang="en-US" sz="1000" smtClean="0">
                <a:solidFill>
                  <a:schemeClr val="bg1"/>
                </a:solidFill>
                <a:effectLst/>
              </a:rPr>
              <a:pPr marL="0" lvl="0" indent="0" algn="ctr">
                <a:spcBef>
                  <a:spcPct val="0"/>
                </a:spcBef>
                <a:spcAft>
                  <a:spcPct val="0"/>
                </a:spcAft>
                <a:buNone/>
              </a:pPr>
              <a:t>300</a:t>
            </a:fld>
            <a:endParaRPr lang="en-US" sz="1000">
              <a:solidFill>
                <a:schemeClr val="bg1"/>
              </a:solidFill>
            </a:endParaRPr>
          </a:p>
        </p:txBody>
      </p:sp>
      <p:sp>
        <p:nvSpPr>
          <p:cNvPr id="353"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5695950" y="36718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78FA889-EC3B-4597-A741-5A17EE2A9E45}" type="datetime'''2''''0''''''''''''''''''''''2''''''''''''''''''2'">
              <a:rPr lang="en-US" altLang="en-US" sz="1000" smtClean="0">
                <a:effectLst/>
              </a:rPr>
              <a:pPr marL="0" lvl="0" indent="0" algn="ctr">
                <a:spcBef>
                  <a:spcPct val="0"/>
                </a:spcBef>
                <a:spcAft>
                  <a:spcPct val="0"/>
                </a:spcAft>
                <a:buNone/>
              </a:pPr>
              <a:t>2022</a:t>
            </a:fld>
            <a:endParaRPr lang="en-US" sz="1000"/>
          </a:p>
        </p:txBody>
      </p:sp>
      <p:sp>
        <p:nvSpPr>
          <p:cNvPr id="115" name="Text Placeholder 10">
            <a:extLst>
              <a:ext uri="{FF2B5EF4-FFF2-40B4-BE49-F238E27FC236}">
                <a16:creationId xmlns:a16="http://schemas.microsoft.com/office/drawing/2014/main" id="{3ACBFD49-688C-BE1F-F285-D0439967D264}"/>
              </a:ext>
            </a:extLst>
          </p:cNvPr>
          <p:cNvSpPr>
            <a:spLocks noGrp="1"/>
          </p:cNvSpPr>
          <p:nvPr>
            <p:custDataLst>
              <p:tags r:id="rId27"/>
            </p:custDataLst>
          </p:nvPr>
        </p:nvSpPr>
        <p:spPr bwMode="gray">
          <a:xfrm>
            <a:off x="6410325" y="3136900"/>
            <a:ext cx="244475" cy="152400"/>
          </a:xfrm>
          <a:prstGeom prst="rect">
            <a:avLst/>
          </a:prstGeom>
          <a:solidFill>
            <a:srgbClr val="4C6C9C"/>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3415D0E-5C4D-4AD2-A193-32BDC8E3F97A}" type="datetime'''''''''2''''''''''''''''''''''0''''0'''''''''">
              <a:rPr lang="en-US" altLang="en-US" sz="1000" smtClean="0">
                <a:solidFill>
                  <a:schemeClr val="bg1"/>
                </a:solidFill>
                <a:effectLst/>
              </a:rPr>
              <a:pPr marL="0" lvl="0" indent="0" algn="ctr">
                <a:spcBef>
                  <a:spcPct val="0"/>
                </a:spcBef>
                <a:spcAft>
                  <a:spcPct val="0"/>
                </a:spcAft>
                <a:buNone/>
              </a:pPr>
              <a:t>200</a:t>
            </a:fld>
            <a:endParaRPr lang="en-US" sz="1000">
              <a:solidFill>
                <a:schemeClr val="bg1"/>
              </a:solidFill>
            </a:endParaRPr>
          </a:p>
        </p:txBody>
      </p:sp>
      <p:sp>
        <p:nvSpPr>
          <p:cNvPr id="354"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6386513" y="36718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EEFBD2B-B15F-410A-88F9-A9D3D7520A54}" type="datetime'''2''''''''''''''''''02''''''''''''''''''''3'''''''''''''''''">
              <a:rPr lang="en-US" altLang="en-US" sz="1000" smtClean="0">
                <a:effectLst/>
              </a:rPr>
              <a:pPr marL="0" lvl="0" indent="0" algn="ctr">
                <a:spcBef>
                  <a:spcPct val="0"/>
                </a:spcBef>
                <a:spcAft>
                  <a:spcPct val="0"/>
                </a:spcAft>
                <a:buNone/>
              </a:pPr>
              <a:t>2023</a:t>
            </a:fld>
            <a:endParaRPr lang="en-US" sz="1000"/>
          </a:p>
        </p:txBody>
      </p:sp>
      <p:sp>
        <p:nvSpPr>
          <p:cNvPr id="189"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7137400" y="2527300"/>
            <a:ext cx="17462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C4A7A4-6636-4BF3-954C-2C6519DFB21A}" type="datetime'''''''''''''5''''''''''''0'''''''''''''''''''''''''''">
              <a:rPr lang="en-US" altLang="en-US" sz="1000" smtClean="0">
                <a:solidFill>
                  <a:schemeClr val="bg1"/>
                </a:solidFill>
                <a:effectLst/>
              </a:rPr>
              <a:pPr marL="0" lvl="0" indent="0" algn="ctr">
                <a:spcBef>
                  <a:spcPct val="0"/>
                </a:spcBef>
                <a:spcAft>
                  <a:spcPct val="0"/>
                </a:spcAft>
                <a:buNone/>
              </a:pPr>
              <a:t>50</a:t>
            </a:fld>
            <a:endParaRPr lang="en-US" sz="1000">
              <a:solidFill>
                <a:schemeClr val="bg1"/>
              </a:solidFill>
            </a:endParaRPr>
          </a:p>
        </p:txBody>
      </p:sp>
      <p:sp>
        <p:nvSpPr>
          <p:cNvPr id="355"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7078663" y="36718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BEDF71-6F69-413A-BDD7-669690BA2EA6}" type="datetime'''''''''2''''''''''''0''''''''''2''''''''''4'">
              <a:rPr lang="en-US" altLang="en-US" sz="1000" smtClean="0">
                <a:effectLst/>
              </a:rPr>
              <a:pPr marL="0" lvl="0" indent="0" algn="ctr">
                <a:spcBef>
                  <a:spcPct val="0"/>
                </a:spcBef>
                <a:spcAft>
                  <a:spcPct val="0"/>
                </a:spcAft>
                <a:buNone/>
              </a:pPr>
              <a:t>2024</a:t>
            </a:fld>
            <a:endParaRPr lang="en-US" sz="1000"/>
          </a:p>
        </p:txBody>
      </p:sp>
      <p:sp>
        <p:nvSpPr>
          <p:cNvPr id="110" name="Text Placeholder 10">
            <a:extLst>
              <a:ext uri="{FF2B5EF4-FFF2-40B4-BE49-F238E27FC236}">
                <a16:creationId xmlns:a16="http://schemas.microsoft.com/office/drawing/2014/main" id="{DC40A31C-8106-7B10-4DD8-CE8E1B4BC64F}"/>
              </a:ext>
            </a:extLst>
          </p:cNvPr>
          <p:cNvSpPr>
            <a:spLocks noGrp="1"/>
          </p:cNvSpPr>
          <p:nvPr>
            <p:custDataLst>
              <p:tags r:id="rId31"/>
            </p:custDataLst>
          </p:nvPr>
        </p:nvSpPr>
        <p:spPr bwMode="gray">
          <a:xfrm>
            <a:off x="5719763" y="30638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473F43-5018-4825-92B2-E7163192DB1F}" type="datetime'''''''''''''''''''8''''''5''0'''''''''''''''''''''">
              <a:rPr lang="en-US" altLang="en-US" sz="1000" smtClean="0"/>
              <a:pPr marL="0" lvl="0" indent="0" algn="ctr">
                <a:spcBef>
                  <a:spcPct val="0"/>
                </a:spcBef>
                <a:spcAft>
                  <a:spcPct val="0"/>
                </a:spcAft>
                <a:buNone/>
              </a:pPr>
              <a:t>850</a:t>
            </a:fld>
            <a:endParaRPr lang="en-US" sz="1000"/>
          </a:p>
        </p:txBody>
      </p:sp>
      <p:sp>
        <p:nvSpPr>
          <p:cNvPr id="111" name="Text Placeholder 10">
            <a:extLst>
              <a:ext uri="{FF2B5EF4-FFF2-40B4-BE49-F238E27FC236}">
                <a16:creationId xmlns:a16="http://schemas.microsoft.com/office/drawing/2014/main" id="{63705F29-D68F-A23A-5B19-26CDDBA415ED}"/>
              </a:ext>
            </a:extLst>
          </p:cNvPr>
          <p:cNvSpPr>
            <a:spLocks noGrp="1"/>
          </p:cNvSpPr>
          <p:nvPr>
            <p:custDataLst>
              <p:tags r:id="rId32"/>
            </p:custDataLst>
          </p:nvPr>
        </p:nvSpPr>
        <p:spPr bwMode="gray">
          <a:xfrm>
            <a:off x="6357938" y="29845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BD263E-738D-4527-9320-93C8AC19F984}" type="datetime'''1,''1''''''0''''''''''''''''''''''''''''''''''0'''''''''''">
              <a:rPr lang="en-US" altLang="en-US" sz="1000" smtClean="0"/>
              <a:pPr marL="0" lvl="0" indent="0" algn="ctr">
                <a:spcBef>
                  <a:spcPct val="0"/>
                </a:spcBef>
                <a:spcAft>
                  <a:spcPct val="0"/>
                </a:spcAft>
                <a:buNone/>
              </a:pPr>
              <a:t>1,100</a:t>
            </a:fld>
            <a:endParaRPr lang="en-US" sz="1000"/>
          </a:p>
        </p:txBody>
      </p:sp>
      <p:sp>
        <p:nvSpPr>
          <p:cNvPr id="113" name="Text Placeholder 10">
            <a:extLst>
              <a:ext uri="{FF2B5EF4-FFF2-40B4-BE49-F238E27FC236}">
                <a16:creationId xmlns:a16="http://schemas.microsoft.com/office/drawing/2014/main" id="{8261BCFC-A405-EDB2-08E0-5DACC96C1402}"/>
              </a:ext>
            </a:extLst>
          </p:cNvPr>
          <p:cNvSpPr>
            <a:spLocks noGrp="1"/>
          </p:cNvSpPr>
          <p:nvPr>
            <p:custDataLst>
              <p:tags r:id="rId33"/>
            </p:custDataLst>
          </p:nvPr>
        </p:nvSpPr>
        <p:spPr bwMode="gray">
          <a:xfrm>
            <a:off x="7050088" y="23749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FC8B14-7A81-4D66-BA7F-FBECCF330280}" type="datetime'''''''''''''2'',''''''''''''''''''5''5''''''''''''0'''''''">
              <a:rPr lang="en-US" altLang="en-US" sz="1000" smtClean="0"/>
              <a:pPr marL="0" lvl="0" indent="0" algn="ctr">
                <a:spcBef>
                  <a:spcPct val="0"/>
                </a:spcBef>
                <a:spcAft>
                  <a:spcPct val="0"/>
                </a:spcAft>
                <a:buNone/>
              </a:pPr>
              <a:t>2,550</a:t>
            </a:fld>
            <a:endParaRPr lang="en-US" sz="1000"/>
          </a:p>
        </p:txBody>
      </p:sp>
      <p:graphicFrame>
        <p:nvGraphicFramePr>
          <p:cNvPr id="344" name="Chart 343">
            <a:extLst>
              <a:ext uri="{FF2B5EF4-FFF2-40B4-BE49-F238E27FC236}">
                <a16:creationId xmlns:a16="http://schemas.microsoft.com/office/drawing/2014/main" id="{AAFB5B50-BD8D-21C4-02EA-A2F1315A9364}"/>
              </a:ext>
            </a:extLst>
          </p:cNvPr>
          <p:cNvGraphicFramePr/>
          <p:nvPr>
            <p:custDataLst>
              <p:tags r:id="rId34"/>
            </p:custDataLst>
            <p:extLst>
              <p:ext uri="{D42A27DB-BD31-4B8C-83A1-F6EECF244321}">
                <p14:modId xmlns:p14="http://schemas.microsoft.com/office/powerpoint/2010/main" val="2164242149"/>
              </p:ext>
            </p:extLst>
          </p:nvPr>
        </p:nvGraphicFramePr>
        <p:xfrm>
          <a:off x="1649413" y="3798888"/>
          <a:ext cx="2930525" cy="2030412"/>
        </p:xfrm>
        <a:graphic>
          <a:graphicData uri="http://schemas.openxmlformats.org/drawingml/2006/chart">
            <c:chart xmlns:c="http://schemas.openxmlformats.org/drawingml/2006/chart" xmlns:r="http://schemas.openxmlformats.org/officeDocument/2006/relationships" r:id="rId74"/>
          </a:graphicData>
        </a:graphic>
      </p:graphicFrame>
      <p:sp>
        <p:nvSpPr>
          <p:cNvPr id="132" name="Text Placeholder 10">
            <a:extLst>
              <a:ext uri="{FF2B5EF4-FFF2-40B4-BE49-F238E27FC236}">
                <a16:creationId xmlns:a16="http://schemas.microsoft.com/office/drawing/2014/main" id="{B96CC342-8401-F56E-2B82-91409846668D}"/>
              </a:ext>
            </a:extLst>
          </p:cNvPr>
          <p:cNvSpPr>
            <a:spLocks noGrp="1"/>
          </p:cNvSpPr>
          <p:nvPr>
            <p:custDataLst>
              <p:tags r:id="rId35"/>
            </p:custDataLst>
          </p:nvPr>
        </p:nvSpPr>
        <p:spPr bwMode="auto">
          <a:xfrm>
            <a:off x="1930400" y="5691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AD095B-9D24-48C0-9944-3DEB27A169CA}" type="datetime'''''''''''2''''''''0''''''2''''''''''''''''''1'''''''''''">
              <a:rPr lang="en-US" altLang="en-US" sz="1000" smtClean="0"/>
              <a:pPr marL="0" lvl="0" indent="0" algn="ctr">
                <a:spcBef>
                  <a:spcPct val="0"/>
                </a:spcBef>
                <a:spcAft>
                  <a:spcPct val="0"/>
                </a:spcAft>
                <a:buNone/>
              </a:pPr>
              <a:t>2021</a:t>
            </a:fld>
            <a:endParaRPr lang="en-US" sz="1000"/>
          </a:p>
        </p:txBody>
      </p:sp>
      <p:sp>
        <p:nvSpPr>
          <p:cNvPr id="314" name="Text Placeholder 10">
            <a:extLst>
              <a:ext uri="{FF2B5EF4-FFF2-40B4-BE49-F238E27FC236}">
                <a16:creationId xmlns:a16="http://schemas.microsoft.com/office/drawing/2014/main" id="{0E7E7A82-728E-3C91-FBA2-ECDB39448EE7}"/>
              </a:ext>
            </a:extLst>
          </p:cNvPr>
          <p:cNvSpPr>
            <a:spLocks noGrp="1"/>
          </p:cNvSpPr>
          <p:nvPr>
            <p:custDataLst>
              <p:tags r:id="rId36"/>
            </p:custDataLst>
          </p:nvPr>
        </p:nvSpPr>
        <p:spPr bwMode="gray">
          <a:xfrm>
            <a:off x="2646363" y="5495925"/>
            <a:ext cx="244475" cy="152400"/>
          </a:xfrm>
          <a:prstGeom prst="rect">
            <a:avLst/>
          </a:prstGeom>
          <a:solidFill>
            <a:srgbClr val="DFE5EF"/>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196F4F-CA25-4B8E-9331-DD25148CECEE}" type="datetime'''''''''''''''''''''''1''5''''''''''''''''''''''''''''''''4'">
              <a:rPr lang="en-US" altLang="en-US" sz="1000" smtClean="0">
                <a:effectLst/>
              </a:rPr>
              <a:pPr marL="0" lvl="0" indent="0" algn="ctr">
                <a:spcBef>
                  <a:spcPct val="0"/>
                </a:spcBef>
                <a:spcAft>
                  <a:spcPct val="0"/>
                </a:spcAft>
                <a:buNone/>
              </a:pPr>
              <a:t>154</a:t>
            </a:fld>
            <a:endParaRPr lang="en-US" sz="1000"/>
          </a:p>
        </p:txBody>
      </p:sp>
      <p:sp>
        <p:nvSpPr>
          <p:cNvPr id="133" name="Text Placeholder 10">
            <a:extLst>
              <a:ext uri="{FF2B5EF4-FFF2-40B4-BE49-F238E27FC236}">
                <a16:creationId xmlns:a16="http://schemas.microsoft.com/office/drawing/2014/main" id="{DD631D29-B948-CF70-5E42-B03715B115EB}"/>
              </a:ext>
            </a:extLst>
          </p:cNvPr>
          <p:cNvSpPr>
            <a:spLocks noGrp="1"/>
          </p:cNvSpPr>
          <p:nvPr>
            <p:custDataLst>
              <p:tags r:id="rId37"/>
            </p:custDataLst>
          </p:nvPr>
        </p:nvSpPr>
        <p:spPr bwMode="auto">
          <a:xfrm>
            <a:off x="2622550" y="5691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AB82640-4637-4281-BB24-ECD783C4C609}" type="datetime'''''''''''''''2''''''''''''0''''''''''''''''''''''2''2'''''''">
              <a:rPr lang="en-US" altLang="en-US" sz="1000" smtClean="0"/>
              <a:pPr marL="0" lvl="0" indent="0" algn="ctr">
                <a:spcBef>
                  <a:spcPct val="0"/>
                </a:spcBef>
                <a:spcAft>
                  <a:spcPct val="0"/>
                </a:spcAft>
                <a:buNone/>
              </a:pPr>
              <a:t>2022</a:t>
            </a:fld>
            <a:endParaRPr lang="en-US" sz="1000"/>
          </a:p>
        </p:txBody>
      </p:sp>
      <p:sp>
        <p:nvSpPr>
          <p:cNvPr id="313" name="Text Placeholder 10">
            <a:extLst>
              <a:ext uri="{FF2B5EF4-FFF2-40B4-BE49-F238E27FC236}">
                <a16:creationId xmlns:a16="http://schemas.microsoft.com/office/drawing/2014/main" id="{E1F54B08-D7BB-EEA6-C0CB-8B1977302184}"/>
              </a:ext>
            </a:extLst>
          </p:cNvPr>
          <p:cNvSpPr>
            <a:spLocks noGrp="1"/>
          </p:cNvSpPr>
          <p:nvPr>
            <p:custDataLst>
              <p:tags r:id="rId38"/>
            </p:custDataLst>
          </p:nvPr>
        </p:nvSpPr>
        <p:spPr bwMode="gray">
          <a:xfrm>
            <a:off x="3336925" y="5495925"/>
            <a:ext cx="244475" cy="152400"/>
          </a:xfrm>
          <a:prstGeom prst="rect">
            <a:avLst/>
          </a:prstGeom>
          <a:solidFill>
            <a:srgbClr val="DFE5EF"/>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3583069-6EA5-48EF-B4D6-16EBD5E2F0B1}" type="datetime'''''''''''''''''''''''''''''''''''''''''''15''''''''4'''''">
              <a:rPr lang="en-US" altLang="en-US" sz="1000" smtClean="0">
                <a:effectLst/>
              </a:rPr>
              <a:pPr marL="0" lvl="0" indent="0" algn="ctr">
                <a:spcBef>
                  <a:spcPct val="0"/>
                </a:spcBef>
                <a:spcAft>
                  <a:spcPct val="0"/>
                </a:spcAft>
                <a:buNone/>
              </a:pPr>
              <a:t>154</a:t>
            </a:fld>
            <a:endParaRPr lang="en-US" sz="1000"/>
          </a:p>
        </p:txBody>
      </p:sp>
      <p:sp>
        <p:nvSpPr>
          <p:cNvPr id="134" name="Text Placeholder 10">
            <a:extLst>
              <a:ext uri="{FF2B5EF4-FFF2-40B4-BE49-F238E27FC236}">
                <a16:creationId xmlns:a16="http://schemas.microsoft.com/office/drawing/2014/main" id="{190FBBF4-CAC3-AE80-C7EA-E5BF0E6CAD5F}"/>
              </a:ext>
            </a:extLst>
          </p:cNvPr>
          <p:cNvSpPr>
            <a:spLocks noGrp="1"/>
          </p:cNvSpPr>
          <p:nvPr>
            <p:custDataLst>
              <p:tags r:id="rId39"/>
            </p:custDataLst>
          </p:nvPr>
        </p:nvSpPr>
        <p:spPr bwMode="auto">
          <a:xfrm>
            <a:off x="3313113" y="5691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593A23-DABD-4D55-8FFA-C8FD2B860320}" type="datetime'''''20''''''''''2''''''''3'''''''''''''''''''''''''''''''">
              <a:rPr lang="en-US" altLang="en-US" sz="1000" smtClean="0"/>
              <a:pPr marL="0" lvl="0" indent="0" algn="ctr">
                <a:spcBef>
                  <a:spcPct val="0"/>
                </a:spcBef>
                <a:spcAft>
                  <a:spcPct val="0"/>
                </a:spcAft>
                <a:buNone/>
              </a:pPr>
              <a:t>2023</a:t>
            </a:fld>
            <a:endParaRPr lang="en-US" sz="1000"/>
          </a:p>
        </p:txBody>
      </p:sp>
      <p:sp>
        <p:nvSpPr>
          <p:cNvPr id="140" name="Text Placeholder 10">
            <a:extLst>
              <a:ext uri="{FF2B5EF4-FFF2-40B4-BE49-F238E27FC236}">
                <a16:creationId xmlns:a16="http://schemas.microsoft.com/office/drawing/2014/main" id="{F6A8E09A-6A91-CDA5-71FB-8DDE5D733690}"/>
              </a:ext>
            </a:extLst>
          </p:cNvPr>
          <p:cNvSpPr>
            <a:spLocks noGrp="1"/>
          </p:cNvSpPr>
          <p:nvPr>
            <p:custDataLst>
              <p:tags r:id="rId40"/>
            </p:custDataLst>
          </p:nvPr>
        </p:nvSpPr>
        <p:spPr bwMode="gray">
          <a:xfrm>
            <a:off x="4029075" y="5495925"/>
            <a:ext cx="244475" cy="152400"/>
          </a:xfrm>
          <a:prstGeom prst="rect">
            <a:avLst/>
          </a:prstGeom>
          <a:solidFill>
            <a:srgbClr val="DFE5EF"/>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E003F9-91B8-4CF9-8E34-93D8BD185506}" type="datetime'1''''''''''''''''''''''''54'''''''''''''''''''''''''''''''''">
              <a:rPr lang="en-US" altLang="en-US" sz="1000" smtClean="0">
                <a:effectLst/>
              </a:rPr>
              <a:pPr marL="0" lvl="0" indent="0" algn="ctr">
                <a:spcBef>
                  <a:spcPct val="0"/>
                </a:spcBef>
                <a:spcAft>
                  <a:spcPct val="0"/>
                </a:spcAft>
                <a:buNone/>
              </a:pPr>
              <a:t>154</a:t>
            </a:fld>
            <a:endParaRPr lang="en-US" sz="1000"/>
          </a:p>
        </p:txBody>
      </p:sp>
      <p:sp>
        <p:nvSpPr>
          <p:cNvPr id="138" name="Text Placeholder 10">
            <a:extLst>
              <a:ext uri="{FF2B5EF4-FFF2-40B4-BE49-F238E27FC236}">
                <a16:creationId xmlns:a16="http://schemas.microsoft.com/office/drawing/2014/main" id="{3EA0F506-C817-31B2-1984-77C2FFC9CA02}"/>
              </a:ext>
            </a:extLst>
          </p:cNvPr>
          <p:cNvSpPr>
            <a:spLocks noGrp="1"/>
          </p:cNvSpPr>
          <p:nvPr>
            <p:custDataLst>
              <p:tags r:id="rId41"/>
            </p:custDataLst>
          </p:nvPr>
        </p:nvSpPr>
        <p:spPr bwMode="auto">
          <a:xfrm>
            <a:off x="4005263" y="5691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033B32-1E90-48F3-A29F-FB8A0B807174}" type="datetime'2''''''''''''0''''2''''''4'''''''''''''''''''''''''''">
              <a:rPr lang="en-US" altLang="en-US" sz="1000" smtClean="0"/>
              <a:pPr marL="0" lvl="0" indent="0" algn="ctr">
                <a:spcBef>
                  <a:spcPct val="0"/>
                </a:spcBef>
                <a:spcAft>
                  <a:spcPct val="0"/>
                </a:spcAft>
                <a:buNone/>
              </a:pPr>
              <a:t>2024</a:t>
            </a:fld>
            <a:endParaRPr lang="en-US" sz="1000"/>
          </a:p>
        </p:txBody>
      </p:sp>
      <p:sp>
        <p:nvSpPr>
          <p:cNvPr id="135" name="Text Placeholder 10">
            <a:extLst>
              <a:ext uri="{FF2B5EF4-FFF2-40B4-BE49-F238E27FC236}">
                <a16:creationId xmlns:a16="http://schemas.microsoft.com/office/drawing/2014/main" id="{F4B588BA-8670-0BDC-6271-E87DAE462F60}"/>
              </a:ext>
            </a:extLst>
          </p:cNvPr>
          <p:cNvSpPr>
            <a:spLocks noGrp="1"/>
          </p:cNvSpPr>
          <p:nvPr>
            <p:custDataLst>
              <p:tags r:id="rId42"/>
            </p:custDataLst>
          </p:nvPr>
        </p:nvSpPr>
        <p:spPr bwMode="gray">
          <a:xfrm>
            <a:off x="1901825" y="47053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4DDC804-06F7-4C95-B445-9FE402AE5F37}" type="datetime'''''''1,''''''''''''''''''''8''''''''''''''''''04'''''''">
              <a:rPr lang="en-US" altLang="en-US" sz="1000" smtClean="0"/>
              <a:pPr marL="0" lvl="0" indent="0" algn="ctr">
                <a:spcBef>
                  <a:spcPct val="0"/>
                </a:spcBef>
                <a:spcAft>
                  <a:spcPct val="0"/>
                </a:spcAft>
                <a:buNone/>
              </a:pPr>
              <a:t>1,804</a:t>
            </a:fld>
            <a:endParaRPr lang="en-US" sz="1000"/>
          </a:p>
        </p:txBody>
      </p:sp>
      <p:sp>
        <p:nvSpPr>
          <p:cNvPr id="136" name="Text Placeholder 10">
            <a:extLst>
              <a:ext uri="{FF2B5EF4-FFF2-40B4-BE49-F238E27FC236}">
                <a16:creationId xmlns:a16="http://schemas.microsoft.com/office/drawing/2014/main" id="{F26EEE21-22CC-0BDD-D230-E466ACFE7283}"/>
              </a:ext>
            </a:extLst>
          </p:cNvPr>
          <p:cNvSpPr>
            <a:spLocks noGrp="1"/>
          </p:cNvSpPr>
          <p:nvPr>
            <p:custDataLst>
              <p:tags r:id="rId43"/>
            </p:custDataLst>
          </p:nvPr>
        </p:nvSpPr>
        <p:spPr bwMode="gray">
          <a:xfrm>
            <a:off x="2593975" y="46434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1ECAD62-9CFB-4DEF-B462-CC078B65A6B5}" type="datetime'''''''''1'''''''''''',''''''''''95''8'''''''''">
              <a:rPr lang="en-US" altLang="en-US" sz="1000" smtClean="0"/>
              <a:pPr marL="0" lvl="0" indent="0" algn="ctr">
                <a:spcBef>
                  <a:spcPct val="0"/>
                </a:spcBef>
                <a:spcAft>
                  <a:spcPct val="0"/>
                </a:spcAft>
                <a:buNone/>
              </a:pPr>
              <a:t>1,958</a:t>
            </a:fld>
            <a:endParaRPr lang="en-US" sz="1000"/>
          </a:p>
        </p:txBody>
      </p:sp>
      <p:sp>
        <p:nvSpPr>
          <p:cNvPr id="137" name="Text Placeholder 10">
            <a:extLst>
              <a:ext uri="{FF2B5EF4-FFF2-40B4-BE49-F238E27FC236}">
                <a16:creationId xmlns:a16="http://schemas.microsoft.com/office/drawing/2014/main" id="{4CF71E42-9EBC-7B87-E950-F2680BAA1C4C}"/>
              </a:ext>
            </a:extLst>
          </p:cNvPr>
          <p:cNvSpPr>
            <a:spLocks noGrp="1"/>
          </p:cNvSpPr>
          <p:nvPr>
            <p:custDataLst>
              <p:tags r:id="rId44"/>
            </p:custDataLst>
          </p:nvPr>
        </p:nvSpPr>
        <p:spPr bwMode="gray">
          <a:xfrm>
            <a:off x="3284538" y="46434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AE09A6C-6353-4374-A9CE-6C96AF469CD5}" type="datetime'''''''''''1'''''''''''''''''''''''',''''''''''9''58'''''''''">
              <a:rPr lang="en-US" altLang="en-US" sz="1000" smtClean="0"/>
              <a:pPr marL="0" lvl="0" indent="0" algn="ctr">
                <a:spcBef>
                  <a:spcPct val="0"/>
                </a:spcBef>
                <a:spcAft>
                  <a:spcPct val="0"/>
                </a:spcAft>
                <a:buNone/>
              </a:pPr>
              <a:t>1,958</a:t>
            </a:fld>
            <a:endParaRPr lang="en-US" sz="1000"/>
          </a:p>
        </p:txBody>
      </p:sp>
      <p:sp>
        <p:nvSpPr>
          <p:cNvPr id="139" name="Text Placeholder 10">
            <a:extLst>
              <a:ext uri="{FF2B5EF4-FFF2-40B4-BE49-F238E27FC236}">
                <a16:creationId xmlns:a16="http://schemas.microsoft.com/office/drawing/2014/main" id="{8101000D-9E9C-1C1A-AC96-99454C967F54}"/>
              </a:ext>
            </a:extLst>
          </p:cNvPr>
          <p:cNvSpPr>
            <a:spLocks noGrp="1"/>
          </p:cNvSpPr>
          <p:nvPr>
            <p:custDataLst>
              <p:tags r:id="rId45"/>
            </p:custDataLst>
          </p:nvPr>
        </p:nvSpPr>
        <p:spPr bwMode="gray">
          <a:xfrm>
            <a:off x="3976688" y="45720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46B2156-BEC0-4A1E-8C0A-0DF9C03CB635}" type="datetime'2'''''''',''''''''''''1''''''3''''''''''8'''''''''''''''">
              <a:rPr lang="en-US" altLang="en-US" sz="1000" smtClean="0"/>
              <a:pPr marL="0" lvl="0" indent="0" algn="ctr">
                <a:spcBef>
                  <a:spcPct val="0"/>
                </a:spcBef>
                <a:spcAft>
                  <a:spcPct val="0"/>
                </a:spcAft>
                <a:buNone/>
              </a:pPr>
              <a:t>2,138</a:t>
            </a:fld>
            <a:endParaRPr lang="en-US" sz="1000"/>
          </a:p>
        </p:txBody>
      </p:sp>
      <p:graphicFrame>
        <p:nvGraphicFramePr>
          <p:cNvPr id="345" name="Chart 344">
            <a:extLst>
              <a:ext uri="{FF2B5EF4-FFF2-40B4-BE49-F238E27FC236}">
                <a16:creationId xmlns:a16="http://schemas.microsoft.com/office/drawing/2014/main" id="{6344B812-D2FD-896E-BCAF-462BE04BF513}"/>
              </a:ext>
            </a:extLst>
          </p:cNvPr>
          <p:cNvGraphicFramePr/>
          <p:nvPr>
            <p:custDataLst>
              <p:tags r:id="rId46"/>
            </p:custDataLst>
            <p:extLst>
              <p:ext uri="{D42A27DB-BD31-4B8C-83A1-F6EECF244321}">
                <p14:modId xmlns:p14="http://schemas.microsoft.com/office/powerpoint/2010/main" val="267644996"/>
              </p:ext>
            </p:extLst>
          </p:nvPr>
        </p:nvGraphicFramePr>
        <p:xfrm>
          <a:off x="4722813" y="3941763"/>
          <a:ext cx="2930525" cy="1744662"/>
        </p:xfrm>
        <a:graphic>
          <a:graphicData uri="http://schemas.openxmlformats.org/drawingml/2006/chart">
            <c:chart xmlns:c="http://schemas.openxmlformats.org/drawingml/2006/chart" xmlns:r="http://schemas.openxmlformats.org/officeDocument/2006/relationships" r:id="rId75"/>
          </a:graphicData>
        </a:graphic>
      </p:graphicFrame>
      <p:sp>
        <p:nvSpPr>
          <p:cNvPr id="303"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gray">
          <a:xfrm>
            <a:off x="4967288" y="5322888"/>
            <a:ext cx="17462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D4BD45-0455-4052-AAA6-04561342D036}" type="datetime'''''6''''''''''''''''3'''''''''''">
              <a:rPr lang="en-US" altLang="en-US" sz="1000" smtClean="0">
                <a:solidFill>
                  <a:schemeClr val="bg1"/>
                </a:solidFill>
                <a:effectLst/>
              </a:rPr>
              <a:pPr marL="0" lvl="0" indent="0" algn="ctr">
                <a:spcBef>
                  <a:spcPct val="0"/>
                </a:spcBef>
                <a:spcAft>
                  <a:spcPct val="0"/>
                </a:spcAft>
                <a:buNone/>
              </a:pPr>
              <a:t>63</a:t>
            </a:fld>
            <a:endParaRPr lang="en-US" sz="1000">
              <a:solidFill>
                <a:schemeClr val="bg1"/>
              </a:solidFill>
            </a:endParaRPr>
          </a:p>
        </p:txBody>
      </p:sp>
      <p:sp>
        <p:nvSpPr>
          <p:cNvPr id="296"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5124450" y="5391150"/>
            <a:ext cx="244475" cy="152400"/>
          </a:xfrm>
          <a:prstGeom prst="rect">
            <a:avLst/>
          </a:prstGeom>
          <a:solidFill>
            <a:srgbClr val="4C6C9C"/>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895BBEB-9F99-42E1-B458-DB62A53BA00D}" type="datetime'''''2''8''''''0'''''''''''''''''''''''''''''''''''">
              <a:rPr lang="en-US" altLang="en-US" sz="1000" smtClean="0">
                <a:solidFill>
                  <a:schemeClr val="bg1"/>
                </a:solidFill>
                <a:effectLst/>
              </a:rPr>
              <a:pPr marL="0" lvl="0" indent="0" algn="ctr">
                <a:spcBef>
                  <a:spcPct val="0"/>
                </a:spcBef>
                <a:spcAft>
                  <a:spcPct val="0"/>
                </a:spcAft>
                <a:buNone/>
              </a:pPr>
              <a:t>280</a:t>
            </a:fld>
            <a:endParaRPr lang="en-US" sz="1000">
              <a:solidFill>
                <a:schemeClr val="bg1"/>
              </a:solidFill>
            </a:endParaRPr>
          </a:p>
        </p:txBody>
      </p:sp>
      <p:sp>
        <p:nvSpPr>
          <p:cNvPr id="267"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4932363" y="5487988"/>
            <a:ext cx="244475" cy="152400"/>
          </a:xfrm>
          <a:prstGeom prst="rect">
            <a:avLst/>
          </a:prstGeom>
          <a:solidFill>
            <a:srgbClr val="C30C3E"/>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51848C0-AE7F-48CE-AB06-4684BBCB9F0D}" type="datetime'''''''''''''''''2''''''''''''''''''''0''''''''''''0'">
              <a:rPr lang="en-US" altLang="en-US" sz="1000" smtClean="0">
                <a:solidFill>
                  <a:schemeClr val="bg1"/>
                </a:solidFill>
                <a:effectLst/>
              </a:rPr>
              <a:pPr marL="0" lvl="0" indent="0" algn="ctr">
                <a:spcBef>
                  <a:spcPct val="0"/>
                </a:spcBef>
                <a:spcAft>
                  <a:spcPct val="0"/>
                </a:spcAft>
                <a:buNone/>
              </a:pPr>
              <a:t>200</a:t>
            </a:fld>
            <a:endParaRPr lang="en-US" sz="1000">
              <a:solidFill>
                <a:schemeClr val="bg1"/>
              </a:solidFill>
            </a:endParaRPr>
          </a:p>
        </p:txBody>
      </p:sp>
      <p:sp>
        <p:nvSpPr>
          <p:cNvPr id="154" name="Text Placeholder 10">
            <a:extLst>
              <a:ext uri="{FF2B5EF4-FFF2-40B4-BE49-F238E27FC236}">
                <a16:creationId xmlns:a16="http://schemas.microsoft.com/office/drawing/2014/main" id="{5ABDB8BF-5AEE-245B-76E6-ABF5517AE001}"/>
              </a:ext>
            </a:extLst>
          </p:cNvPr>
          <p:cNvSpPr>
            <a:spLocks noGrp="1"/>
          </p:cNvSpPr>
          <p:nvPr>
            <p:custDataLst>
              <p:tags r:id="rId50"/>
            </p:custDataLst>
          </p:nvPr>
        </p:nvSpPr>
        <p:spPr bwMode="auto">
          <a:xfrm>
            <a:off x="5003800" y="5711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982C53-9831-4E5A-8AB2-BBD21EAED02B}" type="datetime'2''''''''''''''''''0''''''2''''''''''''''''''''1'''''''''''">
              <a:rPr lang="en-US" altLang="en-US" sz="1000" smtClean="0"/>
              <a:pPr marL="0" lvl="0" indent="0" algn="ctr">
                <a:spcBef>
                  <a:spcPct val="0"/>
                </a:spcBef>
                <a:spcAft>
                  <a:spcPct val="0"/>
                </a:spcAft>
                <a:buNone/>
              </a:pPr>
              <a:t>2021</a:t>
            </a:fld>
            <a:endParaRPr lang="en-US" sz="1000"/>
          </a:p>
        </p:txBody>
      </p:sp>
      <p:sp>
        <p:nvSpPr>
          <p:cNvPr id="306"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5851525" y="5421313"/>
            <a:ext cx="17462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9F99DF5-2C3A-4C7D-8D20-BCA38EDC33CB}" type="datetime'''''''''''''''''''''''''''''''''''''''''''''1''''''''''4'">
              <a:rPr lang="en-US" altLang="en-US" sz="1000" smtClean="0">
                <a:solidFill>
                  <a:schemeClr val="bg1"/>
                </a:solidFill>
                <a:effectLst/>
              </a:rPr>
              <a:pPr marL="0" lvl="0" indent="0" algn="ctr">
                <a:spcBef>
                  <a:spcPct val="0"/>
                </a:spcBef>
                <a:spcAft>
                  <a:spcPct val="0"/>
                </a:spcAft>
                <a:buNone/>
              </a:pPr>
              <a:t>14</a:t>
            </a:fld>
            <a:endParaRPr lang="en-US" sz="1000">
              <a:solidFill>
                <a:schemeClr val="bg1"/>
              </a:solidFill>
            </a:endParaRPr>
          </a:p>
        </p:txBody>
      </p:sp>
      <p:sp>
        <p:nvSpPr>
          <p:cNvPr id="268"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gray">
          <a:xfrm>
            <a:off x="5624513" y="5475288"/>
            <a:ext cx="244475" cy="152400"/>
          </a:xfrm>
          <a:prstGeom prst="rect">
            <a:avLst/>
          </a:prstGeom>
          <a:solidFill>
            <a:srgbClr val="C30C3E"/>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DCC817-5EC8-4703-805A-BDC8013D44AC}" type="datetime'''''''''''''''''2''57'''''''''">
              <a:rPr lang="en-US" altLang="en-US" sz="1000" smtClean="0">
                <a:solidFill>
                  <a:schemeClr val="bg1"/>
                </a:solidFill>
                <a:effectLst/>
              </a:rPr>
              <a:pPr marL="0" lvl="0" indent="0" algn="ctr">
                <a:spcBef>
                  <a:spcPct val="0"/>
                </a:spcBef>
                <a:spcAft>
                  <a:spcPct val="0"/>
                </a:spcAft>
                <a:buNone/>
              </a:pPr>
              <a:t>257</a:t>
            </a:fld>
            <a:endParaRPr lang="en-US" sz="1000">
              <a:solidFill>
                <a:schemeClr val="bg1"/>
              </a:solidFill>
            </a:endParaRPr>
          </a:p>
        </p:txBody>
      </p:sp>
      <p:sp>
        <p:nvSpPr>
          <p:cNvPr id="155" name="Text Placeholder 10">
            <a:extLst>
              <a:ext uri="{FF2B5EF4-FFF2-40B4-BE49-F238E27FC236}">
                <a16:creationId xmlns:a16="http://schemas.microsoft.com/office/drawing/2014/main" id="{C61F0F56-4D70-5CF3-8EC1-DBBEBC66EFAF}"/>
              </a:ext>
            </a:extLst>
          </p:cNvPr>
          <p:cNvSpPr>
            <a:spLocks noGrp="1"/>
          </p:cNvSpPr>
          <p:nvPr>
            <p:custDataLst>
              <p:tags r:id="rId53"/>
            </p:custDataLst>
          </p:nvPr>
        </p:nvSpPr>
        <p:spPr bwMode="auto">
          <a:xfrm>
            <a:off x="5695950" y="5711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E93804-3ABD-4A35-8DE2-4211978FD826}" type="datetime'''2''''''''''0''''''''''''''''''22'''''''''''''''''''">
              <a:rPr lang="en-US" altLang="en-US" sz="1000" smtClean="0"/>
              <a:pPr marL="0" lvl="0" indent="0" algn="ctr">
                <a:spcBef>
                  <a:spcPct val="0"/>
                </a:spcBef>
                <a:spcAft>
                  <a:spcPct val="0"/>
                </a:spcAft>
                <a:buNone/>
              </a:pPr>
              <a:t>2022</a:t>
            </a:fld>
            <a:endParaRPr lang="en-US" sz="1000"/>
          </a:p>
        </p:txBody>
      </p:sp>
      <p:sp>
        <p:nvSpPr>
          <p:cNvPr id="202" name="Text Placeholder 10">
            <a:extLst>
              <a:ext uri="{FF2B5EF4-FFF2-40B4-BE49-F238E27FC236}">
                <a16:creationId xmlns:a16="http://schemas.microsoft.com/office/drawing/2014/main" id="{115DFB91-512B-3844-A114-92FBEDCA92F2}"/>
              </a:ext>
            </a:extLst>
          </p:cNvPr>
          <p:cNvSpPr>
            <a:spLocks noGrp="1"/>
          </p:cNvSpPr>
          <p:nvPr>
            <p:custDataLst>
              <p:tags r:id="rId54"/>
            </p:custDataLst>
          </p:nvPr>
        </p:nvSpPr>
        <p:spPr bwMode="gray">
          <a:xfrm>
            <a:off x="6542089" y="5500688"/>
            <a:ext cx="17462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F2B729C-14B7-4500-9D45-C1EBB72BE238}" type="datetime'''''''2''2'''''''''''''''''''''''''''''''''">
              <a:rPr lang="en-US" altLang="en-US" sz="1000" smtClean="0">
                <a:solidFill>
                  <a:schemeClr val="bg1"/>
                </a:solidFill>
                <a:effectLst/>
              </a:rPr>
              <a:pPr marL="0" lvl="0" indent="0" algn="ctr">
                <a:spcBef>
                  <a:spcPct val="0"/>
                </a:spcBef>
                <a:spcAft>
                  <a:spcPct val="0"/>
                </a:spcAft>
                <a:buNone/>
              </a:pPr>
              <a:t>22</a:t>
            </a:fld>
            <a:endParaRPr lang="en-US" sz="1000">
              <a:solidFill>
                <a:schemeClr val="bg1"/>
              </a:solidFill>
            </a:endParaRPr>
          </a:p>
        </p:txBody>
      </p:sp>
      <p:sp>
        <p:nvSpPr>
          <p:cNvPr id="206" name="Text Placeholder 10">
            <a:extLst>
              <a:ext uri="{FF2B5EF4-FFF2-40B4-BE49-F238E27FC236}">
                <a16:creationId xmlns:a16="http://schemas.microsoft.com/office/drawing/2014/main" id="{115DFB91-512B-3844-A114-92FBEDCA92F2}"/>
              </a:ext>
            </a:extLst>
          </p:cNvPr>
          <p:cNvSpPr>
            <a:spLocks noGrp="1"/>
          </p:cNvSpPr>
          <p:nvPr>
            <p:custDataLst>
              <p:tags r:id="rId55"/>
            </p:custDataLst>
          </p:nvPr>
        </p:nvSpPr>
        <p:spPr bwMode="gray">
          <a:xfrm>
            <a:off x="6350001" y="5516563"/>
            <a:ext cx="174625" cy="152400"/>
          </a:xfrm>
          <a:prstGeom prst="rect">
            <a:avLst/>
          </a:prstGeom>
          <a:solidFill>
            <a:srgbClr val="C30C3E"/>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051909A-EB44-47F5-A936-C2364BB477DC}" type="datetime'''''''''''''''''''5''''''3'''''''''''''''''''''''''''''''''">
              <a:rPr lang="en-US" altLang="en-US" sz="1000" smtClean="0">
                <a:solidFill>
                  <a:schemeClr val="bg1"/>
                </a:solidFill>
                <a:effectLst/>
              </a:rPr>
              <a:pPr marL="0" lvl="0" indent="0" algn="ctr">
                <a:spcBef>
                  <a:spcPct val="0"/>
                </a:spcBef>
                <a:spcAft>
                  <a:spcPct val="0"/>
                </a:spcAft>
                <a:buNone/>
              </a:pPr>
              <a:t>53</a:t>
            </a:fld>
            <a:endParaRPr lang="en-US" sz="1000">
              <a:solidFill>
                <a:schemeClr val="bg1"/>
              </a:solidFill>
            </a:endParaRPr>
          </a:p>
        </p:txBody>
      </p:sp>
      <p:sp>
        <p:nvSpPr>
          <p:cNvPr id="158" name="Text Placeholder 10">
            <a:extLst>
              <a:ext uri="{FF2B5EF4-FFF2-40B4-BE49-F238E27FC236}">
                <a16:creationId xmlns:a16="http://schemas.microsoft.com/office/drawing/2014/main" id="{4E19C99F-BAE4-5E0E-F973-9AEDC73DD2A4}"/>
              </a:ext>
            </a:extLst>
          </p:cNvPr>
          <p:cNvSpPr>
            <a:spLocks noGrp="1"/>
          </p:cNvSpPr>
          <p:nvPr>
            <p:custDataLst>
              <p:tags r:id="rId56"/>
            </p:custDataLst>
          </p:nvPr>
        </p:nvSpPr>
        <p:spPr bwMode="auto">
          <a:xfrm>
            <a:off x="6386513" y="5711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DC7C3C9-B7A0-4045-83A6-989A22029A92}" type="datetime'2''''''''''0''''''''''''''''''''''2''''3'''''''''">
              <a:rPr lang="en-US" altLang="en-US" sz="1000" smtClean="0"/>
              <a:pPr marL="0" lvl="0" indent="0" algn="ctr">
                <a:spcBef>
                  <a:spcPct val="0"/>
                </a:spcBef>
                <a:spcAft>
                  <a:spcPct val="0"/>
                </a:spcAft>
                <a:buNone/>
              </a:pPr>
              <a:t>2023</a:t>
            </a:fld>
            <a:endParaRPr lang="en-US" sz="1000"/>
          </a:p>
        </p:txBody>
      </p:sp>
      <p:sp>
        <p:nvSpPr>
          <p:cNvPr id="217" name="Text Placeholder 10">
            <a:extLst>
              <a:ext uri="{FF2B5EF4-FFF2-40B4-BE49-F238E27FC236}">
                <a16:creationId xmlns:a16="http://schemas.microsoft.com/office/drawing/2014/main" id="{115DFB91-512B-3844-A114-92FBEDCA92F2}"/>
              </a:ext>
            </a:extLst>
          </p:cNvPr>
          <p:cNvSpPr>
            <a:spLocks noGrp="1"/>
          </p:cNvSpPr>
          <p:nvPr>
            <p:custDataLst>
              <p:tags r:id="rId57"/>
            </p:custDataLst>
          </p:nvPr>
        </p:nvSpPr>
        <p:spPr bwMode="gray">
          <a:xfrm>
            <a:off x="7199313" y="5449888"/>
            <a:ext cx="244475" cy="152400"/>
          </a:xfrm>
          <a:prstGeom prst="rect">
            <a:avLst/>
          </a:prstGeom>
          <a:solidFill>
            <a:srgbClr val="4C6C9C"/>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E52465-2CF8-4E28-855E-6A59B3D11CF4}" type="datetime'1''''''''''0''''''''''''''''''''''6'''''">
              <a:rPr lang="en-US" altLang="en-US" sz="1000" smtClean="0">
                <a:solidFill>
                  <a:schemeClr val="bg1"/>
                </a:solidFill>
                <a:effectLst/>
              </a:rPr>
              <a:pPr marL="0" lvl="0" indent="0" algn="ctr">
                <a:spcBef>
                  <a:spcPct val="0"/>
                </a:spcBef>
                <a:spcAft>
                  <a:spcPct val="0"/>
                </a:spcAft>
                <a:buNone/>
              </a:pPr>
              <a:t>106</a:t>
            </a:fld>
            <a:endParaRPr lang="en-US" sz="1000">
              <a:solidFill>
                <a:schemeClr val="bg1"/>
              </a:solidFill>
            </a:endParaRPr>
          </a:p>
        </p:txBody>
      </p:sp>
      <p:sp>
        <p:nvSpPr>
          <p:cNvPr id="310" name="Text Placeholder 10">
            <a:extLst>
              <a:ext uri="{FF2B5EF4-FFF2-40B4-BE49-F238E27FC236}">
                <a16:creationId xmlns:a16="http://schemas.microsoft.com/office/drawing/2014/main" id="{115DFB91-512B-3844-A114-92FBEDCA92F2}"/>
              </a:ext>
            </a:extLst>
          </p:cNvPr>
          <p:cNvSpPr>
            <a:spLocks noGrp="1"/>
          </p:cNvSpPr>
          <p:nvPr>
            <p:custDataLst>
              <p:tags r:id="rId58"/>
            </p:custDataLst>
          </p:nvPr>
        </p:nvSpPr>
        <p:spPr bwMode="gray">
          <a:xfrm>
            <a:off x="7007225" y="5499100"/>
            <a:ext cx="244475" cy="152400"/>
          </a:xfrm>
          <a:prstGeom prst="rect">
            <a:avLst/>
          </a:prstGeom>
          <a:solidFill>
            <a:srgbClr val="C30C3E"/>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C6D313E-B5CB-4F18-A610-8CD31A648568}" type="datetime'''''''''''''''''''1''''3''9'''''''''''''''''''''''''''''''''''">
              <a:rPr lang="en-US" altLang="en-US" sz="1000" smtClean="0">
                <a:solidFill>
                  <a:schemeClr val="bg1"/>
                </a:solidFill>
                <a:effectLst/>
              </a:rPr>
              <a:pPr marL="0" lvl="0" indent="0" algn="ctr">
                <a:spcBef>
                  <a:spcPct val="0"/>
                </a:spcBef>
                <a:spcAft>
                  <a:spcPct val="0"/>
                </a:spcAft>
                <a:buNone/>
              </a:pPr>
              <a:t>139</a:t>
            </a:fld>
            <a:endParaRPr lang="en-US" sz="1000">
              <a:solidFill>
                <a:schemeClr val="bg1"/>
              </a:solidFill>
            </a:endParaRPr>
          </a:p>
        </p:txBody>
      </p:sp>
      <p:sp>
        <p:nvSpPr>
          <p:cNvPr id="162" name="Text Placeholder 10">
            <a:extLst>
              <a:ext uri="{FF2B5EF4-FFF2-40B4-BE49-F238E27FC236}">
                <a16:creationId xmlns:a16="http://schemas.microsoft.com/office/drawing/2014/main" id="{E05F727F-C0AC-9009-837E-010E32A81468}"/>
              </a:ext>
            </a:extLst>
          </p:cNvPr>
          <p:cNvSpPr>
            <a:spLocks noGrp="1"/>
          </p:cNvSpPr>
          <p:nvPr>
            <p:custDataLst>
              <p:tags r:id="rId59"/>
            </p:custDataLst>
          </p:nvPr>
        </p:nvSpPr>
        <p:spPr bwMode="auto">
          <a:xfrm>
            <a:off x="7078663" y="5711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FF66398-AEEE-4127-ADBB-5651295E924A}" type="datetime'20''''''''''''''''''''''''''''''2''''''4'''''''''''">
              <a:rPr lang="en-US" altLang="en-US" sz="1000" smtClean="0"/>
              <a:pPr marL="0" lvl="0" indent="0" algn="ctr">
                <a:spcBef>
                  <a:spcPct val="0"/>
                </a:spcBef>
                <a:spcAft>
                  <a:spcPct val="0"/>
                </a:spcAft>
                <a:buNone/>
              </a:pPr>
              <a:t>2024</a:t>
            </a:fld>
            <a:endParaRPr lang="en-US" sz="1000"/>
          </a:p>
        </p:txBody>
      </p:sp>
      <p:sp>
        <p:nvSpPr>
          <p:cNvPr id="163" name="Text Placeholder 10">
            <a:extLst>
              <a:ext uri="{FF2B5EF4-FFF2-40B4-BE49-F238E27FC236}">
                <a16:creationId xmlns:a16="http://schemas.microsoft.com/office/drawing/2014/main" id="{FEF8B132-2052-E3B5-B7E3-195084A0ED43}"/>
              </a:ext>
            </a:extLst>
          </p:cNvPr>
          <p:cNvSpPr>
            <a:spLocks noGrp="1"/>
          </p:cNvSpPr>
          <p:nvPr>
            <p:custDataLst>
              <p:tags r:id="rId60"/>
            </p:custDataLst>
          </p:nvPr>
        </p:nvSpPr>
        <p:spPr bwMode="gray">
          <a:xfrm>
            <a:off x="5027613" y="51704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FFCE38-E16F-4157-9F18-0DE86C90EBE7}" type="datetime'''''''''''''''''''''''5''''''''''''4''''''''''''''3'''">
              <a:rPr lang="en-US" altLang="en-US" sz="1000" smtClean="0"/>
              <a:pPr marL="0" lvl="0" indent="0" algn="ctr">
                <a:spcBef>
                  <a:spcPct val="0"/>
                </a:spcBef>
                <a:spcAft>
                  <a:spcPct val="0"/>
                </a:spcAft>
                <a:buNone/>
              </a:pPr>
              <a:t>543</a:t>
            </a:fld>
            <a:endParaRPr lang="en-US" sz="1000"/>
          </a:p>
        </p:txBody>
      </p:sp>
      <p:sp>
        <p:nvSpPr>
          <p:cNvPr id="164" name="Text Placeholder 10">
            <a:extLst>
              <a:ext uri="{FF2B5EF4-FFF2-40B4-BE49-F238E27FC236}">
                <a16:creationId xmlns:a16="http://schemas.microsoft.com/office/drawing/2014/main" id="{757A360F-07DE-D3B4-985E-31F36791E132}"/>
              </a:ext>
            </a:extLst>
          </p:cNvPr>
          <p:cNvSpPr>
            <a:spLocks noGrp="1"/>
          </p:cNvSpPr>
          <p:nvPr>
            <p:custDataLst>
              <p:tags r:id="rId61"/>
            </p:custDataLst>
          </p:nvPr>
        </p:nvSpPr>
        <p:spPr bwMode="gray">
          <a:xfrm>
            <a:off x="5719763" y="52689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69BC172-61A4-4311-B580-E593C123E144}" type="datetime'''''''''''''''''''''''''''''''2''7''''''''''''''1'">
              <a:rPr lang="en-US" altLang="en-US" sz="1000" smtClean="0"/>
              <a:pPr marL="0" lvl="0" indent="0" algn="ctr">
                <a:spcBef>
                  <a:spcPct val="0"/>
                </a:spcBef>
                <a:spcAft>
                  <a:spcPct val="0"/>
                </a:spcAft>
                <a:buNone/>
              </a:pPr>
              <a:t>271</a:t>
            </a:fld>
            <a:endParaRPr lang="en-US" sz="1000"/>
          </a:p>
        </p:txBody>
      </p:sp>
      <p:sp>
        <p:nvSpPr>
          <p:cNvPr id="165" name="Text Placeholder 10">
            <a:extLst>
              <a:ext uri="{FF2B5EF4-FFF2-40B4-BE49-F238E27FC236}">
                <a16:creationId xmlns:a16="http://schemas.microsoft.com/office/drawing/2014/main" id="{C12077FC-D3BC-26BD-D35E-ACE2E4F19E30}"/>
              </a:ext>
            </a:extLst>
          </p:cNvPr>
          <p:cNvSpPr>
            <a:spLocks noGrp="1"/>
          </p:cNvSpPr>
          <p:nvPr>
            <p:custDataLst>
              <p:tags r:id="rId62"/>
            </p:custDataLst>
          </p:nvPr>
        </p:nvSpPr>
        <p:spPr bwMode="gray">
          <a:xfrm>
            <a:off x="6445251" y="53482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47E3EB-3A85-4E2E-98D2-19CF6734A73C}" type="datetime'''''''''''''''''''''''''''''''77'''''''">
              <a:rPr lang="en-US" altLang="en-US" sz="1000" smtClean="0"/>
              <a:pPr marL="0" lvl="0" indent="0" algn="ctr">
                <a:spcBef>
                  <a:spcPct val="0"/>
                </a:spcBef>
                <a:spcAft>
                  <a:spcPct val="0"/>
                </a:spcAft>
                <a:buNone/>
              </a:pPr>
              <a:t>77</a:t>
            </a:fld>
            <a:endParaRPr lang="en-US" sz="1000"/>
          </a:p>
        </p:txBody>
      </p:sp>
      <p:sp>
        <p:nvSpPr>
          <p:cNvPr id="166" name="Text Placeholder 10">
            <a:extLst>
              <a:ext uri="{FF2B5EF4-FFF2-40B4-BE49-F238E27FC236}">
                <a16:creationId xmlns:a16="http://schemas.microsoft.com/office/drawing/2014/main" id="{A7945D25-AA82-B247-59EC-CF160B1AD148}"/>
              </a:ext>
            </a:extLst>
          </p:cNvPr>
          <p:cNvSpPr>
            <a:spLocks noGrp="1"/>
          </p:cNvSpPr>
          <p:nvPr>
            <p:custDataLst>
              <p:tags r:id="rId63"/>
            </p:custDataLst>
          </p:nvPr>
        </p:nvSpPr>
        <p:spPr bwMode="gray">
          <a:xfrm>
            <a:off x="7102475" y="52974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2BE1C6D-01EA-4571-830F-C1BD356E4CFB}" type="datetime'''''''''''''''''''''''''''''''''2''''''''''''60'''">
              <a:rPr lang="en-US" altLang="en-US" sz="1000" smtClean="0"/>
              <a:pPr marL="0" lvl="0" indent="0" algn="ctr">
                <a:spcBef>
                  <a:spcPct val="0"/>
                </a:spcBef>
                <a:spcAft>
                  <a:spcPct val="0"/>
                </a:spcAft>
                <a:buNone/>
              </a:pPr>
              <a:t>260</a:t>
            </a:fld>
            <a:endParaRPr lang="en-US" sz="1000"/>
          </a:p>
        </p:txBody>
      </p:sp>
      <p:sp>
        <p:nvSpPr>
          <p:cNvPr id="180" name="TextBox 179">
            <a:extLst>
              <a:ext uri="{FF2B5EF4-FFF2-40B4-BE49-F238E27FC236}">
                <a16:creationId xmlns:a16="http://schemas.microsoft.com/office/drawing/2014/main" id="{278CAB7C-E2D9-744C-B9F1-6EDCD3A08ACC}"/>
              </a:ext>
            </a:extLst>
          </p:cNvPr>
          <p:cNvSpPr txBox="1"/>
          <p:nvPr>
            <p:custDataLst>
              <p:tags r:id="rId64"/>
            </p:custDataLst>
          </p:nvPr>
        </p:nvSpPr>
        <p:spPr bwMode="gray">
          <a:xfrm>
            <a:off x="330200" y="2534997"/>
            <a:ext cx="1282701" cy="276999"/>
          </a:xfrm>
          <a:prstGeom prst="rect">
            <a:avLst/>
          </a:prstGeom>
          <a:noFill/>
        </p:spPr>
        <p:txBody>
          <a:bodyPr wrap="square" lIns="91440" tIns="0" rIns="91440" bIns="0" rtlCol="0">
            <a:spAutoFit/>
          </a:bodyPr>
          <a:lstStyle/>
          <a:p>
            <a:pPr marL="0" indent="0">
              <a:spcBef>
                <a:spcPts val="600"/>
              </a:spcBef>
              <a:spcAft>
                <a:spcPts val="600"/>
              </a:spcAft>
              <a:buNone/>
            </a:pPr>
            <a:r>
              <a:rPr lang="en-US" b="1"/>
              <a:t>Fusion</a:t>
            </a:r>
          </a:p>
        </p:txBody>
      </p:sp>
      <p:sp>
        <p:nvSpPr>
          <p:cNvPr id="182" name="TextBox 181">
            <a:extLst>
              <a:ext uri="{FF2B5EF4-FFF2-40B4-BE49-F238E27FC236}">
                <a16:creationId xmlns:a16="http://schemas.microsoft.com/office/drawing/2014/main" id="{37714032-F0F1-68BD-100D-EF3C3EA63938}"/>
              </a:ext>
            </a:extLst>
          </p:cNvPr>
          <p:cNvSpPr txBox="1"/>
          <p:nvPr>
            <p:custDataLst>
              <p:tags r:id="rId65"/>
            </p:custDataLst>
          </p:nvPr>
        </p:nvSpPr>
        <p:spPr bwMode="gray">
          <a:xfrm>
            <a:off x="330200" y="4692650"/>
            <a:ext cx="1282701" cy="277813"/>
          </a:xfrm>
          <a:prstGeom prst="rect">
            <a:avLst/>
          </a:prstGeom>
          <a:noFill/>
        </p:spPr>
        <p:txBody>
          <a:bodyPr wrap="square" lIns="91440" tIns="0" rIns="91440" bIns="0" rtlCol="0">
            <a:spAutoFit/>
          </a:bodyPr>
          <a:lstStyle/>
          <a:p>
            <a:pPr marL="0" indent="0">
              <a:spcBef>
                <a:spcPts val="600"/>
              </a:spcBef>
              <a:spcAft>
                <a:spcPts val="600"/>
              </a:spcAft>
              <a:buNone/>
            </a:pPr>
            <a:r>
              <a:rPr lang="en-US" b="1"/>
              <a:t>Fission</a:t>
            </a:r>
          </a:p>
        </p:txBody>
      </p:sp>
      <p:sp>
        <p:nvSpPr>
          <p:cNvPr id="183" name="TextBox 182">
            <a:extLst>
              <a:ext uri="{FF2B5EF4-FFF2-40B4-BE49-F238E27FC236}">
                <a16:creationId xmlns:a16="http://schemas.microsoft.com/office/drawing/2014/main" id="{F9DE793E-A4EA-D4A4-1B32-F35C83732CC4}"/>
              </a:ext>
            </a:extLst>
          </p:cNvPr>
          <p:cNvSpPr txBox="1"/>
          <p:nvPr>
            <p:custDataLst>
              <p:tags r:id="rId66"/>
            </p:custDataLst>
          </p:nvPr>
        </p:nvSpPr>
        <p:spPr bwMode="gray">
          <a:xfrm>
            <a:off x="1732579" y="1488017"/>
            <a:ext cx="3024541" cy="276999"/>
          </a:xfrm>
          <a:prstGeom prst="rect">
            <a:avLst/>
          </a:prstGeom>
          <a:noFill/>
        </p:spPr>
        <p:txBody>
          <a:bodyPr wrap="square" lIns="91440" tIns="0" rIns="91440" bIns="0" rtlCol="0">
            <a:spAutoFit/>
          </a:bodyPr>
          <a:lstStyle/>
          <a:p>
            <a:pPr marL="0" indent="0" algn="ctr">
              <a:spcBef>
                <a:spcPts val="600"/>
              </a:spcBef>
              <a:spcAft>
                <a:spcPts val="600"/>
              </a:spcAft>
              <a:buNone/>
            </a:pPr>
            <a:r>
              <a:rPr lang="en-US" b="1"/>
              <a:t>Public research funding</a:t>
            </a:r>
          </a:p>
        </p:txBody>
      </p:sp>
      <p:sp>
        <p:nvSpPr>
          <p:cNvPr id="184" name="TextBox 183">
            <a:extLst>
              <a:ext uri="{FF2B5EF4-FFF2-40B4-BE49-F238E27FC236}">
                <a16:creationId xmlns:a16="http://schemas.microsoft.com/office/drawing/2014/main" id="{D26D8EEF-0183-4BCC-7578-DB392F4FD655}"/>
              </a:ext>
            </a:extLst>
          </p:cNvPr>
          <p:cNvSpPr txBox="1"/>
          <p:nvPr>
            <p:custDataLst>
              <p:tags r:id="rId67"/>
            </p:custDataLst>
          </p:nvPr>
        </p:nvSpPr>
        <p:spPr bwMode="gray">
          <a:xfrm>
            <a:off x="4795220" y="1488017"/>
            <a:ext cx="3024541" cy="276999"/>
          </a:xfrm>
          <a:prstGeom prst="rect">
            <a:avLst/>
          </a:prstGeom>
          <a:noFill/>
        </p:spPr>
        <p:txBody>
          <a:bodyPr wrap="square" lIns="91440" tIns="0" rIns="91440" bIns="0" rtlCol="0">
            <a:spAutoFit/>
          </a:bodyPr>
          <a:lstStyle/>
          <a:p>
            <a:pPr marL="0" indent="0" algn="ctr">
              <a:spcBef>
                <a:spcPts val="600"/>
              </a:spcBef>
              <a:spcAft>
                <a:spcPts val="600"/>
              </a:spcAft>
              <a:buNone/>
            </a:pPr>
            <a:r>
              <a:rPr lang="en-US" b="1"/>
              <a:t>Private investments*</a:t>
            </a:r>
          </a:p>
        </p:txBody>
      </p:sp>
      <p:sp>
        <p:nvSpPr>
          <p:cNvPr id="317" name="btfpNotesBox368131">
            <a:hlinkClick r:id="rId76"/>
            <a:extLst>
              <a:ext uri="{FF2B5EF4-FFF2-40B4-BE49-F238E27FC236}">
                <a16:creationId xmlns:a16="http://schemas.microsoft.com/office/drawing/2014/main" id="{59DDBA79-1650-6E22-7C42-9F3E48F8D665}"/>
              </a:ext>
            </a:extLst>
          </p:cNvPr>
          <p:cNvSpPr txBox="1"/>
          <p:nvPr>
            <p:custDataLst>
              <p:tags r:id="rId68"/>
            </p:custDataLst>
          </p:nvPr>
        </p:nvSpPr>
        <p:spPr bwMode="gray">
          <a:xfrm>
            <a:off x="329184" y="6054092"/>
            <a:ext cx="9144425" cy="738664"/>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Does not include PE investments or state enterprises. </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err="1">
                <a:solidFill>
                  <a:srgbClr val="000000"/>
                </a:solidFill>
                <a:latin typeface="Arial"/>
              </a:rPr>
              <a:t>PitchBook</a:t>
            </a:r>
            <a:r>
              <a:rPr lang="en-US" sz="800" dirty="0">
                <a:solidFill>
                  <a:srgbClr val="000000"/>
                </a:solidFill>
                <a:latin typeface="Arial"/>
              </a:rPr>
              <a:t>, </a:t>
            </a:r>
            <a:r>
              <a:rPr lang="en-US" sz="800" dirty="0">
                <a:solidFill>
                  <a:srgbClr val="000000"/>
                </a:solidFill>
                <a:latin typeface="Arial"/>
                <a:hlinkClick r:id="rId77"/>
              </a:rPr>
              <a:t>Nuclear power deal flow</a:t>
            </a:r>
            <a:r>
              <a:rPr lang="en-US" sz="800" dirty="0">
                <a:solidFill>
                  <a:srgbClr val="000000"/>
                </a:solidFill>
                <a:latin typeface="Arial"/>
              </a:rPr>
              <a:t> (2025); </a:t>
            </a:r>
            <a:r>
              <a:rPr kumimoji="0" lang="en-US" sz="800" b="0" i="0" u="none" strike="noStrike" kern="1200" cap="none" spc="0" normalizeH="0" baseline="0" noProof="0" dirty="0">
                <a:ln>
                  <a:noFill/>
                </a:ln>
                <a:solidFill>
                  <a:srgbClr val="000000"/>
                </a:solidFill>
                <a:effectLst/>
                <a:uLnTx/>
                <a:uFillTx/>
                <a:latin typeface="Arial"/>
                <a:ea typeface="+mn-ea"/>
                <a:cs typeface="+mn-cs"/>
              </a:rPr>
              <a:t>Fusion Industry Associat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8"/>
              </a:rPr>
              <a:t>The Global Fusion Industry in 2024</a:t>
            </a:r>
            <a:r>
              <a:rPr kumimoji="0" lang="en-US" sz="800" b="0" i="0" u="none" strike="noStrike" kern="1200" cap="none" spc="0" normalizeH="0" baseline="0" noProof="0" dirty="0">
                <a:ln>
                  <a:noFill/>
                </a:ln>
                <a:solidFill>
                  <a:srgbClr val="000000"/>
                </a:solidFill>
                <a:effectLst/>
                <a:uLnTx/>
                <a:uFillTx/>
                <a:latin typeface="Arial"/>
                <a:ea typeface="+mn-ea"/>
                <a:cs typeface="+mn-cs"/>
              </a:rPr>
              <a:t> (2024); Gov.uk,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9"/>
              </a:rPr>
              <a:t>Government announces up to £650 million for UK alternatives to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79"/>
              </a:rPr>
              <a:t>Euratom</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9"/>
              </a:rPr>
              <a:t> R&amp;T</a:t>
            </a:r>
            <a:r>
              <a:rPr kumimoji="0" lang="en-US" sz="800" b="0" i="0" u="none" strike="noStrike" kern="1200" cap="none" spc="0" normalizeH="0" baseline="0" noProof="0" dirty="0">
                <a:ln>
                  <a:noFill/>
                </a:ln>
                <a:solidFill>
                  <a:srgbClr val="000000"/>
                </a:solidFill>
                <a:effectLst/>
                <a:uLnTx/>
                <a:uFillTx/>
                <a:latin typeface="Arial"/>
                <a:ea typeface="+mn-ea"/>
                <a:cs typeface="+mn-cs"/>
              </a:rPr>
              <a:t> (2023); Neutron Byt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0"/>
              </a:rPr>
              <a:t>Mixed Messages from Congress on Funding Nuclear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1); EC,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81"/>
              </a:rPr>
              <a:t>Euratom</a:t>
            </a:r>
            <a:r>
              <a:rPr kumimoji="0" lang="en-US" sz="800" b="0" i="0" u="none" strike="noStrike" kern="1200" cap="none" spc="0" normalizeH="0" baseline="0" noProof="0" dirty="0">
                <a:ln>
                  <a:noFill/>
                </a:ln>
                <a:solidFill>
                  <a:srgbClr val="000000"/>
                </a:solidFill>
                <a:effectLst/>
                <a:uLnTx/>
                <a:uFillTx/>
                <a:latin typeface="Arial"/>
                <a:ea typeface="+mn-ea"/>
                <a:cs typeface="+mn-cs"/>
              </a:rPr>
              <a:t> (2025); CF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2"/>
              </a:rPr>
              <a:t>The race to lead the world in fusion has begun</a:t>
            </a:r>
            <a:r>
              <a:rPr kumimoji="0" lang="en-US" sz="800" b="0" i="0" u="none" strike="noStrike" kern="1200" cap="none" spc="0" normalizeH="0" baseline="0" noProof="0" dirty="0">
                <a:ln>
                  <a:noFill/>
                </a:ln>
                <a:solidFill>
                  <a:srgbClr val="000000"/>
                </a:solidFill>
                <a:effectLst/>
                <a:uLnTx/>
                <a:uFillTx/>
                <a:latin typeface="Arial"/>
                <a:ea typeface="+mn-ea"/>
                <a:cs typeface="+mn-cs"/>
              </a:rPr>
              <a:t> (2025); Gov.uk,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3"/>
              </a:rPr>
              <a:t>Plan for </a:t>
            </a:r>
            <a:r>
              <a:rPr lang="en-US" sz="800" dirty="0">
                <a:solidFill>
                  <a:srgbClr val="000000"/>
                </a:solidFill>
                <a:latin typeface="Arial"/>
                <a:hlinkClick r:id="rId83"/>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83"/>
              </a:rPr>
              <a:t>hang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3"/>
              </a:rPr>
              <a:t> to deliver jobs and growth in UK leading fusion industry</a:t>
            </a:r>
            <a:r>
              <a:rPr kumimoji="0" lang="en-US" sz="800" b="0" i="0" u="none" strike="noStrike" kern="1200" cap="none" spc="0" normalizeH="0" baseline="0" noProof="0" dirty="0">
                <a:ln>
                  <a:noFill/>
                </a:ln>
                <a:solidFill>
                  <a:srgbClr val="000000"/>
                </a:solidFill>
                <a:effectLst/>
                <a:uLnTx/>
                <a:uFillTx/>
                <a:latin typeface="Arial"/>
                <a:ea typeface="+mn-ea"/>
                <a:cs typeface="+mn-cs"/>
              </a:rPr>
              <a:t> (2025); Utility Dive, </a:t>
            </a:r>
            <a:r>
              <a:rPr lang="en-US" sz="800" dirty="0">
                <a:solidFill>
                  <a:srgbClr val="000000"/>
                </a:solidFill>
                <a:latin typeface="Arial"/>
                <a:hlinkClick r:id="rId84"/>
              </a:rPr>
              <a:t>The answer is a fusion moonshot</a:t>
            </a:r>
            <a:r>
              <a:rPr kumimoji="0" lang="en-US" sz="800" b="0" i="0" u="none" strike="noStrike" kern="1200" cap="none" spc="0" normalizeH="0" baseline="0" noProof="0" dirty="0">
                <a:ln>
                  <a:noFill/>
                </a:ln>
                <a:solidFill>
                  <a:srgbClr val="000000"/>
                </a:solidFill>
                <a:effectLst/>
                <a:uLnTx/>
                <a:uFillTx/>
                <a:latin typeface="Arial"/>
                <a:ea typeface="+mn-ea"/>
                <a:cs typeface="+mn-cs"/>
              </a:rPr>
              <a:t> (2024); AIP,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5"/>
              </a:rPr>
              <a:t>FY23 Budget Outcomes: National Nuclear Security Administra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3); F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6"/>
              </a:rPr>
              <a:t>FIA Urges Prioritization of Commercializing Fusion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4); WN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7"/>
              </a:rPr>
              <a:t>Germany stepping up investment in fusion</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cxnSp>
        <p:nvCxnSpPr>
          <p:cNvPr id="318" name="Straight Connector 317">
            <a:extLst>
              <a:ext uri="{FF2B5EF4-FFF2-40B4-BE49-F238E27FC236}">
                <a16:creationId xmlns:a16="http://schemas.microsoft.com/office/drawing/2014/main" id="{67439387-50E7-7FD2-75AE-D6A2297AEA63}"/>
              </a:ext>
            </a:extLst>
          </p:cNvPr>
          <p:cNvCxnSpPr>
            <a:cxnSpLocks/>
          </p:cNvCxnSpPr>
          <p:nvPr/>
        </p:nvCxnSpPr>
        <p:spPr bwMode="gray">
          <a:xfrm>
            <a:off x="452582" y="1782748"/>
            <a:ext cx="717665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26" name="Speech Bubble: Rectangle 325">
            <a:extLst>
              <a:ext uri="{FF2B5EF4-FFF2-40B4-BE49-F238E27FC236}">
                <a16:creationId xmlns:a16="http://schemas.microsoft.com/office/drawing/2014/main" id="{2A9EB8EA-B217-A6B6-8149-F96CF2FCA62C}"/>
              </a:ext>
            </a:extLst>
          </p:cNvPr>
          <p:cNvSpPr/>
          <p:nvPr/>
        </p:nvSpPr>
        <p:spPr bwMode="gray">
          <a:xfrm>
            <a:off x="2152691" y="3909016"/>
            <a:ext cx="1804919" cy="612648"/>
          </a:xfrm>
          <a:prstGeom prst="wedgeRectCallout">
            <a:avLst/>
          </a:prstGeom>
          <a:solidFill>
            <a:srgbClr val="C30C3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Public research funding into nuclear power is unknown for China but likely significant.</a:t>
            </a:r>
          </a:p>
        </p:txBody>
      </p:sp>
      <p:sp>
        <p:nvSpPr>
          <p:cNvPr id="327" name="TextBox 326">
            <a:extLst>
              <a:ext uri="{FF2B5EF4-FFF2-40B4-BE49-F238E27FC236}">
                <a16:creationId xmlns:a16="http://schemas.microsoft.com/office/drawing/2014/main" id="{2D2085F6-80D8-7882-A128-947FE328FA90}"/>
              </a:ext>
            </a:extLst>
          </p:cNvPr>
          <p:cNvSpPr txBox="1"/>
          <p:nvPr/>
        </p:nvSpPr>
        <p:spPr>
          <a:xfrm>
            <a:off x="7845425" y="1488017"/>
            <a:ext cx="4137468" cy="4532010"/>
          </a:xfrm>
          <a:prstGeom prst="rect">
            <a:avLst/>
          </a:prstGeom>
          <a:solidFill>
            <a:srgbClr val="E3E9EE"/>
          </a:solidFill>
        </p:spPr>
        <p:txBody>
          <a:bodyPr wrap="square" lIns="137160" tIns="137160" rIns="274320" bIns="137160" rtlCol="0">
            <a:spAutoFit/>
          </a:bodyPr>
          <a:lstStyle/>
          <a:p>
            <a:pPr>
              <a:spcBef>
                <a:spcPts val="600"/>
              </a:spcBef>
            </a:pPr>
            <a:r>
              <a:rPr lang="en-US" sz="1200" b="1"/>
              <a:t>Nuclear fusion policy around the world</a:t>
            </a:r>
            <a:endParaRPr lang="en-US" sz="1400" b="1"/>
          </a:p>
          <a:p>
            <a:pPr>
              <a:spcBef>
                <a:spcPts val="600"/>
              </a:spcBef>
            </a:pPr>
            <a:r>
              <a:rPr lang="en-US" sz="1050"/>
              <a:t>Governments worldwide have designed policies on how to regulate fusion and how to incentivize it.</a:t>
            </a:r>
          </a:p>
          <a:p>
            <a:pPr>
              <a:spcBef>
                <a:spcPts val="600"/>
              </a:spcBef>
            </a:pPr>
            <a:r>
              <a:rPr lang="en-US" sz="1050"/>
              <a:t>         </a:t>
            </a:r>
            <a:r>
              <a:rPr lang="en-US" sz="1050" b="1"/>
              <a:t>United States</a:t>
            </a:r>
          </a:p>
          <a:p>
            <a:pPr marL="171450" indent="-171450">
              <a:spcBef>
                <a:spcPts val="600"/>
              </a:spcBef>
              <a:buFont typeface="Arial" panose="020B0604020202020204" pitchFamily="34" charset="0"/>
              <a:buChar char="•"/>
            </a:pPr>
            <a:r>
              <a:rPr lang="en-US" sz="1050"/>
              <a:t>Fusion </a:t>
            </a:r>
            <a:r>
              <a:rPr lang="en-US" sz="1050" b="1"/>
              <a:t>regulated as particle accelerators</a:t>
            </a:r>
            <a:r>
              <a:rPr lang="en-US" sz="1050"/>
              <a:t>, making it easier to develop than fission power plants</a:t>
            </a:r>
          </a:p>
          <a:p>
            <a:pPr marL="171450" indent="-171450">
              <a:spcBef>
                <a:spcPts val="600"/>
              </a:spcBef>
              <a:buFont typeface="Arial" panose="020B0604020202020204" pitchFamily="34" charset="0"/>
              <a:buChar char="•"/>
            </a:pPr>
            <a:r>
              <a:rPr lang="en-US" sz="1050" b="1"/>
              <a:t>Approved $790M annual research funding</a:t>
            </a:r>
            <a:r>
              <a:rPr lang="en-US" sz="1050"/>
              <a:t>, including $40M for private firms under milestone-based program</a:t>
            </a:r>
          </a:p>
          <a:p>
            <a:pPr>
              <a:spcBef>
                <a:spcPts val="600"/>
              </a:spcBef>
            </a:pPr>
            <a:r>
              <a:rPr lang="en-US" sz="1050"/>
              <a:t>         </a:t>
            </a:r>
            <a:r>
              <a:rPr lang="en-US" sz="1050" b="1"/>
              <a:t>European Union</a:t>
            </a:r>
          </a:p>
          <a:p>
            <a:pPr marL="171450" indent="-171450">
              <a:spcBef>
                <a:spcPts val="600"/>
              </a:spcBef>
              <a:buFont typeface="Arial" panose="020B0604020202020204" pitchFamily="34" charset="0"/>
              <a:buChar char="•"/>
            </a:pPr>
            <a:r>
              <a:rPr lang="en-US" sz="1050" b="1"/>
              <a:t>Fusion regulations the same as that for fission</a:t>
            </a:r>
            <a:r>
              <a:rPr lang="en-US" sz="1050"/>
              <a:t> reactors</a:t>
            </a:r>
          </a:p>
          <a:p>
            <a:pPr marL="171450" indent="-171450">
              <a:spcBef>
                <a:spcPts val="600"/>
              </a:spcBef>
              <a:buFont typeface="Arial" panose="020B0604020202020204" pitchFamily="34" charset="0"/>
              <a:buChar char="•"/>
            </a:pPr>
            <a:r>
              <a:rPr lang="en-US" sz="1050" b="1"/>
              <a:t>Funds fusion </a:t>
            </a:r>
            <a:r>
              <a:rPr lang="en-US" sz="1050"/>
              <a:t>under the Euratom Treaty </a:t>
            </a:r>
            <a:r>
              <a:rPr lang="en-US" sz="1050" b="1"/>
              <a:t>at $871M annually;</a:t>
            </a:r>
            <a:r>
              <a:rPr lang="en-US" sz="1050"/>
              <a:t> Germany has had additional funding since 2023</a:t>
            </a:r>
          </a:p>
          <a:p>
            <a:pPr>
              <a:spcBef>
                <a:spcPts val="600"/>
              </a:spcBef>
            </a:pPr>
            <a:r>
              <a:rPr lang="en-US" sz="1050"/>
              <a:t>         </a:t>
            </a:r>
            <a:r>
              <a:rPr lang="en-US" sz="1050" b="1"/>
              <a:t>United Kingdom</a:t>
            </a:r>
          </a:p>
          <a:p>
            <a:pPr marL="171450" indent="-171450">
              <a:spcBef>
                <a:spcPts val="600"/>
              </a:spcBef>
              <a:buFont typeface="Arial" panose="020B0604020202020204" pitchFamily="34" charset="0"/>
              <a:buChar char="•"/>
            </a:pPr>
            <a:r>
              <a:rPr lang="en-US" sz="1050"/>
              <a:t>Fusion </a:t>
            </a:r>
            <a:r>
              <a:rPr lang="en-US" sz="1050" b="1"/>
              <a:t>regulated by the Environmental Agency</a:t>
            </a:r>
            <a:r>
              <a:rPr lang="en-US" sz="1050"/>
              <a:t>, not the nuclear regulator</a:t>
            </a:r>
          </a:p>
          <a:p>
            <a:pPr marL="171450" indent="-171450">
              <a:spcBef>
                <a:spcPts val="600"/>
              </a:spcBef>
              <a:buFont typeface="Arial" panose="020B0604020202020204" pitchFamily="34" charset="0"/>
              <a:buChar char="•"/>
            </a:pPr>
            <a:r>
              <a:rPr lang="en-US" sz="1050" b="1"/>
              <a:t>Subsidizes £410M </a:t>
            </a:r>
            <a:r>
              <a:rPr lang="en-US" sz="1050"/>
              <a:t>for STEP tokamak project until 2027</a:t>
            </a:r>
          </a:p>
          <a:p>
            <a:pPr>
              <a:spcBef>
                <a:spcPts val="600"/>
              </a:spcBef>
            </a:pPr>
            <a:r>
              <a:rPr lang="en-US" sz="1050"/>
              <a:t>         </a:t>
            </a:r>
            <a:r>
              <a:rPr lang="en-US" sz="1050" b="1"/>
              <a:t>China</a:t>
            </a:r>
            <a:r>
              <a:rPr lang="en-US" sz="1050"/>
              <a:t> </a:t>
            </a:r>
          </a:p>
          <a:p>
            <a:pPr marL="171450" indent="-171450">
              <a:spcBef>
                <a:spcPts val="600"/>
              </a:spcBef>
              <a:buFont typeface="Arial" panose="020B0604020202020204" pitchFamily="34" charset="0"/>
              <a:buChar char="•"/>
            </a:pPr>
            <a:r>
              <a:rPr lang="en-US" sz="1050" b="1"/>
              <a:t>Aims to lead fusion tech through its ~$1.5B annual fusion spend</a:t>
            </a:r>
            <a:r>
              <a:rPr lang="en-US" sz="1050"/>
              <a:t>, but regulations similar to that for fission</a:t>
            </a:r>
            <a:endParaRPr lang="en-US" sz="1050" b="1"/>
          </a:p>
          <a:p>
            <a:pPr marL="171450" indent="-171450">
              <a:spcBef>
                <a:spcPts val="600"/>
              </a:spcBef>
              <a:buFont typeface="Arial" panose="020B0604020202020204" pitchFamily="34" charset="0"/>
              <a:buChar char="•"/>
            </a:pPr>
            <a:r>
              <a:rPr lang="en-US" sz="1050"/>
              <a:t>Has deployed the </a:t>
            </a:r>
            <a:r>
              <a:rPr lang="en-US" sz="1050" b="1"/>
              <a:t>only new tokamak since 2019</a:t>
            </a:r>
          </a:p>
        </p:txBody>
      </p:sp>
      <p:pic>
        <p:nvPicPr>
          <p:cNvPr id="341" name="Picture 2">
            <a:extLst>
              <a:ext uri="{FF2B5EF4-FFF2-40B4-BE49-F238E27FC236}">
                <a16:creationId xmlns:a16="http://schemas.microsoft.com/office/drawing/2014/main" id="{9B04B09A-AAA2-F798-66DD-9127C131F3CD}"/>
              </a:ext>
            </a:extLst>
          </p:cNvPr>
          <p:cNvPicPr>
            <a:picLocks noChangeAspect="1" noChangeArrowheads="1"/>
          </p:cNvPicPr>
          <p:nvPr/>
        </p:nvPicPr>
        <p:blipFill>
          <a:blip r:embed="rId90" cstate="screen">
            <a:extLst>
              <a:ext uri="{28A0092B-C50C-407E-A947-70E740481C1C}">
                <a14:useLocalDpi xmlns:a14="http://schemas.microsoft.com/office/drawing/2010/main"/>
              </a:ext>
            </a:extLst>
          </a:blip>
          <a:srcRect/>
          <a:stretch>
            <a:fillRect/>
          </a:stretch>
        </p:blipFill>
        <p:spPr bwMode="auto">
          <a:xfrm>
            <a:off x="8006311" y="2288533"/>
            <a:ext cx="243378" cy="128017"/>
          </a:xfrm>
          <a:prstGeom prst="rect">
            <a:avLst/>
          </a:prstGeom>
          <a:noFill/>
          <a:extLst>
            <a:ext uri="{909E8E84-426E-40DD-AFC4-6F175D3DCCD1}">
              <a14:hiddenFill xmlns:a14="http://schemas.microsoft.com/office/drawing/2010/main">
                <a:solidFill>
                  <a:srgbClr val="FFFFFF"/>
                </a:solidFill>
              </a14:hiddenFill>
            </a:ext>
          </a:extLst>
        </p:spPr>
      </p:pic>
      <p:pic>
        <p:nvPicPr>
          <p:cNvPr id="342" name="Picture 4" descr="European Union - Wikipedia">
            <a:extLst>
              <a:ext uri="{FF2B5EF4-FFF2-40B4-BE49-F238E27FC236}">
                <a16:creationId xmlns:a16="http://schemas.microsoft.com/office/drawing/2014/main" id="{2AF1DDAA-91A8-7DC9-5157-42B01C297FF8}"/>
              </a:ext>
            </a:extLst>
          </p:cNvPr>
          <p:cNvPicPr>
            <a:picLocks noChangeAspect="1" noChangeArrowheads="1"/>
          </p:cNvPicPr>
          <p:nvPr/>
        </p:nvPicPr>
        <p:blipFill>
          <a:blip r:embed="rId91" cstate="screen">
            <a:extLst>
              <a:ext uri="{28A0092B-C50C-407E-A947-70E740481C1C}">
                <a14:useLocalDpi xmlns:a14="http://schemas.microsoft.com/office/drawing/2010/main"/>
              </a:ext>
            </a:extLst>
          </a:blip>
          <a:srcRect/>
          <a:stretch>
            <a:fillRect/>
          </a:stretch>
        </p:blipFill>
        <p:spPr bwMode="auto">
          <a:xfrm>
            <a:off x="8006311" y="3313699"/>
            <a:ext cx="243378" cy="162252"/>
          </a:xfrm>
          <a:prstGeom prst="rect">
            <a:avLst/>
          </a:prstGeom>
          <a:noFill/>
          <a:extLst>
            <a:ext uri="{909E8E84-426E-40DD-AFC4-6F175D3DCCD1}">
              <a14:hiddenFill xmlns:a14="http://schemas.microsoft.com/office/drawing/2010/main">
                <a:solidFill>
                  <a:srgbClr val="FFFFFF"/>
                </a:solidFill>
              </a14:hiddenFill>
            </a:ext>
          </a:extLst>
        </p:spPr>
      </p:pic>
      <p:pic>
        <p:nvPicPr>
          <p:cNvPr id="343" name="Picture 6">
            <a:extLst>
              <a:ext uri="{FF2B5EF4-FFF2-40B4-BE49-F238E27FC236}">
                <a16:creationId xmlns:a16="http://schemas.microsoft.com/office/drawing/2014/main" id="{77813B79-97A2-98B5-C339-77EB77F871ED}"/>
              </a:ext>
            </a:extLst>
          </p:cNvPr>
          <p:cNvPicPr>
            <a:picLocks noChangeAspect="1" noChangeArrowheads="1"/>
          </p:cNvPicPr>
          <p:nvPr/>
        </p:nvPicPr>
        <p:blipFill>
          <a:blip r:embed="rId92" cstate="screen">
            <a:extLst>
              <a:ext uri="{28A0092B-C50C-407E-A947-70E740481C1C}">
                <a14:useLocalDpi xmlns:a14="http://schemas.microsoft.com/office/drawing/2010/main"/>
              </a:ext>
            </a:extLst>
          </a:blip>
          <a:srcRect/>
          <a:stretch>
            <a:fillRect/>
          </a:stretch>
        </p:blipFill>
        <p:spPr bwMode="auto">
          <a:xfrm>
            <a:off x="7994762" y="5056713"/>
            <a:ext cx="243378" cy="16306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Union Jack - Wikipedia">
            <a:extLst>
              <a:ext uri="{FF2B5EF4-FFF2-40B4-BE49-F238E27FC236}">
                <a16:creationId xmlns:a16="http://schemas.microsoft.com/office/drawing/2014/main" id="{EE4A4B3A-0A39-0271-9D4E-D91E3E95B7D4}"/>
              </a:ext>
            </a:extLst>
          </p:cNvPr>
          <p:cNvPicPr>
            <a:picLocks noChangeAspect="1" noChangeArrowheads="1"/>
          </p:cNvPicPr>
          <p:nvPr/>
        </p:nvPicPr>
        <p:blipFill>
          <a:blip r:embed="rId93" cstate="screen">
            <a:extLst>
              <a:ext uri="{28A0092B-C50C-407E-A947-70E740481C1C}">
                <a14:useLocalDpi xmlns:a14="http://schemas.microsoft.com/office/drawing/2010/main"/>
              </a:ext>
            </a:extLst>
          </a:blip>
          <a:srcRect/>
          <a:stretch>
            <a:fillRect/>
          </a:stretch>
        </p:blipFill>
        <p:spPr bwMode="auto">
          <a:xfrm>
            <a:off x="8006311" y="4169570"/>
            <a:ext cx="231829" cy="169513"/>
          </a:xfrm>
          <a:prstGeom prst="rect">
            <a:avLst/>
          </a:prstGeom>
          <a:noFill/>
          <a:extLst>
            <a:ext uri="{909E8E84-426E-40DD-AFC4-6F175D3DCCD1}">
              <a14:hiddenFill xmlns:a14="http://schemas.microsoft.com/office/drawing/2010/main">
                <a:solidFill>
                  <a:srgbClr val="FFFFFF"/>
                </a:solidFill>
              </a14:hiddenFill>
            </a:ext>
          </a:extLst>
        </p:spPr>
      </p:pic>
      <p:sp>
        <p:nvSpPr>
          <p:cNvPr id="359" name="Speech Bubble: Rectangle 358">
            <a:extLst>
              <a:ext uri="{FF2B5EF4-FFF2-40B4-BE49-F238E27FC236}">
                <a16:creationId xmlns:a16="http://schemas.microsoft.com/office/drawing/2014/main" id="{D57B0E87-2847-7867-F33B-63E92690391A}"/>
              </a:ext>
            </a:extLst>
          </p:cNvPr>
          <p:cNvSpPr/>
          <p:nvPr/>
        </p:nvSpPr>
        <p:spPr bwMode="gray">
          <a:xfrm>
            <a:off x="4984751" y="1838315"/>
            <a:ext cx="1339849" cy="438677"/>
          </a:xfrm>
          <a:prstGeom prst="wedgeRectCallout">
            <a:avLst>
              <a:gd name="adj1" fmla="val -28906"/>
              <a:gd name="adj2" fmla="val 56710"/>
            </a:avLst>
          </a:prstGeom>
          <a:solidFill>
            <a:srgbClr val="4C6C9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CFS received a $1.8B investment in 2021.</a:t>
            </a:r>
          </a:p>
        </p:txBody>
      </p:sp>
      <p:sp>
        <p:nvSpPr>
          <p:cNvPr id="6" name="Speech Bubble: Rectangle 5">
            <a:extLst>
              <a:ext uri="{FF2B5EF4-FFF2-40B4-BE49-F238E27FC236}">
                <a16:creationId xmlns:a16="http://schemas.microsoft.com/office/drawing/2014/main" id="{274535F8-3DC2-AA0D-C9AB-F1D4314F6CF0}"/>
              </a:ext>
            </a:extLst>
          </p:cNvPr>
          <p:cNvSpPr/>
          <p:nvPr/>
        </p:nvSpPr>
        <p:spPr bwMode="gray">
          <a:xfrm>
            <a:off x="6392332" y="1838315"/>
            <a:ext cx="1286669" cy="438677"/>
          </a:xfrm>
          <a:prstGeom prst="wedgeRectCallout">
            <a:avLst>
              <a:gd name="adj1" fmla="val -3164"/>
              <a:gd name="adj2" fmla="val 76011"/>
            </a:avLst>
          </a:prstGeom>
          <a:solidFill>
            <a:srgbClr val="4C6C9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Pacific Fusion raised $900M in 2024.</a:t>
            </a:r>
          </a:p>
        </p:txBody>
      </p:sp>
    </p:spTree>
    <p:extLst>
      <p:ext uri="{BB962C8B-B14F-4D97-AF65-F5344CB8AC3E}">
        <p14:creationId xmlns:p14="http://schemas.microsoft.com/office/powerpoint/2010/main" val="227640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51" imgH="553" progId="TCLayout.ActiveDocument.1">
                  <p:embed/>
                </p:oleObj>
              </mc:Choice>
              <mc:Fallback>
                <p:oleObj name="think-cell Slide" r:id="rId3" imgW="551" imgH="553" progId="TCLayout.ActiveDocument.1">
                  <p:embed/>
                  <p:pic>
                    <p:nvPicPr>
                      <p:cNvPr id="4"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KI Nuclear Team</a:t>
            </a:r>
          </a:p>
        </p:txBody>
      </p:sp>
      <p:pic>
        <p:nvPicPr>
          <p:cNvPr id="21" name="Picture 20">
            <a:extLst>
              <a:ext uri="{FF2B5EF4-FFF2-40B4-BE49-F238E27FC236}">
                <a16:creationId xmlns:a16="http://schemas.microsoft.com/office/drawing/2014/main" id="{E56D3160-4998-1394-E299-1F3FD9F42845}"/>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t="-1981"/>
          <a:stretch/>
        </p:blipFill>
        <p:spPr bwMode="auto">
          <a:xfrm>
            <a:off x="449084" y="1271528"/>
            <a:ext cx="1046650" cy="104665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12A6439D-3EC7-C049-B16C-897BB3315066}"/>
              </a:ext>
            </a:extLst>
          </p:cNvPr>
          <p:cNvSpPr txBox="1"/>
          <p:nvPr/>
        </p:nvSpPr>
        <p:spPr>
          <a:xfrm>
            <a:off x="1530594" y="1417827"/>
            <a:ext cx="2515712" cy="75405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Quint </a:t>
            </a:r>
            <a:r>
              <a:rPr kumimoji="0" lang="en-US" sz="1100" b="1" i="0" u="none" strike="noStrike" kern="1200" cap="none" spc="0" normalizeH="0" baseline="0" noProof="0" err="1">
                <a:ln>
                  <a:noFill/>
                </a:ln>
                <a:solidFill>
                  <a:srgbClr val="000000"/>
                </a:solidFill>
                <a:effectLst/>
                <a:uLnTx/>
                <a:uFillTx/>
                <a:latin typeface="Arial"/>
                <a:ea typeface="+mn-ea"/>
                <a:cs typeface="+mn-cs"/>
              </a:rPr>
              <a:t>Houwink</a:t>
            </a:r>
            <a:endParaRPr kumimoji="0" lang="en-US"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CKI Fellow</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26" name="TextBox 25">
            <a:extLst>
              <a:ext uri="{FF2B5EF4-FFF2-40B4-BE49-F238E27FC236}">
                <a16:creationId xmlns:a16="http://schemas.microsoft.com/office/drawing/2014/main" id="{D707CE08-88AC-7ABA-9DA3-99971F7840E6}"/>
              </a:ext>
            </a:extLst>
          </p:cNvPr>
          <p:cNvSpPr txBox="1"/>
          <p:nvPr/>
        </p:nvSpPr>
        <p:spPr bwMode="gray">
          <a:xfrm>
            <a:off x="327407" y="6295910"/>
            <a:ext cx="5768248" cy="669414"/>
          </a:xfrm>
          <a:prstGeom prst="rect">
            <a:avLst/>
          </a:prstGeom>
          <a:noFill/>
          <a:ln>
            <a:noFill/>
          </a:ln>
        </p:spPr>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a:rPr>
              <a:t>Attribution: </a:t>
            </a:r>
            <a:r>
              <a:rPr kumimoji="0" lang="en-US" sz="800" b="0" i="0" u="none" strike="noStrike" kern="1200" cap="none" spc="0" normalizeH="0" baseline="0" noProof="0" err="1">
                <a:ln>
                  <a:noFill/>
                </a:ln>
                <a:solidFill>
                  <a:srgbClr val="000000"/>
                </a:solidFill>
                <a:effectLst/>
                <a:uLnTx/>
                <a:uFillTx/>
                <a:latin typeface="Arial"/>
                <a:ea typeface="+mn-ea"/>
                <a:cs typeface="Arial"/>
              </a:rPr>
              <a:t>Houwink</a:t>
            </a:r>
            <a:r>
              <a:rPr kumimoji="0" lang="en-US" sz="800" b="0" i="0" u="none" strike="noStrike" kern="1200" cap="none" spc="0" normalizeH="0" baseline="0" noProof="0">
                <a:ln>
                  <a:noFill/>
                </a:ln>
                <a:solidFill>
                  <a:srgbClr val="000000"/>
                </a:solidFill>
                <a:effectLst/>
                <a:uLnTx/>
                <a:uFillTx/>
                <a:latin typeface="Arial"/>
                <a:ea typeface="+mn-ea"/>
                <a:cs typeface="Arial"/>
              </a:rPr>
              <a:t> et al., "Reenergizing Nuclear" Columbia Business School Climate Knowledge Initiative (2025).</a:t>
            </a:r>
            <a:endParaRPr kumimoji="0" lang="en-US"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250" b="1" i="0" u="none" strike="noStrike" kern="1200" cap="none" spc="0" normalizeH="0" baseline="0" noProof="0">
              <a:ln>
                <a:noFill/>
              </a:ln>
              <a:solidFill>
                <a:srgbClr val="000000"/>
              </a:solidFill>
              <a:effectLst/>
              <a:uLnTx/>
              <a:uFillTx/>
              <a:latin typeface="Arial"/>
              <a:ea typeface="+mn-ea"/>
              <a:cs typeface="Arial"/>
            </a:endParaRPr>
          </a:p>
        </p:txBody>
      </p:sp>
      <p:pic>
        <p:nvPicPr>
          <p:cNvPr id="5" name="Picture 4">
            <a:extLst>
              <a:ext uri="{FF2B5EF4-FFF2-40B4-BE49-F238E27FC236}">
                <a16:creationId xmlns:a16="http://schemas.microsoft.com/office/drawing/2014/main" id="{704302C9-79CB-92D0-1944-FCBE4885CCC2}"/>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p:blipFill>
        <p:spPr bwMode="auto">
          <a:xfrm>
            <a:off x="449084" y="3804207"/>
            <a:ext cx="1046650" cy="104665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475FF1C-F4D9-B95F-7BE5-3436C7DE8A05}"/>
              </a:ext>
            </a:extLst>
          </p:cNvPr>
          <p:cNvSpPr txBox="1"/>
          <p:nvPr/>
        </p:nvSpPr>
        <p:spPr>
          <a:xfrm>
            <a:off x="1530594" y="3950506"/>
            <a:ext cx="2450037" cy="75405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Hinako Arai</a:t>
            </a:r>
            <a:endParaRPr kumimoji="0" lang="en-US"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Master of International Affair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CKI Fellow</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pic>
        <p:nvPicPr>
          <p:cNvPr id="11" name="Picture 10">
            <a:extLst>
              <a:ext uri="{FF2B5EF4-FFF2-40B4-BE49-F238E27FC236}">
                <a16:creationId xmlns:a16="http://schemas.microsoft.com/office/drawing/2014/main" id="{28AD1D09-CB3A-3BE6-F08C-E228DCE73007}"/>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p:blipFill>
        <p:spPr bwMode="auto">
          <a:xfrm>
            <a:off x="449084" y="4962392"/>
            <a:ext cx="1046650" cy="104665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063725B7-46AF-F47D-84BD-168203E75083}"/>
              </a:ext>
            </a:extLst>
          </p:cNvPr>
          <p:cNvSpPr txBox="1"/>
          <p:nvPr/>
        </p:nvSpPr>
        <p:spPr>
          <a:xfrm>
            <a:off x="1530594" y="5108691"/>
            <a:ext cx="2515712" cy="75405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Vedant Bhansali</a:t>
            </a:r>
            <a:endParaRPr kumimoji="0" lang="en-US"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BA Financial Economic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CKI Fellow</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pic>
        <p:nvPicPr>
          <p:cNvPr id="14" name="Picture 13">
            <a:extLst>
              <a:ext uri="{FF2B5EF4-FFF2-40B4-BE49-F238E27FC236}">
                <a16:creationId xmlns:a16="http://schemas.microsoft.com/office/drawing/2014/main" id="{E86DAE07-4BD6-B9A1-3EEB-A2758C8CA11B}"/>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p:blipFill>
        <p:spPr bwMode="auto">
          <a:xfrm>
            <a:off x="4200645" y="3804207"/>
            <a:ext cx="1046650" cy="104665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3B51C7D8-3EDE-0829-561B-A6B1B0F1AF14}"/>
              </a:ext>
            </a:extLst>
          </p:cNvPr>
          <p:cNvSpPr txBox="1"/>
          <p:nvPr/>
        </p:nvSpPr>
        <p:spPr>
          <a:xfrm>
            <a:off x="5315392" y="3950506"/>
            <a:ext cx="2583387" cy="75405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Christian </a:t>
            </a:r>
            <a:r>
              <a:rPr kumimoji="0" lang="en-US" sz="1100" b="1" i="0" u="none" strike="noStrike" kern="1200" cap="none" spc="0" normalizeH="0" baseline="0" noProof="0" err="1">
                <a:ln>
                  <a:noFill/>
                </a:ln>
                <a:solidFill>
                  <a:srgbClr val="000000"/>
                </a:solidFill>
                <a:effectLst/>
                <a:uLnTx/>
                <a:uFillTx/>
                <a:latin typeface="Arial"/>
                <a:ea typeface="+mn-ea"/>
                <a:cs typeface="+mn-cs"/>
              </a:rPr>
              <a:t>Sandjaja</a:t>
            </a:r>
            <a:endParaRPr kumimoji="0" lang="en-US"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Master of Sustainability Managemen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CKI Fellow</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10" name="TextBox 9">
            <a:extLst>
              <a:ext uri="{FF2B5EF4-FFF2-40B4-BE49-F238E27FC236}">
                <a16:creationId xmlns:a16="http://schemas.microsoft.com/office/drawing/2014/main" id="{530D4F78-BC24-9742-63EF-FEFD5FB5F236}"/>
              </a:ext>
            </a:extLst>
          </p:cNvPr>
          <p:cNvSpPr txBox="1">
            <a:spLocks/>
          </p:cNvSpPr>
          <p:nvPr/>
        </p:nvSpPr>
        <p:spPr>
          <a:xfrm>
            <a:off x="5315392" y="5108691"/>
            <a:ext cx="2431603" cy="75405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Clara Zibell</a:t>
            </a:r>
            <a:endParaRPr kumimoji="0" lang="en-US"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BA Sustainable Developmen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CKI Fellow</a:t>
            </a:r>
          </a:p>
        </p:txBody>
      </p:sp>
      <p:pic>
        <p:nvPicPr>
          <p:cNvPr id="16" name="Picture 12">
            <a:extLst>
              <a:ext uri="{FF2B5EF4-FFF2-40B4-BE49-F238E27FC236}">
                <a16:creationId xmlns:a16="http://schemas.microsoft.com/office/drawing/2014/main" id="{DCF5A46E-5315-C4D7-E9C5-DCDC7C765CF7}"/>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p:blipFill>
        <p:spPr bwMode="auto">
          <a:xfrm>
            <a:off x="4200666" y="4962393"/>
            <a:ext cx="1046608" cy="1046649"/>
          </a:xfrm>
          <a:prstGeom prst="ellipse">
            <a:avLst/>
          </a:prstGeom>
          <a:noFill/>
          <a:ln>
            <a:noFill/>
          </a:ln>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B169D4D4-4080-284E-B94B-D2DEDB271F60}"/>
              </a:ext>
            </a:extLst>
          </p:cNvPr>
          <p:cNvSpPr txBox="1">
            <a:spLocks/>
          </p:cNvSpPr>
          <p:nvPr/>
        </p:nvSpPr>
        <p:spPr>
          <a:xfrm>
            <a:off x="8995148" y="3742757"/>
            <a:ext cx="2942851" cy="116955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Gernot Wagner</a:t>
            </a:r>
            <a:endParaRPr kumimoji="0" lang="en-US"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Senior Lecturer, Columbia Business School</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Faculty Director, Climate Knowledge Initiativ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hlinkClick r:id="rId10"/>
              </a:rPr>
              <a:t>gwagner@columbia.edu</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pic>
        <p:nvPicPr>
          <p:cNvPr id="32" name="Picture 12" descr="A person standing in front of a window&#10;&#10;Description automatically generated">
            <a:extLst>
              <a:ext uri="{FF2B5EF4-FFF2-40B4-BE49-F238E27FC236}">
                <a16:creationId xmlns:a16="http://schemas.microsoft.com/office/drawing/2014/main" id="{492775C7-3DDD-D9A7-7659-CF1CCA3D9710}"/>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7881520" y="3804208"/>
            <a:ext cx="1046608" cy="1046649"/>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EAA4CBE1-C144-F26A-C861-665B4D095466}"/>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7881499" y="1271528"/>
            <a:ext cx="1046650" cy="104665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79FD0FCE-6863-B6D4-8E75-0A6B600B10EC}"/>
              </a:ext>
            </a:extLst>
          </p:cNvPr>
          <p:cNvSpPr txBox="1"/>
          <p:nvPr/>
        </p:nvSpPr>
        <p:spPr>
          <a:xfrm>
            <a:off x="8995148" y="1417827"/>
            <a:ext cx="3053937" cy="75405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Isabel Hoyos</a:t>
            </a:r>
            <a:endParaRPr kumimoji="0" lang="en-US"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Master of Sustainability Managemen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Staff Associate, Climate Knowledge Initiative</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37" name="TextBox 5">
            <a:extLst>
              <a:ext uri="{FF2B5EF4-FFF2-40B4-BE49-F238E27FC236}">
                <a16:creationId xmlns:a16="http://schemas.microsoft.com/office/drawing/2014/main" id="{5DC2BA10-147F-3915-DB44-9C1DE2D34D5D}"/>
              </a:ext>
            </a:extLst>
          </p:cNvPr>
          <p:cNvSpPr txBox="1"/>
          <p:nvPr/>
        </p:nvSpPr>
        <p:spPr>
          <a:xfrm>
            <a:off x="8995148" y="2520552"/>
            <a:ext cx="2933264" cy="100027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err="1">
                <a:ln>
                  <a:noFill/>
                </a:ln>
                <a:solidFill>
                  <a:srgbClr val="000000"/>
                </a:solidFill>
                <a:effectLst/>
                <a:uLnTx/>
                <a:uFillTx/>
                <a:latin typeface="Arial"/>
                <a:ea typeface="Times New Roman" panose="02020603050405020304" pitchFamily="18" charset="0"/>
                <a:cs typeface="Arial"/>
              </a:rPr>
              <a:t>Hyae</a:t>
            </a:r>
            <a:r>
              <a:rPr kumimoji="0" lang="en-US" sz="1100" b="1"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 Ryung (Helen) Kim</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PhD in Sustainable Development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Senior Research Fellow</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hlinkClick r:id="rId13"/>
              </a:rPr>
              <a:t>hk2901@columbia.edu</a:t>
            </a:r>
            <a:endParaRPr kumimoji="0" lang="en-US" sz="11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endParaRPr>
          </a:p>
        </p:txBody>
      </p:sp>
      <p:pic>
        <p:nvPicPr>
          <p:cNvPr id="38" name="Picture 37" descr="Hyae Ryung (Helen) Kim">
            <a:extLst>
              <a:ext uri="{FF2B5EF4-FFF2-40B4-BE49-F238E27FC236}">
                <a16:creationId xmlns:a16="http://schemas.microsoft.com/office/drawing/2014/main" id="{C40AD3B7-1940-7E08-2A6C-80E6F3AD9737}"/>
              </a:ext>
            </a:extLst>
          </p:cNvPr>
          <p:cNvPicPr>
            <a:picLocks noChangeAspect="1" noChangeArrowheads="1"/>
          </p:cNvPicPr>
          <p:nvPr/>
        </p:nvPicPr>
        <p:blipFill rotWithShape="1">
          <a:blip r:embed="rId14" cstate="print">
            <a:extLst>
              <a:ext uri="{28A0092B-C50C-407E-A947-70E740481C1C}">
                <a14:useLocalDpi xmlns:a14="http://schemas.microsoft.com/office/drawing/2010/main"/>
              </a:ext>
            </a:extLst>
          </a:blip>
          <a:srcRect/>
          <a:stretch/>
        </p:blipFill>
        <p:spPr bwMode="auto">
          <a:xfrm>
            <a:off x="7881500" y="2497365"/>
            <a:ext cx="1046649" cy="1046649"/>
          </a:xfrm>
          <a:prstGeom prst="ellipse">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sp>
        <p:nvSpPr>
          <p:cNvPr id="39" name="Oval 38">
            <a:extLst>
              <a:ext uri="{FF2B5EF4-FFF2-40B4-BE49-F238E27FC236}">
                <a16:creationId xmlns:a16="http://schemas.microsoft.com/office/drawing/2014/main" id="{21445C66-CEC6-7123-A798-762BFA8AD618}"/>
              </a:ext>
            </a:extLst>
          </p:cNvPr>
          <p:cNvSpPr/>
          <p:nvPr/>
        </p:nvSpPr>
        <p:spPr bwMode="gray">
          <a:xfrm>
            <a:off x="452864" y="2501144"/>
            <a:ext cx="1039091" cy="1039091"/>
          </a:xfrm>
          <a:prstGeom prst="ellipse">
            <a:avLst/>
          </a:prstGeom>
          <a:blipFill dpi="0" rotWithShape="1">
            <a:blip r:embed="rId15" cstate="screen">
              <a:extLst>
                <a:ext uri="{28A0092B-C50C-407E-A947-70E740481C1C}">
                  <a14:useLocalDpi xmlns:a14="http://schemas.microsoft.com/office/drawing/2010/main"/>
                </a:ext>
              </a:extLst>
            </a:blip>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0" name="TextBox 39">
            <a:extLst>
              <a:ext uri="{FF2B5EF4-FFF2-40B4-BE49-F238E27FC236}">
                <a16:creationId xmlns:a16="http://schemas.microsoft.com/office/drawing/2014/main" id="{EF13199C-2C9F-7287-AFAB-CA24110A51A1}"/>
              </a:ext>
            </a:extLst>
          </p:cNvPr>
          <p:cNvSpPr txBox="1"/>
          <p:nvPr/>
        </p:nvSpPr>
        <p:spPr>
          <a:xfrm>
            <a:off x="1530594" y="2643663"/>
            <a:ext cx="2404608" cy="75405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Adele Teh</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Master of Business Administr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Arial"/>
              </a:rPr>
              <a:t>CKI Fellow</a:t>
            </a:r>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29" name="TextBox 5">
            <a:extLst>
              <a:ext uri="{FF2B5EF4-FFF2-40B4-BE49-F238E27FC236}">
                <a16:creationId xmlns:a16="http://schemas.microsoft.com/office/drawing/2014/main" id="{5070935D-3CEE-4C44-5800-8D3B2C53016C}"/>
              </a:ext>
            </a:extLst>
          </p:cNvPr>
          <p:cNvSpPr txBox="1"/>
          <p:nvPr/>
        </p:nvSpPr>
        <p:spPr>
          <a:xfrm>
            <a:off x="5315392" y="1333188"/>
            <a:ext cx="2404608" cy="92333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Khande-Jaé Fisher</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Masters of Science in Sustainability Scien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CKI Fellow</a:t>
            </a:r>
          </a:p>
        </p:txBody>
      </p:sp>
      <p:pic>
        <p:nvPicPr>
          <p:cNvPr id="7" name="Picture 6" descr="A person wearing glasses and a red sash&#10;&#10;AI-generated content may be incorrect.">
            <a:extLst>
              <a:ext uri="{FF2B5EF4-FFF2-40B4-BE49-F238E27FC236}">
                <a16:creationId xmlns:a16="http://schemas.microsoft.com/office/drawing/2014/main" id="{D428ED6E-9D62-7D39-ABCD-BF04CF60DC53}"/>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200646" y="1243985"/>
            <a:ext cx="1046649" cy="1101736"/>
          </a:xfrm>
          <a:prstGeom prst="ellipse">
            <a:avLst/>
          </a:prstGeom>
        </p:spPr>
      </p:pic>
      <p:sp>
        <p:nvSpPr>
          <p:cNvPr id="17" name="TextBox 16">
            <a:extLst>
              <a:ext uri="{FF2B5EF4-FFF2-40B4-BE49-F238E27FC236}">
                <a16:creationId xmlns:a16="http://schemas.microsoft.com/office/drawing/2014/main" id="{79725AB1-6CA2-3767-7309-49B951C261C2}"/>
              </a:ext>
            </a:extLst>
          </p:cNvPr>
          <p:cNvSpPr txBox="1">
            <a:spLocks/>
          </p:cNvSpPr>
          <p:nvPr/>
        </p:nvSpPr>
        <p:spPr>
          <a:xfrm>
            <a:off x="5315392" y="2643663"/>
            <a:ext cx="2544393" cy="75405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Brenda Rai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Master of Sustainability Managemen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CKI Fellow</a:t>
            </a:r>
          </a:p>
        </p:txBody>
      </p:sp>
      <p:pic>
        <p:nvPicPr>
          <p:cNvPr id="19" name="Picture 18" descr="A person in a black suit&#10;&#10;AI-generated content may be incorrect.">
            <a:extLst>
              <a:ext uri="{FF2B5EF4-FFF2-40B4-BE49-F238E27FC236}">
                <a16:creationId xmlns:a16="http://schemas.microsoft.com/office/drawing/2014/main" id="{B27E0170-3A7A-7F94-52E3-A359317AAB43}"/>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200645" y="2497364"/>
            <a:ext cx="1046650" cy="1046650"/>
          </a:xfrm>
          <a:prstGeom prst="flowChartConnector">
            <a:avLst/>
          </a:prstGeom>
        </p:spPr>
      </p:pic>
    </p:spTree>
    <p:extLst>
      <p:ext uri="{BB962C8B-B14F-4D97-AF65-F5344CB8AC3E}">
        <p14:creationId xmlns:p14="http://schemas.microsoft.com/office/powerpoint/2010/main" val="360016880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400432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title" idx="4294967295"/>
          </p:nvPr>
        </p:nvSpPr>
        <p:spPr>
          <a:xfrm>
            <a:off x="0"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mn-ea"/>
                <a:cs typeface="+mn-cs"/>
              </a:rPr>
              <a:t>Appendix</a:t>
            </a:r>
          </a:p>
        </p:txBody>
      </p:sp>
      <p:sp>
        <p:nvSpPr>
          <p:cNvPr id="2" name="Rectangle 1"/>
          <p:cNvSpPr/>
          <p:nvPr/>
        </p:nvSpPr>
        <p:spPr bwMode="gray">
          <a:xfrm>
            <a:off x="6915150" y="6306312"/>
            <a:ext cx="2752725" cy="533400"/>
          </a:xfrm>
          <a:prstGeom prst="rect">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custDataLst>
      <p:tags r:id="rId1"/>
    </p:custDataLst>
    <p:extLst>
      <p:ext uri="{BB962C8B-B14F-4D97-AF65-F5344CB8AC3E}">
        <p14:creationId xmlns:p14="http://schemas.microsoft.com/office/powerpoint/2010/main" val="71482178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CC579D-11B6-6AE7-E9DC-9521BA5E9DF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F4ABA42-9B6C-1B43-B95D-C0DDE0AB4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6F4ABA42-9B6C-1B43-B95D-C0DDE0AB4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523546E-7C6B-C92D-824C-E28F395672FB}"/>
              </a:ext>
            </a:extLst>
          </p:cNvPr>
          <p:cNvSpPr>
            <a:spLocks noGrp="1"/>
          </p:cNvSpPr>
          <p:nvPr>
            <p:ph type="title"/>
          </p:nvPr>
        </p:nvSpPr>
        <p:spPr>
          <a:xfrm>
            <a:off x="330200" y="501211"/>
            <a:ext cx="11861800" cy="923517"/>
          </a:xfrm>
        </p:spPr>
        <p:txBody>
          <a:bodyPr vert="horz">
            <a:noAutofit/>
          </a:bodyPr>
          <a:lstStyle/>
          <a:p>
            <a:r>
              <a:rPr lang="en-US" sz="2500" dirty="0">
                <a:solidFill>
                  <a:srgbClr val="000000"/>
                </a:solidFill>
                <a:latin typeface="Arial" panose="020B0604020202020204" pitchFamily="34" charset="0"/>
                <a:cs typeface="Arial" panose="020B0604020202020204" pitchFamily="34" charset="0"/>
              </a:rPr>
              <a:t>Comparison of current and upcoming nuclear and geothermal technologies for clean baseload electricity supply</a:t>
            </a:r>
            <a:endParaRPr lang="en-US" sz="2500" dirty="0"/>
          </a:p>
        </p:txBody>
      </p:sp>
      <p:graphicFrame>
        <p:nvGraphicFramePr>
          <p:cNvPr id="2" name="Table 1">
            <a:extLst>
              <a:ext uri="{FF2B5EF4-FFF2-40B4-BE49-F238E27FC236}">
                <a16:creationId xmlns:a16="http://schemas.microsoft.com/office/drawing/2014/main" id="{F0662181-517A-878F-CF71-E2FBA3F27AB7}"/>
              </a:ext>
            </a:extLst>
          </p:cNvPr>
          <p:cNvGraphicFramePr>
            <a:graphicFrameLocks noGrp="1"/>
          </p:cNvGraphicFramePr>
          <p:nvPr>
            <p:extLst>
              <p:ext uri="{D42A27DB-BD31-4B8C-83A1-F6EECF244321}">
                <p14:modId xmlns:p14="http://schemas.microsoft.com/office/powerpoint/2010/main" val="1765790174"/>
              </p:ext>
            </p:extLst>
          </p:nvPr>
        </p:nvGraphicFramePr>
        <p:xfrm>
          <a:off x="636814" y="1446835"/>
          <a:ext cx="10651296" cy="4620413"/>
        </p:xfrm>
        <a:graphic>
          <a:graphicData uri="http://schemas.openxmlformats.org/drawingml/2006/table">
            <a:tbl>
              <a:tblPr firstRow="1" bandRow="1">
                <a:tableStyleId>{2D5ABB26-0587-4C30-8999-92F81FD0307C}</a:tableStyleId>
              </a:tblPr>
              <a:tblGrid>
                <a:gridCol w="1160000">
                  <a:extLst>
                    <a:ext uri="{9D8B030D-6E8A-4147-A177-3AD203B41FA5}">
                      <a16:colId xmlns:a16="http://schemas.microsoft.com/office/drawing/2014/main" val="1209005246"/>
                    </a:ext>
                  </a:extLst>
                </a:gridCol>
                <a:gridCol w="2372824">
                  <a:extLst>
                    <a:ext uri="{9D8B030D-6E8A-4147-A177-3AD203B41FA5}">
                      <a16:colId xmlns:a16="http://schemas.microsoft.com/office/drawing/2014/main" val="1110654787"/>
                    </a:ext>
                  </a:extLst>
                </a:gridCol>
                <a:gridCol w="2372824">
                  <a:extLst>
                    <a:ext uri="{9D8B030D-6E8A-4147-A177-3AD203B41FA5}">
                      <a16:colId xmlns:a16="http://schemas.microsoft.com/office/drawing/2014/main" val="4040070807"/>
                    </a:ext>
                  </a:extLst>
                </a:gridCol>
                <a:gridCol w="2372824">
                  <a:extLst>
                    <a:ext uri="{9D8B030D-6E8A-4147-A177-3AD203B41FA5}">
                      <a16:colId xmlns:a16="http://schemas.microsoft.com/office/drawing/2014/main" val="3470984479"/>
                    </a:ext>
                  </a:extLst>
                </a:gridCol>
                <a:gridCol w="2372824">
                  <a:extLst>
                    <a:ext uri="{9D8B030D-6E8A-4147-A177-3AD203B41FA5}">
                      <a16:colId xmlns:a16="http://schemas.microsoft.com/office/drawing/2014/main" val="2863399275"/>
                    </a:ext>
                  </a:extLst>
                </a:gridCol>
              </a:tblGrid>
              <a:tr h="337973">
                <a:tc>
                  <a:txBody>
                    <a:bodyPr/>
                    <a:lstStyle/>
                    <a:p>
                      <a:pPr marL="0" indent="0">
                        <a:buNone/>
                      </a:pPr>
                      <a:endParaRPr lang="en-US" sz="1200" b="1"/>
                    </a:p>
                  </a:txBody>
                  <a:tcPr/>
                </a:tc>
                <a:tc gridSpan="2">
                  <a:txBody>
                    <a:bodyPr/>
                    <a:lstStyle/>
                    <a:p>
                      <a:pPr marL="0" indent="0" algn="ctr">
                        <a:spcBef>
                          <a:spcPts val="0"/>
                        </a:spcBef>
                        <a:buNone/>
                      </a:pPr>
                      <a:r>
                        <a:rPr lang="en-US" sz="1400" b="1">
                          <a:solidFill>
                            <a:schemeClr val="bg1"/>
                          </a:solidFill>
                        </a:rPr>
                        <a:t>Nuclear</a:t>
                      </a:r>
                    </a:p>
                  </a:txBody>
                  <a:tcPr anchor="ctr">
                    <a:lnR w="6350" cap="flat" cmpd="sng" algn="ctr">
                      <a:solidFill>
                        <a:schemeClr val="bg1"/>
                      </a:solidFill>
                      <a:prstDash val="solid"/>
                      <a:round/>
                      <a:headEnd type="none" w="med" len="med"/>
                      <a:tailEnd type="none" w="med" len="med"/>
                    </a:lnR>
                    <a:solidFill>
                      <a:srgbClr val="049BDD"/>
                    </a:solidFill>
                  </a:tcPr>
                </a:tc>
                <a:tc hMerge="1">
                  <a:txBody>
                    <a:bodyPr/>
                    <a:lstStyle/>
                    <a:p>
                      <a:pPr marL="0" indent="0" algn="ctr">
                        <a:spcBef>
                          <a:spcPts val="0"/>
                        </a:spcBef>
                        <a:buNone/>
                      </a:pPr>
                      <a:endParaRPr lang="en-US" sz="1400" b="1">
                        <a:solidFill>
                          <a:srgbClr val="000000"/>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gridSpan="2">
                  <a:txBody>
                    <a:bodyPr/>
                    <a:lstStyle/>
                    <a:p>
                      <a:pPr marL="0" indent="0" algn="ctr">
                        <a:spcBef>
                          <a:spcPts val="0"/>
                        </a:spcBef>
                        <a:buNone/>
                      </a:pPr>
                      <a:r>
                        <a:rPr lang="en-US" sz="1400" b="1">
                          <a:solidFill>
                            <a:schemeClr val="bg1"/>
                          </a:solidFill>
                        </a:rPr>
                        <a:t>Geotherma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33A398"/>
                    </a:solidFill>
                  </a:tcPr>
                </a:tc>
                <a:tc hMerge="1">
                  <a:txBody>
                    <a:bodyPr/>
                    <a:lstStyle/>
                    <a:p>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33A398"/>
                    </a:solidFill>
                  </a:tcPr>
                </a:tc>
                <a:extLst>
                  <a:ext uri="{0D108BD9-81ED-4DB2-BD59-A6C34878D82A}">
                    <a16:rowId xmlns:a16="http://schemas.microsoft.com/office/drawing/2014/main" val="1589965860"/>
                  </a:ext>
                </a:extLst>
              </a:tr>
              <a:tr h="369813">
                <a:tc>
                  <a:txBody>
                    <a:bodyPr/>
                    <a:lstStyle/>
                    <a:p>
                      <a:pPr marL="0" indent="0">
                        <a:buNone/>
                      </a:pPr>
                      <a:endParaRPr lang="en-US" sz="1200" b="1"/>
                    </a:p>
                  </a:txBody>
                  <a:tcPr/>
                </a:tc>
                <a:tc>
                  <a:txBody>
                    <a:bodyPr/>
                    <a:lstStyle/>
                    <a:p>
                      <a:pPr marL="0" indent="0" algn="ctr">
                        <a:spcBef>
                          <a:spcPts val="0"/>
                        </a:spcBef>
                        <a:buNone/>
                      </a:pPr>
                      <a:r>
                        <a:rPr lang="en-US" sz="1200" b="1">
                          <a:solidFill>
                            <a:srgbClr val="000000"/>
                          </a:solidFill>
                        </a:rPr>
                        <a:t>Large-scale nuclear</a:t>
                      </a:r>
                    </a:p>
                  </a:txBody>
                  <a:tcPr>
                    <a:lnR w="6350" cap="flat" cmpd="sng" algn="ctr">
                      <a:solidFill>
                        <a:schemeClr val="bg1"/>
                      </a:solidFill>
                      <a:prstDash val="solid"/>
                      <a:round/>
                      <a:headEnd type="none" w="med" len="med"/>
                      <a:tailEnd type="none" w="med" len="med"/>
                    </a:lnR>
                    <a:solidFill>
                      <a:srgbClr val="009BDB">
                        <a:alpha val="50196"/>
                      </a:srgbClr>
                    </a:solidFill>
                  </a:tcPr>
                </a:tc>
                <a:tc>
                  <a:txBody>
                    <a:bodyPr/>
                    <a:lstStyle/>
                    <a:p>
                      <a:pPr marL="0" indent="0" algn="ctr">
                        <a:spcBef>
                          <a:spcPts val="0"/>
                        </a:spcBef>
                        <a:buNone/>
                      </a:pPr>
                      <a:r>
                        <a:rPr lang="en-US" sz="1200" b="1">
                          <a:solidFill>
                            <a:srgbClr val="000000"/>
                          </a:solidFill>
                        </a:rPr>
                        <a:t>SM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C5EEFF">
                        <a:alpha val="60000"/>
                      </a:srgbClr>
                    </a:solidFill>
                  </a:tcPr>
                </a:tc>
                <a:tc>
                  <a:txBody>
                    <a:bodyPr/>
                    <a:lstStyle/>
                    <a:p>
                      <a:pPr marL="0" indent="0" algn="ctr">
                        <a:spcBef>
                          <a:spcPts val="0"/>
                        </a:spcBef>
                        <a:buNone/>
                      </a:pPr>
                      <a:r>
                        <a:rPr lang="en-US" sz="1200" b="1">
                          <a:solidFill>
                            <a:srgbClr val="000000"/>
                          </a:solidFill>
                        </a:rPr>
                        <a:t>Conventional geothermal</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34A398">
                        <a:alpha val="50196"/>
                      </a:srgbClr>
                    </a:solidFill>
                  </a:tcPr>
                </a:tc>
                <a:tc>
                  <a:txBody>
                    <a:bodyPr/>
                    <a:lstStyle/>
                    <a:p>
                      <a:pPr marL="0" indent="0" algn="ctr">
                        <a:spcBef>
                          <a:spcPts val="0"/>
                        </a:spcBef>
                        <a:buNone/>
                      </a:pPr>
                      <a:r>
                        <a:rPr lang="en-US" sz="1200" b="1">
                          <a:solidFill>
                            <a:srgbClr val="000000"/>
                          </a:solidFill>
                        </a:rPr>
                        <a:t>   Enhanced geothermal systems (EG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6">
                        <a:lumMod val="60000"/>
                        <a:lumOff val="40000"/>
                        <a:alpha val="40000"/>
                      </a:schemeClr>
                    </a:solidFill>
                  </a:tcPr>
                </a:tc>
                <a:extLst>
                  <a:ext uri="{0D108BD9-81ED-4DB2-BD59-A6C34878D82A}">
                    <a16:rowId xmlns:a16="http://schemas.microsoft.com/office/drawing/2014/main" val="1093161297"/>
                  </a:ext>
                </a:extLst>
              </a:tr>
              <a:tr h="428516">
                <a:tc>
                  <a:txBody>
                    <a:bodyPr/>
                    <a:lstStyle/>
                    <a:p>
                      <a:pPr marL="0" indent="0">
                        <a:buNone/>
                      </a:pPr>
                      <a:r>
                        <a:rPr lang="en-US" sz="1000" b="1"/>
                        <a:t>Capacity factor (CF)</a:t>
                      </a:r>
                    </a:p>
                  </a:txBody>
                  <a:tcPr anchor="ctr">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92.3%</a:t>
                      </a: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rgbClr val="009BDB">
                        <a:alpha val="50196"/>
                      </a:srgbClr>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Potential to stagger SMRs for greater CF but not yet prove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rgbClr val="C5EEFF">
                        <a:alpha val="60000"/>
                      </a:srgbClr>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r>
                        <a:rPr lang="en-US" sz="1000" b="0"/>
                        <a:t>70-9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rgbClr val="34A398">
                        <a:alpha val="50196"/>
                      </a:srgbClr>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lang="en-US" sz="1000" b="0"/>
                    </a:p>
                    <a:p>
                      <a:pPr marL="0" marR="0" lvl="0" indent="0" algn="l" defTabSz="711200" rtl="0" eaLnBrk="1" fontAlgn="auto" latinLnBrk="0" hangingPunct="1">
                        <a:lnSpc>
                          <a:spcPct val="100000"/>
                        </a:lnSpc>
                        <a:spcBef>
                          <a:spcPts val="600"/>
                        </a:spcBef>
                        <a:spcAft>
                          <a:spcPts val="0"/>
                        </a:spcAft>
                        <a:buClrTx/>
                        <a:buSzTx/>
                        <a:buFontTx/>
                        <a:buNone/>
                        <a:tabLst/>
                        <a:defRPr/>
                      </a:pPr>
                      <a:r>
                        <a:rPr lang="en-US" sz="1000" b="0"/>
                        <a:t>Geothermal energy potential increases with depth (higher temp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60000"/>
                        <a:lumOff val="40000"/>
                        <a:alpha val="40000"/>
                      </a:schemeClr>
                    </a:solidFill>
                  </a:tcPr>
                </a:tc>
                <a:extLst>
                  <a:ext uri="{0D108BD9-81ED-4DB2-BD59-A6C34878D82A}">
                    <a16:rowId xmlns:a16="http://schemas.microsoft.com/office/drawing/2014/main" val="3166140834"/>
                  </a:ext>
                </a:extLst>
              </a:tr>
              <a:tr h="593330">
                <a:tc>
                  <a:txBody>
                    <a:bodyPr/>
                    <a:lstStyle/>
                    <a:p>
                      <a:pPr marL="0" indent="0">
                        <a:buNone/>
                      </a:pPr>
                      <a:r>
                        <a:rPr lang="en-US" sz="1000" b="1"/>
                        <a:t>Siting flexibility</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Specific siting requirements according to safety, environment, seismicity, etc.</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9BDB">
                        <a:alpha val="50196"/>
                      </a:srgbClr>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Possible to site in remote areas or smaller grid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5EEFF">
                        <a:alpha val="60000"/>
                      </a:srgbClr>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r>
                        <a:rPr lang="en-US" sz="1000" b="0"/>
                        <a:t>Limited to naturally occurring reservoi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34A398">
                        <a:alpha val="50196"/>
                      </a:srgbClr>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r>
                        <a:rPr lang="en-US" sz="1000" b="0"/>
                        <a:t>More flexible than conventional geothermal</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60000"/>
                        <a:lumOff val="40000"/>
                        <a:alpha val="40000"/>
                      </a:schemeClr>
                    </a:solidFill>
                  </a:tcPr>
                </a:tc>
                <a:extLst>
                  <a:ext uri="{0D108BD9-81ED-4DB2-BD59-A6C34878D82A}">
                    <a16:rowId xmlns:a16="http://schemas.microsoft.com/office/drawing/2014/main" val="1498815543"/>
                  </a:ext>
                </a:extLst>
              </a:tr>
              <a:tr h="428516">
                <a:tc>
                  <a:txBody>
                    <a:bodyPr/>
                    <a:lstStyle/>
                    <a:p>
                      <a:pPr marL="0" indent="0">
                        <a:buNone/>
                      </a:pPr>
                      <a:r>
                        <a:rPr lang="en-US" sz="1000" b="1"/>
                        <a:t>Cost (LCOE)</a:t>
                      </a:r>
                      <a:r>
                        <a:rPr lang="en-US" sz="1000" b="1" baseline="30000"/>
                        <a:t>1</a:t>
                      </a:r>
                      <a:endParaRPr lang="en-US" sz="1000" b="1"/>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600"/>
                        </a:spcBef>
                        <a:spcAft>
                          <a:spcPts val="0"/>
                        </a:spcAft>
                        <a:buClrTx/>
                        <a:buSz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p>
                      <a:pPr marL="0" marR="0" lvl="0" indent="0" algn="l" defTabSz="711200" rtl="0" eaLnBrk="1" fontAlgn="auto" latinLnBrk="0" hangingPunct="1">
                        <a:lnSpc>
                          <a:spcPct val="100000"/>
                        </a:lnSpc>
                        <a:spcBef>
                          <a:spcPts val="600"/>
                        </a:spcBef>
                        <a:spcAft>
                          <a:spcPts val="0"/>
                        </a:spcAft>
                        <a:buClrTx/>
                        <a:buSz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141-$228/MWh, high </a:t>
                      </a:r>
                      <a:r>
                        <a:rPr kumimoji="0" lang="en-US" sz="1000" b="0" i="0" u="none" strike="noStrike" kern="1200" cap="none" spc="0" normalizeH="0" baseline="0" noProof="0" err="1">
                          <a:ln>
                            <a:noFill/>
                          </a:ln>
                          <a:solidFill>
                            <a:schemeClr val="tx1"/>
                          </a:solidFill>
                          <a:effectLst/>
                          <a:uLnTx/>
                          <a:uFillTx/>
                          <a:latin typeface="+mn-lt"/>
                          <a:ea typeface="+mn-ea"/>
                          <a:cs typeface="+mn-cs"/>
                        </a:rPr>
                        <a:t>CapEx</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9BDB">
                        <a:alpha val="50196"/>
                      </a:srgbClr>
                    </a:solidFill>
                  </a:tcPr>
                </a:tc>
                <a:tc>
                  <a:txBody>
                    <a:bodyPr/>
                    <a:lstStyle/>
                    <a:p>
                      <a:pPr marL="0" marR="0" lvl="0" indent="0" algn="l" defTabSz="711200" rtl="0" eaLnBrk="1" fontAlgn="auto" latinLnBrk="0" hangingPunct="1">
                        <a:lnSpc>
                          <a:spcPct val="100000"/>
                        </a:lnSpc>
                        <a:spcBef>
                          <a:spcPts val="600"/>
                        </a:spcBef>
                        <a:spcAft>
                          <a:spcPts val="0"/>
                        </a:spcAft>
                        <a:buClrTx/>
                        <a:buSz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p>
                      <a:pPr marL="0" marR="0" lvl="0" indent="0" algn="l" defTabSz="711200" rtl="0" eaLnBrk="1" fontAlgn="auto" latinLnBrk="0" hangingPunct="1">
                        <a:lnSpc>
                          <a:spcPct val="100000"/>
                        </a:lnSpc>
                        <a:spcBef>
                          <a:spcPts val="600"/>
                        </a:spcBef>
                        <a:spcAft>
                          <a:spcPts val="0"/>
                        </a:spcAft>
                        <a:buClrTx/>
                        <a:buSz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50-120/MWh (lower though uncertai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5EEFF">
                        <a:alpha val="60000"/>
                      </a:srgbClr>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p>
                      <a:pPr marL="0" marR="0" lvl="0" indent="0" algn="l" defTabSz="711200" rtl="0" eaLnBrk="1" fontAlgn="auto" latinLnBrk="0" hangingPunct="1">
                        <a:lnSpc>
                          <a:spcPct val="100000"/>
                        </a:lnSpc>
                        <a:spcBef>
                          <a:spcPts val="600"/>
                        </a:spcBef>
                        <a:spcAft>
                          <a:spcPts val="0"/>
                        </a:spcAft>
                        <a:buClrTx/>
                        <a:buSzTx/>
                        <a:buNone/>
                        <a:tabLst/>
                        <a:defRPr/>
                      </a:pPr>
                      <a:r>
                        <a:rPr lang="en-US" sz="1000" b="0"/>
                        <a:t>$66-$109/MWh</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34A398">
                        <a:alpha val="50196"/>
                      </a:srgbClr>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p>
                      <a:pPr marL="0" marR="0" lvl="0" indent="0" algn="l" defTabSz="711200" rtl="0" eaLnBrk="1" fontAlgn="auto" latinLnBrk="0" hangingPunct="1">
                        <a:lnSpc>
                          <a:spcPct val="100000"/>
                        </a:lnSpc>
                        <a:spcBef>
                          <a:spcPts val="600"/>
                        </a:spcBef>
                        <a:spcAft>
                          <a:spcPts val="0"/>
                        </a:spcAft>
                        <a:buClrTx/>
                        <a:buSzTx/>
                        <a:buNone/>
                        <a:tabLst/>
                        <a:defRPr/>
                      </a:pPr>
                      <a:r>
                        <a:rPr lang="en-US" sz="1000" b="0"/>
                        <a:t>$200/MWh; costs based on initial demonstratio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60000"/>
                        <a:lumOff val="40000"/>
                        <a:alpha val="40000"/>
                      </a:schemeClr>
                    </a:solidFill>
                  </a:tcPr>
                </a:tc>
                <a:extLst>
                  <a:ext uri="{0D108BD9-81ED-4DB2-BD59-A6C34878D82A}">
                    <a16:rowId xmlns:a16="http://schemas.microsoft.com/office/drawing/2014/main" val="2071146904"/>
                  </a:ext>
                </a:extLst>
              </a:tr>
              <a:tr h="585946">
                <a:tc>
                  <a:txBody>
                    <a:bodyPr/>
                    <a:lstStyle/>
                    <a:p>
                      <a:pPr marL="0" indent="0">
                        <a:buNone/>
                      </a:pPr>
                      <a:r>
                        <a:rPr lang="en-US" sz="1000" b="1"/>
                        <a:t>Lifespan</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600"/>
                        </a:spcBef>
                        <a:spcAft>
                          <a:spcPts val="0"/>
                        </a:spcAft>
                        <a:buClrTx/>
                        <a:buSz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p>
                      <a:pPr marL="0" marR="0" lvl="0" indent="0" algn="l" defTabSz="711200" rtl="0" eaLnBrk="1" fontAlgn="auto" latinLnBrk="0" hangingPunct="1">
                        <a:lnSpc>
                          <a:spcPct val="100000"/>
                        </a:lnSpc>
                        <a:spcBef>
                          <a:spcPts val="600"/>
                        </a:spcBef>
                        <a:spcAft>
                          <a:spcPts val="0"/>
                        </a:spcAft>
                        <a:buClrTx/>
                        <a:buSz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32 years on average, possible to extend up to 80 years</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9BDB">
                        <a:alpha val="50196"/>
                      </a:srgbClr>
                    </a:solidFill>
                  </a:tcPr>
                </a:tc>
                <a:tc>
                  <a:txBody>
                    <a:bodyPr/>
                    <a:lstStyle/>
                    <a:p>
                      <a:pPr marL="0" marR="0" lvl="0" indent="0" algn="l" defTabSz="711200" rtl="0" eaLnBrk="1" fontAlgn="auto" latinLnBrk="0" hangingPunct="1">
                        <a:lnSpc>
                          <a:spcPct val="100000"/>
                        </a:lnSpc>
                        <a:spcBef>
                          <a:spcPts val="600"/>
                        </a:spcBef>
                        <a:spcAft>
                          <a:spcPts val="0"/>
                        </a:spcAft>
                        <a:buClrTx/>
                        <a:buSzTx/>
                        <a:buNone/>
                        <a:tabLst/>
                        <a:defRPr/>
                      </a:pPr>
                      <a:r>
                        <a:rPr lang="en-US" sz="1000" b="0">
                          <a:solidFill>
                            <a:schemeClr val="tx1"/>
                          </a:solidFill>
                        </a:rPr>
                        <a:t>6 to 80 years expected (yet unprove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5EEFF">
                        <a:alpha val="60000"/>
                      </a:srgbClr>
                    </a:solidFill>
                  </a:tcPr>
                </a:tc>
                <a:tc>
                  <a:txBody>
                    <a:bodyPr/>
                    <a:lstStyle/>
                    <a:p>
                      <a:pPr marL="0" marR="0" lvl="0" indent="0" algn="l" defTabSz="711200" rtl="0" eaLnBrk="1" fontAlgn="auto" latinLnBrk="0" hangingPunct="1">
                        <a:lnSpc>
                          <a:spcPct val="100000"/>
                        </a:lnSpc>
                        <a:spcBef>
                          <a:spcPts val="600"/>
                        </a:spcBef>
                        <a:spcAft>
                          <a:spcPts val="0"/>
                        </a:spcAft>
                        <a:buClrTx/>
                        <a:buSzTx/>
                        <a:buNone/>
                        <a:tabLst/>
                        <a:defRPr/>
                      </a:pPr>
                      <a:r>
                        <a:rPr lang="en-US" sz="1000" b="0">
                          <a:solidFill>
                            <a:schemeClr val="tx1"/>
                          </a:solidFill>
                        </a:rPr>
                        <a:t>25 years, extendabl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34A398">
                        <a:alpha val="50196"/>
                      </a:srgbClr>
                    </a:solidFill>
                  </a:tcPr>
                </a:tc>
                <a:tc>
                  <a:txBody>
                    <a:bodyPr/>
                    <a:lstStyle/>
                    <a:p>
                      <a:pPr marL="0" marR="0" lvl="0" indent="0" algn="l" defTabSz="711200" rtl="0" eaLnBrk="1" fontAlgn="auto" latinLnBrk="0" hangingPunct="1">
                        <a:lnSpc>
                          <a:spcPct val="100000"/>
                        </a:lnSpc>
                        <a:spcBef>
                          <a:spcPts val="600"/>
                        </a:spcBef>
                        <a:spcAft>
                          <a:spcPts val="0"/>
                        </a:spcAft>
                        <a:buClrTx/>
                        <a:buSzTx/>
                        <a:buNone/>
                        <a:tabLst/>
                        <a:defRPr/>
                      </a:pPr>
                      <a:r>
                        <a:rPr lang="en-US" sz="1000" b="0">
                          <a:solidFill>
                            <a:schemeClr val="tx1"/>
                          </a:solidFill>
                        </a:rPr>
                        <a:t>Uncertai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60000"/>
                        <a:lumOff val="40000"/>
                        <a:alpha val="40000"/>
                      </a:schemeClr>
                    </a:solidFill>
                  </a:tcPr>
                </a:tc>
                <a:extLst>
                  <a:ext uri="{0D108BD9-81ED-4DB2-BD59-A6C34878D82A}">
                    <a16:rowId xmlns:a16="http://schemas.microsoft.com/office/drawing/2014/main" val="3964313410"/>
                  </a:ext>
                </a:extLst>
              </a:tr>
              <a:tr h="590888">
                <a:tc>
                  <a:txBody>
                    <a:bodyPr/>
                    <a:lstStyle/>
                    <a:p>
                      <a:pPr marL="0" indent="0">
                        <a:buNone/>
                      </a:pPr>
                      <a:r>
                        <a:rPr lang="en-US" sz="1000" b="1"/>
                        <a:t>Ramp rate</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600"/>
                        </a:spcBef>
                        <a:buNone/>
                      </a:pPr>
                      <a:endParaRPr lang="en-US" sz="1000" b="0"/>
                    </a:p>
                    <a:p>
                      <a:pPr marL="0" indent="0" algn="l">
                        <a:spcBef>
                          <a:spcPts val="600"/>
                        </a:spcBef>
                        <a:buNone/>
                      </a:pPr>
                      <a:r>
                        <a:rPr lang="en-US" sz="1000" b="0"/>
                        <a:t>5-10% per minute depending on reactor design</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9BDB">
                        <a:alpha val="50196"/>
                      </a:srgbClr>
                    </a:solidFill>
                  </a:tcPr>
                </a:tc>
                <a:tc>
                  <a:txBody>
                    <a:bodyPr/>
                    <a:lstStyle/>
                    <a:p>
                      <a:pPr marL="0" indent="0" algn="l">
                        <a:spcBef>
                          <a:spcPts val="600"/>
                        </a:spcBef>
                        <a:buNone/>
                      </a:pPr>
                      <a:r>
                        <a:rPr lang="en-US" sz="1000" b="0" i="0"/>
                        <a:t>5% per minute (expec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5EEFF">
                        <a:alpha val="60000"/>
                      </a:srgbClr>
                    </a:solidFill>
                  </a:tcPr>
                </a:tc>
                <a:tc>
                  <a:txBody>
                    <a:bodyPr/>
                    <a:lstStyle/>
                    <a:p>
                      <a:pPr marL="0" indent="0" algn="l">
                        <a:spcBef>
                          <a:spcPts val="600"/>
                        </a:spcBef>
                        <a:buNone/>
                      </a:pPr>
                      <a:r>
                        <a:rPr lang="en-US" sz="1000" b="0"/>
                        <a:t>15% per minute, full range 0-10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34A398">
                        <a:alpha val="50196"/>
                      </a:srgbClr>
                    </a:solidFill>
                  </a:tcPr>
                </a:tc>
                <a:tc>
                  <a:txBody>
                    <a:bodyPr/>
                    <a:lstStyle/>
                    <a:p>
                      <a:pPr marL="0" indent="0" algn="l">
                        <a:spcBef>
                          <a:spcPts val="600"/>
                        </a:spcBef>
                        <a:buNone/>
                      </a:pPr>
                      <a:r>
                        <a:rPr lang="en-US" sz="1000" b="0">
                          <a:solidFill>
                            <a:schemeClr val="tx1"/>
                          </a:solidFill>
                        </a:rPr>
                        <a:t>Uncertain</a:t>
                      </a:r>
                      <a:endParaRPr lang="en-US" sz="1000" b="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60000"/>
                        <a:lumOff val="40000"/>
                        <a:alpha val="40000"/>
                      </a:schemeClr>
                    </a:solidFill>
                  </a:tcPr>
                </a:tc>
                <a:extLst>
                  <a:ext uri="{0D108BD9-81ED-4DB2-BD59-A6C34878D82A}">
                    <a16:rowId xmlns:a16="http://schemas.microsoft.com/office/drawing/2014/main" val="2282328026"/>
                  </a:ext>
                </a:extLst>
              </a:tr>
              <a:tr h="428516">
                <a:tc>
                  <a:txBody>
                    <a:bodyPr/>
                    <a:lstStyle/>
                    <a:p>
                      <a:pPr marL="0" indent="0" algn="l">
                        <a:buNone/>
                      </a:pPr>
                      <a:r>
                        <a:rPr lang="en-US" sz="1000" b="1"/>
                        <a:t>Land use</a:t>
                      </a:r>
                      <a:r>
                        <a:rPr lang="en-US" sz="1000" b="1" baseline="30000"/>
                        <a:t>1</a:t>
                      </a:r>
                      <a:endParaRPr lang="en-US" sz="1000" b="1"/>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lang="en-US" sz="1000" b="0"/>
                    </a:p>
                    <a:p>
                      <a:pPr marL="0" marR="0" lvl="0" indent="0" algn="l" defTabSz="711200" rtl="0" eaLnBrk="1" fontAlgn="auto" latinLnBrk="0" hangingPunct="1">
                        <a:lnSpc>
                          <a:spcPct val="100000"/>
                        </a:lnSpc>
                        <a:spcBef>
                          <a:spcPts val="1200"/>
                        </a:spcBef>
                        <a:spcAft>
                          <a:spcPts val="0"/>
                        </a:spcAft>
                        <a:buClrTx/>
                        <a:buSzTx/>
                        <a:buNone/>
                        <a:tabLst/>
                        <a:defRPr/>
                      </a:pPr>
                      <a:r>
                        <a:rPr lang="en-US" sz="1000" b="0">
                          <a:solidFill>
                            <a:schemeClr val="tx1"/>
                          </a:solidFill>
                        </a:rPr>
                        <a:t>2.4km</a:t>
                      </a:r>
                      <a:r>
                        <a:rPr lang="en-US" sz="1000" b="0" baseline="30000">
                          <a:solidFill>
                            <a:schemeClr val="tx1"/>
                          </a:solidFill>
                        </a:rPr>
                        <a:t>2</a:t>
                      </a:r>
                      <a:r>
                        <a:rPr lang="en-US" sz="1000" b="0" baseline="0">
                          <a:solidFill>
                            <a:schemeClr val="tx1"/>
                          </a:solidFill>
                        </a:rPr>
                        <a:t>/TWh per year, 500 acres</a:t>
                      </a:r>
                      <a:endParaRPr lang="en-US" sz="1000" b="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9BDB">
                        <a:alpha val="50196"/>
                      </a:srgb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lang="en-US" sz="1000" b="0"/>
                    </a:p>
                    <a:p>
                      <a:pPr marL="0" indent="0" algn="l">
                        <a:buNone/>
                      </a:pPr>
                      <a:r>
                        <a:rPr lang="en-US" sz="1000" b="0"/>
                        <a:t>Modular, 35 acres per sit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5EEFF">
                        <a:alpha val="60000"/>
                      </a:srgb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lang="en-US" sz="1000" b="0"/>
                    </a:p>
                    <a:p>
                      <a:pPr marL="0" indent="0" algn="l">
                        <a:buNone/>
                      </a:pPr>
                      <a:r>
                        <a:rPr lang="en-US" sz="1000" b="0">
                          <a:solidFill>
                            <a:schemeClr val="tx1"/>
                          </a:solidFill>
                        </a:rPr>
                        <a:t>7.5km</a:t>
                      </a:r>
                      <a:r>
                        <a:rPr lang="en-US" sz="1000" b="0" baseline="30000">
                          <a:solidFill>
                            <a:schemeClr val="tx1"/>
                          </a:solidFill>
                        </a:rPr>
                        <a:t>2</a:t>
                      </a:r>
                      <a:r>
                        <a:rPr lang="en-US" sz="1000" b="0" baseline="0">
                          <a:solidFill>
                            <a:schemeClr val="tx1"/>
                          </a:solidFill>
                        </a:rPr>
                        <a:t>/TWh per year</a:t>
                      </a:r>
                      <a:r>
                        <a:rPr lang="en-US" sz="1000" b="0"/>
                        <a:t>, larger surface infrastructur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34A398">
                        <a:alpha val="50196"/>
                      </a:srgb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lang="en-US" sz="1000" b="0" dirty="0"/>
                    </a:p>
                    <a:p>
                      <a:pPr marL="0" indent="0" algn="l">
                        <a:buNone/>
                      </a:pPr>
                      <a:r>
                        <a:rPr lang="en-US" sz="1000" b="0" dirty="0"/>
                        <a:t>Like conventional but more complex engineering</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60000"/>
                        <a:lumOff val="40000"/>
                        <a:alpha val="40000"/>
                      </a:schemeClr>
                    </a:solidFill>
                  </a:tcPr>
                </a:tc>
                <a:extLst>
                  <a:ext uri="{0D108BD9-81ED-4DB2-BD59-A6C34878D82A}">
                    <a16:rowId xmlns:a16="http://schemas.microsoft.com/office/drawing/2014/main" val="488863966"/>
                  </a:ext>
                </a:extLst>
              </a:tr>
            </a:tbl>
          </a:graphicData>
        </a:graphic>
      </p:graphicFrame>
      <p:sp>
        <p:nvSpPr>
          <p:cNvPr id="12" name="btfpNotesBox111697">
            <a:extLst>
              <a:ext uri="{FF2B5EF4-FFF2-40B4-BE49-F238E27FC236}">
                <a16:creationId xmlns:a16="http://schemas.microsoft.com/office/drawing/2014/main" id="{196962A3-3DE0-130A-F2D0-4AA88E544D31}"/>
              </a:ext>
            </a:extLst>
          </p:cNvPr>
          <p:cNvSpPr txBox="1"/>
          <p:nvPr/>
        </p:nvSpPr>
        <p:spPr bwMode="gray">
          <a:xfrm>
            <a:off x="330200" y="6186251"/>
            <a:ext cx="9227751" cy="615553"/>
          </a:xfrm>
          <a:prstGeom prst="rect">
            <a:avLst/>
          </a:prstGeom>
          <a:noFill/>
        </p:spPr>
        <p:txBody>
          <a:bodyPr vert="horz" wrap="square" lIns="0" tIns="0" rIns="0" bIns="0"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l" defTabSz="711200" rtl="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lang="en-US" sz="800" baseline="30000" dirty="0">
                <a:solidFill>
                  <a:srgbClr val="000000"/>
                </a:solidFill>
                <a:latin typeface="Arial" panose="020B0604020202020204" pitchFamily="34" charset="0"/>
                <a:cs typeface="Arial" panose="020B0604020202020204" pitchFamily="34" charset="0"/>
              </a:rPr>
              <a:t> </a:t>
            </a:r>
            <a:r>
              <a:rPr lang="en-US" sz="800" dirty="0">
                <a:solidFill>
                  <a:srgbClr val="000000"/>
                </a:solidFill>
                <a:latin typeface="Arial" panose="020B0604020202020204" pitchFamily="34" charset="0"/>
                <a:cs typeface="Arial" panose="020B0604020202020204" pitchFamily="34" charset="0"/>
              </a:rPr>
              <a:t>Note that axes are inverted so that lowest values reflect desirability (i.e., lower price = more desirable </a:t>
            </a:r>
            <a:r>
              <a:rPr lang="en-US" sz="800" dirty="0">
                <a:solidFill>
                  <a:srgbClr val="000000"/>
                </a:solidFill>
                <a:latin typeface="Arial" panose="020B0604020202020204" pitchFamily="34" charset="0"/>
                <a:cs typeface="Arial" panose="020B0604020202020204" pitchFamily="34" charset="0"/>
                <a:sym typeface="Wingdings" pitchFamily="2" charset="2"/>
              </a:rPr>
              <a:t> score = 5)</a:t>
            </a:r>
            <a:endParaRPr kumimoji="0" lang="en-US" sz="8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711200" rtl="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s</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a:t>
            </a:r>
            <a:r>
              <a:rPr lang="en-US" sz="800" dirty="0">
                <a:solidFill>
                  <a:srgbClr val="000000"/>
                </a:solidFill>
                <a:latin typeface="Arial" panose="020B0604020202020204" pitchFamily="34" charset="0"/>
                <a:ea typeface="+mn-lt"/>
                <a:cs typeface="Arial" panose="020B0604020202020204" pitchFamily="34" charset="0"/>
              </a:rPr>
              <a:t>IAEA, </a:t>
            </a:r>
            <a:r>
              <a:rPr lang="en-US" sz="800" dirty="0">
                <a:solidFill>
                  <a:srgbClr val="000000"/>
                </a:solidFill>
                <a:latin typeface="Arial" panose="020B0604020202020204" pitchFamily="34" charset="0"/>
                <a:ea typeface="+mn-lt"/>
                <a:cs typeface="Arial" panose="020B0604020202020204" pitchFamily="34" charset="0"/>
                <a:hlinkClick r:id="rId8"/>
              </a:rPr>
              <a:t>Non-Baseload Operation in Nuclear Power Plants </a:t>
            </a:r>
            <a:r>
              <a:rPr lang="en-US" sz="800" dirty="0">
                <a:solidFill>
                  <a:srgbClr val="000000"/>
                </a:solidFill>
                <a:latin typeface="Arial" panose="020B0604020202020204" pitchFamily="34" charset="0"/>
                <a:ea typeface="+mn-lt"/>
                <a:cs typeface="Arial" panose="020B0604020202020204" pitchFamily="34" charset="0"/>
              </a:rPr>
              <a:t>(2023);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IAEA,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hlinkClick r:id="rId9"/>
              </a:rPr>
              <a:t>What are SMRs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2023); DOE,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hlinkClick r:id="rId10"/>
              </a:rPr>
              <a:t>Benefits of SMRs</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2025); EIA,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hlinkClick r:id="rId11"/>
              </a:rPr>
              <a:t>Nuclear FAQ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2025);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lt"/>
                <a:cs typeface="Arial" panose="020B0604020202020204" pitchFamily="34" charset="0"/>
              </a:rPr>
              <a:t>Feutry</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et al</a:t>
            </a:r>
            <a:r>
              <a:rPr lang="en-US" sz="800" dirty="0">
                <a:solidFill>
                  <a:srgbClr val="000000"/>
                </a:solidFill>
                <a:latin typeface="Arial" panose="020B0604020202020204" pitchFamily="34" charset="0"/>
                <a:ea typeface="+mn-lt"/>
                <a:cs typeface="Arial" panose="020B0604020202020204" pitchFamily="34" charset="0"/>
              </a:rPr>
              <a:t>.,</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hlinkClick r:id="rId12"/>
              </a:rPr>
              <a:t>Nuclear Power Plant Flexibility at EDF</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2019); NREL,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hlinkClick r:id="rId13"/>
              </a:rPr>
              <a:t>Annual Technology Baseline: Nuclear</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2024);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lt"/>
                <a:cs typeface="Arial" panose="020B0604020202020204" pitchFamily="34" charset="0"/>
              </a:rPr>
              <a:t>Detering</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hlinkClick r:id="rId14"/>
              </a:rPr>
              <a:t>Nuclear Is a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lt"/>
                <a:cs typeface="Arial" panose="020B0604020202020204" pitchFamily="34" charset="0"/>
                <a:hlinkClick r:id="rId14"/>
              </a:rPr>
              <a:t>Dispatchable</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hlinkClick r:id="rId14"/>
              </a:rPr>
              <a:t> Energy Source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2023);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lt"/>
                <a:cs typeface="Arial" panose="020B0604020202020204" pitchFamily="34" charset="0"/>
              </a:rPr>
              <a:t>Lovering</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et al.,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hlinkClick r:id="rId15"/>
              </a:rPr>
              <a:t>Land Use Intensity of Electricity Production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a:t>
            </a:r>
            <a:r>
              <a:rPr lang="en-US" sz="800" dirty="0">
                <a:solidFill>
                  <a:srgbClr val="000000"/>
                </a:solidFill>
                <a:latin typeface="Arial" panose="020B0604020202020204" pitchFamily="34" charset="0"/>
                <a:ea typeface="+mn-lt"/>
                <a:cs typeface="Arial" panose="020B0604020202020204" pitchFamily="34" charset="0"/>
              </a:rPr>
              <a:t>2022); IEA, </a:t>
            </a:r>
            <a:r>
              <a:rPr lang="en-US" sz="800" dirty="0">
                <a:solidFill>
                  <a:srgbClr val="000000"/>
                </a:solidFill>
                <a:latin typeface="Arial" panose="020B0604020202020204" pitchFamily="34" charset="0"/>
                <a:ea typeface="+mn-lt"/>
                <a:cs typeface="Arial" panose="020B0604020202020204" pitchFamily="34" charset="0"/>
                <a:hlinkClick r:id="rId16"/>
              </a:rPr>
              <a:t>The Future of Geothermal Energy </a:t>
            </a:r>
            <a:r>
              <a:rPr lang="en-US" sz="800" dirty="0">
                <a:solidFill>
                  <a:srgbClr val="000000"/>
                </a:solidFill>
                <a:latin typeface="Arial" panose="020B0604020202020204" pitchFamily="34" charset="0"/>
                <a:ea typeface="+mn-lt"/>
                <a:cs typeface="Arial" panose="020B0604020202020204" pitchFamily="34" charset="0"/>
              </a:rPr>
              <a:t>(2024); , </a:t>
            </a:r>
            <a:r>
              <a:rPr lang="en-US" sz="800" dirty="0">
                <a:solidFill>
                  <a:srgbClr val="000000"/>
                </a:solidFill>
                <a:latin typeface="Arial" panose="020B0604020202020204" pitchFamily="34" charset="0"/>
                <a:ea typeface="+mn-lt"/>
                <a:cs typeface="Arial" panose="020B0604020202020204" pitchFamily="34" charset="0"/>
                <a:hlinkClick r:id="rId17"/>
              </a:rPr>
              <a:t>What is generation capacity </a:t>
            </a:r>
            <a:r>
              <a:rPr lang="en-US" sz="800" dirty="0">
                <a:solidFill>
                  <a:srgbClr val="000000"/>
                </a:solidFill>
                <a:latin typeface="Arial" panose="020B0604020202020204" pitchFamily="34" charset="0"/>
                <a:ea typeface="+mn-lt"/>
                <a:cs typeface="Arial" panose="020B0604020202020204" pitchFamily="34" charset="0"/>
              </a:rPr>
              <a:t>(2025). </a:t>
            </a:r>
            <a:b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redit: </a:t>
            </a:r>
            <a:r>
              <a:rPr lang="en-US" sz="800" dirty="0">
                <a:solidFill>
                  <a:srgbClr val="000000"/>
                </a:solidFill>
              </a:rPr>
              <a:t>Clara </a:t>
            </a:r>
            <a:r>
              <a:rPr lang="en-US" sz="800" dirty="0" err="1">
                <a:solidFill>
                  <a:srgbClr val="000000"/>
                </a:solidFill>
              </a:rPr>
              <a:t>Zibell</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sabel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oyos</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a:t>
            </a:r>
            <a:r>
              <a:rPr kumimoji="0" lang="en-US" sz="800" b="0" i="0" u="sng" strike="noStrike" kern="1200" cap="none" spc="0" normalizeH="0" baseline="0" noProof="0" dirty="0">
                <a:ln>
                  <a:noFill/>
                </a:ln>
                <a:solidFill>
                  <a:srgbClr val="46647B"/>
                </a:solidFill>
                <a:effectLst/>
                <a:uLnTx/>
                <a:uFillTx/>
                <a:latin typeface="Arial" panose="020B0604020202020204" pitchFamily="34" charset="0"/>
                <a:ea typeface="+mn-ea"/>
                <a:cs typeface="Arial" panose="020B0604020202020204" pitchFamily="34" charset="0"/>
                <a:hlinkClick r:id="rId18"/>
              </a:rPr>
              <a:t>Gernot Wagner</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hare with </a:t>
            </a:r>
            <a:r>
              <a:rPr kumimoji="0" lang="en-US" sz="800" b="0" i="0" u="sng" strike="noStrike" kern="1200" cap="none" spc="0" normalizeH="0" baseline="0" noProof="0" dirty="0">
                <a:ln>
                  <a:noFill/>
                </a:ln>
                <a:solidFill>
                  <a:srgbClr val="46647B"/>
                </a:solidFill>
                <a:effectLst/>
                <a:uLnTx/>
                <a:uFillTx/>
                <a:latin typeface="Arial" panose="020B0604020202020204" pitchFamily="34" charset="0"/>
                <a:ea typeface="+mn-ea"/>
                <a:cs typeface="Arial" panose="020B0604020202020204" pitchFamily="34" charset="0"/>
                <a:hlinkClick r:id="rId19"/>
              </a:rPr>
              <a:t>attribution</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ouwink</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800" b="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t al.,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energizing Nuclear" (23 September 2025).​</a:t>
            </a:r>
          </a:p>
        </p:txBody>
      </p:sp>
      <p:sp>
        <p:nvSpPr>
          <p:cNvPr id="13" name="TextBox 12">
            <a:extLst>
              <a:ext uri="{FF2B5EF4-FFF2-40B4-BE49-F238E27FC236}">
                <a16:creationId xmlns:a16="http://schemas.microsoft.com/office/drawing/2014/main" id="{26CA3004-BC98-244A-5562-489A6E87EA28}"/>
              </a:ext>
            </a:extLst>
          </p:cNvPr>
          <p:cNvSpPr txBox="1"/>
          <p:nvPr/>
        </p:nvSpPr>
        <p:spPr bwMode="gray">
          <a:xfrm>
            <a:off x="8764517" y="1178412"/>
            <a:ext cx="10180792" cy="257369"/>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Arial" panose="020B0604020202020204" pitchFamily="34" charset="0"/>
                <a:cs typeface="Arial" panose="020B0604020202020204" pitchFamily="34" charset="0"/>
              </a:rPr>
              <a:t>Scale of 1-5 (least to most desirable) </a:t>
            </a:r>
            <a:endParaRPr kumimoji="0" lang="en-US" sz="120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28" name="Group 27">
            <a:extLst>
              <a:ext uri="{FF2B5EF4-FFF2-40B4-BE49-F238E27FC236}">
                <a16:creationId xmlns:a16="http://schemas.microsoft.com/office/drawing/2014/main" id="{AB919B9D-7D6B-76CD-D57E-C05AC1C93C00}"/>
              </a:ext>
            </a:extLst>
          </p:cNvPr>
          <p:cNvGrpSpPr/>
          <p:nvPr/>
        </p:nvGrpSpPr>
        <p:grpSpPr>
          <a:xfrm>
            <a:off x="1861845" y="2316191"/>
            <a:ext cx="648219" cy="108321"/>
            <a:chOff x="989013" y="3011424"/>
            <a:chExt cx="997926" cy="166759"/>
          </a:xfrm>
          <a:solidFill>
            <a:schemeClr val="accent5"/>
          </a:solidFill>
        </p:grpSpPr>
        <p:sp>
          <p:nvSpPr>
            <p:cNvPr id="23" name="Ellipse 13">
              <a:extLst>
                <a:ext uri="{FF2B5EF4-FFF2-40B4-BE49-F238E27FC236}">
                  <a16:creationId xmlns:a16="http://schemas.microsoft.com/office/drawing/2014/main" id="{77468129-C671-27E4-DAF5-40D352756570}"/>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24" name="Ellipse 23">
              <a:extLst>
                <a:ext uri="{FF2B5EF4-FFF2-40B4-BE49-F238E27FC236}">
                  <a16:creationId xmlns:a16="http://schemas.microsoft.com/office/drawing/2014/main" id="{86B2A9D6-58CE-ABA5-D0EC-122981302C0D}"/>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25" name="Ellipse 33">
              <a:extLst>
                <a:ext uri="{FF2B5EF4-FFF2-40B4-BE49-F238E27FC236}">
                  <a16:creationId xmlns:a16="http://schemas.microsoft.com/office/drawing/2014/main" id="{2945DD36-EF64-0172-B705-33E107492747}"/>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26" name="Ellipse 43">
              <a:extLst>
                <a:ext uri="{FF2B5EF4-FFF2-40B4-BE49-F238E27FC236}">
                  <a16:creationId xmlns:a16="http://schemas.microsoft.com/office/drawing/2014/main" id="{63CBA3CB-CC43-11B2-319C-A8092F953FBB}"/>
                </a:ext>
              </a:extLst>
            </p:cNvPr>
            <p:cNvSpPr>
              <a:spLocks/>
            </p:cNvSpPr>
            <p:nvPr/>
          </p:nvSpPr>
          <p:spPr bwMode="gray">
            <a:xfrm>
              <a:off x="1612388"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27" name="Ellipse 53">
              <a:extLst>
                <a:ext uri="{FF2B5EF4-FFF2-40B4-BE49-F238E27FC236}">
                  <a16:creationId xmlns:a16="http://schemas.microsoft.com/office/drawing/2014/main" id="{F2E11BA2-ECFD-5936-E9D8-5DEF2FC646B0}"/>
                </a:ext>
              </a:extLst>
            </p:cNvPr>
            <p:cNvSpPr>
              <a:spLocks/>
            </p:cNvSpPr>
            <p:nvPr/>
          </p:nvSpPr>
          <p:spPr bwMode="gray">
            <a:xfrm>
              <a:off x="1820180"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29" name="Group 28">
            <a:extLst>
              <a:ext uri="{FF2B5EF4-FFF2-40B4-BE49-F238E27FC236}">
                <a16:creationId xmlns:a16="http://schemas.microsoft.com/office/drawing/2014/main" id="{C59E337B-8555-5350-6EDA-96657FA865AE}"/>
              </a:ext>
            </a:extLst>
          </p:cNvPr>
          <p:cNvGrpSpPr/>
          <p:nvPr/>
        </p:nvGrpSpPr>
        <p:grpSpPr>
          <a:xfrm>
            <a:off x="1861845" y="2880261"/>
            <a:ext cx="648219" cy="108321"/>
            <a:chOff x="989013" y="3011424"/>
            <a:chExt cx="997926" cy="166759"/>
          </a:xfrm>
          <a:solidFill>
            <a:schemeClr val="accent5"/>
          </a:solidFill>
        </p:grpSpPr>
        <p:sp>
          <p:nvSpPr>
            <p:cNvPr id="30" name="Ellipse 13">
              <a:extLst>
                <a:ext uri="{FF2B5EF4-FFF2-40B4-BE49-F238E27FC236}">
                  <a16:creationId xmlns:a16="http://schemas.microsoft.com/office/drawing/2014/main" id="{CD4831AB-4BD8-9021-739B-D92A75AC14D5}"/>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31" name="Ellipse 23">
              <a:extLst>
                <a:ext uri="{FF2B5EF4-FFF2-40B4-BE49-F238E27FC236}">
                  <a16:creationId xmlns:a16="http://schemas.microsoft.com/office/drawing/2014/main" id="{1D3DA50E-DB32-CE3C-9C87-7B90C8B20568}"/>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32" name="Ellipse 33">
              <a:extLst>
                <a:ext uri="{FF2B5EF4-FFF2-40B4-BE49-F238E27FC236}">
                  <a16:creationId xmlns:a16="http://schemas.microsoft.com/office/drawing/2014/main" id="{13BAF5D9-D057-98D1-6C88-A94387EA3685}"/>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33" name="Ellipse 43">
              <a:extLst>
                <a:ext uri="{FF2B5EF4-FFF2-40B4-BE49-F238E27FC236}">
                  <a16:creationId xmlns:a16="http://schemas.microsoft.com/office/drawing/2014/main" id="{4C59588F-0B61-99D1-37B6-9B60534BE836}"/>
                </a:ext>
              </a:extLst>
            </p:cNvPr>
            <p:cNvSpPr>
              <a:spLocks/>
            </p:cNvSpPr>
            <p:nvPr/>
          </p:nvSpPr>
          <p:spPr bwMode="gray">
            <a:xfrm>
              <a:off x="1612388"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34" name="Ellipse 53">
              <a:extLst>
                <a:ext uri="{FF2B5EF4-FFF2-40B4-BE49-F238E27FC236}">
                  <a16:creationId xmlns:a16="http://schemas.microsoft.com/office/drawing/2014/main" id="{A37ABA16-1182-8B23-7B16-67D56D79609A}"/>
                </a:ext>
              </a:extLst>
            </p:cNvPr>
            <p:cNvSpPr>
              <a:spLocks/>
            </p:cNvSpPr>
            <p:nvPr/>
          </p:nvSpPr>
          <p:spPr bwMode="gray">
            <a:xfrm>
              <a:off x="1820180"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35" name="Group 34">
            <a:extLst>
              <a:ext uri="{FF2B5EF4-FFF2-40B4-BE49-F238E27FC236}">
                <a16:creationId xmlns:a16="http://schemas.microsoft.com/office/drawing/2014/main" id="{66303B90-B283-2206-96DE-E3EE85A8F1A7}"/>
              </a:ext>
            </a:extLst>
          </p:cNvPr>
          <p:cNvGrpSpPr/>
          <p:nvPr/>
        </p:nvGrpSpPr>
        <p:grpSpPr>
          <a:xfrm>
            <a:off x="1861845" y="3506312"/>
            <a:ext cx="648219" cy="108321"/>
            <a:chOff x="989013" y="3011424"/>
            <a:chExt cx="997926" cy="166759"/>
          </a:xfrm>
          <a:solidFill>
            <a:schemeClr val="accent5"/>
          </a:solidFill>
        </p:grpSpPr>
        <p:sp>
          <p:nvSpPr>
            <p:cNvPr id="36" name="Ellipse 13">
              <a:extLst>
                <a:ext uri="{FF2B5EF4-FFF2-40B4-BE49-F238E27FC236}">
                  <a16:creationId xmlns:a16="http://schemas.microsoft.com/office/drawing/2014/main" id="{03F32486-B104-2897-92F4-F6FD68673278}"/>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37" name="Ellipse 23">
              <a:extLst>
                <a:ext uri="{FF2B5EF4-FFF2-40B4-BE49-F238E27FC236}">
                  <a16:creationId xmlns:a16="http://schemas.microsoft.com/office/drawing/2014/main" id="{5F6132C1-173C-EBE2-B64B-9107FBFB13DB}"/>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38" name="Ellipse 33">
              <a:extLst>
                <a:ext uri="{FF2B5EF4-FFF2-40B4-BE49-F238E27FC236}">
                  <a16:creationId xmlns:a16="http://schemas.microsoft.com/office/drawing/2014/main" id="{7602BE88-ABD6-AFE1-D2F3-26EA150C6C6F}"/>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39" name="Ellipse 43">
              <a:extLst>
                <a:ext uri="{FF2B5EF4-FFF2-40B4-BE49-F238E27FC236}">
                  <a16:creationId xmlns:a16="http://schemas.microsoft.com/office/drawing/2014/main" id="{BB12CC48-259C-626F-0E58-164F6F3174D8}"/>
                </a:ext>
              </a:extLst>
            </p:cNvPr>
            <p:cNvSpPr>
              <a:spLocks/>
            </p:cNvSpPr>
            <p:nvPr/>
          </p:nvSpPr>
          <p:spPr bwMode="gray">
            <a:xfrm>
              <a:off x="1612388"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40" name="Ellipse 53">
              <a:extLst>
                <a:ext uri="{FF2B5EF4-FFF2-40B4-BE49-F238E27FC236}">
                  <a16:creationId xmlns:a16="http://schemas.microsoft.com/office/drawing/2014/main" id="{2209FC52-027B-10BB-36CE-67795E83D220}"/>
                </a:ext>
              </a:extLst>
            </p:cNvPr>
            <p:cNvSpPr>
              <a:spLocks/>
            </p:cNvSpPr>
            <p:nvPr/>
          </p:nvSpPr>
          <p:spPr bwMode="gray">
            <a:xfrm>
              <a:off x="1820180"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41" name="Group 40">
            <a:extLst>
              <a:ext uri="{FF2B5EF4-FFF2-40B4-BE49-F238E27FC236}">
                <a16:creationId xmlns:a16="http://schemas.microsoft.com/office/drawing/2014/main" id="{6510D1A5-0EA2-3E97-40C8-FD5BE857EEEB}"/>
              </a:ext>
            </a:extLst>
          </p:cNvPr>
          <p:cNvGrpSpPr/>
          <p:nvPr/>
        </p:nvGrpSpPr>
        <p:grpSpPr>
          <a:xfrm>
            <a:off x="1861845" y="4127449"/>
            <a:ext cx="648219" cy="108321"/>
            <a:chOff x="989013" y="3011424"/>
            <a:chExt cx="997926" cy="166759"/>
          </a:xfrm>
          <a:solidFill>
            <a:schemeClr val="accent5"/>
          </a:solidFill>
        </p:grpSpPr>
        <p:sp>
          <p:nvSpPr>
            <p:cNvPr id="42" name="Ellipse 13">
              <a:extLst>
                <a:ext uri="{FF2B5EF4-FFF2-40B4-BE49-F238E27FC236}">
                  <a16:creationId xmlns:a16="http://schemas.microsoft.com/office/drawing/2014/main" id="{62F7B83D-93CF-5358-7E28-1FC124156002}"/>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43" name="Ellipse 23">
              <a:extLst>
                <a:ext uri="{FF2B5EF4-FFF2-40B4-BE49-F238E27FC236}">
                  <a16:creationId xmlns:a16="http://schemas.microsoft.com/office/drawing/2014/main" id="{2C466590-ECA0-8612-2E57-BB5E4329711D}"/>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44" name="Ellipse 33">
              <a:extLst>
                <a:ext uri="{FF2B5EF4-FFF2-40B4-BE49-F238E27FC236}">
                  <a16:creationId xmlns:a16="http://schemas.microsoft.com/office/drawing/2014/main" id="{DB2A38D9-17C1-C35B-EB9A-D8C9E5D004BC}"/>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45" name="Ellipse 43">
              <a:extLst>
                <a:ext uri="{FF2B5EF4-FFF2-40B4-BE49-F238E27FC236}">
                  <a16:creationId xmlns:a16="http://schemas.microsoft.com/office/drawing/2014/main" id="{29BD1E6D-1F45-85B9-F15C-74F53EBEA7CF}"/>
                </a:ext>
              </a:extLst>
            </p:cNvPr>
            <p:cNvSpPr>
              <a:spLocks/>
            </p:cNvSpPr>
            <p:nvPr/>
          </p:nvSpPr>
          <p:spPr bwMode="gray">
            <a:xfrm>
              <a:off x="1612388"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46" name="Ellipse 53">
              <a:extLst>
                <a:ext uri="{FF2B5EF4-FFF2-40B4-BE49-F238E27FC236}">
                  <a16:creationId xmlns:a16="http://schemas.microsoft.com/office/drawing/2014/main" id="{160379DC-135C-B77D-5905-4A3F8455362D}"/>
                </a:ext>
              </a:extLst>
            </p:cNvPr>
            <p:cNvSpPr>
              <a:spLocks/>
            </p:cNvSpPr>
            <p:nvPr/>
          </p:nvSpPr>
          <p:spPr bwMode="gray">
            <a:xfrm>
              <a:off x="1820180"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47" name="Group 46">
            <a:extLst>
              <a:ext uri="{FF2B5EF4-FFF2-40B4-BE49-F238E27FC236}">
                <a16:creationId xmlns:a16="http://schemas.microsoft.com/office/drawing/2014/main" id="{C2782394-DCCC-6ACD-4FA0-A516DBDAF54D}"/>
              </a:ext>
            </a:extLst>
          </p:cNvPr>
          <p:cNvGrpSpPr/>
          <p:nvPr/>
        </p:nvGrpSpPr>
        <p:grpSpPr>
          <a:xfrm>
            <a:off x="1861845" y="4752184"/>
            <a:ext cx="648219" cy="108321"/>
            <a:chOff x="989013" y="3011424"/>
            <a:chExt cx="997926" cy="166759"/>
          </a:xfrm>
          <a:solidFill>
            <a:schemeClr val="accent5"/>
          </a:solidFill>
        </p:grpSpPr>
        <p:sp>
          <p:nvSpPr>
            <p:cNvPr id="48" name="Ellipse 13">
              <a:extLst>
                <a:ext uri="{FF2B5EF4-FFF2-40B4-BE49-F238E27FC236}">
                  <a16:creationId xmlns:a16="http://schemas.microsoft.com/office/drawing/2014/main" id="{3FED32F6-39C0-E2C4-09FA-C06688248CB4}"/>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49" name="Ellipse 23">
              <a:extLst>
                <a:ext uri="{FF2B5EF4-FFF2-40B4-BE49-F238E27FC236}">
                  <a16:creationId xmlns:a16="http://schemas.microsoft.com/office/drawing/2014/main" id="{74907DFC-2783-0DE6-262D-F180203F421A}"/>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50" name="Ellipse 33">
              <a:extLst>
                <a:ext uri="{FF2B5EF4-FFF2-40B4-BE49-F238E27FC236}">
                  <a16:creationId xmlns:a16="http://schemas.microsoft.com/office/drawing/2014/main" id="{852F7466-5556-2392-6E8B-F17978FC2F1E}"/>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51" name="Ellipse 43">
              <a:extLst>
                <a:ext uri="{FF2B5EF4-FFF2-40B4-BE49-F238E27FC236}">
                  <a16:creationId xmlns:a16="http://schemas.microsoft.com/office/drawing/2014/main" id="{520E2E8A-5D4B-4605-6E9E-4C043A54FC6A}"/>
                </a:ext>
              </a:extLst>
            </p:cNvPr>
            <p:cNvSpPr>
              <a:spLocks/>
            </p:cNvSpPr>
            <p:nvPr/>
          </p:nvSpPr>
          <p:spPr bwMode="gray">
            <a:xfrm>
              <a:off x="1612388"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52" name="Ellipse 53">
              <a:extLst>
                <a:ext uri="{FF2B5EF4-FFF2-40B4-BE49-F238E27FC236}">
                  <a16:creationId xmlns:a16="http://schemas.microsoft.com/office/drawing/2014/main" id="{DF674FBA-A42F-75D3-3B7A-26AB4F0A4FD6}"/>
                </a:ext>
              </a:extLst>
            </p:cNvPr>
            <p:cNvSpPr>
              <a:spLocks/>
            </p:cNvSpPr>
            <p:nvPr/>
          </p:nvSpPr>
          <p:spPr bwMode="gray">
            <a:xfrm>
              <a:off x="1820180"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53" name="Group 52">
            <a:extLst>
              <a:ext uri="{FF2B5EF4-FFF2-40B4-BE49-F238E27FC236}">
                <a16:creationId xmlns:a16="http://schemas.microsoft.com/office/drawing/2014/main" id="{D4679A5E-01DD-50F6-782D-D4844D800A50}"/>
              </a:ext>
            </a:extLst>
          </p:cNvPr>
          <p:cNvGrpSpPr/>
          <p:nvPr/>
        </p:nvGrpSpPr>
        <p:grpSpPr>
          <a:xfrm>
            <a:off x="1861845" y="5394380"/>
            <a:ext cx="648219" cy="108321"/>
            <a:chOff x="989013" y="3011424"/>
            <a:chExt cx="997926" cy="166759"/>
          </a:xfrm>
          <a:solidFill>
            <a:schemeClr val="accent5"/>
          </a:solidFill>
        </p:grpSpPr>
        <p:sp>
          <p:nvSpPr>
            <p:cNvPr id="54" name="Ellipse 13">
              <a:extLst>
                <a:ext uri="{FF2B5EF4-FFF2-40B4-BE49-F238E27FC236}">
                  <a16:creationId xmlns:a16="http://schemas.microsoft.com/office/drawing/2014/main" id="{958E5B90-E665-0B4D-56E0-9B495A1120CB}"/>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55" name="Ellipse 23">
              <a:extLst>
                <a:ext uri="{FF2B5EF4-FFF2-40B4-BE49-F238E27FC236}">
                  <a16:creationId xmlns:a16="http://schemas.microsoft.com/office/drawing/2014/main" id="{BDDAE1C0-13ED-DF5C-78D9-75ADE5D7F41E}"/>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56" name="Ellipse 33">
              <a:extLst>
                <a:ext uri="{FF2B5EF4-FFF2-40B4-BE49-F238E27FC236}">
                  <a16:creationId xmlns:a16="http://schemas.microsoft.com/office/drawing/2014/main" id="{1854349F-C8CD-2CCB-9CF6-3671F46BAF1C}"/>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57" name="Ellipse 43">
              <a:extLst>
                <a:ext uri="{FF2B5EF4-FFF2-40B4-BE49-F238E27FC236}">
                  <a16:creationId xmlns:a16="http://schemas.microsoft.com/office/drawing/2014/main" id="{B0DBFCCD-51A0-802F-26CC-02AC38DB1495}"/>
                </a:ext>
              </a:extLst>
            </p:cNvPr>
            <p:cNvSpPr>
              <a:spLocks/>
            </p:cNvSpPr>
            <p:nvPr/>
          </p:nvSpPr>
          <p:spPr bwMode="gray">
            <a:xfrm>
              <a:off x="1612388" y="3011424"/>
              <a:ext cx="166759" cy="166759"/>
            </a:xfrm>
            <a:prstGeom prst="ellipse">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58" name="Ellipse 53">
              <a:extLst>
                <a:ext uri="{FF2B5EF4-FFF2-40B4-BE49-F238E27FC236}">
                  <a16:creationId xmlns:a16="http://schemas.microsoft.com/office/drawing/2014/main" id="{2A7EE654-6568-E2EF-45D4-323FC8F2CF8C}"/>
                </a:ext>
              </a:extLst>
            </p:cNvPr>
            <p:cNvSpPr>
              <a:spLocks/>
            </p:cNvSpPr>
            <p:nvPr/>
          </p:nvSpPr>
          <p:spPr bwMode="gray">
            <a:xfrm>
              <a:off x="1820180"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59" name="Group 58">
            <a:extLst>
              <a:ext uri="{FF2B5EF4-FFF2-40B4-BE49-F238E27FC236}">
                <a16:creationId xmlns:a16="http://schemas.microsoft.com/office/drawing/2014/main" id="{7948B119-E0D5-3803-B0F8-24554153E7CC}"/>
              </a:ext>
            </a:extLst>
          </p:cNvPr>
          <p:cNvGrpSpPr/>
          <p:nvPr/>
        </p:nvGrpSpPr>
        <p:grpSpPr>
          <a:xfrm>
            <a:off x="4217118" y="2316191"/>
            <a:ext cx="648219" cy="108321"/>
            <a:chOff x="989013" y="3011424"/>
            <a:chExt cx="997926" cy="166759"/>
          </a:xfrm>
          <a:solidFill>
            <a:schemeClr val="accent5"/>
          </a:solidFill>
        </p:grpSpPr>
        <p:sp>
          <p:nvSpPr>
            <p:cNvPr id="60" name="Ellipse 13">
              <a:extLst>
                <a:ext uri="{FF2B5EF4-FFF2-40B4-BE49-F238E27FC236}">
                  <a16:creationId xmlns:a16="http://schemas.microsoft.com/office/drawing/2014/main" id="{F45D828B-17A2-EE8D-E849-1F535B4C191D}"/>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61" name="Ellipse 23">
              <a:extLst>
                <a:ext uri="{FF2B5EF4-FFF2-40B4-BE49-F238E27FC236}">
                  <a16:creationId xmlns:a16="http://schemas.microsoft.com/office/drawing/2014/main" id="{04A3A085-698B-CCCF-F4CA-BA6AD638694D}"/>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62" name="Ellipse 33">
              <a:extLst>
                <a:ext uri="{FF2B5EF4-FFF2-40B4-BE49-F238E27FC236}">
                  <a16:creationId xmlns:a16="http://schemas.microsoft.com/office/drawing/2014/main" id="{C092EAA7-07EC-4DE6-C8B4-C30BA68062E2}"/>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63" name="Ellipse 43">
              <a:extLst>
                <a:ext uri="{FF2B5EF4-FFF2-40B4-BE49-F238E27FC236}">
                  <a16:creationId xmlns:a16="http://schemas.microsoft.com/office/drawing/2014/main" id="{E7B60428-1F60-A4C5-2349-E7184F0E231B}"/>
                </a:ext>
              </a:extLst>
            </p:cNvPr>
            <p:cNvSpPr>
              <a:spLocks/>
            </p:cNvSpPr>
            <p:nvPr/>
          </p:nvSpPr>
          <p:spPr bwMode="gray">
            <a:xfrm>
              <a:off x="1612388"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64" name="Ellipse 53">
              <a:extLst>
                <a:ext uri="{FF2B5EF4-FFF2-40B4-BE49-F238E27FC236}">
                  <a16:creationId xmlns:a16="http://schemas.microsoft.com/office/drawing/2014/main" id="{7180FF2C-3070-C67F-7C87-10606301B95D}"/>
                </a:ext>
              </a:extLst>
            </p:cNvPr>
            <p:cNvSpPr>
              <a:spLocks/>
            </p:cNvSpPr>
            <p:nvPr/>
          </p:nvSpPr>
          <p:spPr bwMode="gray">
            <a:xfrm>
              <a:off x="1820180"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65" name="Group 64">
            <a:extLst>
              <a:ext uri="{FF2B5EF4-FFF2-40B4-BE49-F238E27FC236}">
                <a16:creationId xmlns:a16="http://schemas.microsoft.com/office/drawing/2014/main" id="{E33D6E96-F6D7-D7CB-68D6-0BF3255050BC}"/>
              </a:ext>
            </a:extLst>
          </p:cNvPr>
          <p:cNvGrpSpPr/>
          <p:nvPr/>
        </p:nvGrpSpPr>
        <p:grpSpPr>
          <a:xfrm>
            <a:off x="4217118" y="2880261"/>
            <a:ext cx="648219" cy="108321"/>
            <a:chOff x="989013" y="3011424"/>
            <a:chExt cx="997926" cy="166759"/>
          </a:xfrm>
          <a:solidFill>
            <a:schemeClr val="accent5"/>
          </a:solidFill>
        </p:grpSpPr>
        <p:sp>
          <p:nvSpPr>
            <p:cNvPr id="66" name="Ellipse 13">
              <a:extLst>
                <a:ext uri="{FF2B5EF4-FFF2-40B4-BE49-F238E27FC236}">
                  <a16:creationId xmlns:a16="http://schemas.microsoft.com/office/drawing/2014/main" id="{D6FDCF5A-F97F-3ACA-DE19-0005082BDD85}"/>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67" name="Ellipse 23">
              <a:extLst>
                <a:ext uri="{FF2B5EF4-FFF2-40B4-BE49-F238E27FC236}">
                  <a16:creationId xmlns:a16="http://schemas.microsoft.com/office/drawing/2014/main" id="{92B727D9-BD55-3CD6-469C-CB562D22BA9C}"/>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68" name="Ellipse 33">
              <a:extLst>
                <a:ext uri="{FF2B5EF4-FFF2-40B4-BE49-F238E27FC236}">
                  <a16:creationId xmlns:a16="http://schemas.microsoft.com/office/drawing/2014/main" id="{2064E0E2-434F-6F03-1242-4ADF41231FBE}"/>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69" name="Ellipse 43">
              <a:extLst>
                <a:ext uri="{FF2B5EF4-FFF2-40B4-BE49-F238E27FC236}">
                  <a16:creationId xmlns:a16="http://schemas.microsoft.com/office/drawing/2014/main" id="{1828C877-6D92-AE60-F076-2B5053FD9918}"/>
                </a:ext>
              </a:extLst>
            </p:cNvPr>
            <p:cNvSpPr>
              <a:spLocks/>
            </p:cNvSpPr>
            <p:nvPr/>
          </p:nvSpPr>
          <p:spPr bwMode="gray">
            <a:xfrm>
              <a:off x="1612388"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70" name="Ellipse 53">
              <a:extLst>
                <a:ext uri="{FF2B5EF4-FFF2-40B4-BE49-F238E27FC236}">
                  <a16:creationId xmlns:a16="http://schemas.microsoft.com/office/drawing/2014/main" id="{848C0307-CA40-98ED-FAA1-F18D3F1ABA5E}"/>
                </a:ext>
              </a:extLst>
            </p:cNvPr>
            <p:cNvSpPr>
              <a:spLocks/>
            </p:cNvSpPr>
            <p:nvPr/>
          </p:nvSpPr>
          <p:spPr bwMode="gray">
            <a:xfrm>
              <a:off x="1820180"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71" name="Group 70">
            <a:extLst>
              <a:ext uri="{FF2B5EF4-FFF2-40B4-BE49-F238E27FC236}">
                <a16:creationId xmlns:a16="http://schemas.microsoft.com/office/drawing/2014/main" id="{21E46BA9-8483-6E3E-CA22-69B8DB3BC80F}"/>
              </a:ext>
            </a:extLst>
          </p:cNvPr>
          <p:cNvGrpSpPr/>
          <p:nvPr/>
        </p:nvGrpSpPr>
        <p:grpSpPr>
          <a:xfrm>
            <a:off x="4217118" y="3506312"/>
            <a:ext cx="648219" cy="108321"/>
            <a:chOff x="989013" y="3011424"/>
            <a:chExt cx="997926" cy="166759"/>
          </a:xfrm>
          <a:solidFill>
            <a:schemeClr val="accent5"/>
          </a:solidFill>
        </p:grpSpPr>
        <p:sp>
          <p:nvSpPr>
            <p:cNvPr id="72" name="Ellipse 13">
              <a:extLst>
                <a:ext uri="{FF2B5EF4-FFF2-40B4-BE49-F238E27FC236}">
                  <a16:creationId xmlns:a16="http://schemas.microsoft.com/office/drawing/2014/main" id="{014BC884-7C45-4543-830B-19D5BA848606}"/>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73" name="Ellipse 23">
              <a:extLst>
                <a:ext uri="{FF2B5EF4-FFF2-40B4-BE49-F238E27FC236}">
                  <a16:creationId xmlns:a16="http://schemas.microsoft.com/office/drawing/2014/main" id="{1C965F8A-EF59-40A8-474A-3A1D8023B3BD}"/>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74" name="Ellipse 33">
              <a:extLst>
                <a:ext uri="{FF2B5EF4-FFF2-40B4-BE49-F238E27FC236}">
                  <a16:creationId xmlns:a16="http://schemas.microsoft.com/office/drawing/2014/main" id="{54A632C1-975F-125F-0540-F16AA3846134}"/>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75" name="Ellipse 43">
              <a:extLst>
                <a:ext uri="{FF2B5EF4-FFF2-40B4-BE49-F238E27FC236}">
                  <a16:creationId xmlns:a16="http://schemas.microsoft.com/office/drawing/2014/main" id="{A644E960-E097-C388-1E6F-52A5B71828FD}"/>
                </a:ext>
              </a:extLst>
            </p:cNvPr>
            <p:cNvSpPr>
              <a:spLocks/>
            </p:cNvSpPr>
            <p:nvPr/>
          </p:nvSpPr>
          <p:spPr bwMode="gray">
            <a:xfrm>
              <a:off x="1612388" y="3011424"/>
              <a:ext cx="166759" cy="166759"/>
            </a:xfrm>
            <a:prstGeom prst="ellipse">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76" name="Ellipse 53">
              <a:extLst>
                <a:ext uri="{FF2B5EF4-FFF2-40B4-BE49-F238E27FC236}">
                  <a16:creationId xmlns:a16="http://schemas.microsoft.com/office/drawing/2014/main" id="{75B7F2B7-AE0B-99B3-754D-55EEA9E63A5B}"/>
                </a:ext>
              </a:extLst>
            </p:cNvPr>
            <p:cNvSpPr>
              <a:spLocks/>
            </p:cNvSpPr>
            <p:nvPr/>
          </p:nvSpPr>
          <p:spPr bwMode="gray">
            <a:xfrm>
              <a:off x="1820180"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77" name="Group 76">
            <a:extLst>
              <a:ext uri="{FF2B5EF4-FFF2-40B4-BE49-F238E27FC236}">
                <a16:creationId xmlns:a16="http://schemas.microsoft.com/office/drawing/2014/main" id="{2B679249-894E-18B3-071E-B0F96A7E61AD}"/>
              </a:ext>
            </a:extLst>
          </p:cNvPr>
          <p:cNvGrpSpPr/>
          <p:nvPr/>
        </p:nvGrpSpPr>
        <p:grpSpPr>
          <a:xfrm>
            <a:off x="4217118" y="4127449"/>
            <a:ext cx="648219" cy="108321"/>
            <a:chOff x="989013" y="3011424"/>
            <a:chExt cx="997926" cy="166759"/>
          </a:xfrm>
          <a:solidFill>
            <a:schemeClr val="accent5"/>
          </a:solidFill>
        </p:grpSpPr>
        <p:sp>
          <p:nvSpPr>
            <p:cNvPr id="78" name="Ellipse 13">
              <a:extLst>
                <a:ext uri="{FF2B5EF4-FFF2-40B4-BE49-F238E27FC236}">
                  <a16:creationId xmlns:a16="http://schemas.microsoft.com/office/drawing/2014/main" id="{A6D0B50F-1B31-7C45-A0A4-AA3B9D4A3AEF}"/>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79" name="Ellipse 23">
              <a:extLst>
                <a:ext uri="{FF2B5EF4-FFF2-40B4-BE49-F238E27FC236}">
                  <a16:creationId xmlns:a16="http://schemas.microsoft.com/office/drawing/2014/main" id="{EC4C8838-0D1C-A441-34FA-3E77A243CF4F}"/>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80" name="Ellipse 33">
              <a:extLst>
                <a:ext uri="{FF2B5EF4-FFF2-40B4-BE49-F238E27FC236}">
                  <a16:creationId xmlns:a16="http://schemas.microsoft.com/office/drawing/2014/main" id="{044B15DE-D1FB-18A3-E97F-F41C83A6EF8B}"/>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81" name="Ellipse 43">
              <a:extLst>
                <a:ext uri="{FF2B5EF4-FFF2-40B4-BE49-F238E27FC236}">
                  <a16:creationId xmlns:a16="http://schemas.microsoft.com/office/drawing/2014/main" id="{17046D98-FFDC-E762-BDC0-7C60641250A1}"/>
                </a:ext>
              </a:extLst>
            </p:cNvPr>
            <p:cNvSpPr>
              <a:spLocks/>
            </p:cNvSpPr>
            <p:nvPr/>
          </p:nvSpPr>
          <p:spPr bwMode="gray">
            <a:xfrm>
              <a:off x="1612388"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82" name="Ellipse 53">
              <a:extLst>
                <a:ext uri="{FF2B5EF4-FFF2-40B4-BE49-F238E27FC236}">
                  <a16:creationId xmlns:a16="http://schemas.microsoft.com/office/drawing/2014/main" id="{5581A518-6744-D2DE-F94C-CA4B85180964}"/>
                </a:ext>
              </a:extLst>
            </p:cNvPr>
            <p:cNvSpPr>
              <a:spLocks/>
            </p:cNvSpPr>
            <p:nvPr/>
          </p:nvSpPr>
          <p:spPr bwMode="gray">
            <a:xfrm>
              <a:off x="1820180"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83" name="Group 82">
            <a:extLst>
              <a:ext uri="{FF2B5EF4-FFF2-40B4-BE49-F238E27FC236}">
                <a16:creationId xmlns:a16="http://schemas.microsoft.com/office/drawing/2014/main" id="{4D08FF3F-B7F8-01BC-3B13-AE78BD5FC898}"/>
              </a:ext>
            </a:extLst>
          </p:cNvPr>
          <p:cNvGrpSpPr/>
          <p:nvPr/>
        </p:nvGrpSpPr>
        <p:grpSpPr>
          <a:xfrm>
            <a:off x="4217118" y="4752184"/>
            <a:ext cx="648219" cy="108321"/>
            <a:chOff x="989013" y="3011424"/>
            <a:chExt cx="997926" cy="166759"/>
          </a:xfrm>
          <a:solidFill>
            <a:schemeClr val="accent5"/>
          </a:solidFill>
        </p:grpSpPr>
        <p:sp>
          <p:nvSpPr>
            <p:cNvPr id="84" name="Ellipse 13">
              <a:extLst>
                <a:ext uri="{FF2B5EF4-FFF2-40B4-BE49-F238E27FC236}">
                  <a16:creationId xmlns:a16="http://schemas.microsoft.com/office/drawing/2014/main" id="{837F5D36-294C-F004-0EAB-DA3B26462823}"/>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85" name="Ellipse 23">
              <a:extLst>
                <a:ext uri="{FF2B5EF4-FFF2-40B4-BE49-F238E27FC236}">
                  <a16:creationId xmlns:a16="http://schemas.microsoft.com/office/drawing/2014/main" id="{DD70CF7F-D86B-10FA-9652-B8C37D43DC4A}"/>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86" name="Ellipse 33">
              <a:extLst>
                <a:ext uri="{FF2B5EF4-FFF2-40B4-BE49-F238E27FC236}">
                  <a16:creationId xmlns:a16="http://schemas.microsoft.com/office/drawing/2014/main" id="{413BEE55-5337-1FBD-08B3-0745A9FDE397}"/>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87" name="Ellipse 43">
              <a:extLst>
                <a:ext uri="{FF2B5EF4-FFF2-40B4-BE49-F238E27FC236}">
                  <a16:creationId xmlns:a16="http://schemas.microsoft.com/office/drawing/2014/main" id="{ECFABEBB-E225-2E39-B927-10F9DA0EF629}"/>
                </a:ext>
              </a:extLst>
            </p:cNvPr>
            <p:cNvSpPr>
              <a:spLocks/>
            </p:cNvSpPr>
            <p:nvPr/>
          </p:nvSpPr>
          <p:spPr bwMode="gray">
            <a:xfrm>
              <a:off x="1612388"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88" name="Ellipse 53">
              <a:extLst>
                <a:ext uri="{FF2B5EF4-FFF2-40B4-BE49-F238E27FC236}">
                  <a16:creationId xmlns:a16="http://schemas.microsoft.com/office/drawing/2014/main" id="{C7F8D33A-5114-3B61-1AA2-C34CDC3A38FA}"/>
                </a:ext>
              </a:extLst>
            </p:cNvPr>
            <p:cNvSpPr>
              <a:spLocks/>
            </p:cNvSpPr>
            <p:nvPr/>
          </p:nvSpPr>
          <p:spPr bwMode="gray">
            <a:xfrm>
              <a:off x="1820180"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89" name="Group 88">
            <a:extLst>
              <a:ext uri="{FF2B5EF4-FFF2-40B4-BE49-F238E27FC236}">
                <a16:creationId xmlns:a16="http://schemas.microsoft.com/office/drawing/2014/main" id="{82B8F3F6-3DB5-DF0B-B099-F7E6304412C0}"/>
              </a:ext>
            </a:extLst>
          </p:cNvPr>
          <p:cNvGrpSpPr/>
          <p:nvPr/>
        </p:nvGrpSpPr>
        <p:grpSpPr>
          <a:xfrm>
            <a:off x="4248291" y="5394380"/>
            <a:ext cx="648219" cy="108321"/>
            <a:chOff x="989013" y="3011424"/>
            <a:chExt cx="997926" cy="166759"/>
          </a:xfrm>
          <a:solidFill>
            <a:schemeClr val="accent5"/>
          </a:solidFill>
        </p:grpSpPr>
        <p:sp>
          <p:nvSpPr>
            <p:cNvPr id="90" name="Ellipse 13">
              <a:extLst>
                <a:ext uri="{FF2B5EF4-FFF2-40B4-BE49-F238E27FC236}">
                  <a16:creationId xmlns:a16="http://schemas.microsoft.com/office/drawing/2014/main" id="{474EB91E-DCED-4A2F-A1DF-3392F98C77B2}"/>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91" name="Ellipse 23">
              <a:extLst>
                <a:ext uri="{FF2B5EF4-FFF2-40B4-BE49-F238E27FC236}">
                  <a16:creationId xmlns:a16="http://schemas.microsoft.com/office/drawing/2014/main" id="{CCD5E4A3-BE85-26FE-173B-B6EEA3AD9F10}"/>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92" name="Ellipse 33">
              <a:extLst>
                <a:ext uri="{FF2B5EF4-FFF2-40B4-BE49-F238E27FC236}">
                  <a16:creationId xmlns:a16="http://schemas.microsoft.com/office/drawing/2014/main" id="{4218023E-5893-6149-0F6C-CCDDFA0E9ED8}"/>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93" name="Ellipse 43">
              <a:extLst>
                <a:ext uri="{FF2B5EF4-FFF2-40B4-BE49-F238E27FC236}">
                  <a16:creationId xmlns:a16="http://schemas.microsoft.com/office/drawing/2014/main" id="{38E2CC91-1D4E-30A2-E291-0C7805E149BB}"/>
                </a:ext>
              </a:extLst>
            </p:cNvPr>
            <p:cNvSpPr>
              <a:spLocks/>
            </p:cNvSpPr>
            <p:nvPr/>
          </p:nvSpPr>
          <p:spPr bwMode="gray">
            <a:xfrm>
              <a:off x="1612388" y="3011424"/>
              <a:ext cx="166759" cy="166759"/>
            </a:xfrm>
            <a:prstGeom prst="ellipse">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94" name="Ellipse 53">
              <a:extLst>
                <a:ext uri="{FF2B5EF4-FFF2-40B4-BE49-F238E27FC236}">
                  <a16:creationId xmlns:a16="http://schemas.microsoft.com/office/drawing/2014/main" id="{E4D8BFC0-4986-70D1-26D9-79E45F0E74F5}"/>
                </a:ext>
              </a:extLst>
            </p:cNvPr>
            <p:cNvSpPr>
              <a:spLocks/>
            </p:cNvSpPr>
            <p:nvPr/>
          </p:nvSpPr>
          <p:spPr bwMode="gray">
            <a:xfrm>
              <a:off x="1820180" y="3011424"/>
              <a:ext cx="166759" cy="166759"/>
            </a:xfrm>
            <a:prstGeom prst="ellipse">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95" name="Group 94">
            <a:extLst>
              <a:ext uri="{FF2B5EF4-FFF2-40B4-BE49-F238E27FC236}">
                <a16:creationId xmlns:a16="http://schemas.microsoft.com/office/drawing/2014/main" id="{FEC35324-9A0B-7CD4-FABF-D6B3234A61F0}"/>
              </a:ext>
            </a:extLst>
          </p:cNvPr>
          <p:cNvGrpSpPr/>
          <p:nvPr/>
        </p:nvGrpSpPr>
        <p:grpSpPr>
          <a:xfrm>
            <a:off x="6627195" y="2316191"/>
            <a:ext cx="648219" cy="108321"/>
            <a:chOff x="989013" y="3011424"/>
            <a:chExt cx="997926" cy="166759"/>
          </a:xfrm>
          <a:solidFill>
            <a:schemeClr val="accent5"/>
          </a:solidFill>
        </p:grpSpPr>
        <p:sp>
          <p:nvSpPr>
            <p:cNvPr id="96" name="Ellipse 13">
              <a:extLst>
                <a:ext uri="{FF2B5EF4-FFF2-40B4-BE49-F238E27FC236}">
                  <a16:creationId xmlns:a16="http://schemas.microsoft.com/office/drawing/2014/main" id="{739EE305-B445-3A84-BC55-5268C04226C2}"/>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97" name="Ellipse 23">
              <a:extLst>
                <a:ext uri="{FF2B5EF4-FFF2-40B4-BE49-F238E27FC236}">
                  <a16:creationId xmlns:a16="http://schemas.microsoft.com/office/drawing/2014/main" id="{283BFCBF-63D3-287D-D8C1-B5FB86268C02}"/>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98" name="Ellipse 33">
              <a:extLst>
                <a:ext uri="{FF2B5EF4-FFF2-40B4-BE49-F238E27FC236}">
                  <a16:creationId xmlns:a16="http://schemas.microsoft.com/office/drawing/2014/main" id="{6B6BE8EE-9EB6-6146-A466-DFD6E297B19F}"/>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99" name="Ellipse 43">
              <a:extLst>
                <a:ext uri="{FF2B5EF4-FFF2-40B4-BE49-F238E27FC236}">
                  <a16:creationId xmlns:a16="http://schemas.microsoft.com/office/drawing/2014/main" id="{280EAEDE-E63E-3704-F38B-17FEDF167581}"/>
                </a:ext>
              </a:extLst>
            </p:cNvPr>
            <p:cNvSpPr>
              <a:spLocks/>
            </p:cNvSpPr>
            <p:nvPr/>
          </p:nvSpPr>
          <p:spPr bwMode="gray">
            <a:xfrm>
              <a:off x="1612388"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00" name="Ellipse 53">
              <a:extLst>
                <a:ext uri="{FF2B5EF4-FFF2-40B4-BE49-F238E27FC236}">
                  <a16:creationId xmlns:a16="http://schemas.microsoft.com/office/drawing/2014/main" id="{A7A27236-116C-DF70-147D-FA53F1E782F4}"/>
                </a:ext>
              </a:extLst>
            </p:cNvPr>
            <p:cNvSpPr>
              <a:spLocks/>
            </p:cNvSpPr>
            <p:nvPr/>
          </p:nvSpPr>
          <p:spPr bwMode="gray">
            <a:xfrm>
              <a:off x="1820180"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101" name="Group 100">
            <a:extLst>
              <a:ext uri="{FF2B5EF4-FFF2-40B4-BE49-F238E27FC236}">
                <a16:creationId xmlns:a16="http://schemas.microsoft.com/office/drawing/2014/main" id="{2582C864-3B71-03B2-B4E5-F61E253DD897}"/>
              </a:ext>
            </a:extLst>
          </p:cNvPr>
          <p:cNvGrpSpPr/>
          <p:nvPr/>
        </p:nvGrpSpPr>
        <p:grpSpPr>
          <a:xfrm>
            <a:off x="6627195" y="2880261"/>
            <a:ext cx="648219" cy="108321"/>
            <a:chOff x="989013" y="3011424"/>
            <a:chExt cx="997926" cy="166759"/>
          </a:xfrm>
          <a:solidFill>
            <a:schemeClr val="accent5"/>
          </a:solidFill>
        </p:grpSpPr>
        <p:sp>
          <p:nvSpPr>
            <p:cNvPr id="102" name="Ellipse 13">
              <a:extLst>
                <a:ext uri="{FF2B5EF4-FFF2-40B4-BE49-F238E27FC236}">
                  <a16:creationId xmlns:a16="http://schemas.microsoft.com/office/drawing/2014/main" id="{38D4F3DF-120E-1FC4-27B2-B0ACC6FA91EA}"/>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03" name="Ellipse 23">
              <a:extLst>
                <a:ext uri="{FF2B5EF4-FFF2-40B4-BE49-F238E27FC236}">
                  <a16:creationId xmlns:a16="http://schemas.microsoft.com/office/drawing/2014/main" id="{0F625C9B-6115-6D04-5333-ABFD04F28632}"/>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04" name="Ellipse 33">
              <a:extLst>
                <a:ext uri="{FF2B5EF4-FFF2-40B4-BE49-F238E27FC236}">
                  <a16:creationId xmlns:a16="http://schemas.microsoft.com/office/drawing/2014/main" id="{5E68EAA7-DDDB-3644-5F3D-6476D7E66781}"/>
                </a:ext>
              </a:extLst>
            </p:cNvPr>
            <p:cNvSpPr>
              <a:spLocks/>
            </p:cNvSpPr>
            <p:nvPr/>
          </p:nvSpPr>
          <p:spPr bwMode="gray">
            <a:xfrm>
              <a:off x="1404597"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05" name="Ellipse 43">
              <a:extLst>
                <a:ext uri="{FF2B5EF4-FFF2-40B4-BE49-F238E27FC236}">
                  <a16:creationId xmlns:a16="http://schemas.microsoft.com/office/drawing/2014/main" id="{0C13E527-8A2D-B3F4-D39F-6BBF49A2B84A}"/>
                </a:ext>
              </a:extLst>
            </p:cNvPr>
            <p:cNvSpPr>
              <a:spLocks/>
            </p:cNvSpPr>
            <p:nvPr/>
          </p:nvSpPr>
          <p:spPr bwMode="gray">
            <a:xfrm>
              <a:off x="1612388"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06" name="Ellipse 53">
              <a:extLst>
                <a:ext uri="{FF2B5EF4-FFF2-40B4-BE49-F238E27FC236}">
                  <a16:creationId xmlns:a16="http://schemas.microsoft.com/office/drawing/2014/main" id="{E5E17386-B2BE-6298-494E-93DD333EC038}"/>
                </a:ext>
              </a:extLst>
            </p:cNvPr>
            <p:cNvSpPr>
              <a:spLocks/>
            </p:cNvSpPr>
            <p:nvPr/>
          </p:nvSpPr>
          <p:spPr bwMode="gray">
            <a:xfrm>
              <a:off x="1820180"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107" name="Group 106">
            <a:extLst>
              <a:ext uri="{FF2B5EF4-FFF2-40B4-BE49-F238E27FC236}">
                <a16:creationId xmlns:a16="http://schemas.microsoft.com/office/drawing/2014/main" id="{0BA08C7B-D784-A1A6-1D4E-7D7C3D82F309}"/>
              </a:ext>
            </a:extLst>
          </p:cNvPr>
          <p:cNvGrpSpPr/>
          <p:nvPr/>
        </p:nvGrpSpPr>
        <p:grpSpPr>
          <a:xfrm>
            <a:off x="6627195" y="3506312"/>
            <a:ext cx="648219" cy="108321"/>
            <a:chOff x="989013" y="3011424"/>
            <a:chExt cx="997926" cy="166759"/>
          </a:xfrm>
          <a:solidFill>
            <a:schemeClr val="accent5"/>
          </a:solidFill>
        </p:grpSpPr>
        <p:sp>
          <p:nvSpPr>
            <p:cNvPr id="108" name="Ellipse 13">
              <a:extLst>
                <a:ext uri="{FF2B5EF4-FFF2-40B4-BE49-F238E27FC236}">
                  <a16:creationId xmlns:a16="http://schemas.microsoft.com/office/drawing/2014/main" id="{03B89BCA-03EA-EF6A-F773-2C44DE1604E7}"/>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09" name="Ellipse 23">
              <a:extLst>
                <a:ext uri="{FF2B5EF4-FFF2-40B4-BE49-F238E27FC236}">
                  <a16:creationId xmlns:a16="http://schemas.microsoft.com/office/drawing/2014/main" id="{F61FD6C7-42DE-D42B-9183-DCDE0DB3A657}"/>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10" name="Ellipse 33">
              <a:extLst>
                <a:ext uri="{FF2B5EF4-FFF2-40B4-BE49-F238E27FC236}">
                  <a16:creationId xmlns:a16="http://schemas.microsoft.com/office/drawing/2014/main" id="{1947882D-C708-7D6E-55B7-39FF1C077B4A}"/>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11" name="Ellipse 43">
              <a:extLst>
                <a:ext uri="{FF2B5EF4-FFF2-40B4-BE49-F238E27FC236}">
                  <a16:creationId xmlns:a16="http://schemas.microsoft.com/office/drawing/2014/main" id="{C2414EB0-EAC0-D142-ADE4-FB1503720D1E}"/>
                </a:ext>
              </a:extLst>
            </p:cNvPr>
            <p:cNvSpPr>
              <a:spLocks/>
            </p:cNvSpPr>
            <p:nvPr/>
          </p:nvSpPr>
          <p:spPr bwMode="gray">
            <a:xfrm>
              <a:off x="1612388" y="3011424"/>
              <a:ext cx="166759" cy="166759"/>
            </a:xfrm>
            <a:prstGeom prst="ellipse">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12" name="Ellipse 53">
              <a:extLst>
                <a:ext uri="{FF2B5EF4-FFF2-40B4-BE49-F238E27FC236}">
                  <a16:creationId xmlns:a16="http://schemas.microsoft.com/office/drawing/2014/main" id="{0CCD0848-88C4-44FA-5FDB-A48B4766A3AA}"/>
                </a:ext>
              </a:extLst>
            </p:cNvPr>
            <p:cNvSpPr>
              <a:spLocks/>
            </p:cNvSpPr>
            <p:nvPr/>
          </p:nvSpPr>
          <p:spPr bwMode="gray">
            <a:xfrm>
              <a:off x="1820180"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113" name="Group 112">
            <a:extLst>
              <a:ext uri="{FF2B5EF4-FFF2-40B4-BE49-F238E27FC236}">
                <a16:creationId xmlns:a16="http://schemas.microsoft.com/office/drawing/2014/main" id="{B049C61B-7E51-7B9E-8F45-635FE2DCE1FF}"/>
              </a:ext>
            </a:extLst>
          </p:cNvPr>
          <p:cNvGrpSpPr/>
          <p:nvPr/>
        </p:nvGrpSpPr>
        <p:grpSpPr>
          <a:xfrm>
            <a:off x="6627195" y="4127449"/>
            <a:ext cx="648219" cy="108321"/>
            <a:chOff x="989013" y="3011424"/>
            <a:chExt cx="997926" cy="166759"/>
          </a:xfrm>
          <a:solidFill>
            <a:schemeClr val="accent5"/>
          </a:solidFill>
        </p:grpSpPr>
        <p:sp>
          <p:nvSpPr>
            <p:cNvPr id="114" name="Ellipse 13">
              <a:extLst>
                <a:ext uri="{FF2B5EF4-FFF2-40B4-BE49-F238E27FC236}">
                  <a16:creationId xmlns:a16="http://schemas.microsoft.com/office/drawing/2014/main" id="{53B590DA-6D27-B3E9-1DD0-D42B882F4CB5}"/>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15" name="Ellipse 23">
              <a:extLst>
                <a:ext uri="{FF2B5EF4-FFF2-40B4-BE49-F238E27FC236}">
                  <a16:creationId xmlns:a16="http://schemas.microsoft.com/office/drawing/2014/main" id="{DD74DD09-267F-B61D-538A-1FD347A88AB9}"/>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16" name="Ellipse 33">
              <a:extLst>
                <a:ext uri="{FF2B5EF4-FFF2-40B4-BE49-F238E27FC236}">
                  <a16:creationId xmlns:a16="http://schemas.microsoft.com/office/drawing/2014/main" id="{137CE45E-687B-D5BD-DB36-B1BD83B7D6FC}"/>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17" name="Ellipse 43">
              <a:extLst>
                <a:ext uri="{FF2B5EF4-FFF2-40B4-BE49-F238E27FC236}">
                  <a16:creationId xmlns:a16="http://schemas.microsoft.com/office/drawing/2014/main" id="{ED3B7DF7-981C-7916-0354-5FD386BA156B}"/>
                </a:ext>
              </a:extLst>
            </p:cNvPr>
            <p:cNvSpPr>
              <a:spLocks/>
            </p:cNvSpPr>
            <p:nvPr/>
          </p:nvSpPr>
          <p:spPr bwMode="gray">
            <a:xfrm>
              <a:off x="1612388"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18" name="Ellipse 53">
              <a:extLst>
                <a:ext uri="{FF2B5EF4-FFF2-40B4-BE49-F238E27FC236}">
                  <a16:creationId xmlns:a16="http://schemas.microsoft.com/office/drawing/2014/main" id="{5AD30D26-7C9E-E2B3-25E8-8B913407C411}"/>
                </a:ext>
              </a:extLst>
            </p:cNvPr>
            <p:cNvSpPr>
              <a:spLocks/>
            </p:cNvSpPr>
            <p:nvPr/>
          </p:nvSpPr>
          <p:spPr bwMode="gray">
            <a:xfrm>
              <a:off x="1820180"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119" name="Group 118">
            <a:extLst>
              <a:ext uri="{FF2B5EF4-FFF2-40B4-BE49-F238E27FC236}">
                <a16:creationId xmlns:a16="http://schemas.microsoft.com/office/drawing/2014/main" id="{81EFDCFC-34DA-504E-9807-01694CEF80B3}"/>
              </a:ext>
            </a:extLst>
          </p:cNvPr>
          <p:cNvGrpSpPr/>
          <p:nvPr/>
        </p:nvGrpSpPr>
        <p:grpSpPr>
          <a:xfrm>
            <a:off x="6627195" y="4752184"/>
            <a:ext cx="648219" cy="108321"/>
            <a:chOff x="989013" y="3011424"/>
            <a:chExt cx="997926" cy="166759"/>
          </a:xfrm>
          <a:solidFill>
            <a:schemeClr val="accent5"/>
          </a:solidFill>
        </p:grpSpPr>
        <p:sp>
          <p:nvSpPr>
            <p:cNvPr id="120" name="Ellipse 13">
              <a:extLst>
                <a:ext uri="{FF2B5EF4-FFF2-40B4-BE49-F238E27FC236}">
                  <a16:creationId xmlns:a16="http://schemas.microsoft.com/office/drawing/2014/main" id="{138CD3E1-71AD-EE72-9417-580077F4FA46}"/>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21" name="Ellipse 23">
              <a:extLst>
                <a:ext uri="{FF2B5EF4-FFF2-40B4-BE49-F238E27FC236}">
                  <a16:creationId xmlns:a16="http://schemas.microsoft.com/office/drawing/2014/main" id="{F2E90111-56B7-79AD-7989-174855D85890}"/>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22" name="Ellipse 33">
              <a:extLst>
                <a:ext uri="{FF2B5EF4-FFF2-40B4-BE49-F238E27FC236}">
                  <a16:creationId xmlns:a16="http://schemas.microsoft.com/office/drawing/2014/main" id="{7CF92B1D-9788-C830-D75E-74CE4E967ACA}"/>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23" name="Ellipse 43">
              <a:extLst>
                <a:ext uri="{FF2B5EF4-FFF2-40B4-BE49-F238E27FC236}">
                  <a16:creationId xmlns:a16="http://schemas.microsoft.com/office/drawing/2014/main" id="{1434DA99-241E-A44F-E633-42E5AEDCF655}"/>
                </a:ext>
              </a:extLst>
            </p:cNvPr>
            <p:cNvSpPr>
              <a:spLocks/>
            </p:cNvSpPr>
            <p:nvPr/>
          </p:nvSpPr>
          <p:spPr bwMode="gray">
            <a:xfrm>
              <a:off x="1612388" y="3011424"/>
              <a:ext cx="166759" cy="166759"/>
            </a:xfrm>
            <a:prstGeom prst="ellipse">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24" name="Ellipse 53">
              <a:extLst>
                <a:ext uri="{FF2B5EF4-FFF2-40B4-BE49-F238E27FC236}">
                  <a16:creationId xmlns:a16="http://schemas.microsoft.com/office/drawing/2014/main" id="{06C52441-ACAA-1B7F-C644-7EBE4B4B0D92}"/>
                </a:ext>
              </a:extLst>
            </p:cNvPr>
            <p:cNvSpPr>
              <a:spLocks/>
            </p:cNvSpPr>
            <p:nvPr/>
          </p:nvSpPr>
          <p:spPr bwMode="gray">
            <a:xfrm>
              <a:off x="1820180"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125" name="Group 124">
            <a:extLst>
              <a:ext uri="{FF2B5EF4-FFF2-40B4-BE49-F238E27FC236}">
                <a16:creationId xmlns:a16="http://schemas.microsoft.com/office/drawing/2014/main" id="{748E7D36-6A35-D4EA-66E0-E713999B8A48}"/>
              </a:ext>
            </a:extLst>
          </p:cNvPr>
          <p:cNvGrpSpPr/>
          <p:nvPr/>
        </p:nvGrpSpPr>
        <p:grpSpPr>
          <a:xfrm>
            <a:off x="6627195" y="5394380"/>
            <a:ext cx="648219" cy="108321"/>
            <a:chOff x="989013" y="3011424"/>
            <a:chExt cx="997926" cy="166759"/>
          </a:xfrm>
          <a:solidFill>
            <a:schemeClr val="accent5"/>
          </a:solidFill>
        </p:grpSpPr>
        <p:sp>
          <p:nvSpPr>
            <p:cNvPr id="126" name="Ellipse 13">
              <a:extLst>
                <a:ext uri="{FF2B5EF4-FFF2-40B4-BE49-F238E27FC236}">
                  <a16:creationId xmlns:a16="http://schemas.microsoft.com/office/drawing/2014/main" id="{B815F769-6C9E-54ED-3078-6F32F0B0C92A}"/>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27" name="Ellipse 23">
              <a:extLst>
                <a:ext uri="{FF2B5EF4-FFF2-40B4-BE49-F238E27FC236}">
                  <a16:creationId xmlns:a16="http://schemas.microsoft.com/office/drawing/2014/main" id="{873E2EC0-FDF0-440D-859C-3C70E79D7AF7}"/>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28" name="Ellipse 33">
              <a:extLst>
                <a:ext uri="{FF2B5EF4-FFF2-40B4-BE49-F238E27FC236}">
                  <a16:creationId xmlns:a16="http://schemas.microsoft.com/office/drawing/2014/main" id="{7BA8E1D7-4DCA-FB68-3BD5-6171E735FE27}"/>
                </a:ext>
              </a:extLst>
            </p:cNvPr>
            <p:cNvSpPr>
              <a:spLocks/>
            </p:cNvSpPr>
            <p:nvPr/>
          </p:nvSpPr>
          <p:spPr bwMode="gray">
            <a:xfrm>
              <a:off x="1404597"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29" name="Ellipse 43">
              <a:extLst>
                <a:ext uri="{FF2B5EF4-FFF2-40B4-BE49-F238E27FC236}">
                  <a16:creationId xmlns:a16="http://schemas.microsoft.com/office/drawing/2014/main" id="{D917778D-2D2A-816E-2AAA-966E7BC93A7D}"/>
                </a:ext>
              </a:extLst>
            </p:cNvPr>
            <p:cNvSpPr>
              <a:spLocks/>
            </p:cNvSpPr>
            <p:nvPr/>
          </p:nvSpPr>
          <p:spPr bwMode="gray">
            <a:xfrm>
              <a:off x="1612388"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30" name="Ellipse 53">
              <a:extLst>
                <a:ext uri="{FF2B5EF4-FFF2-40B4-BE49-F238E27FC236}">
                  <a16:creationId xmlns:a16="http://schemas.microsoft.com/office/drawing/2014/main" id="{17DF67EE-FAC0-654B-E227-FFDCFCB77AA2}"/>
                </a:ext>
              </a:extLst>
            </p:cNvPr>
            <p:cNvSpPr>
              <a:spLocks/>
            </p:cNvSpPr>
            <p:nvPr/>
          </p:nvSpPr>
          <p:spPr bwMode="gray">
            <a:xfrm>
              <a:off x="1820180"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131" name="Group 130">
            <a:extLst>
              <a:ext uri="{FF2B5EF4-FFF2-40B4-BE49-F238E27FC236}">
                <a16:creationId xmlns:a16="http://schemas.microsoft.com/office/drawing/2014/main" id="{0CABF598-B4B9-8C12-2C66-8F4B4CD80464}"/>
              </a:ext>
            </a:extLst>
          </p:cNvPr>
          <p:cNvGrpSpPr/>
          <p:nvPr/>
        </p:nvGrpSpPr>
        <p:grpSpPr>
          <a:xfrm>
            <a:off x="8992860" y="2316191"/>
            <a:ext cx="648219" cy="108321"/>
            <a:chOff x="989013" y="3011424"/>
            <a:chExt cx="997926" cy="166759"/>
          </a:xfrm>
          <a:solidFill>
            <a:schemeClr val="accent5"/>
          </a:solidFill>
        </p:grpSpPr>
        <p:sp>
          <p:nvSpPr>
            <p:cNvPr id="132" name="Ellipse 13">
              <a:extLst>
                <a:ext uri="{FF2B5EF4-FFF2-40B4-BE49-F238E27FC236}">
                  <a16:creationId xmlns:a16="http://schemas.microsoft.com/office/drawing/2014/main" id="{37312E74-6ACD-DE06-5B7C-E4C053CDB02A}"/>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33" name="Ellipse 23">
              <a:extLst>
                <a:ext uri="{FF2B5EF4-FFF2-40B4-BE49-F238E27FC236}">
                  <a16:creationId xmlns:a16="http://schemas.microsoft.com/office/drawing/2014/main" id="{E9E8ACDD-93D1-3718-08E5-77F7E4286534}"/>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34" name="Ellipse 33">
              <a:extLst>
                <a:ext uri="{FF2B5EF4-FFF2-40B4-BE49-F238E27FC236}">
                  <a16:creationId xmlns:a16="http://schemas.microsoft.com/office/drawing/2014/main" id="{220AE01E-8931-4D16-12BF-88B1A821A2DF}"/>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35" name="Ellipse 43">
              <a:extLst>
                <a:ext uri="{FF2B5EF4-FFF2-40B4-BE49-F238E27FC236}">
                  <a16:creationId xmlns:a16="http://schemas.microsoft.com/office/drawing/2014/main" id="{85F40416-F6DD-2E4F-5318-A862DAD75B93}"/>
                </a:ext>
              </a:extLst>
            </p:cNvPr>
            <p:cNvSpPr>
              <a:spLocks/>
            </p:cNvSpPr>
            <p:nvPr/>
          </p:nvSpPr>
          <p:spPr bwMode="gray">
            <a:xfrm>
              <a:off x="1612388"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36" name="Ellipse 53">
              <a:extLst>
                <a:ext uri="{FF2B5EF4-FFF2-40B4-BE49-F238E27FC236}">
                  <a16:creationId xmlns:a16="http://schemas.microsoft.com/office/drawing/2014/main" id="{0D951F34-6C4E-245B-2C6D-E89B71517940}"/>
                </a:ext>
              </a:extLst>
            </p:cNvPr>
            <p:cNvSpPr>
              <a:spLocks/>
            </p:cNvSpPr>
            <p:nvPr/>
          </p:nvSpPr>
          <p:spPr bwMode="gray">
            <a:xfrm>
              <a:off x="1820180"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137" name="Group 136">
            <a:extLst>
              <a:ext uri="{FF2B5EF4-FFF2-40B4-BE49-F238E27FC236}">
                <a16:creationId xmlns:a16="http://schemas.microsoft.com/office/drawing/2014/main" id="{50300D9E-9420-B658-C30E-1592A3DE8FBC}"/>
              </a:ext>
            </a:extLst>
          </p:cNvPr>
          <p:cNvGrpSpPr/>
          <p:nvPr/>
        </p:nvGrpSpPr>
        <p:grpSpPr>
          <a:xfrm>
            <a:off x="8992860" y="2880261"/>
            <a:ext cx="648219" cy="108321"/>
            <a:chOff x="989013" y="3011424"/>
            <a:chExt cx="997926" cy="166759"/>
          </a:xfrm>
          <a:solidFill>
            <a:schemeClr val="accent5"/>
          </a:solidFill>
        </p:grpSpPr>
        <p:sp>
          <p:nvSpPr>
            <p:cNvPr id="138" name="Ellipse 13">
              <a:extLst>
                <a:ext uri="{FF2B5EF4-FFF2-40B4-BE49-F238E27FC236}">
                  <a16:creationId xmlns:a16="http://schemas.microsoft.com/office/drawing/2014/main" id="{37C08091-54BD-8708-39A1-7BB4FC8C07D5}"/>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39" name="Ellipse 23">
              <a:extLst>
                <a:ext uri="{FF2B5EF4-FFF2-40B4-BE49-F238E27FC236}">
                  <a16:creationId xmlns:a16="http://schemas.microsoft.com/office/drawing/2014/main" id="{447044DC-C005-BE3C-DFBA-4BF80C50B013}"/>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40" name="Ellipse 33">
              <a:extLst>
                <a:ext uri="{FF2B5EF4-FFF2-40B4-BE49-F238E27FC236}">
                  <a16:creationId xmlns:a16="http://schemas.microsoft.com/office/drawing/2014/main" id="{93BCB65D-37E3-0D5C-6FD5-F5E264DF5A9E}"/>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41" name="Ellipse 43">
              <a:extLst>
                <a:ext uri="{FF2B5EF4-FFF2-40B4-BE49-F238E27FC236}">
                  <a16:creationId xmlns:a16="http://schemas.microsoft.com/office/drawing/2014/main" id="{1273D4DF-8B96-CEBF-9B4E-5A91718B7ED9}"/>
                </a:ext>
              </a:extLst>
            </p:cNvPr>
            <p:cNvSpPr>
              <a:spLocks/>
            </p:cNvSpPr>
            <p:nvPr/>
          </p:nvSpPr>
          <p:spPr bwMode="gray">
            <a:xfrm>
              <a:off x="1612388" y="3011424"/>
              <a:ext cx="166759" cy="166759"/>
            </a:xfrm>
            <a:prstGeom prst="ellipse">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42" name="Ellipse 53">
              <a:extLst>
                <a:ext uri="{FF2B5EF4-FFF2-40B4-BE49-F238E27FC236}">
                  <a16:creationId xmlns:a16="http://schemas.microsoft.com/office/drawing/2014/main" id="{3CB9FE9C-1819-7F5F-4A93-E3B9EE288E62}"/>
                </a:ext>
              </a:extLst>
            </p:cNvPr>
            <p:cNvSpPr>
              <a:spLocks/>
            </p:cNvSpPr>
            <p:nvPr/>
          </p:nvSpPr>
          <p:spPr bwMode="gray">
            <a:xfrm>
              <a:off x="1820180"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143" name="Group 142">
            <a:extLst>
              <a:ext uri="{FF2B5EF4-FFF2-40B4-BE49-F238E27FC236}">
                <a16:creationId xmlns:a16="http://schemas.microsoft.com/office/drawing/2014/main" id="{047E4BDD-A4E3-6C7C-8FE3-FF8882D5A7E7}"/>
              </a:ext>
            </a:extLst>
          </p:cNvPr>
          <p:cNvGrpSpPr/>
          <p:nvPr/>
        </p:nvGrpSpPr>
        <p:grpSpPr>
          <a:xfrm>
            <a:off x="8992860" y="3506312"/>
            <a:ext cx="648219" cy="108321"/>
            <a:chOff x="989013" y="3011424"/>
            <a:chExt cx="997926" cy="166759"/>
          </a:xfrm>
          <a:solidFill>
            <a:schemeClr val="accent5"/>
          </a:solidFill>
        </p:grpSpPr>
        <p:sp>
          <p:nvSpPr>
            <p:cNvPr id="144" name="Ellipse 13">
              <a:extLst>
                <a:ext uri="{FF2B5EF4-FFF2-40B4-BE49-F238E27FC236}">
                  <a16:creationId xmlns:a16="http://schemas.microsoft.com/office/drawing/2014/main" id="{C0D8CDA8-EBD9-8450-7F01-C4F2005F4D46}"/>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45" name="Ellipse 23">
              <a:extLst>
                <a:ext uri="{FF2B5EF4-FFF2-40B4-BE49-F238E27FC236}">
                  <a16:creationId xmlns:a16="http://schemas.microsoft.com/office/drawing/2014/main" id="{656EB97A-B340-1831-4EAA-FAB8AF1B71FE}"/>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46" name="Ellipse 33">
              <a:extLst>
                <a:ext uri="{FF2B5EF4-FFF2-40B4-BE49-F238E27FC236}">
                  <a16:creationId xmlns:a16="http://schemas.microsoft.com/office/drawing/2014/main" id="{37005372-846F-AF44-AE5C-BBE60F46BAA3}"/>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47" name="Ellipse 43">
              <a:extLst>
                <a:ext uri="{FF2B5EF4-FFF2-40B4-BE49-F238E27FC236}">
                  <a16:creationId xmlns:a16="http://schemas.microsoft.com/office/drawing/2014/main" id="{D8556172-5030-9F04-6405-A9E1827984DE}"/>
                </a:ext>
              </a:extLst>
            </p:cNvPr>
            <p:cNvSpPr>
              <a:spLocks/>
            </p:cNvSpPr>
            <p:nvPr/>
          </p:nvSpPr>
          <p:spPr bwMode="gray">
            <a:xfrm>
              <a:off x="1612388"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48" name="Ellipse 53">
              <a:extLst>
                <a:ext uri="{FF2B5EF4-FFF2-40B4-BE49-F238E27FC236}">
                  <a16:creationId xmlns:a16="http://schemas.microsoft.com/office/drawing/2014/main" id="{FB1267D2-5062-0E18-D1BC-788214F3A12D}"/>
                </a:ext>
              </a:extLst>
            </p:cNvPr>
            <p:cNvSpPr>
              <a:spLocks/>
            </p:cNvSpPr>
            <p:nvPr/>
          </p:nvSpPr>
          <p:spPr bwMode="gray">
            <a:xfrm>
              <a:off x="1820180"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149" name="Group 148">
            <a:extLst>
              <a:ext uri="{FF2B5EF4-FFF2-40B4-BE49-F238E27FC236}">
                <a16:creationId xmlns:a16="http://schemas.microsoft.com/office/drawing/2014/main" id="{52B576C3-30FD-63DA-9FA2-CB2F6FFB483A}"/>
              </a:ext>
            </a:extLst>
          </p:cNvPr>
          <p:cNvGrpSpPr/>
          <p:nvPr/>
        </p:nvGrpSpPr>
        <p:grpSpPr>
          <a:xfrm>
            <a:off x="8992860" y="4127449"/>
            <a:ext cx="648219" cy="108321"/>
            <a:chOff x="989013" y="3011424"/>
            <a:chExt cx="997926" cy="166759"/>
          </a:xfrm>
          <a:solidFill>
            <a:schemeClr val="bg2"/>
          </a:solidFill>
        </p:grpSpPr>
        <p:sp>
          <p:nvSpPr>
            <p:cNvPr id="150" name="Ellipse 13">
              <a:extLst>
                <a:ext uri="{FF2B5EF4-FFF2-40B4-BE49-F238E27FC236}">
                  <a16:creationId xmlns:a16="http://schemas.microsoft.com/office/drawing/2014/main" id="{50B9F1FF-E754-7B2E-C1B7-1716560F40B1}"/>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51" name="Ellipse 23">
              <a:extLst>
                <a:ext uri="{FF2B5EF4-FFF2-40B4-BE49-F238E27FC236}">
                  <a16:creationId xmlns:a16="http://schemas.microsoft.com/office/drawing/2014/main" id="{A9C781F3-CD2D-01BD-5C5E-5C96F2FDD1A2}"/>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52" name="Ellipse 33">
              <a:extLst>
                <a:ext uri="{FF2B5EF4-FFF2-40B4-BE49-F238E27FC236}">
                  <a16:creationId xmlns:a16="http://schemas.microsoft.com/office/drawing/2014/main" id="{A0D0E1FD-CD84-7ED4-43AD-B483A2D60057}"/>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53" name="Ellipse 43">
              <a:extLst>
                <a:ext uri="{FF2B5EF4-FFF2-40B4-BE49-F238E27FC236}">
                  <a16:creationId xmlns:a16="http://schemas.microsoft.com/office/drawing/2014/main" id="{1FF31323-9CF9-5DDA-0C17-7F3C6CC90C0B}"/>
                </a:ext>
              </a:extLst>
            </p:cNvPr>
            <p:cNvSpPr>
              <a:spLocks/>
            </p:cNvSpPr>
            <p:nvPr/>
          </p:nvSpPr>
          <p:spPr bwMode="gray">
            <a:xfrm>
              <a:off x="1612388"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54" name="Ellipse 53">
              <a:extLst>
                <a:ext uri="{FF2B5EF4-FFF2-40B4-BE49-F238E27FC236}">
                  <a16:creationId xmlns:a16="http://schemas.microsoft.com/office/drawing/2014/main" id="{FEDFDE54-B0D5-E832-3356-480C06972221}"/>
                </a:ext>
              </a:extLst>
            </p:cNvPr>
            <p:cNvSpPr>
              <a:spLocks/>
            </p:cNvSpPr>
            <p:nvPr/>
          </p:nvSpPr>
          <p:spPr bwMode="gray">
            <a:xfrm>
              <a:off x="1820180"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155" name="Group 154">
            <a:extLst>
              <a:ext uri="{FF2B5EF4-FFF2-40B4-BE49-F238E27FC236}">
                <a16:creationId xmlns:a16="http://schemas.microsoft.com/office/drawing/2014/main" id="{FD796299-7395-5078-BD08-DB8053B1D5FA}"/>
              </a:ext>
            </a:extLst>
          </p:cNvPr>
          <p:cNvGrpSpPr/>
          <p:nvPr/>
        </p:nvGrpSpPr>
        <p:grpSpPr>
          <a:xfrm>
            <a:off x="8992860" y="4752184"/>
            <a:ext cx="648219" cy="108321"/>
            <a:chOff x="989013" y="3011424"/>
            <a:chExt cx="997926" cy="166759"/>
          </a:xfrm>
          <a:solidFill>
            <a:schemeClr val="bg2"/>
          </a:solidFill>
        </p:grpSpPr>
        <p:sp>
          <p:nvSpPr>
            <p:cNvPr id="156" name="Ellipse 13">
              <a:extLst>
                <a:ext uri="{FF2B5EF4-FFF2-40B4-BE49-F238E27FC236}">
                  <a16:creationId xmlns:a16="http://schemas.microsoft.com/office/drawing/2014/main" id="{92548670-64D5-FCCE-BC65-26C03C0E2845}"/>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57" name="Ellipse 23">
              <a:extLst>
                <a:ext uri="{FF2B5EF4-FFF2-40B4-BE49-F238E27FC236}">
                  <a16:creationId xmlns:a16="http://schemas.microsoft.com/office/drawing/2014/main" id="{9D0EFAFB-4DDE-8CCB-7F05-45BAA846AAF8}"/>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58" name="Ellipse 33">
              <a:extLst>
                <a:ext uri="{FF2B5EF4-FFF2-40B4-BE49-F238E27FC236}">
                  <a16:creationId xmlns:a16="http://schemas.microsoft.com/office/drawing/2014/main" id="{1CCE2CAB-8F61-4784-B254-F52B4A864D12}"/>
                </a:ext>
              </a:extLst>
            </p:cNvPr>
            <p:cNvSpPr>
              <a:spLocks/>
            </p:cNvSpPr>
            <p:nvPr/>
          </p:nvSpPr>
          <p:spPr bwMode="gray">
            <a:xfrm>
              <a:off x="1404597"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59" name="Ellipse 43">
              <a:extLst>
                <a:ext uri="{FF2B5EF4-FFF2-40B4-BE49-F238E27FC236}">
                  <a16:creationId xmlns:a16="http://schemas.microsoft.com/office/drawing/2014/main" id="{8B9341F9-09FE-D461-D812-6779CA52C775}"/>
                </a:ext>
              </a:extLst>
            </p:cNvPr>
            <p:cNvSpPr>
              <a:spLocks/>
            </p:cNvSpPr>
            <p:nvPr/>
          </p:nvSpPr>
          <p:spPr bwMode="gray">
            <a:xfrm>
              <a:off x="1612388"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60" name="Ellipse 53">
              <a:extLst>
                <a:ext uri="{FF2B5EF4-FFF2-40B4-BE49-F238E27FC236}">
                  <a16:creationId xmlns:a16="http://schemas.microsoft.com/office/drawing/2014/main" id="{A93A219E-DD9B-7F17-332E-4D87746DD307}"/>
                </a:ext>
              </a:extLst>
            </p:cNvPr>
            <p:cNvSpPr>
              <a:spLocks/>
            </p:cNvSpPr>
            <p:nvPr/>
          </p:nvSpPr>
          <p:spPr bwMode="gray">
            <a:xfrm>
              <a:off x="1820180"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grpSp>
        <p:nvGrpSpPr>
          <p:cNvPr id="161" name="Group 160">
            <a:extLst>
              <a:ext uri="{FF2B5EF4-FFF2-40B4-BE49-F238E27FC236}">
                <a16:creationId xmlns:a16="http://schemas.microsoft.com/office/drawing/2014/main" id="{5E484E06-8CB5-F304-70A1-D3612BC12383}"/>
              </a:ext>
            </a:extLst>
          </p:cNvPr>
          <p:cNvGrpSpPr/>
          <p:nvPr/>
        </p:nvGrpSpPr>
        <p:grpSpPr>
          <a:xfrm>
            <a:off x="8992860" y="5394380"/>
            <a:ext cx="648219" cy="108321"/>
            <a:chOff x="989013" y="3011424"/>
            <a:chExt cx="997926" cy="166759"/>
          </a:xfrm>
          <a:solidFill>
            <a:schemeClr val="accent5"/>
          </a:solidFill>
        </p:grpSpPr>
        <p:sp>
          <p:nvSpPr>
            <p:cNvPr id="162" name="Ellipse 13">
              <a:extLst>
                <a:ext uri="{FF2B5EF4-FFF2-40B4-BE49-F238E27FC236}">
                  <a16:creationId xmlns:a16="http://schemas.microsoft.com/office/drawing/2014/main" id="{1077A870-851C-48C4-3828-76753D1C211F}"/>
                </a:ext>
              </a:extLst>
            </p:cNvPr>
            <p:cNvSpPr>
              <a:spLocks/>
            </p:cNvSpPr>
            <p:nvPr/>
          </p:nvSpPr>
          <p:spPr bwMode="gray">
            <a:xfrm>
              <a:off x="989013"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63" name="Ellipse 23">
              <a:extLst>
                <a:ext uri="{FF2B5EF4-FFF2-40B4-BE49-F238E27FC236}">
                  <a16:creationId xmlns:a16="http://schemas.microsoft.com/office/drawing/2014/main" id="{7EC3D43D-6E53-D957-581B-FB0C5B04BBBD}"/>
                </a:ext>
              </a:extLst>
            </p:cNvPr>
            <p:cNvSpPr>
              <a:spLocks/>
            </p:cNvSpPr>
            <p:nvPr/>
          </p:nvSpPr>
          <p:spPr bwMode="gray">
            <a:xfrm>
              <a:off x="1196805" y="3011424"/>
              <a:ext cx="166759" cy="166759"/>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64" name="Ellipse 33">
              <a:extLst>
                <a:ext uri="{FF2B5EF4-FFF2-40B4-BE49-F238E27FC236}">
                  <a16:creationId xmlns:a16="http://schemas.microsoft.com/office/drawing/2014/main" id="{201F2DA4-A699-22E1-F0EB-79AD333B4ED3}"/>
                </a:ext>
              </a:extLst>
            </p:cNvPr>
            <p:cNvSpPr>
              <a:spLocks/>
            </p:cNvSpPr>
            <p:nvPr/>
          </p:nvSpPr>
          <p:spPr bwMode="gray">
            <a:xfrm>
              <a:off x="1404597"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65" name="Ellipse 43">
              <a:extLst>
                <a:ext uri="{FF2B5EF4-FFF2-40B4-BE49-F238E27FC236}">
                  <a16:creationId xmlns:a16="http://schemas.microsoft.com/office/drawing/2014/main" id="{31589E0D-26AF-B89C-B313-A8622BE457B5}"/>
                </a:ext>
              </a:extLst>
            </p:cNvPr>
            <p:cNvSpPr>
              <a:spLocks/>
            </p:cNvSpPr>
            <p:nvPr/>
          </p:nvSpPr>
          <p:spPr bwMode="gray">
            <a:xfrm>
              <a:off x="1612388"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sp>
          <p:nvSpPr>
            <p:cNvPr id="166" name="Ellipse 53">
              <a:extLst>
                <a:ext uri="{FF2B5EF4-FFF2-40B4-BE49-F238E27FC236}">
                  <a16:creationId xmlns:a16="http://schemas.microsoft.com/office/drawing/2014/main" id="{4C1984DA-8CA8-5D07-A723-1822FFE242B8}"/>
                </a:ext>
              </a:extLst>
            </p:cNvPr>
            <p:cNvSpPr>
              <a:spLocks/>
            </p:cNvSpPr>
            <p:nvPr/>
          </p:nvSpPr>
          <p:spPr bwMode="gray">
            <a:xfrm>
              <a:off x="1820180" y="3011424"/>
              <a:ext cx="166759" cy="166759"/>
            </a:xfrm>
            <a:prstGeom prst="ellips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ontserrat ExtraBold"/>
                <a:ea typeface="+mn-ea"/>
              </a:endParaRPr>
            </a:p>
          </p:txBody>
        </p:sp>
      </p:grpSp>
      <p:sp>
        <p:nvSpPr>
          <p:cNvPr id="3" name="TextBox 2">
            <a:extLst>
              <a:ext uri="{FF2B5EF4-FFF2-40B4-BE49-F238E27FC236}">
                <a16:creationId xmlns:a16="http://schemas.microsoft.com/office/drawing/2014/main" id="{1866DE8F-2CE7-B162-D145-8391FFE2AA80}"/>
              </a:ext>
            </a:extLst>
          </p:cNvPr>
          <p:cNvSpPr txBox="1"/>
          <p:nvPr/>
        </p:nvSpPr>
        <p:spPr bwMode="gray">
          <a:xfrm>
            <a:off x="1597" y="0"/>
            <a:ext cx="2926080" cy="382208"/>
          </a:xfrm>
          <a:prstGeom prst="rect">
            <a:avLst/>
          </a:prstGeom>
          <a:solidFill>
            <a:schemeClr val="bg2">
              <a:lumMod val="75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200" b="1">
                <a:solidFill>
                  <a:schemeClr val="bg1"/>
                </a:solidFill>
              </a:rPr>
              <a:t>Appendix: Nuclear opportunity</a:t>
            </a:r>
          </a:p>
        </p:txBody>
      </p:sp>
    </p:spTree>
    <p:custDataLst>
      <p:tags r:id="rId1"/>
    </p:custDataLst>
    <p:extLst>
      <p:ext uri="{BB962C8B-B14F-4D97-AF65-F5344CB8AC3E}">
        <p14:creationId xmlns:p14="http://schemas.microsoft.com/office/powerpoint/2010/main" val="1568971002"/>
      </p:ext>
    </p:extLst>
  </p:cSld>
  <p:clrMapOvr>
    <a:masterClrMapping/>
  </p:clrMapOvr>
  <p:extLst>
    <p:ext uri="{6950BFC3-D8DA-4A85-94F7-54DA5524770B}">
      <p188:commentRel xmlns:p188="http://schemas.microsoft.com/office/powerpoint/2018/8/main" r:id="rId5"/>
    </p:ext>
  </p:extLs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7268CF-C620-CC56-244A-BC822FB9817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40577F-193F-A64B-1FD0-D85AD7643AA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92" imgH="591" progId="TCLayout.ActiveDocument.1">
                  <p:embed/>
                </p:oleObj>
              </mc:Choice>
              <mc:Fallback>
                <p:oleObj name="think-cell Slide" r:id="rId18" imgW="592" imgH="591" progId="TCLayout.ActiveDocument.1">
                  <p:embed/>
                  <p:pic>
                    <p:nvPicPr>
                      <p:cNvPr id="7" name="think-cell data - do not delete" hidden="1">
                        <a:extLst>
                          <a:ext uri="{FF2B5EF4-FFF2-40B4-BE49-F238E27FC236}">
                            <a16:creationId xmlns:a16="http://schemas.microsoft.com/office/drawing/2014/main" id="{3540577F-193F-A64B-1FD0-D85AD7643AA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109AC7A-343C-9EE2-8C83-1ED83E378097}"/>
              </a:ext>
            </a:extLst>
          </p:cNvPr>
          <p:cNvSpPr>
            <a:spLocks noGrp="1"/>
          </p:cNvSpPr>
          <p:nvPr>
            <p:ph type="title"/>
          </p:nvPr>
        </p:nvSpPr>
        <p:spPr/>
        <p:txBody>
          <a:bodyPr vert="horz">
            <a:noAutofit/>
          </a:bodyPr>
          <a:lstStyle/>
          <a:p>
            <a:r>
              <a:rPr lang="en-US" b="1" i="0" u="none" strike="noStrike">
                <a:solidFill>
                  <a:srgbClr val="000000"/>
                </a:solidFill>
                <a:effectLst/>
                <a:latin typeface="Arial" panose="020B0604020202020204" pitchFamily="34" charset="0"/>
              </a:rPr>
              <a:t>Traditional reactors have a proven safety track record, while SMRs take it further with built-in passive protections</a:t>
            </a:r>
            <a:r>
              <a:rPr lang="en-US" b="0" i="0">
                <a:solidFill>
                  <a:srgbClr val="000000"/>
                </a:solidFill>
                <a:effectLst/>
                <a:latin typeface="Arial" panose="020B0604020202020204" pitchFamily="34" charset="0"/>
              </a:rPr>
              <a:t>​</a:t>
            </a:r>
            <a:endParaRPr lang="en-US">
              <a:latin typeface="Arial" panose="020B0604020202020204" pitchFamily="34" charset="0"/>
              <a:cs typeface="Arial" panose="020B0604020202020204" pitchFamily="34" charset="0"/>
            </a:endParaRPr>
          </a:p>
        </p:txBody>
      </p:sp>
      <p:sp>
        <p:nvSpPr>
          <p:cNvPr id="2" name="btfpNotesBox368131">
            <a:hlinkClick r:id="rId20"/>
            <a:extLst>
              <a:ext uri="{FF2B5EF4-FFF2-40B4-BE49-F238E27FC236}">
                <a16:creationId xmlns:a16="http://schemas.microsoft.com/office/drawing/2014/main" id="{BAD08C08-15CC-662B-16B0-9DE91C33B080}"/>
              </a:ext>
            </a:extLst>
          </p:cNvPr>
          <p:cNvSpPr txBox="1"/>
          <p:nvPr>
            <p:custDataLst>
              <p:tags r:id="rId3"/>
            </p:custDataLst>
          </p:nvPr>
        </p:nvSpPr>
        <p:spPr bwMode="gray">
          <a:xfrm>
            <a:off x="330199" y="6309360"/>
            <a:ext cx="920304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s: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Nuclear Innovation Alliance</a:t>
            </a:r>
            <a:r>
              <a:rPr lang="en-US" sz="800" dirty="0">
                <a:solidFill>
                  <a:srgbClr val="000000"/>
                </a:solidFill>
                <a:latin typeface="Arial" panose="020B0604020202020204" pitchFamily="34" charset="0"/>
                <a:ea typeface="+mn-lt"/>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hlinkClick r:id="rId21"/>
              </a:rPr>
              <a:t>Safety</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2021); European Commission,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hlinkClick r:id="rId22"/>
              </a:rPr>
              <a:t>Small Modular Reactors Explained</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2024); Union of Concerned Scientists,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hlinkClick r:id="rId23"/>
              </a:rPr>
              <a:t>Small Modular Reactors</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2013);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lt"/>
                <a:cs typeface="Arial" panose="020B0604020202020204" pitchFamily="34" charset="0"/>
              </a:rPr>
              <a:t>NuScale</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Power,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hlinkClick r:id="rId24"/>
              </a:rPr>
              <a:t>Nuclear Power and Safety</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2025); Our World in Data,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hlinkClick r:id="rId25"/>
              </a:rPr>
              <a:t>Death rates per unit of electricity production</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2016).</a:t>
            </a: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redit: Christian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andjaja</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Quint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ouwink</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26"/>
              </a:rPr>
              <a:t>Gernot Wagner</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hare with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27"/>
              </a:rPr>
              <a:t>attribution</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ouwink</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800" b="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t al.,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energizing Nuclear" (23 September 2025).</a:t>
            </a:r>
          </a:p>
        </p:txBody>
      </p:sp>
      <p:graphicFrame>
        <p:nvGraphicFramePr>
          <p:cNvPr id="36" name="Table 35">
            <a:extLst>
              <a:ext uri="{FF2B5EF4-FFF2-40B4-BE49-F238E27FC236}">
                <a16:creationId xmlns:a16="http://schemas.microsoft.com/office/drawing/2014/main" id="{30EE94A4-4918-7232-E3AC-EFC7AB4BB03A}"/>
              </a:ext>
            </a:extLst>
          </p:cNvPr>
          <p:cNvGraphicFramePr>
            <a:graphicFrameLocks noGrp="1"/>
          </p:cNvGraphicFramePr>
          <p:nvPr>
            <p:extLst>
              <p:ext uri="{D42A27DB-BD31-4B8C-83A1-F6EECF244321}">
                <p14:modId xmlns:p14="http://schemas.microsoft.com/office/powerpoint/2010/main" val="372642177"/>
              </p:ext>
            </p:extLst>
          </p:nvPr>
        </p:nvGraphicFramePr>
        <p:xfrm>
          <a:off x="438945" y="3928011"/>
          <a:ext cx="7335045" cy="2080260"/>
        </p:xfrm>
        <a:graphic>
          <a:graphicData uri="http://schemas.openxmlformats.org/drawingml/2006/table">
            <a:tbl>
              <a:tblPr firstRow="1" bandRow="1">
                <a:tableStyleId>{2D5ABB26-0587-4C30-8999-92F81FD0307C}</a:tableStyleId>
              </a:tblPr>
              <a:tblGrid>
                <a:gridCol w="2445015">
                  <a:extLst>
                    <a:ext uri="{9D8B030D-6E8A-4147-A177-3AD203B41FA5}">
                      <a16:colId xmlns:a16="http://schemas.microsoft.com/office/drawing/2014/main" val="450818218"/>
                    </a:ext>
                  </a:extLst>
                </a:gridCol>
                <a:gridCol w="2445015">
                  <a:extLst>
                    <a:ext uri="{9D8B030D-6E8A-4147-A177-3AD203B41FA5}">
                      <a16:colId xmlns:a16="http://schemas.microsoft.com/office/drawing/2014/main" val="2129070320"/>
                    </a:ext>
                  </a:extLst>
                </a:gridCol>
                <a:gridCol w="2445015">
                  <a:extLst>
                    <a:ext uri="{9D8B030D-6E8A-4147-A177-3AD203B41FA5}">
                      <a16:colId xmlns:a16="http://schemas.microsoft.com/office/drawing/2014/main" val="3459595104"/>
                    </a:ext>
                  </a:extLst>
                </a:gridCol>
              </a:tblGrid>
              <a:tr h="128064">
                <a:tc>
                  <a:txBody>
                    <a:bodyPr/>
                    <a:lstStyle/>
                    <a:p>
                      <a:pPr lvl="0" algn="ctr">
                        <a:buNone/>
                      </a:pPr>
                      <a:r>
                        <a:rPr lang="en-US" sz="1050" b="1">
                          <a:effectLst/>
                          <a:latin typeface="Arial" panose="020B0604020202020204" pitchFamily="34" charset="0"/>
                          <a:cs typeface="Arial" panose="020B0604020202020204" pitchFamily="34" charset="0"/>
                        </a:rPr>
                        <a:t>Feature</a:t>
                      </a:r>
                    </a:p>
                  </a:txBody>
                  <a:tcPr marL="76200" marR="76200" anchor="ctr">
                    <a:lnL w="0">
                      <a:noFill/>
                    </a:lnL>
                    <a:lnR w="0">
                      <a:noFill/>
                    </a:lnR>
                    <a:lnT w="0">
                      <a:noFill/>
                    </a:lnT>
                    <a:lnB w="3175">
                      <a:solidFill>
                        <a:schemeClr val="tx1"/>
                      </a:solidFill>
                    </a:lnB>
                  </a:tcPr>
                </a:tc>
                <a:tc>
                  <a:txBody>
                    <a:bodyPr/>
                    <a:lstStyle/>
                    <a:p>
                      <a:pPr lvl="0" algn="ctr">
                        <a:buNone/>
                      </a:pPr>
                      <a:r>
                        <a:rPr lang="en-US" sz="1050" b="1">
                          <a:latin typeface="Arial" panose="020B0604020202020204" pitchFamily="34" charset="0"/>
                          <a:cs typeface="Arial" panose="020B0604020202020204" pitchFamily="34" charset="0"/>
                        </a:rPr>
                        <a:t>Small modular reactor</a:t>
                      </a:r>
                    </a:p>
                  </a:txBody>
                  <a:tcPr>
                    <a:lnL w="0">
                      <a:noFill/>
                    </a:lnL>
                    <a:lnR w="0">
                      <a:noFill/>
                    </a:lnR>
                    <a:lnT w="0">
                      <a:noFill/>
                    </a:lnT>
                    <a:lnB w="3175">
                      <a:solidFill>
                        <a:schemeClr val="tx1"/>
                      </a:solidFill>
                    </a:lnB>
                    <a:solidFill>
                      <a:schemeClr val="accent6">
                        <a:lumMod val="20000"/>
                        <a:lumOff val="80000"/>
                      </a:schemeClr>
                    </a:solidFill>
                  </a:tcPr>
                </a:tc>
                <a:tc>
                  <a:txBody>
                    <a:bodyPr/>
                    <a:lstStyle/>
                    <a:p>
                      <a:pPr lvl="0" algn="ctr">
                        <a:buNone/>
                      </a:pPr>
                      <a:r>
                        <a:rPr lang="en-US" sz="1050" b="1">
                          <a:latin typeface="Arial" panose="020B0604020202020204" pitchFamily="34" charset="0"/>
                          <a:cs typeface="Arial" panose="020B0604020202020204" pitchFamily="34" charset="0"/>
                        </a:rPr>
                        <a:t>Traditional plant</a:t>
                      </a:r>
                    </a:p>
                  </a:txBody>
                  <a:tcPr>
                    <a:lnL w="0">
                      <a:noFill/>
                    </a:lnL>
                    <a:lnR w="0">
                      <a:noFill/>
                    </a:lnR>
                    <a:lnT w="0">
                      <a:noFill/>
                    </a:lnT>
                    <a:lnB w="3175">
                      <a:solidFill>
                        <a:schemeClr val="tx1"/>
                      </a:solidFill>
                    </a:lnB>
                    <a:solidFill>
                      <a:schemeClr val="accent5">
                        <a:lumMod val="20000"/>
                        <a:lumOff val="80000"/>
                      </a:schemeClr>
                    </a:solidFill>
                  </a:tcPr>
                </a:tc>
                <a:extLst>
                  <a:ext uri="{0D108BD9-81ED-4DB2-BD59-A6C34878D82A}">
                    <a16:rowId xmlns:a16="http://schemas.microsoft.com/office/drawing/2014/main" val="2023106739"/>
                  </a:ext>
                </a:extLst>
              </a:tr>
              <a:tr h="128064">
                <a:tc>
                  <a:txBody>
                    <a:bodyPr/>
                    <a:lstStyle/>
                    <a:p>
                      <a:pPr marL="0" indent="0" fontAlgn="base" latinLnBrk="0">
                        <a:buNone/>
                      </a:pPr>
                      <a:r>
                        <a:rPr lang="en-US" sz="1050">
                          <a:effectLst/>
                          <a:latin typeface="Arial" panose="020B0604020202020204" pitchFamily="34" charset="0"/>
                          <a:cs typeface="Arial" panose="020B0604020202020204" pitchFamily="34" charset="0"/>
                        </a:rPr>
                        <a:t>Safety systems</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fontAlgn="base" latinLnBrk="0">
                        <a:buNone/>
                      </a:pPr>
                      <a:r>
                        <a:rPr lang="en-US" sz="1050">
                          <a:effectLst/>
                          <a:latin typeface="Arial" panose="020B0604020202020204" pitchFamily="34" charset="0"/>
                          <a:cs typeface="Arial" panose="020B0604020202020204" pitchFamily="34" charset="0"/>
                        </a:rPr>
                        <a:t>Passive cooling systems, </a:t>
                      </a:r>
                      <a:br>
                        <a:rPr lang="en-US" sz="1050">
                          <a:effectLst/>
                          <a:latin typeface="Arial" panose="020B0604020202020204" pitchFamily="34" charset="0"/>
                          <a:cs typeface="Arial" panose="020B0604020202020204" pitchFamily="34" charset="0"/>
                        </a:rPr>
                      </a:br>
                      <a:r>
                        <a:rPr lang="en-US" sz="1050">
                          <a:effectLst/>
                          <a:latin typeface="Arial" panose="020B0604020202020204" pitchFamily="34" charset="0"/>
                          <a:cs typeface="Arial" panose="020B0604020202020204" pitchFamily="34" charset="0"/>
                        </a:rPr>
                        <a:t>simpler design</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fontAlgn="base" latinLnBrk="0">
                        <a:buNone/>
                      </a:pPr>
                      <a:r>
                        <a:rPr lang="en-US" sz="1050">
                          <a:effectLst/>
                          <a:latin typeface="Arial" panose="020B0604020202020204" pitchFamily="34" charset="0"/>
                          <a:cs typeface="Arial" panose="020B0604020202020204" pitchFamily="34" charset="0"/>
                        </a:rPr>
                        <a:t>Active cooling systems, complex design</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54230108"/>
                  </a:ext>
                </a:extLst>
              </a:tr>
              <a:tr h="128064">
                <a:tc>
                  <a:txBody>
                    <a:bodyPr/>
                    <a:lstStyle/>
                    <a:p>
                      <a:pPr marL="0" indent="0" fontAlgn="base" latinLnBrk="0">
                        <a:buNone/>
                      </a:pPr>
                      <a:r>
                        <a:rPr lang="en-US" sz="1050">
                          <a:effectLst/>
                          <a:latin typeface="Arial" panose="020B0604020202020204" pitchFamily="34" charset="0"/>
                          <a:cs typeface="Arial" panose="020B0604020202020204" pitchFamily="34" charset="0"/>
                        </a:rPr>
                        <a:t>Radioactive inventory</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fontAlgn="base" latinLnBrk="0">
                        <a:buNone/>
                      </a:pPr>
                      <a:r>
                        <a:rPr lang="en-US" sz="1050">
                          <a:effectLst/>
                          <a:latin typeface="Arial" panose="020B0604020202020204" pitchFamily="34" charset="0"/>
                          <a:cs typeface="Arial" panose="020B0604020202020204" pitchFamily="34" charset="0"/>
                        </a:rPr>
                        <a:t>Smaller inventory</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fontAlgn="base" latinLnBrk="0">
                        <a:buNone/>
                      </a:pPr>
                      <a:r>
                        <a:rPr lang="en-US" sz="1050">
                          <a:effectLst/>
                          <a:latin typeface="Arial" panose="020B0604020202020204" pitchFamily="34" charset="0"/>
                          <a:cs typeface="Arial" panose="020B0604020202020204" pitchFamily="34" charset="0"/>
                        </a:rPr>
                        <a:t>Larger inventory</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200297278"/>
                  </a:ext>
                </a:extLst>
              </a:tr>
              <a:tr h="128064">
                <a:tc>
                  <a:txBody>
                    <a:bodyPr/>
                    <a:lstStyle/>
                    <a:p>
                      <a:pPr marL="0" indent="0" fontAlgn="base" latinLnBrk="0">
                        <a:buNone/>
                      </a:pPr>
                      <a:r>
                        <a:rPr lang="en-US" sz="1050">
                          <a:effectLst/>
                          <a:latin typeface="Arial" panose="020B0604020202020204" pitchFamily="34" charset="0"/>
                          <a:cs typeface="Arial" panose="020B0604020202020204" pitchFamily="34" charset="0"/>
                        </a:rPr>
                        <a:t>Containment structures</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fontAlgn="base" latinLnBrk="0">
                        <a:buNone/>
                      </a:pPr>
                      <a:r>
                        <a:rPr lang="en-US" sz="1050">
                          <a:effectLst/>
                          <a:latin typeface="Arial" panose="020B0604020202020204" pitchFamily="34" charset="0"/>
                          <a:cs typeface="Arial" panose="020B0604020202020204" pitchFamily="34" charset="0"/>
                        </a:rPr>
                        <a:t>Less robust</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fontAlgn="base" latinLnBrk="0">
                        <a:buNone/>
                      </a:pPr>
                      <a:r>
                        <a:rPr lang="en-US" sz="1050">
                          <a:effectLst/>
                          <a:latin typeface="Arial" panose="020B0604020202020204" pitchFamily="34" charset="0"/>
                          <a:cs typeface="Arial" panose="020B0604020202020204" pitchFamily="34" charset="0"/>
                        </a:rPr>
                        <a:t>More robust</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91472058"/>
                  </a:ext>
                </a:extLst>
              </a:tr>
              <a:tr h="128064">
                <a:tc>
                  <a:txBody>
                    <a:bodyPr/>
                    <a:lstStyle/>
                    <a:p>
                      <a:pPr marL="0" indent="0" fontAlgn="base" latinLnBrk="0">
                        <a:buNone/>
                      </a:pPr>
                      <a:r>
                        <a:rPr lang="en-US" sz="1050">
                          <a:effectLst/>
                          <a:latin typeface="Arial" panose="020B0604020202020204" pitchFamily="34" charset="0"/>
                          <a:cs typeface="Arial" panose="020B0604020202020204" pitchFamily="34" charset="0"/>
                        </a:rPr>
                        <a:t>Emergency planning zones</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fontAlgn="base" latinLnBrk="0">
                        <a:buNone/>
                      </a:pPr>
                      <a:r>
                        <a:rPr lang="en-US" sz="1050">
                          <a:effectLst/>
                          <a:latin typeface="Arial" panose="020B0604020202020204" pitchFamily="34" charset="0"/>
                          <a:cs typeface="Arial" panose="020B0604020202020204" pitchFamily="34" charset="0"/>
                        </a:rPr>
                        <a:t>Reduced (e.g., site boundary)</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fontAlgn="base" latinLnBrk="0">
                        <a:buNone/>
                      </a:pPr>
                      <a:r>
                        <a:rPr lang="en-US" sz="1050">
                          <a:effectLst/>
                          <a:latin typeface="Arial" panose="020B0604020202020204" pitchFamily="34" charset="0"/>
                          <a:cs typeface="Arial" panose="020B0604020202020204" pitchFamily="34" charset="0"/>
                        </a:rPr>
                        <a:t>Larger zones (10+ miles)</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323522735"/>
                  </a:ext>
                </a:extLst>
              </a:tr>
              <a:tr h="128064">
                <a:tc>
                  <a:txBody>
                    <a:bodyPr/>
                    <a:lstStyle/>
                    <a:p>
                      <a:pPr marL="0" indent="0" fontAlgn="base" latinLnBrk="0">
                        <a:buNone/>
                      </a:pPr>
                      <a:r>
                        <a:rPr lang="en-US" sz="1050">
                          <a:effectLst/>
                          <a:latin typeface="Arial" panose="020B0604020202020204" pitchFamily="34" charset="0"/>
                          <a:cs typeface="Arial" panose="020B0604020202020204" pitchFamily="34" charset="0"/>
                        </a:rPr>
                        <a:t>Risk from natural hazards</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fontAlgn="base" latinLnBrk="0">
                        <a:buNone/>
                      </a:pPr>
                      <a:r>
                        <a:rPr lang="en-US" sz="1050">
                          <a:effectLst/>
                          <a:latin typeface="Arial" panose="020B0604020202020204" pitchFamily="34" charset="0"/>
                          <a:cs typeface="Arial" panose="020B0604020202020204" pitchFamily="34" charset="0"/>
                        </a:rPr>
                        <a:t>Underground siting reduces some risks</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fontAlgn="base" latinLnBrk="0">
                        <a:buNone/>
                      </a:pPr>
                      <a:r>
                        <a:rPr lang="en-US" sz="1050">
                          <a:effectLst/>
                          <a:latin typeface="Arial" panose="020B0604020202020204" pitchFamily="34" charset="0"/>
                          <a:cs typeface="Arial" panose="020B0604020202020204" pitchFamily="34" charset="0"/>
                        </a:rPr>
                        <a:t>Above-ground siting increases exposure</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64570822"/>
                  </a:ext>
                </a:extLst>
              </a:tr>
              <a:tr h="128064">
                <a:tc>
                  <a:txBody>
                    <a:bodyPr/>
                    <a:lstStyle/>
                    <a:p>
                      <a:pPr marL="0" indent="0" fontAlgn="base" latinLnBrk="0">
                        <a:buNone/>
                      </a:pPr>
                      <a:r>
                        <a:rPr lang="en-US" sz="1050">
                          <a:effectLst/>
                          <a:latin typeface="Arial" panose="020B0604020202020204" pitchFamily="34" charset="0"/>
                          <a:cs typeface="Arial" panose="020B0604020202020204" pitchFamily="34" charset="0"/>
                        </a:rPr>
                        <a:t>Cumulative risk (multiple units)</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0" cap="flat" cmpd="sng" algn="ctr">
                      <a:noFill/>
                      <a:prstDash val="solid"/>
                      <a:round/>
                      <a:headEnd type="none" w="med" len="med"/>
                      <a:tailEnd type="none" w="med" len="med"/>
                    </a:lnB>
                  </a:tcPr>
                </a:tc>
                <a:tc>
                  <a:txBody>
                    <a:bodyPr/>
                    <a:lstStyle/>
                    <a:p>
                      <a:pPr marL="0" indent="0" fontAlgn="base" latinLnBrk="0">
                        <a:buNone/>
                      </a:pPr>
                      <a:r>
                        <a:rPr lang="en-US" sz="1050">
                          <a:effectLst/>
                          <a:latin typeface="Arial" panose="020B0604020202020204" pitchFamily="34" charset="0"/>
                          <a:cs typeface="Arial" panose="020B0604020202020204" pitchFamily="34" charset="0"/>
                        </a:rPr>
                        <a:t>Higher if many modules are used</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0" cap="flat" cmpd="sng" algn="ctr">
                      <a:noFill/>
                      <a:prstDash val="solid"/>
                      <a:round/>
                      <a:headEnd type="none" w="med" len="med"/>
                      <a:tailEnd type="none" w="med" len="med"/>
                    </a:lnB>
                    <a:solidFill>
                      <a:schemeClr val="accent6">
                        <a:lumMod val="20000"/>
                        <a:lumOff val="80000"/>
                      </a:schemeClr>
                    </a:solidFill>
                  </a:tcPr>
                </a:tc>
                <a:tc>
                  <a:txBody>
                    <a:bodyPr/>
                    <a:lstStyle/>
                    <a:p>
                      <a:pPr marL="0" indent="0" fontAlgn="base" latinLnBrk="0">
                        <a:buNone/>
                      </a:pPr>
                      <a:r>
                        <a:rPr lang="en-US" sz="1050">
                          <a:effectLst/>
                          <a:latin typeface="Arial" panose="020B0604020202020204" pitchFamily="34" charset="0"/>
                          <a:cs typeface="Arial" panose="020B0604020202020204" pitchFamily="34" charset="0"/>
                        </a:rPr>
                        <a:t>Centralized risk in single reactor</a:t>
                      </a:r>
                    </a:p>
                  </a:txBody>
                  <a:tcPr marL="76200" marR="76200" anchor="ctr">
                    <a:lnL w="0" cap="flat" cmpd="sng" algn="ctr">
                      <a:noFill/>
                      <a:prstDash val="solid"/>
                      <a:round/>
                      <a:headEnd type="none" w="med" len="med"/>
                      <a:tailEnd type="none" w="med" len="med"/>
                    </a:lnL>
                    <a:lnR w="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0" cap="flat" cmpd="sng" algn="ctr">
                      <a:no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52199195"/>
                  </a:ext>
                </a:extLst>
              </a:tr>
            </a:tbl>
          </a:graphicData>
        </a:graphic>
      </p:graphicFrame>
      <p:sp>
        <p:nvSpPr>
          <p:cNvPr id="68" name="TextBox 67">
            <a:extLst>
              <a:ext uri="{FF2B5EF4-FFF2-40B4-BE49-F238E27FC236}">
                <a16:creationId xmlns:a16="http://schemas.microsoft.com/office/drawing/2014/main" id="{63EE5D91-5747-A513-43C6-2B63C0D3B8A7}"/>
              </a:ext>
            </a:extLst>
          </p:cNvPr>
          <p:cNvSpPr txBox="1"/>
          <p:nvPr/>
        </p:nvSpPr>
        <p:spPr bwMode="gray">
          <a:xfrm>
            <a:off x="329184" y="3591481"/>
            <a:ext cx="5451475" cy="288925"/>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MR vs. </a:t>
            </a:r>
            <a:r>
              <a:rPr lang="en-US" sz="1400" b="1">
                <a:solidFill>
                  <a:srgbClr val="000000"/>
                </a:solidFill>
                <a:latin typeface="Arial" panose="020B0604020202020204" pitchFamily="34" charset="0"/>
                <a:cs typeface="Arial" panose="020B0604020202020204" pitchFamily="34" charset="0"/>
              </a:rPr>
              <a:t>t</a:t>
            </a:r>
            <a:r>
              <a:rPr kumimoji="0" lang="en-US" sz="14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raditional</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lang="en-US" sz="1400" b="1">
                <a:solidFill>
                  <a:srgbClr val="000000"/>
                </a:solidFill>
                <a:latin typeface="Arial" panose="020B0604020202020204" pitchFamily="34" charset="0"/>
                <a:cs typeface="Arial" panose="020B0604020202020204" pitchFamily="34" charset="0"/>
              </a:rPr>
              <a:t>p</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ant safety difference</a:t>
            </a: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 name="TextBox 44">
            <a:extLst>
              <a:ext uri="{FF2B5EF4-FFF2-40B4-BE49-F238E27FC236}">
                <a16:creationId xmlns:a16="http://schemas.microsoft.com/office/drawing/2014/main" id="{3AEDFD93-AE27-378A-D9D0-933CF48FDB74}"/>
              </a:ext>
            </a:extLst>
          </p:cNvPr>
          <p:cNvSpPr txBox="1"/>
          <p:nvPr/>
        </p:nvSpPr>
        <p:spPr bwMode="gray">
          <a:xfrm>
            <a:off x="329184" y="1554480"/>
            <a:ext cx="5451475" cy="288925"/>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ath rates per </a:t>
            </a:r>
            <a:r>
              <a:rPr kumimoji="0" lang="en-US" sz="14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TWh</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electricity produced</a:t>
            </a: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3" name="Group 2">
            <a:extLst>
              <a:ext uri="{FF2B5EF4-FFF2-40B4-BE49-F238E27FC236}">
                <a16:creationId xmlns:a16="http://schemas.microsoft.com/office/drawing/2014/main" id="{B19F78D7-472C-5EB9-B18B-A85EE32310FD}"/>
              </a:ext>
            </a:extLst>
          </p:cNvPr>
          <p:cNvGrpSpPr/>
          <p:nvPr/>
        </p:nvGrpSpPr>
        <p:grpSpPr>
          <a:xfrm>
            <a:off x="329174" y="1841712"/>
            <a:ext cx="7680969" cy="2044489"/>
            <a:chOff x="376337" y="1784602"/>
            <a:chExt cx="3941551" cy="2044160"/>
          </a:xfrm>
        </p:grpSpPr>
        <p:cxnSp>
          <p:nvCxnSpPr>
            <p:cNvPr id="70" name="btfpColumnHeaderBoxLine912903">
              <a:extLst>
                <a:ext uri="{FF2B5EF4-FFF2-40B4-BE49-F238E27FC236}">
                  <a16:creationId xmlns:a16="http://schemas.microsoft.com/office/drawing/2014/main" id="{48B73CD6-1572-334B-8E81-B913A96E005F}"/>
                </a:ext>
              </a:extLst>
            </p:cNvPr>
            <p:cNvCxnSpPr>
              <a:cxnSpLocks/>
            </p:cNvCxnSpPr>
            <p:nvPr/>
          </p:nvCxnSpPr>
          <p:spPr bwMode="gray">
            <a:xfrm>
              <a:off x="376342" y="3828762"/>
              <a:ext cx="394154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7" name="btfpColumnHeaderBoxLine912903">
              <a:extLst>
                <a:ext uri="{FF2B5EF4-FFF2-40B4-BE49-F238E27FC236}">
                  <a16:creationId xmlns:a16="http://schemas.microsoft.com/office/drawing/2014/main" id="{16B55346-3F07-612D-85A5-C8927493E5A5}"/>
                </a:ext>
              </a:extLst>
            </p:cNvPr>
            <p:cNvCxnSpPr>
              <a:cxnSpLocks/>
            </p:cNvCxnSpPr>
            <p:nvPr/>
          </p:nvCxnSpPr>
          <p:spPr bwMode="gray">
            <a:xfrm>
              <a:off x="376337" y="1784602"/>
              <a:ext cx="394154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1" name="TextBox 8">
            <a:extLst>
              <a:ext uri="{FF2B5EF4-FFF2-40B4-BE49-F238E27FC236}">
                <a16:creationId xmlns:a16="http://schemas.microsoft.com/office/drawing/2014/main" id="{0A2FCEFE-F859-8A50-90FF-9340E9326646}"/>
              </a:ext>
            </a:extLst>
          </p:cNvPr>
          <p:cNvSpPr txBox="1"/>
          <p:nvPr/>
        </p:nvSpPr>
        <p:spPr bwMode="gray">
          <a:xfrm>
            <a:off x="8289327" y="1555200"/>
            <a:ext cx="3192773" cy="3593291"/>
          </a:xfrm>
          <a:prstGeom prst="rect">
            <a:avLst/>
          </a:prstGeom>
          <a:solidFill>
            <a:srgbClr val="E3E8EE"/>
          </a:solidFill>
        </p:spPr>
        <p:txBody>
          <a:bodyPr wrap="square" lIns="137160" tIns="137160" rIns="273600" bIns="137160" rtlCol="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bservations</a:t>
            </a:r>
          </a:p>
          <a:p>
            <a:pPr marL="180975" marR="0" lvl="0" indent="-173038" algn="l" defTabSz="914400" rtl="0" eaLnBrk="1" fontAlgn="auto" latinLnBrk="0" hangingPunct="1">
              <a:lnSpc>
                <a:spcPct val="100000"/>
              </a:lnSpc>
              <a:spcBef>
                <a:spcPts val="600"/>
              </a:spcBef>
              <a:spcAft>
                <a:spcPts val="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Nuclear</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 energy stands out as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one of the safest energy sources</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 significantly lower than fossil fuels like coal and oil.</a:t>
            </a:r>
            <a:endPar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endParaRPr>
          </a:p>
          <a:p>
            <a:pPr marL="180975" marR="0" lvl="0" indent="-173038" algn="l" defTabSz="914400" rtl="0" eaLnBrk="1" fontAlgn="auto" latinLnBrk="0" hangingPunct="1">
              <a:lnSpc>
                <a:spcPct val="100000"/>
              </a:lnSpc>
              <a:spcBef>
                <a:spcPts val="600"/>
              </a:spcBef>
              <a:spcAft>
                <a:spcPts val="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This stark contrast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underscores </a:t>
            </a:r>
            <a:r>
              <a:rPr kumimoji="0" lang="en-US" sz="1050" b="1" i="0" u="none" strike="noStrike" kern="1200" cap="none" spc="0" normalizeH="0" baseline="0" noProof="0" err="1">
                <a:ln>
                  <a:noFill/>
                </a:ln>
                <a:solidFill>
                  <a:srgbClr val="000000"/>
                </a:solidFill>
                <a:effectLst/>
                <a:uLnTx/>
                <a:uFillTx/>
                <a:latin typeface="Arial" panose="020B0604020202020204" pitchFamily="34" charset="0"/>
                <a:ea typeface="+mn-lt"/>
                <a:cs typeface="Arial" panose="020B0604020202020204" pitchFamily="34" charset="0"/>
              </a:rPr>
              <a:t>nuclear’s</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 potential to deliver clean and safe energy </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at scale.</a:t>
            </a:r>
            <a:endParaRPr kumimoji="0" lang="en-US" sz="105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180975" marR="0" lvl="0" indent="-173038" algn="l" defTabSz="914400" rtl="0" eaLnBrk="1" fontAlgn="auto" latinLnBrk="0" hangingPunct="1">
              <a:lnSpc>
                <a:spcPct val="100000"/>
              </a:lnSpc>
              <a:spcBef>
                <a:spcPts val="600"/>
              </a:spcBef>
              <a:spcAft>
                <a:spcPts val="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SMRs build on this safety advantage with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passive systems</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smaller radioactive inventories</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 and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underground siting</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a:t>
            </a:r>
          </a:p>
          <a:p>
            <a:pPr marL="180975" marR="0" lvl="0" indent="-173038" algn="l" defTabSz="914400" rtl="0" eaLnBrk="1" fontAlgn="auto" latinLnBrk="0" hangingPunct="1">
              <a:lnSpc>
                <a:spcPct val="100000"/>
              </a:lnSpc>
              <a:spcBef>
                <a:spcPts val="600"/>
              </a:spcBef>
              <a:spcAft>
                <a:spcPts val="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However,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less robust containment and scalability risks </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mean that safety gains depend on strong regulatory oversight.</a:t>
            </a:r>
          </a:p>
          <a:p>
            <a:pPr marL="180975" marR="0" lvl="0" indent="-173038" algn="l" defTabSz="914400" rtl="0" eaLnBrk="1" fontAlgn="auto" latinLnBrk="0" hangingPunct="1">
              <a:lnSpc>
                <a:spcPct val="100000"/>
              </a:lnSpc>
              <a:spcBef>
                <a:spcPts val="600"/>
              </a:spcBef>
              <a:spcAft>
                <a:spcPts val="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SMRs are particularly suited for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remote or rural regions </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with limited grid infrastructure,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industrial sectors requiring heat or electricity</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 and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nuclear first-timer countries</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 that try to adopt nuclear energy.</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aphicFrame>
        <p:nvGraphicFramePr>
          <p:cNvPr id="38" name="Chart 37"/>
          <p:cNvGraphicFramePr/>
          <p:nvPr>
            <p:custDataLst>
              <p:tags r:id="rId4"/>
            </p:custDataLst>
          </p:nvPr>
        </p:nvGraphicFramePr>
        <p:xfrm>
          <a:off x="1247775" y="1652588"/>
          <a:ext cx="6526213" cy="2051050"/>
        </p:xfrm>
        <a:graphic>
          <a:graphicData uri="http://schemas.openxmlformats.org/drawingml/2006/chart">
            <c:chart xmlns:c="http://schemas.openxmlformats.org/drawingml/2006/chart" xmlns:r="http://schemas.openxmlformats.org/officeDocument/2006/relationships" r:id="rId28"/>
          </a:graphicData>
        </a:graphic>
      </p:graphicFrame>
      <p:sp>
        <p:nvSpPr>
          <p:cNvPr id="13" name="Text Placeholder 2">
            <a:extLst>
              <a:ext uri="{FF2B5EF4-FFF2-40B4-BE49-F238E27FC236}">
                <a16:creationId xmlns:a16="http://schemas.microsoft.com/office/drawing/2014/main" id="{92300954-6453-2C45-15B5-E5A98F183958}"/>
              </a:ext>
            </a:extLst>
          </p:cNvPr>
          <p:cNvSpPr txBox="1">
            <a:spLocks/>
          </p:cNvSpPr>
          <p:nvPr>
            <p:custDataLst>
              <p:tags r:id="rId5"/>
            </p:custDataLst>
          </p:nvPr>
        </p:nvSpPr>
        <p:spPr bwMode="auto">
          <a:xfrm>
            <a:off x="619125" y="1882775"/>
            <a:ext cx="625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2BB2F51-6B06-4EA4-910F-CDF921C48AA1}" type="datetime'''''''''''''''''''''B''ro''''w''n'''''' c''o''''''''''a''l'''">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Brown coal</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Text Placeholder 2">
            <a:extLst>
              <a:ext uri="{FF2B5EF4-FFF2-40B4-BE49-F238E27FC236}">
                <a16:creationId xmlns:a16="http://schemas.microsoft.com/office/drawing/2014/main" id="{246FF2B3-8E29-E992-C185-F0D94B2D7A6E}"/>
              </a:ext>
            </a:extLst>
          </p:cNvPr>
          <p:cNvSpPr txBox="1">
            <a:spLocks/>
          </p:cNvSpPr>
          <p:nvPr>
            <p:custDataLst>
              <p:tags r:id="rId6"/>
            </p:custDataLst>
          </p:nvPr>
        </p:nvSpPr>
        <p:spPr bwMode="auto">
          <a:xfrm>
            <a:off x="984250" y="2027238"/>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71DD3DA-B3A7-45C1-AD3E-164B9D296269}" type="datetime'''C''''''''''''o''''''''''''''''''''''al'''''">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Coal</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 Placeholder 2">
            <a:extLst>
              <a:ext uri="{FF2B5EF4-FFF2-40B4-BE49-F238E27FC236}">
                <a16:creationId xmlns:a16="http://schemas.microsoft.com/office/drawing/2014/main" id="{022798BA-B4E5-1881-4CC3-F53B30650A3A}"/>
              </a:ext>
            </a:extLst>
          </p:cNvPr>
          <p:cNvSpPr txBox="1">
            <a:spLocks/>
          </p:cNvSpPr>
          <p:nvPr>
            <p:custDataLst>
              <p:tags r:id="rId7"/>
            </p:custDataLst>
          </p:nvPr>
        </p:nvSpPr>
        <p:spPr bwMode="auto">
          <a:xfrm>
            <a:off x="1089025" y="2173288"/>
            <a:ext cx="1555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87ADDF3-1109-4220-92CB-74F73CBBBFEC}" type="datetime'''O''''i''l'''''''''''''''''''''''''''''''''''''''''''''''">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Oil</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Text Placeholder 2">
            <a:extLst>
              <a:ext uri="{FF2B5EF4-FFF2-40B4-BE49-F238E27FC236}">
                <a16:creationId xmlns:a16="http://schemas.microsoft.com/office/drawing/2014/main" id="{43CC9908-7CF0-5E0F-B73C-1A887C7803EA}"/>
              </a:ext>
            </a:extLst>
          </p:cNvPr>
          <p:cNvSpPr txBox="1">
            <a:spLocks/>
          </p:cNvSpPr>
          <p:nvPr>
            <p:custDataLst>
              <p:tags r:id="rId8"/>
            </p:custDataLst>
          </p:nvPr>
        </p:nvSpPr>
        <p:spPr bwMode="auto">
          <a:xfrm>
            <a:off x="619125" y="2319338"/>
            <a:ext cx="625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1466D23-C423-4B97-8265-D3DF84EF8A63}" type="datetime'C''h''e''''''''r''n''o''b''''''''''''''''''''''''''yl*'''">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Chernobyl*</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Text Placeholder 2">
            <a:extLst>
              <a:ext uri="{FF2B5EF4-FFF2-40B4-BE49-F238E27FC236}">
                <a16:creationId xmlns:a16="http://schemas.microsoft.com/office/drawing/2014/main" id="{E75F7DD9-6AA2-9FD4-F37D-6B1D10ACCD14}"/>
              </a:ext>
            </a:extLst>
          </p:cNvPr>
          <p:cNvSpPr txBox="1">
            <a:spLocks/>
          </p:cNvSpPr>
          <p:nvPr>
            <p:custDataLst>
              <p:tags r:id="rId9"/>
            </p:custDataLst>
          </p:nvPr>
        </p:nvSpPr>
        <p:spPr bwMode="auto">
          <a:xfrm>
            <a:off x="758825" y="2463800"/>
            <a:ext cx="4857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AC0B20C-C0DC-41AB-8E8A-93CCD2BCD8DE}" type="datetime'B''''''i''o''''m''''a''''''s''''''''''''s'''">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Biomass</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Text Placeholder 2">
            <a:extLst>
              <a:ext uri="{FF2B5EF4-FFF2-40B4-BE49-F238E27FC236}">
                <a16:creationId xmlns:a16="http://schemas.microsoft.com/office/drawing/2014/main" id="{E7B5E469-5A45-B587-7A6E-E125A7CE2FA5}"/>
              </a:ext>
            </a:extLst>
          </p:cNvPr>
          <p:cNvSpPr txBox="1">
            <a:spLocks/>
          </p:cNvSpPr>
          <p:nvPr>
            <p:custDataLst>
              <p:tags r:id="rId10"/>
            </p:custDataLst>
          </p:nvPr>
        </p:nvSpPr>
        <p:spPr bwMode="auto">
          <a:xfrm>
            <a:off x="598488" y="2609850"/>
            <a:ext cx="646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41DDFE4-5BFF-4725-846E-10BD2AC06478}" type="datetime'''N''''''a''''t''ur''''''''''a''l ''''''''''''''g''''''''as'">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Natural gas</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 Placeholder 2">
            <a:extLst>
              <a:ext uri="{FF2B5EF4-FFF2-40B4-BE49-F238E27FC236}">
                <a16:creationId xmlns:a16="http://schemas.microsoft.com/office/drawing/2014/main" id="{D339B97A-DEDC-A4C9-9902-0D70BB93752F}"/>
              </a:ext>
            </a:extLst>
          </p:cNvPr>
          <p:cNvSpPr txBox="1">
            <a:spLocks/>
          </p:cNvSpPr>
          <p:nvPr>
            <p:custDataLst>
              <p:tags r:id="rId11"/>
            </p:custDataLst>
          </p:nvPr>
        </p:nvSpPr>
        <p:spPr bwMode="auto">
          <a:xfrm>
            <a:off x="906463" y="2754313"/>
            <a:ext cx="338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2AD74EE-2287-4C31-ADCB-714344CD8291}" type="datetime'''''H''''''''y''''d''''''''''''''''''''r''o'''''''''''''''''">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Hydro</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Text Placeholder 2">
            <a:extLst>
              <a:ext uri="{FF2B5EF4-FFF2-40B4-BE49-F238E27FC236}">
                <a16:creationId xmlns:a16="http://schemas.microsoft.com/office/drawing/2014/main" id="{B6897CC1-67E2-AEE9-FA5C-BC0CAFB6C9E0}"/>
              </a:ext>
            </a:extLst>
          </p:cNvPr>
          <p:cNvSpPr txBox="1">
            <a:spLocks/>
          </p:cNvSpPr>
          <p:nvPr>
            <p:custDataLst>
              <p:tags r:id="rId12"/>
            </p:custDataLst>
          </p:nvPr>
        </p:nvSpPr>
        <p:spPr bwMode="auto">
          <a:xfrm>
            <a:off x="576263" y="2900363"/>
            <a:ext cx="668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551BDCA-3FB3-44DE-BBFA-398C3935385F}" type="datetime'Fu''''ku''''s''''''''''hi''ma''*'''''''''''''''''''">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Fukushima*</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Text Placeholder 2">
            <a:extLst>
              <a:ext uri="{FF2B5EF4-FFF2-40B4-BE49-F238E27FC236}">
                <a16:creationId xmlns:a16="http://schemas.microsoft.com/office/drawing/2014/main" id="{EA3EFF35-8B79-D815-CA90-63BC44F96735}"/>
              </a:ext>
            </a:extLst>
          </p:cNvPr>
          <p:cNvSpPr txBox="1">
            <a:spLocks/>
          </p:cNvSpPr>
          <p:nvPr>
            <p:custDataLst>
              <p:tags r:id="rId13"/>
            </p:custDataLst>
          </p:nvPr>
        </p:nvSpPr>
        <p:spPr bwMode="auto">
          <a:xfrm>
            <a:off x="955675" y="3046413"/>
            <a:ext cx="288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B7D96AB-9F23-4CBD-B186-40C019264B28}" type="datetime'''''''''''Wi''''n''''''d'''''''''''''''''''''''''''''''''''''">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Wind</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Text Placeholder 2">
            <a:extLst>
              <a:ext uri="{FF2B5EF4-FFF2-40B4-BE49-F238E27FC236}">
                <a16:creationId xmlns:a16="http://schemas.microsoft.com/office/drawing/2014/main" id="{F1736E8C-9B13-8FA4-6E8F-D94A0662C89E}"/>
              </a:ext>
            </a:extLst>
          </p:cNvPr>
          <p:cNvSpPr txBox="1">
            <a:spLocks/>
          </p:cNvSpPr>
          <p:nvPr>
            <p:custDataLst>
              <p:tags r:id="rId14"/>
            </p:custDataLst>
          </p:nvPr>
        </p:nvSpPr>
        <p:spPr bwMode="auto">
          <a:xfrm>
            <a:off x="808038" y="3190875"/>
            <a:ext cx="436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68C01EF-881F-4C23-A51F-FA2DDFACFCCB}" type="datetime'''''Nu''''''''c''''''le''''''''''''''''''a''r'''''''''''''''''">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Nuclear</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5" name="Text Placeholder 2">
            <a:extLst>
              <a:ext uri="{FF2B5EF4-FFF2-40B4-BE49-F238E27FC236}">
                <a16:creationId xmlns:a16="http://schemas.microsoft.com/office/drawing/2014/main" id="{DC2898CA-CDE3-6C7F-8FC8-E2AC2DD60BA2}"/>
              </a:ext>
            </a:extLst>
          </p:cNvPr>
          <p:cNvSpPr txBox="1">
            <a:spLocks/>
          </p:cNvSpPr>
          <p:nvPr>
            <p:custDataLst>
              <p:tags r:id="rId15"/>
            </p:custDataLst>
          </p:nvPr>
        </p:nvSpPr>
        <p:spPr bwMode="auto">
          <a:xfrm>
            <a:off x="949325" y="3336925"/>
            <a:ext cx="295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2CC0994-F792-460C-A15B-6D5092C93B89}" type="datetime'''S''''''''''''''''''''''''''''o''''''''''''''l''''a''''''''r'">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Solar</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0" name="Plus 29">
            <a:extLst>
              <a:ext uri="{FF2B5EF4-FFF2-40B4-BE49-F238E27FC236}">
                <a16:creationId xmlns:a16="http://schemas.microsoft.com/office/drawing/2014/main" id="{7E30F2E7-ECD3-1428-99D2-AB87ADD69503}"/>
              </a:ext>
            </a:extLst>
          </p:cNvPr>
          <p:cNvSpPr/>
          <p:nvPr/>
        </p:nvSpPr>
        <p:spPr>
          <a:xfrm>
            <a:off x="5108575" y="4289454"/>
            <a:ext cx="172951" cy="181975"/>
          </a:xfrm>
          <a:prstGeom prst="mathPlus">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Plus 30">
            <a:extLst>
              <a:ext uri="{FF2B5EF4-FFF2-40B4-BE49-F238E27FC236}">
                <a16:creationId xmlns:a16="http://schemas.microsoft.com/office/drawing/2014/main" id="{C2D2A3CA-3EE9-704C-778B-3D181E99030A}"/>
              </a:ext>
            </a:extLst>
          </p:cNvPr>
          <p:cNvSpPr/>
          <p:nvPr/>
        </p:nvSpPr>
        <p:spPr>
          <a:xfrm>
            <a:off x="5108575" y="5456883"/>
            <a:ext cx="172951" cy="181975"/>
          </a:xfrm>
          <a:prstGeom prst="mathPlus">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Plus 31">
            <a:extLst>
              <a:ext uri="{FF2B5EF4-FFF2-40B4-BE49-F238E27FC236}">
                <a16:creationId xmlns:a16="http://schemas.microsoft.com/office/drawing/2014/main" id="{FE105C7E-60EE-8372-9ABE-9D727C4F5CE8}"/>
              </a:ext>
            </a:extLst>
          </p:cNvPr>
          <p:cNvSpPr/>
          <p:nvPr/>
        </p:nvSpPr>
        <p:spPr>
          <a:xfrm>
            <a:off x="7485550" y="4618764"/>
            <a:ext cx="172951" cy="181975"/>
          </a:xfrm>
          <a:prstGeom prst="mathPlus">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Plus 32">
            <a:extLst>
              <a:ext uri="{FF2B5EF4-FFF2-40B4-BE49-F238E27FC236}">
                <a16:creationId xmlns:a16="http://schemas.microsoft.com/office/drawing/2014/main" id="{900DE7EA-26EB-70C3-6908-75B4FE006316}"/>
              </a:ext>
            </a:extLst>
          </p:cNvPr>
          <p:cNvSpPr/>
          <p:nvPr/>
        </p:nvSpPr>
        <p:spPr>
          <a:xfrm>
            <a:off x="7483673" y="4880070"/>
            <a:ext cx="172951" cy="181975"/>
          </a:xfrm>
          <a:prstGeom prst="mathPlus">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Plus 33">
            <a:extLst>
              <a:ext uri="{FF2B5EF4-FFF2-40B4-BE49-F238E27FC236}">
                <a16:creationId xmlns:a16="http://schemas.microsoft.com/office/drawing/2014/main" id="{8905F6BA-D5CB-3208-D43E-F902DD05E7C3}"/>
              </a:ext>
            </a:extLst>
          </p:cNvPr>
          <p:cNvSpPr/>
          <p:nvPr/>
        </p:nvSpPr>
        <p:spPr>
          <a:xfrm>
            <a:off x="7483673" y="5134200"/>
            <a:ext cx="172951" cy="181975"/>
          </a:xfrm>
          <a:prstGeom prst="mathPlus">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Plus 34">
            <a:extLst>
              <a:ext uri="{FF2B5EF4-FFF2-40B4-BE49-F238E27FC236}">
                <a16:creationId xmlns:a16="http://schemas.microsoft.com/office/drawing/2014/main" id="{E1FDE676-6F9E-2191-D587-7DEBF79B9EF9}"/>
              </a:ext>
            </a:extLst>
          </p:cNvPr>
          <p:cNvSpPr/>
          <p:nvPr/>
        </p:nvSpPr>
        <p:spPr>
          <a:xfrm>
            <a:off x="7483673" y="5783853"/>
            <a:ext cx="172951" cy="181975"/>
          </a:xfrm>
          <a:prstGeom prst="mathPlus">
            <a:avLst/>
          </a:prstGeom>
          <a:solidFill>
            <a:schemeClr val="tx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TextBox 3">
            <a:extLst>
              <a:ext uri="{FF2B5EF4-FFF2-40B4-BE49-F238E27FC236}">
                <a16:creationId xmlns:a16="http://schemas.microsoft.com/office/drawing/2014/main" id="{F74E4E5B-5E11-E501-1C55-4424A39B5ABA}"/>
              </a:ext>
            </a:extLst>
          </p:cNvPr>
          <p:cNvSpPr txBox="1"/>
          <p:nvPr/>
        </p:nvSpPr>
        <p:spPr bwMode="gray">
          <a:xfrm>
            <a:off x="1597" y="0"/>
            <a:ext cx="2926080" cy="382208"/>
          </a:xfrm>
          <a:prstGeom prst="rect">
            <a:avLst/>
          </a:prstGeom>
          <a:solidFill>
            <a:schemeClr val="bg2">
              <a:lumMod val="75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200" b="1">
                <a:solidFill>
                  <a:schemeClr val="bg1"/>
                </a:solidFill>
              </a:rPr>
              <a:t>Appendix: Deployment</a:t>
            </a:r>
          </a:p>
        </p:txBody>
      </p:sp>
    </p:spTree>
    <p:custDataLst>
      <p:tags r:id="rId1"/>
    </p:custDataLst>
    <p:extLst>
      <p:ext uri="{BB962C8B-B14F-4D97-AF65-F5344CB8AC3E}">
        <p14:creationId xmlns:p14="http://schemas.microsoft.com/office/powerpoint/2010/main" val="19726385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202C9B-7599-0027-9B5B-3484E2B82B6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AB8CAEA-0DC0-26B2-D0CB-C18EFF5A3A0E}"/>
              </a:ext>
            </a:extLst>
          </p:cNvPr>
          <p:cNvGraphicFramePr>
            <a:graphicFrameLocks noChangeAspect="1"/>
          </p:cNvGraphicFramePr>
          <p:nvPr>
            <p:custDataLst>
              <p:tags r:id="rId1"/>
            </p:custDataLst>
            <p:extLst>
              <p:ext uri="{D42A27DB-BD31-4B8C-83A1-F6EECF244321}">
                <p14:modId xmlns:p14="http://schemas.microsoft.com/office/powerpoint/2010/main" val="16500834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0" imgW="7772400" imgH="10058400" progId="TCLayout.ActiveDocument.1">
                  <p:embed/>
                </p:oleObj>
              </mc:Choice>
              <mc:Fallback>
                <p:oleObj name="think-cell Slide" r:id="rId90" imgW="7772400" imgH="10058400" progId="TCLayout.ActiveDocument.1">
                  <p:embed/>
                  <p:pic>
                    <p:nvPicPr>
                      <p:cNvPr id="5" name="think-cell data - do not delete" hidden="1">
                        <a:extLst>
                          <a:ext uri="{FF2B5EF4-FFF2-40B4-BE49-F238E27FC236}">
                            <a16:creationId xmlns:a16="http://schemas.microsoft.com/office/drawing/2014/main" id="{FAB8CAEA-0DC0-26B2-D0CB-C18EFF5A3A0E}"/>
                          </a:ext>
                        </a:extLst>
                      </p:cNvPr>
                      <p:cNvPicPr/>
                      <p:nvPr/>
                    </p:nvPicPr>
                    <p:blipFill>
                      <a:blip r:embed="rId91"/>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EBC1B0-B388-4A15-CEA2-B6F6680D8E71}"/>
              </a:ext>
            </a:extLst>
          </p:cNvPr>
          <p:cNvSpPr>
            <a:spLocks noGrp="1"/>
          </p:cNvSpPr>
          <p:nvPr>
            <p:ph type="title"/>
          </p:nvPr>
        </p:nvSpPr>
        <p:spPr/>
        <p:txBody>
          <a:bodyPr vert="horz">
            <a:noAutofit/>
          </a:bodyPr>
          <a:lstStyle/>
          <a:p>
            <a:r>
              <a:rPr lang="en-ID" b="1">
                <a:latin typeface="Arial" panose="020B0604020202020204" pitchFamily="34" charset="0"/>
                <a:cs typeface="Arial" panose="020B0604020202020204" pitchFamily="34" charset="0"/>
              </a:rPr>
              <a:t>Various U.S. demographic groups support including nuclear in the energy mix and </a:t>
            </a:r>
            <a:r>
              <a:rPr lang="en-ID" b="1" err="1">
                <a:latin typeface="Arial" panose="020B0604020202020204" pitchFamily="34" charset="0"/>
                <a:cs typeface="Arial" panose="020B0604020202020204" pitchFamily="34" charset="0"/>
              </a:rPr>
              <a:t>favor</a:t>
            </a:r>
            <a:r>
              <a:rPr lang="en-ID" b="1">
                <a:latin typeface="Arial" panose="020B0604020202020204" pitchFamily="34" charset="0"/>
                <a:cs typeface="Arial" panose="020B0604020202020204" pitchFamily="34" charset="0"/>
              </a:rPr>
              <a:t> expanding nuclear capacity</a:t>
            </a:r>
            <a:endParaRPr lang="en-US" b="1">
              <a:latin typeface="Arial" panose="020B0604020202020204" pitchFamily="34" charset="0"/>
              <a:ea typeface="+mn-lt"/>
              <a:cs typeface="Arial" panose="020B0604020202020204" pitchFamily="34" charset="0"/>
            </a:endParaRPr>
          </a:p>
        </p:txBody>
      </p:sp>
      <p:sp>
        <p:nvSpPr>
          <p:cNvPr id="13" name="TextBox 12">
            <a:extLst>
              <a:ext uri="{FF2B5EF4-FFF2-40B4-BE49-F238E27FC236}">
                <a16:creationId xmlns:a16="http://schemas.microsoft.com/office/drawing/2014/main" id="{C45FE66D-BA56-357C-74F6-C8A1B5D452D3}"/>
              </a:ext>
            </a:extLst>
          </p:cNvPr>
          <p:cNvSpPr txBox="1"/>
          <p:nvPr/>
        </p:nvSpPr>
        <p:spPr bwMode="gray">
          <a:xfrm>
            <a:off x="438945" y="3832392"/>
            <a:ext cx="6223000" cy="28814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400" b="1" i="0" u="none" strike="noStrike" kern="1200" cap="none" spc="0" normalizeH="0" baseline="0" noProof="0">
                <a:ln>
                  <a:noFill/>
                </a:ln>
                <a:solidFill>
                  <a:srgbClr val="000000"/>
                </a:solidFill>
                <a:effectLst/>
                <a:uLnTx/>
                <a:uFillTx/>
                <a:latin typeface="Arial"/>
                <a:ea typeface="+mn-ea"/>
                <a:cs typeface="Arial"/>
              </a:rPr>
              <a:t>U.S sentiment toward building more nuclear power plants</a:t>
            </a:r>
            <a:endParaRPr kumimoji="0" lang="en-US" sz="1400" b="1" i="0" u="none" strike="noStrike" kern="1200" cap="none" spc="0" normalizeH="0" baseline="0" noProof="0">
              <a:ln>
                <a:noFill/>
              </a:ln>
              <a:solidFill>
                <a:srgbClr val="000000"/>
              </a:solidFill>
              <a:effectLst/>
              <a:uLnTx/>
              <a:uFillTx/>
              <a:latin typeface="Arial"/>
              <a:ea typeface="+mn-ea"/>
              <a:cs typeface="Arial"/>
            </a:endParaRPr>
          </a:p>
        </p:txBody>
      </p:sp>
      <p:cxnSp>
        <p:nvCxnSpPr>
          <p:cNvPr id="15" name="btfpColumnHeaderBoxLine912903">
            <a:extLst>
              <a:ext uri="{FF2B5EF4-FFF2-40B4-BE49-F238E27FC236}">
                <a16:creationId xmlns:a16="http://schemas.microsoft.com/office/drawing/2014/main" id="{3293DCE0-E2CB-083A-6FEF-B175C3363D6A}"/>
              </a:ext>
            </a:extLst>
          </p:cNvPr>
          <p:cNvCxnSpPr>
            <a:cxnSpLocks/>
          </p:cNvCxnSpPr>
          <p:nvPr/>
        </p:nvCxnSpPr>
        <p:spPr bwMode="gray">
          <a:xfrm>
            <a:off x="438944" y="4125599"/>
            <a:ext cx="374835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28" name="Chart 27">
            <a:extLst>
              <a:ext uri="{FF2B5EF4-FFF2-40B4-BE49-F238E27FC236}">
                <a16:creationId xmlns:a16="http://schemas.microsoft.com/office/drawing/2014/main" id="{0259DB0D-769B-10C7-7FA1-511B724EC95B}"/>
              </a:ext>
            </a:extLst>
          </p:cNvPr>
          <p:cNvGraphicFramePr/>
          <p:nvPr>
            <p:custDataLst>
              <p:tags r:id="rId2"/>
            </p:custDataLst>
          </p:nvPr>
        </p:nvGraphicFramePr>
        <p:xfrm>
          <a:off x="331788" y="4022725"/>
          <a:ext cx="7981950" cy="2390775"/>
        </p:xfrm>
        <a:graphic>
          <a:graphicData uri="http://schemas.openxmlformats.org/drawingml/2006/chart">
            <c:chart xmlns:c="http://schemas.openxmlformats.org/drawingml/2006/chart" xmlns:r="http://schemas.openxmlformats.org/officeDocument/2006/relationships" r:id="rId92"/>
          </a:graphicData>
        </a:graphic>
      </p:graphicFrame>
      <p:cxnSp>
        <p:nvCxnSpPr>
          <p:cNvPr id="36" name="Straight Connector 35">
            <a:extLst>
              <a:ext uri="{FF2B5EF4-FFF2-40B4-BE49-F238E27FC236}">
                <a16:creationId xmlns:a16="http://schemas.microsoft.com/office/drawing/2014/main" id="{82B48FAF-868F-F12E-6394-A2DD44D39997}"/>
              </a:ext>
            </a:extLst>
          </p:cNvPr>
          <p:cNvCxnSpPr/>
          <p:nvPr>
            <p:custDataLst>
              <p:tags r:id="rId3"/>
            </p:custDataLst>
          </p:nvPr>
        </p:nvCxnSpPr>
        <p:spPr bwMode="gray">
          <a:xfrm>
            <a:off x="2824163" y="5729288"/>
            <a:ext cx="141288" cy="0"/>
          </a:xfrm>
          <a:prstGeom prst="line">
            <a:avLst/>
          </a:prstGeom>
          <a:ln w="38100" cap="rnd" cmpd="sng" algn="ctr">
            <a:solidFill>
              <a:srgbClr val="359BDB"/>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AE856CE2-D1A0-8C15-F851-026669A28AFB}"/>
              </a:ext>
            </a:extLst>
          </p:cNvPr>
          <p:cNvCxnSpPr/>
          <p:nvPr>
            <p:custDataLst>
              <p:tags r:id="rId4"/>
            </p:custDataLst>
          </p:nvPr>
        </p:nvCxnSpPr>
        <p:spPr bwMode="gray">
          <a:xfrm>
            <a:off x="3640138" y="5729288"/>
            <a:ext cx="141288" cy="0"/>
          </a:xfrm>
          <a:prstGeom prst="line">
            <a:avLst/>
          </a:prstGeom>
          <a:ln w="38100" cap="rnd" cmpd="sng" algn="ctr">
            <a:solidFill>
              <a:srgbClr val="D1227D"/>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9" name="Text Placeholder 2">
            <a:extLst>
              <a:ext uri="{FF2B5EF4-FFF2-40B4-BE49-F238E27FC236}">
                <a16:creationId xmlns:a16="http://schemas.microsoft.com/office/drawing/2014/main" id="{0F1E7F2F-8402-AE74-AC53-6EC88EA6352A}"/>
              </a:ext>
            </a:extLst>
          </p:cNvPr>
          <p:cNvSpPr txBox="1">
            <a:spLocks/>
          </p:cNvSpPr>
          <p:nvPr>
            <p:custDataLst>
              <p:tags r:id="rId5"/>
            </p:custDataLst>
          </p:nvPr>
        </p:nvSpPr>
        <p:spPr bwMode="auto">
          <a:xfrm>
            <a:off x="3035300" y="5670550"/>
            <a:ext cx="484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C2A4ED5-A1C5-4031-B2EA-6378CF7D4B6B}" type="datetime'''''''''%'''''''''''''' ''A''''''''''''g''''''''re''''''''e'">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 Agree</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8" name="Text Placeholder 2">
            <a:extLst>
              <a:ext uri="{FF2B5EF4-FFF2-40B4-BE49-F238E27FC236}">
                <a16:creationId xmlns:a16="http://schemas.microsoft.com/office/drawing/2014/main" id="{D3ABCAC2-132F-C009-EB5A-01EF0D5CCCFA}"/>
              </a:ext>
            </a:extLst>
          </p:cNvPr>
          <p:cNvSpPr txBox="1">
            <a:spLocks/>
          </p:cNvSpPr>
          <p:nvPr>
            <p:custDataLst>
              <p:tags r:id="rId6"/>
            </p:custDataLst>
          </p:nvPr>
        </p:nvSpPr>
        <p:spPr bwMode="auto">
          <a:xfrm>
            <a:off x="3851275" y="5670550"/>
            <a:ext cx="654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8E3DF3E-911B-4B16-A3A7-5F52CFEB8513}" type="datetime'%'''' ''''''''''''Di''''''''''''s''''''a''g''''''re''''''e'''">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 Disagree</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btfpNotesBox368131">
            <a:hlinkClick r:id="rId93"/>
            <a:extLst>
              <a:ext uri="{FF2B5EF4-FFF2-40B4-BE49-F238E27FC236}">
                <a16:creationId xmlns:a16="http://schemas.microsoft.com/office/drawing/2014/main" id="{5E01044C-B2AA-FB68-7C38-4A76F9414F78}"/>
              </a:ext>
            </a:extLst>
          </p:cNvPr>
          <p:cNvSpPr txBox="1"/>
          <p:nvPr>
            <p:custDataLst>
              <p:tags r:id="rId7"/>
            </p:custDataLst>
          </p:nvPr>
        </p:nvSpPr>
        <p:spPr bwMode="gray">
          <a:xfrm>
            <a:off x="330199" y="6309360"/>
            <a:ext cx="9196573"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4"/>
              </a:rPr>
              <a:t>Pathways to Commercial Liftoff: Carbon Manage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3); Energy Research &amp; Social Scienc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5"/>
              </a:rPr>
              <a:t>Establishing Leadership in Bringing CCUS to Scale</a:t>
            </a:r>
            <a:r>
              <a:rPr kumimoji="0" lang="en-US" sz="800" b="0" i="0" u="none" strike="noStrike" kern="1200" cap="none" spc="0" normalizeH="0" baseline="0" noProof="0" dirty="0">
                <a:ln>
                  <a:noFill/>
                </a:ln>
                <a:solidFill>
                  <a:srgbClr val="000000"/>
                </a:solidFill>
                <a:effectLst/>
                <a:uLnTx/>
                <a:uFillTx/>
                <a:latin typeface="Arial"/>
                <a:ea typeface="+mn-ea"/>
                <a:cs typeface="+mn-cs"/>
              </a:rPr>
              <a:t> (2025); Our World in Data, </a:t>
            </a:r>
            <a:br>
              <a:rPr lang="en-US" sz="800" b="0" i="0" u="none" strike="noStrike" kern="1200" cap="none" spc="0" normalizeH="0" baseline="0" noProof="0" dirty="0">
                <a:ln>
                  <a:noFill/>
                </a:ln>
                <a:effectLst/>
                <a:uLnTx/>
                <a:uFillTx/>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6"/>
              </a:rPr>
              <a:t>Death rates from energy production per TWh</a:t>
            </a:r>
            <a:r>
              <a:rPr kumimoji="0" lang="en-US" sz="800" b="0" i="0" u="none" strike="noStrike" kern="1200" cap="none" spc="0" normalizeH="0" baseline="0" noProof="0" dirty="0">
                <a:ln>
                  <a:noFill/>
                </a:ln>
                <a:solidFill>
                  <a:srgbClr val="000000"/>
                </a:solidFill>
                <a:effectLst/>
                <a:uLnTx/>
                <a:uFillTx/>
                <a:latin typeface="Arial"/>
                <a:ea typeface="+mn-ea"/>
                <a:cs typeface="+mn-cs"/>
              </a:rPr>
              <a:t> (2021); </a:t>
            </a:r>
            <a:r>
              <a:rPr kumimoji="0" lang="en-US" sz="800" b="0" i="0" u="none" strike="noStrike" kern="1200" cap="none" spc="0" normalizeH="0" baseline="0" noProof="0" dirty="0" err="1">
                <a:ln>
                  <a:noFill/>
                </a:ln>
                <a:solidFill>
                  <a:srgbClr val="000000"/>
                </a:solidFill>
                <a:effectLst/>
                <a:uLnTx/>
                <a:uFillTx/>
                <a:latin typeface="Arial"/>
                <a:ea typeface="+mn-ea"/>
                <a:cs typeface="+mn-cs"/>
              </a:rPr>
              <a:t>Bisconti</a:t>
            </a:r>
            <a:r>
              <a:rPr lang="en-US" sz="800" dirty="0">
                <a:solidFill>
                  <a:srgbClr val="000000"/>
                </a:solidFill>
                <a:latin typeface="Arial"/>
              </a:rPr>
              <a:t>, </a:t>
            </a:r>
            <a:r>
              <a:rPr lang="en-US" sz="800" dirty="0">
                <a:solidFill>
                  <a:srgbClr val="000000"/>
                </a:solidFill>
                <a:latin typeface="Arial"/>
                <a:hlinkClick r:id="rId97"/>
              </a:rPr>
              <a:t>Record High Support for Nuclear Energy </a:t>
            </a:r>
            <a:r>
              <a:rPr lang="en-US" sz="800" dirty="0">
                <a:solidFill>
                  <a:srgbClr val="000000"/>
                </a:solidFill>
                <a:latin typeface="Arial"/>
              </a:rPr>
              <a:t>(2024); Nuclear Innovation Alliance, </a:t>
            </a:r>
            <a:r>
              <a:rPr lang="en-US" sz="800" dirty="0">
                <a:solidFill>
                  <a:srgbClr val="000000"/>
                </a:solidFill>
                <a:latin typeface="Arial"/>
                <a:hlinkClick r:id="rId98"/>
              </a:rPr>
              <a:t>Safety</a:t>
            </a:r>
            <a:r>
              <a:rPr lang="en-US" sz="800" dirty="0">
                <a:solidFill>
                  <a:srgbClr val="000000"/>
                </a:solidFill>
                <a:latin typeface="Arial"/>
              </a:rPr>
              <a: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Christian </a:t>
            </a:r>
            <a:r>
              <a:rPr kumimoji="0" lang="en-US" sz="800" b="0" i="0" u="none" strike="noStrike" kern="1200" cap="none" spc="0" normalizeH="0" baseline="0" noProof="0" dirty="0" err="1">
                <a:ln>
                  <a:noFill/>
                </a:ln>
                <a:solidFill>
                  <a:srgbClr val="000000"/>
                </a:solidFill>
                <a:effectLst/>
                <a:uLnTx/>
                <a:uFillTx/>
                <a:latin typeface="Arial"/>
                <a:ea typeface="+mn-ea"/>
                <a:cs typeface="+mn-cs"/>
              </a:rPr>
              <a:t>Sandjaja</a:t>
            </a:r>
            <a:r>
              <a:rPr kumimoji="0" lang="en-US" sz="800" b="0" i="0" u="none" strike="noStrike" kern="1200" cap="none" spc="0" normalizeH="0" baseline="0" noProof="0" dirty="0">
                <a:ln>
                  <a:noFill/>
                </a:ln>
                <a:solidFill>
                  <a:srgbClr val="000000"/>
                </a:solidFill>
                <a:effectLst/>
                <a:uLnTx/>
                <a:uFillTx/>
                <a:latin typeface="Arial"/>
                <a:ea typeface="+mn-ea"/>
                <a:cs typeface="+mn-cs"/>
              </a:rPr>
              <a: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0"/>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12" name="TextBox 8">
            <a:extLst>
              <a:ext uri="{FF2B5EF4-FFF2-40B4-BE49-F238E27FC236}">
                <a16:creationId xmlns:a16="http://schemas.microsoft.com/office/drawing/2014/main" id="{FC588E80-4257-EA33-970A-C67CC3BC1009}"/>
              </a:ext>
            </a:extLst>
          </p:cNvPr>
          <p:cNvSpPr txBox="1"/>
          <p:nvPr/>
        </p:nvSpPr>
        <p:spPr bwMode="gray">
          <a:xfrm>
            <a:off x="8539162" y="1555200"/>
            <a:ext cx="3312393" cy="3926716"/>
          </a:xfrm>
          <a:prstGeom prst="rect">
            <a:avLst/>
          </a:prstGeom>
          <a:solidFill>
            <a:srgbClr val="E3E8EE"/>
          </a:solidFill>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bservations</a:t>
            </a:r>
          </a:p>
          <a:p>
            <a:pPr marL="171450" marR="0" lvl="0" indent="-171450" algn="l" defTabSz="914400" rtl="0" eaLnBrk="1" fontAlgn="auto" latinLnBrk="0" hangingPunct="1">
              <a:lnSpc>
                <a:spcPct val="100000"/>
              </a:lnSpc>
              <a:spcBef>
                <a:spcPts val="600"/>
              </a:spcBef>
              <a:spcAft>
                <a:spcPts val="400"/>
              </a:spcAft>
              <a:buClrTx/>
              <a:buSzTx/>
              <a:buFont typeface="Arial"/>
              <a:buChar char="•"/>
              <a:tabLst/>
              <a:defRPr/>
            </a:pPr>
            <a:r>
              <a:rPr kumimoji="0" lang="en-US" sz="1050" b="0" i="0" u="none" strike="noStrike" kern="1200" cap="none" spc="0" normalizeH="0" baseline="0" noProof="0" err="1">
                <a:ln>
                  <a:noFill/>
                </a:ln>
                <a:solidFill>
                  <a:srgbClr val="000000"/>
                </a:solidFill>
                <a:effectLst/>
                <a:uLnTx/>
                <a:uFillTx/>
                <a:latin typeface="Arial" panose="020B0604020202020204" pitchFamily="34" charset="0"/>
                <a:ea typeface="+mn-lt"/>
                <a:cs typeface="Arial" panose="020B0604020202020204" pitchFamily="34" charset="0"/>
              </a:rPr>
              <a:t>Nuclear's</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 mortality rate is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significantly lower </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than other energy sources, making it one of the safest energy source options.</a:t>
            </a:r>
          </a:p>
          <a:p>
            <a:pPr marL="171450" marR="0" lvl="0" indent="-171450" algn="l" defTabSz="914400" rtl="0" eaLnBrk="1" fontAlgn="auto" latinLnBrk="0" hangingPunct="1">
              <a:lnSpc>
                <a:spcPct val="100000"/>
              </a:lnSpc>
              <a:spcBef>
                <a:spcPts val="600"/>
              </a:spcBef>
              <a:spcAft>
                <a:spcPts val="400"/>
              </a:spcAft>
              <a:buClrTx/>
              <a:buSzTx/>
              <a:buFont typeface="Arial,Sans-Serif"/>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 few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table nuclear accidents</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p>
          <a:p>
            <a:pPr marL="400050" marR="0" lvl="1" indent="-171450" algn="l" defTabSz="914400" rtl="0" eaLnBrk="1" fontAlgn="auto" latinLnBrk="0" hangingPunct="1">
              <a:lnSpc>
                <a:spcPct val="100000"/>
              </a:lnSpc>
              <a:spcBef>
                <a:spcPts val="600"/>
              </a:spcBef>
              <a:spcAft>
                <a:spcPts val="400"/>
              </a:spcAft>
              <a:buClrTx/>
              <a:buSzTx/>
              <a:buFont typeface="Arial,Sans-Serif"/>
              <a:buChar char="•"/>
              <a:tabLst/>
              <a:defRPr/>
            </a:pPr>
            <a:r>
              <a:rPr kumimoji="0" lang="en-US" sz="8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hernobyl </a:t>
            </a:r>
            <a:r>
              <a:rPr kumimoji="0" lang="en-US" sz="8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 </a:t>
            </a:r>
            <a:r>
              <a:rPr kumimoji="0" lang="en-US" sz="8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ritical design flaw</a:t>
            </a:r>
            <a:r>
              <a:rPr kumimoji="0" lang="en-US" sz="8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compounded by operator errors and a poor safety culture, resulted in an uncontrollable fission reaction and subsequent steam explosions.</a:t>
            </a:r>
          </a:p>
          <a:p>
            <a:pPr marL="400050" marR="0" lvl="1" indent="-171450" algn="l" defTabSz="914400" rtl="0" eaLnBrk="1" fontAlgn="auto" latinLnBrk="0" hangingPunct="1">
              <a:lnSpc>
                <a:spcPct val="100000"/>
              </a:lnSpc>
              <a:spcBef>
                <a:spcPts val="600"/>
              </a:spcBef>
              <a:spcAft>
                <a:spcPts val="400"/>
              </a:spcAft>
              <a:buClrTx/>
              <a:buSzTx/>
              <a:buFont typeface="Arial,Sans-Serif"/>
              <a:buChar char="•"/>
              <a:tabLst/>
              <a:defRPr/>
            </a:pPr>
            <a:r>
              <a:rPr kumimoji="0" lang="en-US" sz="8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ukushima </a:t>
            </a:r>
            <a:r>
              <a:rPr kumimoji="0" lang="en-US" sz="8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8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oss of both off-site power and backup generators </a:t>
            </a:r>
            <a:r>
              <a:rPr kumimoji="0" lang="en-US" sz="8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ue to flooding eliminated the ability to pump coolant to the reactor, making it impossible to cool the fuel even after shutdown.</a:t>
            </a:r>
            <a:endParaRPr kumimoji="0" lang="en-US" sz="8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endParaRPr>
          </a:p>
          <a:p>
            <a:pPr marL="171450" marR="0" lvl="0" indent="-171450" algn="l" defTabSz="914400" rtl="0" eaLnBrk="1" fontAlgn="auto" latinLnBrk="0" hangingPunct="1">
              <a:lnSpc>
                <a:spcPct val="100000"/>
              </a:lnSpc>
              <a:spcBef>
                <a:spcPts val="600"/>
              </a:spcBef>
              <a:spcAft>
                <a:spcPts val="400"/>
              </a:spcAft>
              <a:buClrTx/>
              <a:buSzTx/>
              <a:buFont typeface="Arial"/>
              <a:buChar char="•"/>
              <a:tabLst/>
              <a:defRPr/>
            </a:pPr>
            <a:r>
              <a:rPr lang="en-US" sz="1050">
                <a:solidFill>
                  <a:srgbClr val="000000"/>
                </a:solidFill>
                <a:latin typeface="Arial" panose="020B0604020202020204" pitchFamily="34" charset="0"/>
                <a:ea typeface="+mn-lt"/>
                <a:cs typeface="Arial" panose="020B0604020202020204" pitchFamily="34" charset="0"/>
              </a:rPr>
              <a:t>M</a:t>
            </a:r>
            <a:r>
              <a:rPr kumimoji="0" lang="en-US" sz="1050" b="0" i="0" u="none" strike="noStrike" kern="1200" cap="none" spc="0" normalizeH="0" baseline="0" noProof="0" err="1">
                <a:ln>
                  <a:noFill/>
                </a:ln>
                <a:solidFill>
                  <a:srgbClr val="000000"/>
                </a:solidFill>
                <a:effectLst/>
                <a:uLnTx/>
                <a:uFillTx/>
                <a:latin typeface="Arial" panose="020B0604020202020204" pitchFamily="34" charset="0"/>
                <a:ea typeface="+mn-lt"/>
                <a:cs typeface="Arial" panose="020B0604020202020204" pitchFamily="34" charset="0"/>
              </a:rPr>
              <a:t>odern</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 nuclear reactors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incorporate major advancements in safety principles, </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which supports positive sentiment.</a:t>
            </a: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600"/>
              </a:spcBef>
              <a:spcAft>
                <a:spcPts val="4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Due to increased safety, more U.S. power plants renewed their licenses,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backed by local community support.</a:t>
            </a:r>
            <a:endPar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41" name="Chart 40">
            <a:extLst>
              <a:ext uri="{FF2B5EF4-FFF2-40B4-BE49-F238E27FC236}">
                <a16:creationId xmlns:a16="http://schemas.microsoft.com/office/drawing/2014/main" id="{68F2AA77-3943-DA0F-C7D4-BCE26A104C14}"/>
              </a:ext>
            </a:extLst>
          </p:cNvPr>
          <p:cNvGraphicFramePr/>
          <p:nvPr>
            <p:custDataLst>
              <p:tags r:id="rId8"/>
            </p:custDataLst>
          </p:nvPr>
        </p:nvGraphicFramePr>
        <p:xfrm>
          <a:off x="1177925" y="1841500"/>
          <a:ext cx="6918325" cy="1808163"/>
        </p:xfrm>
        <a:graphic>
          <a:graphicData uri="http://schemas.openxmlformats.org/drawingml/2006/chart">
            <c:chart xmlns:c="http://schemas.openxmlformats.org/drawingml/2006/chart" xmlns:r="http://schemas.openxmlformats.org/officeDocument/2006/relationships" r:id="rId101"/>
          </a:graphicData>
        </a:graphic>
      </p:graphicFrame>
      <p:sp>
        <p:nvSpPr>
          <p:cNvPr id="95" name="Text Placeholder 2">
            <a:extLst>
              <a:ext uri="{FF2B5EF4-FFF2-40B4-BE49-F238E27FC236}">
                <a16:creationId xmlns:a16="http://schemas.microsoft.com/office/drawing/2014/main" id="{984B30DA-F6A4-FAB5-B73E-3888A904BD22}"/>
              </a:ext>
            </a:extLst>
          </p:cNvPr>
          <p:cNvSpPr txBox="1">
            <a:spLocks/>
          </p:cNvSpPr>
          <p:nvPr>
            <p:custDataLst>
              <p:tags r:id="rId9"/>
            </p:custDataLst>
          </p:nvPr>
        </p:nvSpPr>
        <p:spPr bwMode="gray">
          <a:xfrm>
            <a:off x="6889750" y="1914525"/>
            <a:ext cx="174625" cy="136525"/>
          </a:xfrm>
          <a:prstGeom prst="rect">
            <a:avLst/>
          </a:prstGeom>
          <a:solidFill>
            <a:srgbClr val="FF930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DBB0599-6772-442E-A886-E26B471429A3}" type="datetime'''''''''1''''''''''''''''''''''''''''''''7'''''''''''''''">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7</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96" name="Text Placeholder 2">
            <a:extLst>
              <a:ext uri="{FF2B5EF4-FFF2-40B4-BE49-F238E27FC236}">
                <a16:creationId xmlns:a16="http://schemas.microsoft.com/office/drawing/2014/main" id="{FA2E1DFD-56EA-D602-9C33-04707B398B2C}"/>
              </a:ext>
            </a:extLst>
          </p:cNvPr>
          <p:cNvSpPr txBox="1">
            <a:spLocks/>
          </p:cNvSpPr>
          <p:nvPr>
            <p:custDataLst>
              <p:tags r:id="rId10"/>
            </p:custDataLst>
          </p:nvPr>
        </p:nvSpPr>
        <p:spPr bwMode="gray">
          <a:xfrm>
            <a:off x="4816475" y="1914525"/>
            <a:ext cx="174625" cy="136525"/>
          </a:xfrm>
          <a:prstGeom prst="rect">
            <a:avLst/>
          </a:prstGeom>
          <a:solidFill>
            <a:srgbClr val="00777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D60390E-DEAB-4032-8642-2E545BFDA099}" type="datetime'''''''''''4''''''''''''''''5'''''''''''''">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5</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97" name="Text Placeholder 2">
            <a:extLst>
              <a:ext uri="{FF2B5EF4-FFF2-40B4-BE49-F238E27FC236}">
                <a16:creationId xmlns:a16="http://schemas.microsoft.com/office/drawing/2014/main" id="{B349FCB1-5350-D1D0-F954-8276FEAB38D0}"/>
              </a:ext>
            </a:extLst>
          </p:cNvPr>
          <p:cNvSpPr txBox="1">
            <a:spLocks/>
          </p:cNvSpPr>
          <p:nvPr>
            <p:custDataLst>
              <p:tags r:id="rId11"/>
            </p:custDataLst>
          </p:nvPr>
        </p:nvSpPr>
        <p:spPr bwMode="gray">
          <a:xfrm>
            <a:off x="2243138" y="1914525"/>
            <a:ext cx="174625" cy="136525"/>
          </a:xfrm>
          <a:prstGeom prst="rect">
            <a:avLst/>
          </a:prstGeom>
          <a:solidFill>
            <a:srgbClr val="359BDB"/>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81B0A1E-F187-4043-A451-AD2EE6899C39}" type="datetime'''''''''''''''''''''3''''''''''''''''''''''''''''''''2'">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2</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0" name="Text Placeholder 2">
            <a:extLst>
              <a:ext uri="{FF2B5EF4-FFF2-40B4-BE49-F238E27FC236}">
                <a16:creationId xmlns:a16="http://schemas.microsoft.com/office/drawing/2014/main" id="{A3EBC2E6-1F96-FD93-8933-87F658DA0AC3}"/>
              </a:ext>
            </a:extLst>
          </p:cNvPr>
          <p:cNvSpPr txBox="1">
            <a:spLocks/>
          </p:cNvSpPr>
          <p:nvPr>
            <p:custDataLst>
              <p:tags r:id="rId12"/>
            </p:custDataLst>
          </p:nvPr>
        </p:nvSpPr>
        <p:spPr bwMode="auto">
          <a:xfrm>
            <a:off x="476250" y="1914525"/>
            <a:ext cx="2809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DA3C953-55B4-4EFD-A8E0-79D37DD24943}" type="datetime'''''''''T''''o''''''''''''''t''''''a''''''''''''''''l'''''''">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Total</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8" name="Text Placeholder 2">
            <a:extLst>
              <a:ext uri="{FF2B5EF4-FFF2-40B4-BE49-F238E27FC236}">
                <a16:creationId xmlns:a16="http://schemas.microsoft.com/office/drawing/2014/main" id="{02C1649C-9B3B-92E2-1F78-76FE0C6F2DA6}"/>
              </a:ext>
            </a:extLst>
          </p:cNvPr>
          <p:cNvSpPr txBox="1">
            <a:spLocks/>
          </p:cNvSpPr>
          <p:nvPr>
            <p:custDataLst>
              <p:tags r:id="rId13"/>
            </p:custDataLst>
          </p:nvPr>
        </p:nvSpPr>
        <p:spPr bwMode="gray">
          <a:xfrm>
            <a:off x="7827963" y="2032000"/>
            <a:ext cx="104775" cy="136525"/>
          </a:xfrm>
          <a:prstGeom prst="rect">
            <a:avLst/>
          </a:prstGeom>
          <a:solidFill>
            <a:srgbClr val="D1227D"/>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D093278-2535-426A-BDE5-BD10BDCFCC5F}" type="datetime'''''''''''''''''''''''''''''''''''''''''''''''''''''''4'''''''">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99" name="Text Placeholder 2">
            <a:extLst>
              <a:ext uri="{FF2B5EF4-FFF2-40B4-BE49-F238E27FC236}">
                <a16:creationId xmlns:a16="http://schemas.microsoft.com/office/drawing/2014/main" id="{C36278B0-0240-4B9D-3154-A11CB37754C1}"/>
              </a:ext>
            </a:extLst>
          </p:cNvPr>
          <p:cNvSpPr txBox="1">
            <a:spLocks/>
          </p:cNvSpPr>
          <p:nvPr>
            <p:custDataLst>
              <p:tags r:id="rId14"/>
            </p:custDataLst>
          </p:nvPr>
        </p:nvSpPr>
        <p:spPr bwMode="gray">
          <a:xfrm>
            <a:off x="7291388" y="2032000"/>
            <a:ext cx="174625" cy="136525"/>
          </a:xfrm>
          <a:prstGeom prst="rect">
            <a:avLst/>
          </a:prstGeom>
          <a:solidFill>
            <a:srgbClr val="FF930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7D1984E-36B2-44FC-804C-CBE9DE1A0B43}" type="datetime'''''1''''''''''''''''''''''''''''''''''''''1'''''''''">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00" name="Text Placeholder 2">
            <a:extLst>
              <a:ext uri="{FF2B5EF4-FFF2-40B4-BE49-F238E27FC236}">
                <a16:creationId xmlns:a16="http://schemas.microsoft.com/office/drawing/2014/main" id="{D034FF0A-93AA-8FFE-B6B8-6A8D29A5810E}"/>
              </a:ext>
            </a:extLst>
          </p:cNvPr>
          <p:cNvSpPr txBox="1">
            <a:spLocks/>
          </p:cNvSpPr>
          <p:nvPr>
            <p:custDataLst>
              <p:tags r:id="rId15"/>
            </p:custDataLst>
          </p:nvPr>
        </p:nvSpPr>
        <p:spPr bwMode="gray">
          <a:xfrm>
            <a:off x="5584825" y="2032000"/>
            <a:ext cx="174625" cy="136525"/>
          </a:xfrm>
          <a:prstGeom prst="rect">
            <a:avLst/>
          </a:prstGeom>
          <a:solidFill>
            <a:srgbClr val="00777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F94B443-8668-4894-8D1B-15739FC5BACD}" type="datetime'4''''''''''''''''''''''''''''0'''''''''''''''''''''">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01" name="Text Placeholder 2">
            <a:extLst>
              <a:ext uri="{FF2B5EF4-FFF2-40B4-BE49-F238E27FC236}">
                <a16:creationId xmlns:a16="http://schemas.microsoft.com/office/drawing/2014/main" id="{F5C9AAFA-1AD0-6C7E-3DF5-EEE3AC30E6C4}"/>
              </a:ext>
            </a:extLst>
          </p:cNvPr>
          <p:cNvSpPr txBox="1">
            <a:spLocks/>
          </p:cNvSpPr>
          <p:nvPr>
            <p:custDataLst>
              <p:tags r:id="rId16"/>
            </p:custDataLst>
          </p:nvPr>
        </p:nvSpPr>
        <p:spPr bwMode="gray">
          <a:xfrm>
            <a:off x="2709863" y="2032000"/>
            <a:ext cx="174625" cy="136525"/>
          </a:xfrm>
          <a:prstGeom prst="rect">
            <a:avLst/>
          </a:prstGeom>
          <a:solidFill>
            <a:srgbClr val="359BDB"/>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AB1EBA9-7123-4C97-B27B-A3F34F4DBF4B}" type="datetime'''''''''''''4''''''''''''''''''''''''''''''''''''''''6'">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6</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4" name="Text Placeholder 2">
            <a:extLst>
              <a:ext uri="{FF2B5EF4-FFF2-40B4-BE49-F238E27FC236}">
                <a16:creationId xmlns:a16="http://schemas.microsoft.com/office/drawing/2014/main" id="{32A51E86-86A5-D0DD-8D29-2AB59636BDF8}"/>
              </a:ext>
            </a:extLst>
          </p:cNvPr>
          <p:cNvSpPr txBox="1">
            <a:spLocks/>
          </p:cNvSpPr>
          <p:nvPr>
            <p:custDataLst>
              <p:tags r:id="rId17"/>
            </p:custDataLst>
          </p:nvPr>
        </p:nvSpPr>
        <p:spPr bwMode="auto">
          <a:xfrm>
            <a:off x="476250" y="2032000"/>
            <a:ext cx="2460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722B0AA-88FF-48AA-B124-7A42042F975E}" type="datetime'''''''''''''M''''''''''''''''''''''''''''''''e''n'''">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Men</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2" name="Text Placeholder 2">
            <a:extLst>
              <a:ext uri="{FF2B5EF4-FFF2-40B4-BE49-F238E27FC236}">
                <a16:creationId xmlns:a16="http://schemas.microsoft.com/office/drawing/2014/main" id="{437ED5CB-6AF1-1905-F8D5-8872E4278134}"/>
              </a:ext>
            </a:extLst>
          </p:cNvPr>
          <p:cNvSpPr txBox="1">
            <a:spLocks/>
          </p:cNvSpPr>
          <p:nvPr>
            <p:custDataLst>
              <p:tags r:id="rId18"/>
            </p:custDataLst>
          </p:nvPr>
        </p:nvSpPr>
        <p:spPr bwMode="gray">
          <a:xfrm>
            <a:off x="7626350" y="2149475"/>
            <a:ext cx="104775" cy="136525"/>
          </a:xfrm>
          <a:prstGeom prst="rect">
            <a:avLst/>
          </a:prstGeom>
          <a:solidFill>
            <a:srgbClr val="D1227D"/>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F48101B-184B-4C52-8E65-BA47945BD318}" type="datetime'''''''''''''''''''''''''''''''''''8'''''''''''''''''''">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8</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03" name="Text Placeholder 2">
            <a:extLst>
              <a:ext uri="{FF2B5EF4-FFF2-40B4-BE49-F238E27FC236}">
                <a16:creationId xmlns:a16="http://schemas.microsoft.com/office/drawing/2014/main" id="{FC1945AF-DA80-971F-D7E7-59D27C6ED52F}"/>
              </a:ext>
            </a:extLst>
          </p:cNvPr>
          <p:cNvSpPr txBox="1">
            <a:spLocks/>
          </p:cNvSpPr>
          <p:nvPr>
            <p:custDataLst>
              <p:tags r:id="rId19"/>
            </p:custDataLst>
          </p:nvPr>
        </p:nvSpPr>
        <p:spPr bwMode="gray">
          <a:xfrm>
            <a:off x="6588125" y="2149475"/>
            <a:ext cx="174625" cy="136525"/>
          </a:xfrm>
          <a:prstGeom prst="rect">
            <a:avLst/>
          </a:prstGeom>
          <a:solidFill>
            <a:srgbClr val="FF930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5390747-23C7-4C8C-8E72-65E6183D5F85}" type="datetime'''''''''''''''''2''''''''''''''''''''''2'''''''''''''''''''">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2</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04" name="Text Placeholder 2">
            <a:extLst>
              <a:ext uri="{FF2B5EF4-FFF2-40B4-BE49-F238E27FC236}">
                <a16:creationId xmlns:a16="http://schemas.microsoft.com/office/drawing/2014/main" id="{05AAA3C5-29BE-092D-BAD1-FF314C9AA7A8}"/>
              </a:ext>
            </a:extLst>
          </p:cNvPr>
          <p:cNvSpPr txBox="1">
            <a:spLocks/>
          </p:cNvSpPr>
          <p:nvPr>
            <p:custDataLst>
              <p:tags r:id="rId20"/>
            </p:custDataLst>
          </p:nvPr>
        </p:nvSpPr>
        <p:spPr bwMode="gray">
          <a:xfrm>
            <a:off x="4181475" y="2149475"/>
            <a:ext cx="174625" cy="136525"/>
          </a:xfrm>
          <a:prstGeom prst="rect">
            <a:avLst/>
          </a:prstGeom>
          <a:solidFill>
            <a:srgbClr val="00777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56FF3A6-FF0D-4F33-A465-C7A71BAF7550}" type="datetime'''''''5''''''0'''''''''''''''''''''">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05" name="Text Placeholder 2">
            <a:extLst>
              <a:ext uri="{FF2B5EF4-FFF2-40B4-BE49-F238E27FC236}">
                <a16:creationId xmlns:a16="http://schemas.microsoft.com/office/drawing/2014/main" id="{3A2F9C23-0154-08DB-9FC4-6DDD38157DB7}"/>
              </a:ext>
            </a:extLst>
          </p:cNvPr>
          <p:cNvSpPr txBox="1">
            <a:spLocks/>
          </p:cNvSpPr>
          <p:nvPr>
            <p:custDataLst>
              <p:tags r:id="rId21"/>
            </p:custDataLst>
          </p:nvPr>
        </p:nvSpPr>
        <p:spPr bwMode="gray">
          <a:xfrm>
            <a:off x="1841500" y="2149475"/>
            <a:ext cx="174625" cy="136525"/>
          </a:xfrm>
          <a:prstGeom prst="rect">
            <a:avLst/>
          </a:prstGeom>
          <a:solidFill>
            <a:srgbClr val="359BDB"/>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9DDACD9-6BE1-4F7E-94E0-BD68F0AA7829}" type="datetime'''''''''''''''''''''''2''0'''''''''''''''''''''''''''''''''">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6" name="Text Placeholder 2">
            <a:extLst>
              <a:ext uri="{FF2B5EF4-FFF2-40B4-BE49-F238E27FC236}">
                <a16:creationId xmlns:a16="http://schemas.microsoft.com/office/drawing/2014/main" id="{D83EF1BB-325A-2510-7CDC-B2EAC2242A58}"/>
              </a:ext>
            </a:extLst>
          </p:cNvPr>
          <p:cNvSpPr txBox="1">
            <a:spLocks/>
          </p:cNvSpPr>
          <p:nvPr>
            <p:custDataLst>
              <p:tags r:id="rId22"/>
            </p:custDataLst>
          </p:nvPr>
        </p:nvSpPr>
        <p:spPr bwMode="auto">
          <a:xfrm>
            <a:off x="476250" y="2149475"/>
            <a:ext cx="436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DA5EC06-8400-4D96-949B-CF176BF61B71}" type="datetime'''''W''o''''m''''''''''''''en'''''">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Women</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6" name="Text Placeholder 2">
            <a:extLst>
              <a:ext uri="{FF2B5EF4-FFF2-40B4-BE49-F238E27FC236}">
                <a16:creationId xmlns:a16="http://schemas.microsoft.com/office/drawing/2014/main" id="{9DED2DBE-91DD-D56D-0F8B-BC9C2DE81AB9}"/>
              </a:ext>
            </a:extLst>
          </p:cNvPr>
          <p:cNvSpPr txBox="1">
            <a:spLocks/>
          </p:cNvSpPr>
          <p:nvPr>
            <p:custDataLst>
              <p:tags r:id="rId23"/>
            </p:custDataLst>
          </p:nvPr>
        </p:nvSpPr>
        <p:spPr bwMode="gray">
          <a:xfrm>
            <a:off x="7693025" y="2266950"/>
            <a:ext cx="104775" cy="136525"/>
          </a:xfrm>
          <a:prstGeom prst="rect">
            <a:avLst/>
          </a:prstGeom>
          <a:solidFill>
            <a:srgbClr val="D1227D"/>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D0A68F3-B457-49B8-B081-454669277FB8}" type="datetime'''''''''6'''''''''''''''">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07" name="Text Placeholder 2">
            <a:extLst>
              <a:ext uri="{FF2B5EF4-FFF2-40B4-BE49-F238E27FC236}">
                <a16:creationId xmlns:a16="http://schemas.microsoft.com/office/drawing/2014/main" id="{C72D6B88-B9E2-A794-1689-E32F1DC98D63}"/>
              </a:ext>
            </a:extLst>
          </p:cNvPr>
          <p:cNvSpPr txBox="1">
            <a:spLocks/>
          </p:cNvSpPr>
          <p:nvPr>
            <p:custDataLst>
              <p:tags r:id="rId24"/>
            </p:custDataLst>
          </p:nvPr>
        </p:nvSpPr>
        <p:spPr bwMode="gray">
          <a:xfrm>
            <a:off x="6956425" y="2266950"/>
            <a:ext cx="174625" cy="136525"/>
          </a:xfrm>
          <a:prstGeom prst="rect">
            <a:avLst/>
          </a:prstGeom>
          <a:solidFill>
            <a:srgbClr val="FF930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CCDB661-AA1D-4D3F-B05C-A115554FE1A3}" type="datetime'''''''''''''''''''''''''1''5'''''''''''''''''''''">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5</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08" name="Text Placeholder 2">
            <a:extLst>
              <a:ext uri="{FF2B5EF4-FFF2-40B4-BE49-F238E27FC236}">
                <a16:creationId xmlns:a16="http://schemas.microsoft.com/office/drawing/2014/main" id="{58EE3254-6279-AFA4-04B4-D1C90A2B09B1}"/>
              </a:ext>
            </a:extLst>
          </p:cNvPr>
          <p:cNvSpPr txBox="1">
            <a:spLocks/>
          </p:cNvSpPr>
          <p:nvPr>
            <p:custDataLst>
              <p:tags r:id="rId25"/>
            </p:custDataLst>
          </p:nvPr>
        </p:nvSpPr>
        <p:spPr bwMode="gray">
          <a:xfrm>
            <a:off x="4683125" y="2266950"/>
            <a:ext cx="174625" cy="136525"/>
          </a:xfrm>
          <a:prstGeom prst="rect">
            <a:avLst/>
          </a:prstGeom>
          <a:solidFill>
            <a:srgbClr val="00777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BF2700B-B179-4D57-9DB7-26CB28C191BB}" type="datetime'''5''''''''''''''''''''''3'''''''''''">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53</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09" name="Text Placeholder 2">
            <a:extLst>
              <a:ext uri="{FF2B5EF4-FFF2-40B4-BE49-F238E27FC236}">
                <a16:creationId xmlns:a16="http://schemas.microsoft.com/office/drawing/2014/main" id="{08BDE13C-BF68-C8C2-47C2-16CE94BB8246}"/>
              </a:ext>
            </a:extLst>
          </p:cNvPr>
          <p:cNvSpPr txBox="1">
            <a:spLocks/>
          </p:cNvSpPr>
          <p:nvPr>
            <p:custDataLst>
              <p:tags r:id="rId26"/>
            </p:custDataLst>
          </p:nvPr>
        </p:nvSpPr>
        <p:spPr bwMode="gray">
          <a:xfrm>
            <a:off x="2041525" y="2266950"/>
            <a:ext cx="174625" cy="136525"/>
          </a:xfrm>
          <a:prstGeom prst="rect">
            <a:avLst/>
          </a:prstGeom>
          <a:solidFill>
            <a:srgbClr val="359BDB"/>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B580730-F806-4F8B-B72D-C8839A047249}" type="datetime'''''''''''''''''''''''''''''''''''''''''''''2''''6'''''''''''">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6</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8" name="Text Placeholder 2">
            <a:extLst>
              <a:ext uri="{FF2B5EF4-FFF2-40B4-BE49-F238E27FC236}">
                <a16:creationId xmlns:a16="http://schemas.microsoft.com/office/drawing/2014/main" id="{6D1859D7-DC15-9AFE-CDE3-778439A3C4F7}"/>
              </a:ext>
            </a:extLst>
          </p:cNvPr>
          <p:cNvSpPr txBox="1">
            <a:spLocks/>
          </p:cNvSpPr>
          <p:nvPr>
            <p:custDataLst>
              <p:tags r:id="rId27"/>
            </p:custDataLst>
          </p:nvPr>
        </p:nvSpPr>
        <p:spPr bwMode="auto">
          <a:xfrm>
            <a:off x="476250" y="2266950"/>
            <a:ext cx="350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C0F4DD1-F2D5-4110-A1EA-907D062CE038}" type="datetime'G''''''''''''''''''e''''''''''''''n Z'''''''''''''''">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Gen Z</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0" name="Text Placeholder 2">
            <a:extLst>
              <a:ext uri="{FF2B5EF4-FFF2-40B4-BE49-F238E27FC236}">
                <a16:creationId xmlns:a16="http://schemas.microsoft.com/office/drawing/2014/main" id="{69DD3325-02A5-E902-2758-1505CF8DF19E}"/>
              </a:ext>
            </a:extLst>
          </p:cNvPr>
          <p:cNvSpPr txBox="1">
            <a:spLocks/>
          </p:cNvSpPr>
          <p:nvPr>
            <p:custDataLst>
              <p:tags r:id="rId28"/>
            </p:custDataLst>
          </p:nvPr>
        </p:nvSpPr>
        <p:spPr bwMode="gray">
          <a:xfrm>
            <a:off x="7726363" y="2384425"/>
            <a:ext cx="104775" cy="136525"/>
          </a:xfrm>
          <a:prstGeom prst="rect">
            <a:avLst/>
          </a:prstGeom>
          <a:solidFill>
            <a:srgbClr val="D1227D"/>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971404F-4270-420E-B3C5-ABF24E314B4D}" type="datetime'5'''''''''''''">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5</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11" name="Text Placeholder 2">
            <a:extLst>
              <a:ext uri="{FF2B5EF4-FFF2-40B4-BE49-F238E27FC236}">
                <a16:creationId xmlns:a16="http://schemas.microsoft.com/office/drawing/2014/main" id="{6D90E6FF-9D8F-E392-385E-DFFFE9A2A1EE}"/>
              </a:ext>
            </a:extLst>
          </p:cNvPr>
          <p:cNvSpPr txBox="1">
            <a:spLocks/>
          </p:cNvSpPr>
          <p:nvPr>
            <p:custDataLst>
              <p:tags r:id="rId29"/>
            </p:custDataLst>
          </p:nvPr>
        </p:nvSpPr>
        <p:spPr bwMode="gray">
          <a:xfrm>
            <a:off x="6856413" y="2384425"/>
            <a:ext cx="174625" cy="136525"/>
          </a:xfrm>
          <a:prstGeom prst="rect">
            <a:avLst/>
          </a:prstGeom>
          <a:solidFill>
            <a:srgbClr val="FF930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C13E6D0-CEA8-4B12-B8C1-56D69CB47595}" type="datetime'''''''''2''''''''''''''''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12" name="Text Placeholder 2">
            <a:extLst>
              <a:ext uri="{FF2B5EF4-FFF2-40B4-BE49-F238E27FC236}">
                <a16:creationId xmlns:a16="http://schemas.microsoft.com/office/drawing/2014/main" id="{2D129EC3-30C7-30F5-5130-603D6CF931DC}"/>
              </a:ext>
            </a:extLst>
          </p:cNvPr>
          <p:cNvSpPr txBox="1">
            <a:spLocks/>
          </p:cNvSpPr>
          <p:nvPr>
            <p:custDataLst>
              <p:tags r:id="rId30"/>
            </p:custDataLst>
          </p:nvPr>
        </p:nvSpPr>
        <p:spPr bwMode="gray">
          <a:xfrm>
            <a:off x="4849813" y="2384425"/>
            <a:ext cx="174625" cy="136525"/>
          </a:xfrm>
          <a:prstGeom prst="rect">
            <a:avLst/>
          </a:prstGeom>
          <a:solidFill>
            <a:srgbClr val="00777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DF2F3E4-F5DA-4003-BF9F-E5AD0AB41FBC}" type="datetime'''''''''''''4''''0'''''''''''''''''''''''">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13" name="Text Placeholder 2">
            <a:extLst>
              <a:ext uri="{FF2B5EF4-FFF2-40B4-BE49-F238E27FC236}">
                <a16:creationId xmlns:a16="http://schemas.microsoft.com/office/drawing/2014/main" id="{78B304CB-4F3B-5C5D-98B5-B78147380E7E}"/>
              </a:ext>
            </a:extLst>
          </p:cNvPr>
          <p:cNvSpPr txBox="1">
            <a:spLocks/>
          </p:cNvSpPr>
          <p:nvPr>
            <p:custDataLst>
              <p:tags r:id="rId31"/>
            </p:custDataLst>
          </p:nvPr>
        </p:nvSpPr>
        <p:spPr bwMode="gray">
          <a:xfrm>
            <a:off x="2343150" y="2384425"/>
            <a:ext cx="174625" cy="136525"/>
          </a:xfrm>
          <a:prstGeom prst="rect">
            <a:avLst/>
          </a:prstGeom>
          <a:solidFill>
            <a:srgbClr val="359BDB"/>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2BD347B-26E8-42C9-B235-C93D5ED357A8}" type="datetime'''''''''''3''''''''''''''''''''5'''''''''''''''''''">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5</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1" name="Text Placeholder 2">
            <a:extLst>
              <a:ext uri="{FF2B5EF4-FFF2-40B4-BE49-F238E27FC236}">
                <a16:creationId xmlns:a16="http://schemas.microsoft.com/office/drawing/2014/main" id="{946C7062-A40B-98B7-9B3C-A0E0AB372C34}"/>
              </a:ext>
            </a:extLst>
          </p:cNvPr>
          <p:cNvSpPr txBox="1">
            <a:spLocks/>
          </p:cNvSpPr>
          <p:nvPr>
            <p:custDataLst>
              <p:tags r:id="rId32"/>
            </p:custDataLst>
          </p:nvPr>
        </p:nvSpPr>
        <p:spPr bwMode="auto">
          <a:xfrm>
            <a:off x="476250" y="2384425"/>
            <a:ext cx="528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E3BE142-C71B-4416-9E57-E71ADBF333F3}" type="datetime'''''M''''''''i''''''l''''len''''''''''''n''''i''''al'''''''">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Millennial</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4" name="Text Placeholder 2">
            <a:extLst>
              <a:ext uri="{FF2B5EF4-FFF2-40B4-BE49-F238E27FC236}">
                <a16:creationId xmlns:a16="http://schemas.microsoft.com/office/drawing/2014/main" id="{F6C0E262-9E29-0CCE-3F0F-998832D4269A}"/>
              </a:ext>
            </a:extLst>
          </p:cNvPr>
          <p:cNvSpPr txBox="1">
            <a:spLocks/>
          </p:cNvSpPr>
          <p:nvPr>
            <p:custDataLst>
              <p:tags r:id="rId33"/>
            </p:custDataLst>
          </p:nvPr>
        </p:nvSpPr>
        <p:spPr bwMode="gray">
          <a:xfrm>
            <a:off x="7659688" y="2501900"/>
            <a:ext cx="104775" cy="136525"/>
          </a:xfrm>
          <a:prstGeom prst="rect">
            <a:avLst/>
          </a:prstGeom>
          <a:solidFill>
            <a:srgbClr val="D1227D"/>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A24EA01-F33B-489A-9435-6AD2CC65BFEA}" type="datetime'''''''''''''''''''''''''''''''''''''''''''''7'">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15" name="Text Placeholder 2">
            <a:extLst>
              <a:ext uri="{FF2B5EF4-FFF2-40B4-BE49-F238E27FC236}">
                <a16:creationId xmlns:a16="http://schemas.microsoft.com/office/drawing/2014/main" id="{C6B8AEBD-22DB-70D4-ED16-F7EE62309A62}"/>
              </a:ext>
            </a:extLst>
          </p:cNvPr>
          <p:cNvSpPr txBox="1">
            <a:spLocks/>
          </p:cNvSpPr>
          <p:nvPr>
            <p:custDataLst>
              <p:tags r:id="rId34"/>
            </p:custDataLst>
          </p:nvPr>
        </p:nvSpPr>
        <p:spPr bwMode="gray">
          <a:xfrm>
            <a:off x="6789738" y="2501900"/>
            <a:ext cx="174625" cy="136525"/>
          </a:xfrm>
          <a:prstGeom prst="rect">
            <a:avLst/>
          </a:prstGeom>
          <a:solidFill>
            <a:srgbClr val="FF930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A597B4B-F170-4A4B-9F51-B0F78545BC5D}" type="datetime'''''''''''''''1''''''''''''''''''''''''''8'''''''''''">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8</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16" name="Text Placeholder 2">
            <a:extLst>
              <a:ext uri="{FF2B5EF4-FFF2-40B4-BE49-F238E27FC236}">
                <a16:creationId xmlns:a16="http://schemas.microsoft.com/office/drawing/2014/main" id="{B5BB9FE6-56FF-2432-6485-E146511B02E1}"/>
              </a:ext>
            </a:extLst>
          </p:cNvPr>
          <p:cNvSpPr txBox="1">
            <a:spLocks/>
          </p:cNvSpPr>
          <p:nvPr>
            <p:custDataLst>
              <p:tags r:id="rId35"/>
            </p:custDataLst>
          </p:nvPr>
        </p:nvSpPr>
        <p:spPr bwMode="gray">
          <a:xfrm>
            <a:off x="4483100" y="2501900"/>
            <a:ext cx="174625" cy="136525"/>
          </a:xfrm>
          <a:prstGeom prst="rect">
            <a:avLst/>
          </a:prstGeom>
          <a:solidFill>
            <a:srgbClr val="00777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FB1DF6B-1B69-4841-8F55-00EAD2E3E336}" type="datetime'''''''''''5''''''''''''''''1'''">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51</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17" name="Text Placeholder 2">
            <a:extLst>
              <a:ext uri="{FF2B5EF4-FFF2-40B4-BE49-F238E27FC236}">
                <a16:creationId xmlns:a16="http://schemas.microsoft.com/office/drawing/2014/main" id="{B9F1AB77-4645-0F08-9680-EAEBF653F492}"/>
              </a:ext>
            </a:extLst>
          </p:cNvPr>
          <p:cNvSpPr txBox="1">
            <a:spLocks/>
          </p:cNvSpPr>
          <p:nvPr>
            <p:custDataLst>
              <p:tags r:id="rId36"/>
            </p:custDataLst>
          </p:nvPr>
        </p:nvSpPr>
        <p:spPr bwMode="gray">
          <a:xfrm>
            <a:off x="1974850" y="2501900"/>
            <a:ext cx="174625" cy="136525"/>
          </a:xfrm>
          <a:prstGeom prst="rect">
            <a:avLst/>
          </a:prstGeom>
          <a:solidFill>
            <a:srgbClr val="359BDB"/>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A550F40-B048-4B8A-8FE3-8766301DED31}" type="datetime'''''''''2''''''''''''''''''''''''''''''''''''''''''4'">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4</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4" name="Text Placeholder 2">
            <a:extLst>
              <a:ext uri="{FF2B5EF4-FFF2-40B4-BE49-F238E27FC236}">
                <a16:creationId xmlns:a16="http://schemas.microsoft.com/office/drawing/2014/main" id="{AA2C3B27-CD69-1724-A9FF-166186BCCDF5}"/>
              </a:ext>
            </a:extLst>
          </p:cNvPr>
          <p:cNvSpPr txBox="1">
            <a:spLocks/>
          </p:cNvSpPr>
          <p:nvPr>
            <p:custDataLst>
              <p:tags r:id="rId37"/>
            </p:custDataLst>
          </p:nvPr>
        </p:nvSpPr>
        <p:spPr bwMode="auto">
          <a:xfrm>
            <a:off x="476250" y="2501900"/>
            <a:ext cx="357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E65E6B1-0A87-4BD2-B4F4-BBEA54E206D5}" type="datetime'''''''''''''G''en'''' ''''''''''X'''''''''">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Gen X</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8" name="Text Placeholder 2">
            <a:extLst>
              <a:ext uri="{FF2B5EF4-FFF2-40B4-BE49-F238E27FC236}">
                <a16:creationId xmlns:a16="http://schemas.microsoft.com/office/drawing/2014/main" id="{3940C0F0-A3FD-0776-510C-4B5F658607E3}"/>
              </a:ext>
            </a:extLst>
          </p:cNvPr>
          <p:cNvSpPr txBox="1">
            <a:spLocks/>
          </p:cNvSpPr>
          <p:nvPr>
            <p:custDataLst>
              <p:tags r:id="rId38"/>
            </p:custDataLst>
          </p:nvPr>
        </p:nvSpPr>
        <p:spPr bwMode="gray">
          <a:xfrm>
            <a:off x="7659688" y="2619375"/>
            <a:ext cx="104775" cy="136525"/>
          </a:xfrm>
          <a:prstGeom prst="rect">
            <a:avLst/>
          </a:prstGeom>
          <a:solidFill>
            <a:srgbClr val="D1227D"/>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362BF62-55EE-4EC8-A1F5-39B6FA4938A5}" type="datetime'''''''''''''''''''''''''''''''''7'''''''''''">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19" name="Text Placeholder 2">
            <a:extLst>
              <a:ext uri="{FF2B5EF4-FFF2-40B4-BE49-F238E27FC236}">
                <a16:creationId xmlns:a16="http://schemas.microsoft.com/office/drawing/2014/main" id="{2B81B64D-1CB1-39F4-77AE-32CD27A8BB3C}"/>
              </a:ext>
            </a:extLst>
          </p:cNvPr>
          <p:cNvSpPr txBox="1">
            <a:spLocks/>
          </p:cNvSpPr>
          <p:nvPr>
            <p:custDataLst>
              <p:tags r:id="rId39"/>
            </p:custDataLst>
          </p:nvPr>
        </p:nvSpPr>
        <p:spPr bwMode="gray">
          <a:xfrm>
            <a:off x="6923088" y="2619375"/>
            <a:ext cx="174625" cy="136525"/>
          </a:xfrm>
          <a:prstGeom prst="rect">
            <a:avLst/>
          </a:prstGeom>
          <a:solidFill>
            <a:srgbClr val="FF930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5A32216-C660-417E-8987-4457385DCF74}" type="datetime'''''''''''''''''''''1''''''''''''''''''''''''''4'''''''">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4</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20" name="Text Placeholder 2">
            <a:extLst>
              <a:ext uri="{FF2B5EF4-FFF2-40B4-BE49-F238E27FC236}">
                <a16:creationId xmlns:a16="http://schemas.microsoft.com/office/drawing/2014/main" id="{AA0473B3-93C8-AF4B-8642-8F0595829B01}"/>
              </a:ext>
            </a:extLst>
          </p:cNvPr>
          <p:cNvSpPr txBox="1">
            <a:spLocks/>
          </p:cNvSpPr>
          <p:nvPr>
            <p:custDataLst>
              <p:tags r:id="rId40"/>
            </p:custDataLst>
          </p:nvPr>
        </p:nvSpPr>
        <p:spPr bwMode="gray">
          <a:xfrm>
            <a:off x="5016500" y="2619375"/>
            <a:ext cx="174625" cy="136525"/>
          </a:xfrm>
          <a:prstGeom prst="rect">
            <a:avLst/>
          </a:prstGeom>
          <a:solidFill>
            <a:srgbClr val="00777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C8C675D-19F8-497B-8D39-0E9C06678FF1}" type="datetime'''''''''''''''''''''''''''43'''''''''''''''''''''''''''''">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3</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21" name="Text Placeholder 2">
            <a:extLst>
              <a:ext uri="{FF2B5EF4-FFF2-40B4-BE49-F238E27FC236}">
                <a16:creationId xmlns:a16="http://schemas.microsoft.com/office/drawing/2014/main" id="{92429F8A-5373-D7D9-FFD3-F4DABA6E0720}"/>
              </a:ext>
            </a:extLst>
          </p:cNvPr>
          <p:cNvSpPr txBox="1">
            <a:spLocks/>
          </p:cNvSpPr>
          <p:nvPr>
            <p:custDataLst>
              <p:tags r:id="rId41"/>
            </p:custDataLst>
          </p:nvPr>
        </p:nvSpPr>
        <p:spPr bwMode="gray">
          <a:xfrm>
            <a:off x="2376488" y="2619375"/>
            <a:ext cx="174625" cy="136525"/>
          </a:xfrm>
          <a:prstGeom prst="rect">
            <a:avLst/>
          </a:prstGeom>
          <a:solidFill>
            <a:srgbClr val="359BDB"/>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3422E38-C349-4775-9FDB-0654044D0E3F}" type="datetime'''''''3''''''6'''''''''''''''''''''''''''''''''''">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6</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6" name="Text Placeholder 2">
            <a:extLst>
              <a:ext uri="{FF2B5EF4-FFF2-40B4-BE49-F238E27FC236}">
                <a16:creationId xmlns:a16="http://schemas.microsoft.com/office/drawing/2014/main" id="{C47CBE86-303E-6FB9-9C2C-0113083975A6}"/>
              </a:ext>
            </a:extLst>
          </p:cNvPr>
          <p:cNvSpPr txBox="1">
            <a:spLocks/>
          </p:cNvSpPr>
          <p:nvPr>
            <p:custDataLst>
              <p:tags r:id="rId42"/>
            </p:custDataLst>
          </p:nvPr>
        </p:nvSpPr>
        <p:spPr bwMode="auto">
          <a:xfrm>
            <a:off x="476250" y="2619375"/>
            <a:ext cx="506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C151D23-EEE4-478D-9AF1-18650B4B3298}" type="datetime'''B''''''''o''o''''''''''''''''me''''''''''r''''''''''''s'''''">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Boomers</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3" name="Text Placeholder 2">
            <a:extLst>
              <a:ext uri="{FF2B5EF4-FFF2-40B4-BE49-F238E27FC236}">
                <a16:creationId xmlns:a16="http://schemas.microsoft.com/office/drawing/2014/main" id="{1C964691-4830-86E1-F54F-21B95B3A2B15}"/>
              </a:ext>
            </a:extLst>
          </p:cNvPr>
          <p:cNvSpPr txBox="1">
            <a:spLocks/>
          </p:cNvSpPr>
          <p:nvPr>
            <p:custDataLst>
              <p:tags r:id="rId43"/>
            </p:custDataLst>
          </p:nvPr>
        </p:nvSpPr>
        <p:spPr bwMode="gray">
          <a:xfrm>
            <a:off x="7693025" y="1914525"/>
            <a:ext cx="104775" cy="136525"/>
          </a:xfrm>
          <a:prstGeom prst="rect">
            <a:avLst/>
          </a:prstGeom>
          <a:solidFill>
            <a:srgbClr val="D1227D"/>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F153E96-C699-41F5-8516-053B1B55FC10}" type="datetime'''''''''''''''''''''''''''6'''''''''''''''''''''''''''">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23" name="Text Placeholder 2">
            <a:extLst>
              <a:ext uri="{FF2B5EF4-FFF2-40B4-BE49-F238E27FC236}">
                <a16:creationId xmlns:a16="http://schemas.microsoft.com/office/drawing/2014/main" id="{91512717-4361-6EC9-0D71-3A3478BFF3F4}"/>
              </a:ext>
            </a:extLst>
          </p:cNvPr>
          <p:cNvSpPr txBox="1">
            <a:spLocks/>
          </p:cNvSpPr>
          <p:nvPr>
            <p:custDataLst>
              <p:tags r:id="rId44"/>
            </p:custDataLst>
          </p:nvPr>
        </p:nvSpPr>
        <p:spPr bwMode="gray">
          <a:xfrm>
            <a:off x="7258050" y="2735263"/>
            <a:ext cx="174625" cy="136525"/>
          </a:xfrm>
          <a:prstGeom prst="rect">
            <a:avLst/>
          </a:prstGeom>
          <a:solidFill>
            <a:srgbClr val="FF930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1F51175-69CF-4ED3-88B1-69F73F48E2F9}" type="datetime'''''''''''''''1''''''''''''''''''''''''''''''''''''''2'">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2</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24" name="Text Placeholder 2">
            <a:extLst>
              <a:ext uri="{FF2B5EF4-FFF2-40B4-BE49-F238E27FC236}">
                <a16:creationId xmlns:a16="http://schemas.microsoft.com/office/drawing/2014/main" id="{AC3742E5-D845-67D6-2E25-D9B52AAB2BD9}"/>
              </a:ext>
            </a:extLst>
          </p:cNvPr>
          <p:cNvSpPr txBox="1">
            <a:spLocks/>
          </p:cNvSpPr>
          <p:nvPr>
            <p:custDataLst>
              <p:tags r:id="rId45"/>
            </p:custDataLst>
          </p:nvPr>
        </p:nvSpPr>
        <p:spPr bwMode="gray">
          <a:xfrm>
            <a:off x="5184775" y="2735263"/>
            <a:ext cx="174625" cy="136525"/>
          </a:xfrm>
          <a:prstGeom prst="rect">
            <a:avLst/>
          </a:prstGeom>
          <a:solidFill>
            <a:srgbClr val="00777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8850081-776B-4F7C-AA3F-F636C8740436}" type="datetime'''''''''''''''''''''''''''''''''''50'''''''''''''''''">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25" name="Text Placeholder 2">
            <a:extLst>
              <a:ext uri="{FF2B5EF4-FFF2-40B4-BE49-F238E27FC236}">
                <a16:creationId xmlns:a16="http://schemas.microsoft.com/office/drawing/2014/main" id="{CE94EE06-3A5A-03F3-7975-A5BDFF4608F4}"/>
              </a:ext>
            </a:extLst>
          </p:cNvPr>
          <p:cNvSpPr txBox="1">
            <a:spLocks/>
          </p:cNvSpPr>
          <p:nvPr>
            <p:custDataLst>
              <p:tags r:id="rId46"/>
            </p:custDataLst>
          </p:nvPr>
        </p:nvSpPr>
        <p:spPr bwMode="gray">
          <a:xfrm>
            <a:off x="2343150" y="2735263"/>
            <a:ext cx="174625" cy="136525"/>
          </a:xfrm>
          <a:prstGeom prst="rect">
            <a:avLst/>
          </a:prstGeom>
          <a:solidFill>
            <a:srgbClr val="359BDB"/>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2D93E1A-643E-498A-A966-344E90FB10F8}" type="datetime'''''''''3''''''''5'''''''''''''''''">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5</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7" name="Text Placeholder 2">
            <a:extLst>
              <a:ext uri="{FF2B5EF4-FFF2-40B4-BE49-F238E27FC236}">
                <a16:creationId xmlns:a16="http://schemas.microsoft.com/office/drawing/2014/main" id="{0AA58D73-04F9-F35E-E47F-0E40F3129C3E}"/>
              </a:ext>
            </a:extLst>
          </p:cNvPr>
          <p:cNvSpPr txBox="1">
            <a:spLocks/>
          </p:cNvSpPr>
          <p:nvPr>
            <p:custDataLst>
              <p:tags r:id="rId47"/>
            </p:custDataLst>
          </p:nvPr>
        </p:nvSpPr>
        <p:spPr bwMode="auto">
          <a:xfrm>
            <a:off x="476250" y="2735263"/>
            <a:ext cx="631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3CF069B-1C45-497A-80EE-37775DCEFF73}" type="datetime'R''''epu''''''''''''bl''''''''''''''ic''''''''a''''''''n'">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Republican</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6" name="Text Placeholder 2">
            <a:extLst>
              <a:ext uri="{FF2B5EF4-FFF2-40B4-BE49-F238E27FC236}">
                <a16:creationId xmlns:a16="http://schemas.microsoft.com/office/drawing/2014/main" id="{65F4EE92-AF52-091C-02A5-FD7F4EB05042}"/>
              </a:ext>
            </a:extLst>
          </p:cNvPr>
          <p:cNvSpPr txBox="1">
            <a:spLocks/>
          </p:cNvSpPr>
          <p:nvPr>
            <p:custDataLst>
              <p:tags r:id="rId48"/>
            </p:custDataLst>
          </p:nvPr>
        </p:nvSpPr>
        <p:spPr bwMode="gray">
          <a:xfrm>
            <a:off x="7726363" y="2852738"/>
            <a:ext cx="104775" cy="136525"/>
          </a:xfrm>
          <a:prstGeom prst="rect">
            <a:avLst/>
          </a:prstGeom>
          <a:solidFill>
            <a:srgbClr val="D1227D"/>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73EFFEE-62BC-4BEC-8127-3AABF05BC051}" type="datetime'''''''''''''5'''''''''''''''''''''''''''''''''''''''''''">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5</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27" name="Text Placeholder 2">
            <a:extLst>
              <a:ext uri="{FF2B5EF4-FFF2-40B4-BE49-F238E27FC236}">
                <a16:creationId xmlns:a16="http://schemas.microsoft.com/office/drawing/2014/main" id="{069E41F9-58D4-AAD2-F891-A3BF47312615}"/>
              </a:ext>
            </a:extLst>
          </p:cNvPr>
          <p:cNvSpPr txBox="1">
            <a:spLocks/>
          </p:cNvSpPr>
          <p:nvPr>
            <p:custDataLst>
              <p:tags r:id="rId49"/>
            </p:custDataLst>
          </p:nvPr>
        </p:nvSpPr>
        <p:spPr bwMode="gray">
          <a:xfrm>
            <a:off x="6956425" y="2852738"/>
            <a:ext cx="174625" cy="136525"/>
          </a:xfrm>
          <a:prstGeom prst="rect">
            <a:avLst/>
          </a:prstGeom>
          <a:solidFill>
            <a:srgbClr val="FF930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57366CF-BD18-4A36-B929-68667045222D}" type="datetime'''''''''''''''''''''''''''''1''''''''''''''7'''''''''">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7</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28" name="Text Placeholder 2">
            <a:extLst>
              <a:ext uri="{FF2B5EF4-FFF2-40B4-BE49-F238E27FC236}">
                <a16:creationId xmlns:a16="http://schemas.microsoft.com/office/drawing/2014/main" id="{88D30285-9E27-3B71-0650-738E3379D21B}"/>
              </a:ext>
            </a:extLst>
          </p:cNvPr>
          <p:cNvSpPr txBox="1">
            <a:spLocks/>
          </p:cNvSpPr>
          <p:nvPr>
            <p:custDataLst>
              <p:tags r:id="rId50"/>
            </p:custDataLst>
          </p:nvPr>
        </p:nvSpPr>
        <p:spPr bwMode="gray">
          <a:xfrm>
            <a:off x="4949825" y="2852738"/>
            <a:ext cx="174625" cy="136525"/>
          </a:xfrm>
          <a:prstGeom prst="rect">
            <a:avLst/>
          </a:prstGeom>
          <a:solidFill>
            <a:srgbClr val="00777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9791F47-8D76-4506-B0E7-29FE29BB74AE}" type="datetime'''43'''''''''''''''''''''''''''''''''''''''''''''''''">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3</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29" name="Text Placeholder 2">
            <a:extLst>
              <a:ext uri="{FF2B5EF4-FFF2-40B4-BE49-F238E27FC236}">
                <a16:creationId xmlns:a16="http://schemas.microsoft.com/office/drawing/2014/main" id="{506FA297-9C51-038A-1C32-F487DC40CD9E}"/>
              </a:ext>
            </a:extLst>
          </p:cNvPr>
          <p:cNvSpPr txBox="1">
            <a:spLocks/>
          </p:cNvSpPr>
          <p:nvPr>
            <p:custDataLst>
              <p:tags r:id="rId51"/>
            </p:custDataLst>
          </p:nvPr>
        </p:nvSpPr>
        <p:spPr bwMode="gray">
          <a:xfrm>
            <a:off x="2343150" y="2852738"/>
            <a:ext cx="174625" cy="136525"/>
          </a:xfrm>
          <a:prstGeom prst="rect">
            <a:avLst/>
          </a:prstGeom>
          <a:solidFill>
            <a:srgbClr val="359BDB"/>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87B1360-943E-4CF7-A764-A77E878CF5CC}" type="datetime'''''''''35'''''''''">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5</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8" name="Text Placeholder 2">
            <a:extLst>
              <a:ext uri="{FF2B5EF4-FFF2-40B4-BE49-F238E27FC236}">
                <a16:creationId xmlns:a16="http://schemas.microsoft.com/office/drawing/2014/main" id="{66DC09EC-AF4E-9455-1BB3-6F1401FF9E71}"/>
              </a:ext>
            </a:extLst>
          </p:cNvPr>
          <p:cNvSpPr txBox="1">
            <a:spLocks/>
          </p:cNvSpPr>
          <p:nvPr>
            <p:custDataLst>
              <p:tags r:id="rId52"/>
            </p:custDataLst>
          </p:nvPr>
        </p:nvSpPr>
        <p:spPr bwMode="auto">
          <a:xfrm>
            <a:off x="476250" y="2852738"/>
            <a:ext cx="549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B22168E-CE85-428F-9AB0-B8D9D5683C2E}" type="datetime'''''''D''''e''m''''''o''''c''rat'''''''">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Democrat</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0" name="Text Placeholder 2">
            <a:extLst>
              <a:ext uri="{FF2B5EF4-FFF2-40B4-BE49-F238E27FC236}">
                <a16:creationId xmlns:a16="http://schemas.microsoft.com/office/drawing/2014/main" id="{2848FF05-5469-8605-98E9-AEEA9A6EE7BD}"/>
              </a:ext>
            </a:extLst>
          </p:cNvPr>
          <p:cNvSpPr txBox="1">
            <a:spLocks/>
          </p:cNvSpPr>
          <p:nvPr>
            <p:custDataLst>
              <p:tags r:id="rId53"/>
            </p:custDataLst>
          </p:nvPr>
        </p:nvSpPr>
        <p:spPr bwMode="gray">
          <a:xfrm>
            <a:off x="7593013" y="2970213"/>
            <a:ext cx="104775" cy="136525"/>
          </a:xfrm>
          <a:prstGeom prst="rect">
            <a:avLst/>
          </a:prstGeom>
          <a:solidFill>
            <a:srgbClr val="D1227D"/>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F6A14BB-F4CF-48F2-B4E7-8144A99876B9}" type="datetime'''9'''''''''''''''''''''''''''''''''''''''">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9</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31" name="Text Placeholder 2">
            <a:extLst>
              <a:ext uri="{FF2B5EF4-FFF2-40B4-BE49-F238E27FC236}">
                <a16:creationId xmlns:a16="http://schemas.microsoft.com/office/drawing/2014/main" id="{CE943964-A5F4-338D-E0A9-DF3CE8E65435}"/>
              </a:ext>
            </a:extLst>
          </p:cNvPr>
          <p:cNvSpPr txBox="1">
            <a:spLocks/>
          </p:cNvSpPr>
          <p:nvPr>
            <p:custDataLst>
              <p:tags r:id="rId54"/>
            </p:custDataLst>
          </p:nvPr>
        </p:nvSpPr>
        <p:spPr bwMode="gray">
          <a:xfrm>
            <a:off x="6588125" y="2970213"/>
            <a:ext cx="174625" cy="136525"/>
          </a:xfrm>
          <a:prstGeom prst="rect">
            <a:avLst/>
          </a:prstGeom>
          <a:solidFill>
            <a:srgbClr val="FF930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BABF192-12C3-49B0-9CBA-67FC04C24E92}" type="datetime'''''''''''''''''''''''''''''''''''''''''''''''''''2''''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32" name="Text Placeholder 2">
            <a:extLst>
              <a:ext uri="{FF2B5EF4-FFF2-40B4-BE49-F238E27FC236}">
                <a16:creationId xmlns:a16="http://schemas.microsoft.com/office/drawing/2014/main" id="{F9F8A2FB-8EF4-35B6-5F1D-51AD49DB1DCB}"/>
              </a:ext>
            </a:extLst>
          </p:cNvPr>
          <p:cNvSpPr txBox="1">
            <a:spLocks/>
          </p:cNvSpPr>
          <p:nvPr>
            <p:custDataLst>
              <p:tags r:id="rId55"/>
            </p:custDataLst>
          </p:nvPr>
        </p:nvSpPr>
        <p:spPr bwMode="gray">
          <a:xfrm>
            <a:off x="4514850" y="2970213"/>
            <a:ext cx="174625" cy="136525"/>
          </a:xfrm>
          <a:prstGeom prst="rect">
            <a:avLst/>
          </a:prstGeom>
          <a:solidFill>
            <a:srgbClr val="00777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8CB15F7-77D5-4BC8-8583-C306018AA7EA}" type="datetime'''''''''''''''''''''''''42'">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2</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33" name="Text Placeholder 2">
            <a:extLst>
              <a:ext uri="{FF2B5EF4-FFF2-40B4-BE49-F238E27FC236}">
                <a16:creationId xmlns:a16="http://schemas.microsoft.com/office/drawing/2014/main" id="{BBCB0457-2C85-B6FD-F7FC-4358F6D2EE49}"/>
              </a:ext>
            </a:extLst>
          </p:cNvPr>
          <p:cNvSpPr txBox="1">
            <a:spLocks/>
          </p:cNvSpPr>
          <p:nvPr>
            <p:custDataLst>
              <p:tags r:id="rId56"/>
            </p:custDataLst>
          </p:nvPr>
        </p:nvSpPr>
        <p:spPr bwMode="gray">
          <a:xfrm>
            <a:off x="2141538" y="2970213"/>
            <a:ext cx="174625" cy="136525"/>
          </a:xfrm>
          <a:prstGeom prst="rect">
            <a:avLst/>
          </a:prstGeom>
          <a:solidFill>
            <a:srgbClr val="359BDB"/>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EB7741F-DBB8-4BEF-B285-E910E1D5F465}" type="datetime'''''2''''''''''''''''''''''''''''9'">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9</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9" name="Text Placeholder 2">
            <a:extLst>
              <a:ext uri="{FF2B5EF4-FFF2-40B4-BE49-F238E27FC236}">
                <a16:creationId xmlns:a16="http://schemas.microsoft.com/office/drawing/2014/main" id="{0E220B5B-62E4-A610-C28B-DA861241E111}"/>
              </a:ext>
            </a:extLst>
          </p:cNvPr>
          <p:cNvSpPr txBox="1">
            <a:spLocks/>
          </p:cNvSpPr>
          <p:nvPr>
            <p:custDataLst>
              <p:tags r:id="rId57"/>
            </p:custDataLst>
          </p:nvPr>
        </p:nvSpPr>
        <p:spPr bwMode="auto">
          <a:xfrm>
            <a:off x="476250" y="2970213"/>
            <a:ext cx="698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EB8693D-383D-44D0-ADAB-1FC5689108A3}" type="datetime'''In''''''''d''''''''''''''''''e''''p''''''e''nden''''t'''''">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Independent</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4" name="Text Placeholder 2">
            <a:extLst>
              <a:ext uri="{FF2B5EF4-FFF2-40B4-BE49-F238E27FC236}">
                <a16:creationId xmlns:a16="http://schemas.microsoft.com/office/drawing/2014/main" id="{EF453D03-C07C-5AC3-5DFA-EDCE594ACE49}"/>
              </a:ext>
            </a:extLst>
          </p:cNvPr>
          <p:cNvSpPr txBox="1">
            <a:spLocks/>
          </p:cNvSpPr>
          <p:nvPr>
            <p:custDataLst>
              <p:tags r:id="rId58"/>
            </p:custDataLst>
          </p:nvPr>
        </p:nvSpPr>
        <p:spPr bwMode="gray">
          <a:xfrm>
            <a:off x="7793038" y="3087688"/>
            <a:ext cx="104775" cy="136525"/>
          </a:xfrm>
          <a:prstGeom prst="rect">
            <a:avLst/>
          </a:prstGeom>
          <a:solidFill>
            <a:srgbClr val="D1227D"/>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C447359-E723-4C73-AC2E-FA5D7472CBEE}" type="datetime'''''''''''''''''''''''''''''5'''''''">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5</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35" name="Text Placeholder 2">
            <a:extLst>
              <a:ext uri="{FF2B5EF4-FFF2-40B4-BE49-F238E27FC236}">
                <a16:creationId xmlns:a16="http://schemas.microsoft.com/office/drawing/2014/main" id="{114E18DC-1FEB-5A5C-758D-3D9489EE8408}"/>
              </a:ext>
            </a:extLst>
          </p:cNvPr>
          <p:cNvSpPr txBox="1">
            <a:spLocks/>
          </p:cNvSpPr>
          <p:nvPr>
            <p:custDataLst>
              <p:tags r:id="rId59"/>
            </p:custDataLst>
          </p:nvPr>
        </p:nvSpPr>
        <p:spPr bwMode="gray">
          <a:xfrm>
            <a:off x="7023100" y="3087688"/>
            <a:ext cx="174625" cy="136525"/>
          </a:xfrm>
          <a:prstGeom prst="rect">
            <a:avLst/>
          </a:prstGeom>
          <a:solidFill>
            <a:srgbClr val="FF930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42A0113-0639-45E9-B01A-1A13212D5BFF}" type="datetime'''''''''''''''''''''1''''''''''''7'''''''''''''''''''''">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7</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36" name="Text Placeholder 2">
            <a:extLst>
              <a:ext uri="{FF2B5EF4-FFF2-40B4-BE49-F238E27FC236}">
                <a16:creationId xmlns:a16="http://schemas.microsoft.com/office/drawing/2014/main" id="{4E9EB818-51E0-5CD2-633C-9EF3178E5DAF}"/>
              </a:ext>
            </a:extLst>
          </p:cNvPr>
          <p:cNvSpPr txBox="1">
            <a:spLocks/>
          </p:cNvSpPr>
          <p:nvPr>
            <p:custDataLst>
              <p:tags r:id="rId60"/>
            </p:custDataLst>
          </p:nvPr>
        </p:nvSpPr>
        <p:spPr bwMode="gray">
          <a:xfrm>
            <a:off x="5016500" y="3087688"/>
            <a:ext cx="174625" cy="136525"/>
          </a:xfrm>
          <a:prstGeom prst="rect">
            <a:avLst/>
          </a:prstGeom>
          <a:solidFill>
            <a:srgbClr val="00777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B378E7F-6BD0-4224-9A12-5285ABF0E935}" type="datetime'''''''''''''''''''''''''''''''''''''''''''4''3'''''''">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3</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37" name="Text Placeholder 2">
            <a:extLst>
              <a:ext uri="{FF2B5EF4-FFF2-40B4-BE49-F238E27FC236}">
                <a16:creationId xmlns:a16="http://schemas.microsoft.com/office/drawing/2014/main" id="{78BB230C-5981-D844-BA39-603B125DD9D1}"/>
              </a:ext>
            </a:extLst>
          </p:cNvPr>
          <p:cNvSpPr txBox="1">
            <a:spLocks/>
          </p:cNvSpPr>
          <p:nvPr>
            <p:custDataLst>
              <p:tags r:id="rId61"/>
            </p:custDataLst>
          </p:nvPr>
        </p:nvSpPr>
        <p:spPr bwMode="gray">
          <a:xfrm>
            <a:off x="2376488" y="3087688"/>
            <a:ext cx="174625" cy="136525"/>
          </a:xfrm>
          <a:prstGeom prst="rect">
            <a:avLst/>
          </a:prstGeom>
          <a:solidFill>
            <a:srgbClr val="359BDB"/>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F29EE7C-8B75-4B93-8202-82EE185061FA}" type="datetime'''''''3''''''''''''''''6'''''''''''''''''''''''''''''''''">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6</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0" name="Text Placeholder 2">
            <a:extLst>
              <a:ext uri="{FF2B5EF4-FFF2-40B4-BE49-F238E27FC236}">
                <a16:creationId xmlns:a16="http://schemas.microsoft.com/office/drawing/2014/main" id="{AC89CB1A-9E52-5CC9-0D4B-53BF9A779B5D}"/>
              </a:ext>
            </a:extLst>
          </p:cNvPr>
          <p:cNvSpPr txBox="1">
            <a:spLocks/>
          </p:cNvSpPr>
          <p:nvPr>
            <p:custDataLst>
              <p:tags r:id="rId62"/>
            </p:custDataLst>
          </p:nvPr>
        </p:nvSpPr>
        <p:spPr bwMode="auto">
          <a:xfrm>
            <a:off x="476250" y="3087688"/>
            <a:ext cx="547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9EE638B-76DB-4653-8FB8-E7023C11D9E4}" type="datetime'''Nor''''''''''''''th''''''''''''''''''''''e''a''''s''''''t'''">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Northeast</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8" name="Text Placeholder 2">
            <a:extLst>
              <a:ext uri="{FF2B5EF4-FFF2-40B4-BE49-F238E27FC236}">
                <a16:creationId xmlns:a16="http://schemas.microsoft.com/office/drawing/2014/main" id="{69402FF2-71E3-A77F-F22F-2013FB8EE03A}"/>
              </a:ext>
            </a:extLst>
          </p:cNvPr>
          <p:cNvSpPr txBox="1">
            <a:spLocks/>
          </p:cNvSpPr>
          <p:nvPr>
            <p:custDataLst>
              <p:tags r:id="rId63"/>
            </p:custDataLst>
          </p:nvPr>
        </p:nvSpPr>
        <p:spPr bwMode="gray">
          <a:xfrm>
            <a:off x="7693025" y="3205163"/>
            <a:ext cx="104775" cy="136525"/>
          </a:xfrm>
          <a:prstGeom prst="rect">
            <a:avLst/>
          </a:prstGeom>
          <a:solidFill>
            <a:srgbClr val="D1227D"/>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047DC9C-F3DE-492E-80B5-9E4C78908309}" type="datetime'6'''''''''''''''''''''''''''''''''''">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39" name="Text Placeholder 2">
            <a:extLst>
              <a:ext uri="{FF2B5EF4-FFF2-40B4-BE49-F238E27FC236}">
                <a16:creationId xmlns:a16="http://schemas.microsoft.com/office/drawing/2014/main" id="{85BBE60C-9631-3CC6-C829-FF92C181CF9B}"/>
              </a:ext>
            </a:extLst>
          </p:cNvPr>
          <p:cNvSpPr txBox="1">
            <a:spLocks/>
          </p:cNvSpPr>
          <p:nvPr>
            <p:custDataLst>
              <p:tags r:id="rId64"/>
            </p:custDataLst>
          </p:nvPr>
        </p:nvSpPr>
        <p:spPr bwMode="gray">
          <a:xfrm>
            <a:off x="6789738" y="3205163"/>
            <a:ext cx="174625" cy="136525"/>
          </a:xfrm>
          <a:prstGeom prst="rect">
            <a:avLst/>
          </a:prstGeom>
          <a:solidFill>
            <a:srgbClr val="FF930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9243539-CBC0-4E91-AD61-2CC7AFE066A0}" type="datetime'''''''''''''''''''''''''''''2''''''''''''''''''''''''''''''0'">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40" name="Text Placeholder 2">
            <a:extLst>
              <a:ext uri="{FF2B5EF4-FFF2-40B4-BE49-F238E27FC236}">
                <a16:creationId xmlns:a16="http://schemas.microsoft.com/office/drawing/2014/main" id="{0F1C23B4-7127-71A2-EA36-435BE60FAF7F}"/>
              </a:ext>
            </a:extLst>
          </p:cNvPr>
          <p:cNvSpPr txBox="1">
            <a:spLocks/>
          </p:cNvSpPr>
          <p:nvPr>
            <p:custDataLst>
              <p:tags r:id="rId65"/>
            </p:custDataLst>
          </p:nvPr>
        </p:nvSpPr>
        <p:spPr bwMode="gray">
          <a:xfrm>
            <a:off x="4483100" y="3205163"/>
            <a:ext cx="174625" cy="136525"/>
          </a:xfrm>
          <a:prstGeom prst="rect">
            <a:avLst/>
          </a:prstGeom>
          <a:solidFill>
            <a:srgbClr val="00777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68864C2-4EBD-4A0B-96A8-CB37174C7E91}" type="datetime'''''''''''''''''''''''''''4''''''''''''''''''''9'''''''">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9</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41" name="Text Placeholder 2">
            <a:extLst>
              <a:ext uri="{FF2B5EF4-FFF2-40B4-BE49-F238E27FC236}">
                <a16:creationId xmlns:a16="http://schemas.microsoft.com/office/drawing/2014/main" id="{F5BAC1AA-6C71-BD39-FED5-77662D4D3E6E}"/>
              </a:ext>
            </a:extLst>
          </p:cNvPr>
          <p:cNvSpPr txBox="1">
            <a:spLocks/>
          </p:cNvSpPr>
          <p:nvPr>
            <p:custDataLst>
              <p:tags r:id="rId66"/>
            </p:custDataLst>
          </p:nvPr>
        </p:nvSpPr>
        <p:spPr bwMode="gray">
          <a:xfrm>
            <a:off x="2008188" y="3205163"/>
            <a:ext cx="174625" cy="136525"/>
          </a:xfrm>
          <a:prstGeom prst="rect">
            <a:avLst/>
          </a:prstGeom>
          <a:solidFill>
            <a:srgbClr val="359BDB"/>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614F732-39A9-40E6-A909-E7B2C2EA4868}" type="datetime'''''''2''''''''''''''5'''''''''''''''''''">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5</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1" name="Text Placeholder 2">
            <a:extLst>
              <a:ext uri="{FF2B5EF4-FFF2-40B4-BE49-F238E27FC236}">
                <a16:creationId xmlns:a16="http://schemas.microsoft.com/office/drawing/2014/main" id="{798A334D-7FAD-A63E-226E-9496FCB9A81D}"/>
              </a:ext>
            </a:extLst>
          </p:cNvPr>
          <p:cNvSpPr txBox="1">
            <a:spLocks/>
          </p:cNvSpPr>
          <p:nvPr>
            <p:custDataLst>
              <p:tags r:id="rId67"/>
            </p:custDataLst>
          </p:nvPr>
        </p:nvSpPr>
        <p:spPr bwMode="auto">
          <a:xfrm>
            <a:off x="476250" y="3205163"/>
            <a:ext cx="465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A413837-E6B6-4503-8CA5-715C780BAA83}" type="datetime'''''''''''''''''''''''M''''''id''''w''es''''''''''''''t'''">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Midwest</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2" name="Text Placeholder 2">
            <a:extLst>
              <a:ext uri="{FF2B5EF4-FFF2-40B4-BE49-F238E27FC236}">
                <a16:creationId xmlns:a16="http://schemas.microsoft.com/office/drawing/2014/main" id="{A7385ED1-3E89-41F4-593A-C68D6A826E64}"/>
              </a:ext>
            </a:extLst>
          </p:cNvPr>
          <p:cNvSpPr txBox="1">
            <a:spLocks/>
          </p:cNvSpPr>
          <p:nvPr>
            <p:custDataLst>
              <p:tags r:id="rId68"/>
            </p:custDataLst>
          </p:nvPr>
        </p:nvSpPr>
        <p:spPr bwMode="gray">
          <a:xfrm>
            <a:off x="7659688" y="3322638"/>
            <a:ext cx="104775" cy="136525"/>
          </a:xfrm>
          <a:prstGeom prst="rect">
            <a:avLst/>
          </a:prstGeom>
          <a:solidFill>
            <a:srgbClr val="D1227D"/>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386C4D5-8C87-45E4-91AA-296A846602A5}" type="datetime'''''''''''''''''''''''''''''''''7'''''''''">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43" name="Text Placeholder 2">
            <a:extLst>
              <a:ext uri="{FF2B5EF4-FFF2-40B4-BE49-F238E27FC236}">
                <a16:creationId xmlns:a16="http://schemas.microsoft.com/office/drawing/2014/main" id="{AA64CB43-B8A7-44EE-AD15-53E17F414301}"/>
              </a:ext>
            </a:extLst>
          </p:cNvPr>
          <p:cNvSpPr txBox="1">
            <a:spLocks/>
          </p:cNvSpPr>
          <p:nvPr>
            <p:custDataLst>
              <p:tags r:id="rId69"/>
            </p:custDataLst>
          </p:nvPr>
        </p:nvSpPr>
        <p:spPr bwMode="gray">
          <a:xfrm>
            <a:off x="6889750" y="3322638"/>
            <a:ext cx="174625" cy="136525"/>
          </a:xfrm>
          <a:prstGeom prst="rect">
            <a:avLst/>
          </a:prstGeom>
          <a:solidFill>
            <a:srgbClr val="FF930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C027069-468E-4A75-8DD3-510193D9DEFC}" type="datetime'''''''''''''1''''''''''''''''''''5'''''''''''''">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5</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44" name="Text Placeholder 2">
            <a:extLst>
              <a:ext uri="{FF2B5EF4-FFF2-40B4-BE49-F238E27FC236}">
                <a16:creationId xmlns:a16="http://schemas.microsoft.com/office/drawing/2014/main" id="{7269E065-A166-0A9D-5AEA-2F0B1130CD59}"/>
              </a:ext>
            </a:extLst>
          </p:cNvPr>
          <p:cNvSpPr txBox="1">
            <a:spLocks/>
          </p:cNvSpPr>
          <p:nvPr>
            <p:custDataLst>
              <p:tags r:id="rId70"/>
            </p:custDataLst>
          </p:nvPr>
        </p:nvSpPr>
        <p:spPr bwMode="gray">
          <a:xfrm>
            <a:off x="4883150" y="3322638"/>
            <a:ext cx="174625" cy="136525"/>
          </a:xfrm>
          <a:prstGeom prst="rect">
            <a:avLst/>
          </a:prstGeom>
          <a:solidFill>
            <a:srgbClr val="00777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A19A76E-FD91-4D94-A4C3-A4573284FDB4}" type="datetime'''''''''''''4''''''5'''''''''''''''''''''''''''''''''''''''">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5</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45" name="Text Placeholder 2">
            <a:extLst>
              <a:ext uri="{FF2B5EF4-FFF2-40B4-BE49-F238E27FC236}">
                <a16:creationId xmlns:a16="http://schemas.microsoft.com/office/drawing/2014/main" id="{9D5E4A04-8B06-E13A-E36A-BE7789EF9A9A}"/>
              </a:ext>
            </a:extLst>
          </p:cNvPr>
          <p:cNvSpPr txBox="1">
            <a:spLocks/>
          </p:cNvSpPr>
          <p:nvPr>
            <p:custDataLst>
              <p:tags r:id="rId71"/>
            </p:custDataLst>
          </p:nvPr>
        </p:nvSpPr>
        <p:spPr bwMode="gray">
          <a:xfrm>
            <a:off x="2276475" y="3322638"/>
            <a:ext cx="174625" cy="136525"/>
          </a:xfrm>
          <a:prstGeom prst="rect">
            <a:avLst/>
          </a:prstGeom>
          <a:solidFill>
            <a:srgbClr val="359BDB"/>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D08F330-18F5-478E-BA7D-D28B1BB095F3}" type="datetime'''''''''''3''''''''''''''''''''''''''''3'''''''">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3</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2" name="Text Placeholder 2">
            <a:extLst>
              <a:ext uri="{FF2B5EF4-FFF2-40B4-BE49-F238E27FC236}">
                <a16:creationId xmlns:a16="http://schemas.microsoft.com/office/drawing/2014/main" id="{E1947CFC-1ABC-03AE-A278-E2F2B3F167A5}"/>
              </a:ext>
            </a:extLst>
          </p:cNvPr>
          <p:cNvSpPr txBox="1">
            <a:spLocks/>
          </p:cNvSpPr>
          <p:nvPr>
            <p:custDataLst>
              <p:tags r:id="rId72"/>
            </p:custDataLst>
          </p:nvPr>
        </p:nvSpPr>
        <p:spPr bwMode="auto">
          <a:xfrm>
            <a:off x="476250" y="3322638"/>
            <a:ext cx="328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3132C25-FB13-462D-B7EC-55574A75795E}" type="datetime'S''''o''''''''''''''''''''''''''''uth'''">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South</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6" name="Text Placeholder 2">
            <a:extLst>
              <a:ext uri="{FF2B5EF4-FFF2-40B4-BE49-F238E27FC236}">
                <a16:creationId xmlns:a16="http://schemas.microsoft.com/office/drawing/2014/main" id="{3DE37BAD-BC0D-4CD9-BD84-1D78C55EDBF1}"/>
              </a:ext>
            </a:extLst>
          </p:cNvPr>
          <p:cNvSpPr txBox="1">
            <a:spLocks/>
          </p:cNvSpPr>
          <p:nvPr>
            <p:custDataLst>
              <p:tags r:id="rId73"/>
            </p:custDataLst>
          </p:nvPr>
        </p:nvSpPr>
        <p:spPr bwMode="gray">
          <a:xfrm>
            <a:off x="7659688" y="3440113"/>
            <a:ext cx="104775" cy="136525"/>
          </a:xfrm>
          <a:prstGeom prst="rect">
            <a:avLst/>
          </a:prstGeom>
          <a:solidFill>
            <a:srgbClr val="D1227D"/>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1782F35-D8EF-4023-B4DB-C1110841F474}" type="datetime'''7'">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47" name="Text Placeholder 2">
            <a:extLst>
              <a:ext uri="{FF2B5EF4-FFF2-40B4-BE49-F238E27FC236}">
                <a16:creationId xmlns:a16="http://schemas.microsoft.com/office/drawing/2014/main" id="{4B0CC280-4CB1-FD0B-9808-5B5FED05BA7B}"/>
              </a:ext>
            </a:extLst>
          </p:cNvPr>
          <p:cNvSpPr txBox="1">
            <a:spLocks/>
          </p:cNvSpPr>
          <p:nvPr>
            <p:custDataLst>
              <p:tags r:id="rId74"/>
            </p:custDataLst>
          </p:nvPr>
        </p:nvSpPr>
        <p:spPr bwMode="gray">
          <a:xfrm>
            <a:off x="6789738" y="3440113"/>
            <a:ext cx="174625" cy="136525"/>
          </a:xfrm>
          <a:prstGeom prst="rect">
            <a:avLst/>
          </a:prstGeom>
          <a:solidFill>
            <a:srgbClr val="FF930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AD720A5-0014-4F51-9165-6FE54DE20C2D}" type="datetime'''''''''''''''''''''''''''1''''''''''''''''''''''''''8'''''">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8</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48" name="Text Placeholder 2">
            <a:extLst>
              <a:ext uri="{FF2B5EF4-FFF2-40B4-BE49-F238E27FC236}">
                <a16:creationId xmlns:a16="http://schemas.microsoft.com/office/drawing/2014/main" id="{84E3EBCB-6F98-0A9F-CD44-23E22E68E117}"/>
              </a:ext>
            </a:extLst>
          </p:cNvPr>
          <p:cNvSpPr txBox="1">
            <a:spLocks/>
          </p:cNvSpPr>
          <p:nvPr>
            <p:custDataLst>
              <p:tags r:id="rId75"/>
            </p:custDataLst>
          </p:nvPr>
        </p:nvSpPr>
        <p:spPr bwMode="gray">
          <a:xfrm>
            <a:off x="4749800" y="3440113"/>
            <a:ext cx="174625" cy="136525"/>
          </a:xfrm>
          <a:prstGeom prst="rect">
            <a:avLst/>
          </a:prstGeom>
          <a:solidFill>
            <a:srgbClr val="00777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1A43493-7915-4A0F-8834-FA5723D53451}" type="datetime'''''''''''''''''''''''4''''''''''''''3'''''''''''''''''''''''">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3</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49" name="Text Placeholder 2">
            <a:extLst>
              <a:ext uri="{FF2B5EF4-FFF2-40B4-BE49-F238E27FC236}">
                <a16:creationId xmlns:a16="http://schemas.microsoft.com/office/drawing/2014/main" id="{0990C025-E21C-8A84-DFF3-1F509D8610B6}"/>
              </a:ext>
            </a:extLst>
          </p:cNvPr>
          <p:cNvSpPr txBox="1">
            <a:spLocks/>
          </p:cNvSpPr>
          <p:nvPr>
            <p:custDataLst>
              <p:tags r:id="rId76"/>
            </p:custDataLst>
          </p:nvPr>
        </p:nvSpPr>
        <p:spPr bwMode="gray">
          <a:xfrm>
            <a:off x="2243138" y="3440113"/>
            <a:ext cx="174625" cy="136525"/>
          </a:xfrm>
          <a:prstGeom prst="rect">
            <a:avLst/>
          </a:prstGeom>
          <a:solidFill>
            <a:srgbClr val="359BDB"/>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0CD2DB9-E84D-45D2-92A1-3B613D871A9C}" type="datetime'''''''''''''''''''''''''''''''''''''''''''''3''''2'''">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2</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3" name="Text Placeholder 2">
            <a:extLst>
              <a:ext uri="{FF2B5EF4-FFF2-40B4-BE49-F238E27FC236}">
                <a16:creationId xmlns:a16="http://schemas.microsoft.com/office/drawing/2014/main" id="{60B0A8DD-1176-87F7-3C83-92F76860839E}"/>
              </a:ext>
            </a:extLst>
          </p:cNvPr>
          <p:cNvSpPr txBox="1">
            <a:spLocks/>
          </p:cNvSpPr>
          <p:nvPr>
            <p:custDataLst>
              <p:tags r:id="rId77"/>
            </p:custDataLst>
          </p:nvPr>
        </p:nvSpPr>
        <p:spPr bwMode="auto">
          <a:xfrm>
            <a:off x="476250" y="3440113"/>
            <a:ext cx="288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17B1672-7B8F-4E21-9F96-FD71BE6581BF}" type="datetime'''''''''W''''''''''''''''''''e''''''''''''''s''''''t'''''''">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West</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2" name="Text Placeholder 2">
            <a:extLst>
              <a:ext uri="{FF2B5EF4-FFF2-40B4-BE49-F238E27FC236}">
                <a16:creationId xmlns:a16="http://schemas.microsoft.com/office/drawing/2014/main" id="{1B00097F-AB0C-70C2-CF47-1AD8C17A7988}"/>
              </a:ext>
            </a:extLst>
          </p:cNvPr>
          <p:cNvSpPr txBox="1">
            <a:spLocks/>
          </p:cNvSpPr>
          <p:nvPr>
            <p:custDataLst>
              <p:tags r:id="rId78"/>
            </p:custDataLst>
          </p:nvPr>
        </p:nvSpPr>
        <p:spPr bwMode="gray">
          <a:xfrm>
            <a:off x="7827963" y="2735263"/>
            <a:ext cx="104775" cy="136525"/>
          </a:xfrm>
          <a:prstGeom prst="rect">
            <a:avLst/>
          </a:prstGeom>
          <a:solidFill>
            <a:srgbClr val="D1227D"/>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6398DA5-6A96-4F0F-83E8-A1D5BFE4751A}" type="datetime'4'''''''''''''''''''''''''''''''''">
              <a:rPr kumimoji="0" lang="en-US" alt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2" name="TextBox 151">
            <a:extLst>
              <a:ext uri="{FF2B5EF4-FFF2-40B4-BE49-F238E27FC236}">
                <a16:creationId xmlns:a16="http://schemas.microsoft.com/office/drawing/2014/main" id="{664E3C33-E784-465A-B4FB-80843E628C26}"/>
              </a:ext>
            </a:extLst>
          </p:cNvPr>
          <p:cNvSpPr txBox="1"/>
          <p:nvPr/>
        </p:nvSpPr>
        <p:spPr bwMode="gray">
          <a:xfrm>
            <a:off x="438945" y="1557818"/>
            <a:ext cx="5907087" cy="28814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U.S. sentiment toward using nuclear </a:t>
            </a:r>
            <a:r>
              <a:rPr lang="en-US" sz="1400" b="1">
                <a:solidFill>
                  <a:srgbClr val="000000"/>
                </a:solidFill>
                <a:latin typeface="Arial" panose="020B0604020202020204" pitchFamily="34" charset="0"/>
                <a:cs typeface="Arial" panose="020B0604020202020204" pitchFamily="34" charset="0"/>
              </a:rPr>
              <a:t>in</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energy mix by demographic</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53" name="btfpColumnHeaderBoxLine912903">
            <a:extLst>
              <a:ext uri="{FF2B5EF4-FFF2-40B4-BE49-F238E27FC236}">
                <a16:creationId xmlns:a16="http://schemas.microsoft.com/office/drawing/2014/main" id="{C2C438F5-B851-FF79-24E6-F0B6B7BB77AE}"/>
              </a:ext>
            </a:extLst>
          </p:cNvPr>
          <p:cNvCxnSpPr>
            <a:cxnSpLocks/>
          </p:cNvCxnSpPr>
          <p:nvPr/>
        </p:nvCxnSpPr>
        <p:spPr bwMode="gray">
          <a:xfrm>
            <a:off x="438944" y="1858129"/>
            <a:ext cx="545147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9465C36E-19CA-C425-0A9B-385D6025EE1F}"/>
              </a:ext>
            </a:extLst>
          </p:cNvPr>
          <p:cNvSpPr/>
          <p:nvPr>
            <p:custDataLst>
              <p:tags r:id="rId79"/>
            </p:custDataLst>
          </p:nvPr>
        </p:nvSpPr>
        <p:spPr bwMode="auto">
          <a:xfrm>
            <a:off x="2141538" y="3641725"/>
            <a:ext cx="179388" cy="133350"/>
          </a:xfrm>
          <a:prstGeom prst="rect">
            <a:avLst/>
          </a:prstGeom>
          <a:solidFill>
            <a:srgbClr val="359BDB"/>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532D1B8C-5A46-77BB-7867-F59CE77839E8}"/>
              </a:ext>
            </a:extLst>
          </p:cNvPr>
          <p:cNvSpPr/>
          <p:nvPr>
            <p:custDataLst>
              <p:tags r:id="rId80"/>
            </p:custDataLst>
          </p:nvPr>
        </p:nvSpPr>
        <p:spPr bwMode="auto">
          <a:xfrm>
            <a:off x="4497388" y="3641725"/>
            <a:ext cx="179388" cy="133350"/>
          </a:xfrm>
          <a:prstGeom prst="rect">
            <a:avLst/>
          </a:prstGeom>
          <a:solidFill>
            <a:srgbClr val="FF9300"/>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7C214453-FBEC-B0BD-1A47-08611069294E}"/>
              </a:ext>
            </a:extLst>
          </p:cNvPr>
          <p:cNvSpPr/>
          <p:nvPr>
            <p:custDataLst>
              <p:tags r:id="rId81"/>
            </p:custDataLst>
          </p:nvPr>
        </p:nvSpPr>
        <p:spPr bwMode="auto">
          <a:xfrm>
            <a:off x="3252788" y="3641725"/>
            <a:ext cx="179388" cy="133350"/>
          </a:xfrm>
          <a:prstGeom prst="rect">
            <a:avLst/>
          </a:prstGeom>
          <a:solidFill>
            <a:srgbClr val="007770"/>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F55CA574-FFFB-0EAF-8CE0-0E8238990A98}"/>
              </a:ext>
            </a:extLst>
          </p:cNvPr>
          <p:cNvSpPr/>
          <p:nvPr>
            <p:custDataLst>
              <p:tags r:id="rId82"/>
            </p:custDataLst>
          </p:nvPr>
        </p:nvSpPr>
        <p:spPr bwMode="auto">
          <a:xfrm>
            <a:off x="5873750" y="3641725"/>
            <a:ext cx="179388" cy="133350"/>
          </a:xfrm>
          <a:prstGeom prst="rect">
            <a:avLst/>
          </a:prstGeom>
          <a:solidFill>
            <a:srgbClr val="D1227D"/>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Text Placeholder 2">
            <a:extLst>
              <a:ext uri="{FF2B5EF4-FFF2-40B4-BE49-F238E27FC236}">
                <a16:creationId xmlns:a16="http://schemas.microsoft.com/office/drawing/2014/main" id="{3D1ED878-BB74-DCCF-4C5B-120597FE59AB}"/>
              </a:ext>
            </a:extLst>
          </p:cNvPr>
          <p:cNvSpPr txBox="1">
            <a:spLocks/>
          </p:cNvSpPr>
          <p:nvPr>
            <p:custDataLst>
              <p:tags r:id="rId83"/>
            </p:custDataLst>
          </p:nvPr>
        </p:nvSpPr>
        <p:spPr bwMode="auto">
          <a:xfrm>
            <a:off x="6103938" y="3649663"/>
            <a:ext cx="9112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F6C3BEE-5CEE-48D8-B344-9FF4C0BA6B50}" type="datetime'''''St''''r''''''ong''''''l''y ''''op''''''p''os''''''''e'''">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Strongly oppose</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5" name="Text Placeholder 2">
            <a:extLst>
              <a:ext uri="{FF2B5EF4-FFF2-40B4-BE49-F238E27FC236}">
                <a16:creationId xmlns:a16="http://schemas.microsoft.com/office/drawing/2014/main" id="{999CC35D-CE3C-AD4C-D198-EFC16343C172}"/>
              </a:ext>
            </a:extLst>
          </p:cNvPr>
          <p:cNvSpPr txBox="1">
            <a:spLocks/>
          </p:cNvSpPr>
          <p:nvPr>
            <p:custDataLst>
              <p:tags r:id="rId84"/>
            </p:custDataLst>
          </p:nvPr>
        </p:nvSpPr>
        <p:spPr bwMode="auto">
          <a:xfrm>
            <a:off x="4727575" y="3649663"/>
            <a:ext cx="10445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38C51A5-C4A8-4EAD-B139-B2FB17DA60D8}" type="datetime'So''m''''ew''''h''a''t'''''' ''o''pp''o''''''s''''e'">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Somewhat oppose</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4" name="Text Placeholder 2">
            <a:extLst>
              <a:ext uri="{FF2B5EF4-FFF2-40B4-BE49-F238E27FC236}">
                <a16:creationId xmlns:a16="http://schemas.microsoft.com/office/drawing/2014/main" id="{61E2B526-48FC-94E7-9517-EF2225E8DD7A}"/>
              </a:ext>
            </a:extLst>
          </p:cNvPr>
          <p:cNvSpPr txBox="1">
            <a:spLocks/>
          </p:cNvSpPr>
          <p:nvPr>
            <p:custDataLst>
              <p:tags r:id="rId85"/>
            </p:custDataLst>
          </p:nvPr>
        </p:nvSpPr>
        <p:spPr bwMode="auto">
          <a:xfrm>
            <a:off x="2371725" y="3649663"/>
            <a:ext cx="779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B6A3166-8BD3-4C1E-B8B9-A466D25E06BE}" type="datetime'''''S''''''''''t''''''ron''gly'''''''''''' ''''fa''v''o''r'''">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Strongly favor</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2" name="Text Placeholder 2">
            <a:extLst>
              <a:ext uri="{FF2B5EF4-FFF2-40B4-BE49-F238E27FC236}">
                <a16:creationId xmlns:a16="http://schemas.microsoft.com/office/drawing/2014/main" id="{8CC7550B-0DE7-C13A-30CD-A43EFF2EDD2E}"/>
              </a:ext>
            </a:extLst>
          </p:cNvPr>
          <p:cNvSpPr txBox="1">
            <a:spLocks/>
          </p:cNvSpPr>
          <p:nvPr>
            <p:custDataLst>
              <p:tags r:id="rId86"/>
            </p:custDataLst>
          </p:nvPr>
        </p:nvSpPr>
        <p:spPr bwMode="auto">
          <a:xfrm>
            <a:off x="3482975" y="3649663"/>
            <a:ext cx="9128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F601F1B-87C8-4DDF-80E2-0A15BA18EECE}" type="datetime'S''o''''me''''''''w''''''''h''a''''''''''t ''''fav''or'''''">
              <a:rPr kumimoji="0" lang="en-US"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Somewhat favor</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Box 8">
            <a:extLst>
              <a:ext uri="{FF2B5EF4-FFF2-40B4-BE49-F238E27FC236}">
                <a16:creationId xmlns:a16="http://schemas.microsoft.com/office/drawing/2014/main" id="{A882A8F5-82DE-4AE1-B0E8-7943B0C56BCA}"/>
              </a:ext>
            </a:extLst>
          </p:cNvPr>
          <p:cNvSpPr txBox="1"/>
          <p:nvPr/>
        </p:nvSpPr>
        <p:spPr bwMode="gray">
          <a:xfrm>
            <a:off x="1597" y="0"/>
            <a:ext cx="2926080" cy="382208"/>
          </a:xfrm>
          <a:prstGeom prst="rect">
            <a:avLst/>
          </a:prstGeom>
          <a:solidFill>
            <a:schemeClr val="bg2">
              <a:lumMod val="75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200" b="1">
                <a:solidFill>
                  <a:schemeClr val="bg1"/>
                </a:solidFill>
              </a:rPr>
              <a:t>Appendix: Deployment</a:t>
            </a:r>
          </a:p>
        </p:txBody>
      </p:sp>
    </p:spTree>
    <p:extLst>
      <p:ext uri="{BB962C8B-B14F-4D97-AF65-F5344CB8AC3E}">
        <p14:creationId xmlns:p14="http://schemas.microsoft.com/office/powerpoint/2010/main" val="411262488"/>
      </p:ext>
    </p:extLst>
  </p:cSld>
  <p:clrMapOvr>
    <a:masterClrMapping/>
  </p:clrMapOvr>
  <p:extLst>
    <p:ext uri="{6950BFC3-D8DA-4A85-94F7-54DA5524770B}">
      <p188:commentRel xmlns:p188="http://schemas.microsoft.com/office/powerpoint/2018/8/main" r:id="rId89"/>
    </p:ext>
  </p:extLs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4D494-373C-52AE-7F4E-6E38ED485A1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8563A7F-F944-FB27-1AEB-12166FAB19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A8563A7F-F944-FB27-1AEB-12166FAB195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42" name="Rectangle 141">
            <a:extLst>
              <a:ext uri="{FF2B5EF4-FFF2-40B4-BE49-F238E27FC236}">
                <a16:creationId xmlns:a16="http://schemas.microsoft.com/office/drawing/2014/main" id="{1AAD72D4-14FF-0241-EBBD-70344D90418C}"/>
              </a:ext>
            </a:extLst>
          </p:cNvPr>
          <p:cNvSpPr/>
          <p:nvPr/>
        </p:nvSpPr>
        <p:spPr bwMode="gray">
          <a:xfrm>
            <a:off x="7984610" y="1890157"/>
            <a:ext cx="1235134" cy="412673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0" name="Rectangle 139">
            <a:extLst>
              <a:ext uri="{FF2B5EF4-FFF2-40B4-BE49-F238E27FC236}">
                <a16:creationId xmlns:a16="http://schemas.microsoft.com/office/drawing/2014/main" id="{80B6444D-B2BB-10DB-7DE0-DDE42696497C}"/>
              </a:ext>
            </a:extLst>
          </p:cNvPr>
          <p:cNvSpPr/>
          <p:nvPr/>
        </p:nvSpPr>
        <p:spPr bwMode="gray">
          <a:xfrm>
            <a:off x="2992061" y="1890157"/>
            <a:ext cx="1247485" cy="412673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 name="Title 1">
            <a:extLst>
              <a:ext uri="{FF2B5EF4-FFF2-40B4-BE49-F238E27FC236}">
                <a16:creationId xmlns:a16="http://schemas.microsoft.com/office/drawing/2014/main" id="{4AD77733-AFDF-32A9-1BB0-6024E2982C34}"/>
              </a:ext>
            </a:extLst>
          </p:cNvPr>
          <p:cNvSpPr>
            <a:spLocks noGrp="1"/>
          </p:cNvSpPr>
          <p:nvPr>
            <p:ph type="title"/>
          </p:nvPr>
        </p:nvSpPr>
        <p:spPr>
          <a:xfrm>
            <a:off x="330200" y="523318"/>
            <a:ext cx="11531600" cy="659434"/>
          </a:xfrm>
        </p:spPr>
        <p:txBody>
          <a:bodyPr vert="horz">
            <a:noAutofit/>
          </a:bodyPr>
          <a:lstStyle/>
          <a:p>
            <a:r>
              <a:rPr lang="en-US">
                <a:cs typeface="Arial"/>
              </a:rPr>
              <a:t>Nuclear waste is much smaller in volume and has significantly fewer negative externalities than any other energy source</a:t>
            </a:r>
          </a:p>
        </p:txBody>
      </p:sp>
      <p:sp>
        <p:nvSpPr>
          <p:cNvPr id="9" name="btfpColumnHeaderBoxText223027">
            <a:extLst>
              <a:ext uri="{FF2B5EF4-FFF2-40B4-BE49-F238E27FC236}">
                <a16:creationId xmlns:a16="http://schemas.microsoft.com/office/drawing/2014/main" id="{F60DF3A9-D70F-FB7A-4F2E-73FC7601ED65}"/>
              </a:ext>
            </a:extLst>
          </p:cNvPr>
          <p:cNvSpPr txBox="1"/>
          <p:nvPr/>
        </p:nvSpPr>
        <p:spPr bwMode="gray">
          <a:xfrm>
            <a:off x="329184" y="1554480"/>
            <a:ext cx="7732890" cy="288219"/>
          </a:xfrm>
          <a:prstGeom prst="rect">
            <a:avLst/>
          </a:prstGeom>
          <a:noFill/>
        </p:spPr>
        <p:txBody>
          <a:bodyPr vert="horz" wrap="square" lIns="0" tIns="36036" rIns="36036" bIns="36036" rtlCol="0" anchor="b">
            <a:spAutoFit/>
          </a:bodyPr>
          <a:lstStyle/>
          <a:p>
            <a:pPr marL="0" indent="0">
              <a:spcBef>
                <a:spcPts val="0"/>
              </a:spcBef>
              <a:buNone/>
            </a:pPr>
            <a:r>
              <a:rPr lang="en-US" sz="1400" b="1">
                <a:solidFill>
                  <a:srgbClr val="000000"/>
                </a:solidFill>
              </a:rPr>
              <a:t>Waste management by energy source</a:t>
            </a:r>
          </a:p>
        </p:txBody>
      </p:sp>
      <p:cxnSp>
        <p:nvCxnSpPr>
          <p:cNvPr id="14" name="btfpColumnHeaderBoxLine223027">
            <a:extLst>
              <a:ext uri="{FF2B5EF4-FFF2-40B4-BE49-F238E27FC236}">
                <a16:creationId xmlns:a16="http://schemas.microsoft.com/office/drawing/2014/main" id="{8112EF59-7533-C1E1-7006-92F3892A3D16}"/>
              </a:ext>
            </a:extLst>
          </p:cNvPr>
          <p:cNvCxnSpPr>
            <a:cxnSpLocks/>
          </p:cNvCxnSpPr>
          <p:nvPr/>
        </p:nvCxnSpPr>
        <p:spPr bwMode="gray">
          <a:xfrm>
            <a:off x="329184" y="1842699"/>
            <a:ext cx="879616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C1B1A370-F0C7-2ACB-01F9-8F4E4333DA87}"/>
              </a:ext>
            </a:extLst>
          </p:cNvPr>
          <p:cNvSpPr txBox="1"/>
          <p:nvPr/>
        </p:nvSpPr>
        <p:spPr bwMode="gray">
          <a:xfrm>
            <a:off x="1820100" y="2093936"/>
            <a:ext cx="1631469" cy="382588"/>
          </a:xfrm>
          <a:prstGeom prst="rect">
            <a:avLst/>
          </a:prstGeom>
          <a:solidFill>
            <a:schemeClr val="tx1">
              <a:lumMod val="75000"/>
              <a:lumOff val="25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000" b="1">
                <a:solidFill>
                  <a:srgbClr val="FFFFFF"/>
                </a:solidFill>
              </a:rPr>
              <a:t>Nuclear</a:t>
            </a:r>
          </a:p>
        </p:txBody>
      </p:sp>
      <p:sp>
        <p:nvSpPr>
          <p:cNvPr id="84" name="TextBox 83">
            <a:extLst>
              <a:ext uri="{FF2B5EF4-FFF2-40B4-BE49-F238E27FC236}">
                <a16:creationId xmlns:a16="http://schemas.microsoft.com/office/drawing/2014/main" id="{04C7002B-DF8A-3677-9A60-DD9D2DB5617D}"/>
              </a:ext>
            </a:extLst>
          </p:cNvPr>
          <p:cNvSpPr txBox="1"/>
          <p:nvPr/>
        </p:nvSpPr>
        <p:spPr bwMode="gray">
          <a:xfrm>
            <a:off x="9713068" y="1554480"/>
            <a:ext cx="2238072" cy="3635358"/>
          </a:xfrm>
          <a:prstGeom prst="rect">
            <a:avLst/>
          </a:prstGeom>
          <a:solidFill>
            <a:srgbClr val="E3E8EE"/>
          </a:solidFill>
        </p:spPr>
        <p:txBody>
          <a:bodyPr wrap="square" lIns="137160" tIns="137160" rIns="274320" bIns="137160" rtlCol="0" anchor="t">
            <a:noAutofit/>
          </a:bodyPr>
          <a:lstStyle/>
          <a:p>
            <a:pPr marL="0" indent="0">
              <a:spcBef>
                <a:spcPts val="0"/>
              </a:spcBef>
              <a:spcAft>
                <a:spcPts val="600"/>
              </a:spcAft>
              <a:buNone/>
            </a:pPr>
            <a:r>
              <a:rPr lang="en-US" sz="1250" b="1"/>
              <a:t>Observations</a:t>
            </a:r>
            <a:endParaRPr lang="en-US" sz="1250"/>
          </a:p>
          <a:p>
            <a:pPr marL="171450" indent="-171450">
              <a:spcAft>
                <a:spcPts val="600"/>
              </a:spcAft>
              <a:buFont typeface="Arial" panose="020B0604020202020204" pitchFamily="34" charset="0"/>
              <a:buChar char="•"/>
            </a:pPr>
            <a:r>
              <a:rPr lang="en-US" sz="1050" b="1"/>
              <a:t>Waste</a:t>
            </a:r>
            <a:r>
              <a:rPr lang="en-US" sz="1050"/>
              <a:t> from nuclear energy </a:t>
            </a:r>
            <a:r>
              <a:rPr lang="en-US" sz="1050" b="1"/>
              <a:t>is strictly regulated and contained </a:t>
            </a:r>
            <a:r>
              <a:rPr lang="en-US" sz="1050"/>
              <a:t>while waste from other sources is disposed into the environment. </a:t>
            </a:r>
          </a:p>
          <a:p>
            <a:pPr marL="171450" indent="-171450">
              <a:spcAft>
                <a:spcPts val="600"/>
              </a:spcAft>
              <a:buFont typeface="Arial" panose="020B0604020202020204" pitchFamily="34" charset="0"/>
              <a:buChar char="•"/>
            </a:pPr>
            <a:r>
              <a:rPr lang="en-US" sz="1050"/>
              <a:t>While coal releases greenhouse gases directly into the atmosphere, nuclear, solar PV, and wind also generate some emissions throughout their lifecycle (manufacturing, mining, installation).</a:t>
            </a:r>
          </a:p>
          <a:p>
            <a:pPr marL="171450" indent="-171450">
              <a:spcAft>
                <a:spcPts val="600"/>
              </a:spcAft>
              <a:buFont typeface="Arial" panose="020B0604020202020204" pitchFamily="34" charset="0"/>
              <a:buChar char="•"/>
            </a:pPr>
            <a:r>
              <a:rPr lang="en-US" sz="1050"/>
              <a:t>Coal and nuclear generate operational waste, while waste for solar and wind is end of life.</a:t>
            </a:r>
          </a:p>
        </p:txBody>
      </p:sp>
      <p:sp>
        <p:nvSpPr>
          <p:cNvPr id="85" name="btfpNotesBox361175">
            <a:extLst>
              <a:ext uri="{FF2B5EF4-FFF2-40B4-BE49-F238E27FC236}">
                <a16:creationId xmlns:a16="http://schemas.microsoft.com/office/drawing/2014/main" id="{16543F73-DC1C-68A5-EFB7-9837EB68683E}"/>
              </a:ext>
            </a:extLst>
          </p:cNvPr>
          <p:cNvSpPr txBox="1"/>
          <p:nvPr>
            <p:custDataLst>
              <p:tags r:id="rId2"/>
            </p:custDataLst>
          </p:nvPr>
        </p:nvSpPr>
        <p:spPr bwMode="gray">
          <a:xfrm>
            <a:off x="329184" y="6309361"/>
            <a:ext cx="9082782" cy="492443"/>
          </a:xfrm>
          <a:prstGeom prst="rect">
            <a:avLst/>
          </a:prstGeom>
          <a:noFill/>
        </p:spPr>
        <p:txBody>
          <a:bodyPr vert="horz" wrap="square" lIns="0" tIns="0" rIns="0" bIns="0" rtlCol="0" anchor="b">
            <a:spAutoFit/>
          </a:bodyPr>
          <a:lstStyle/>
          <a:p>
            <a:r>
              <a:rPr kumimoji="0" lang="en-US" sz="80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8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800" i="1"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adiot</a:t>
            </a:r>
            <a:r>
              <a:rPr lang="en-US" sz="800" i="1" dirty="0" err="1">
                <a:solidFill>
                  <a:srgbClr val="000000"/>
                </a:solidFill>
                <a:latin typeface="Arial" panose="020B0604020202020204" pitchFamily="34" charset="0"/>
                <a:cs typeface="Arial" panose="020B0604020202020204" pitchFamily="34" charset="0"/>
              </a:rPr>
              <a:t>oxicity</a:t>
            </a:r>
            <a:r>
              <a:rPr lang="en-US" sz="800" i="1" dirty="0">
                <a:solidFill>
                  <a:srgbClr val="000000"/>
                </a:solidFill>
                <a:latin typeface="Arial" panose="020B0604020202020204" pitchFamily="34" charset="0"/>
                <a:cs typeface="Arial" panose="020B0604020202020204" pitchFamily="34" charset="0"/>
              </a:rPr>
              <a:t> is harmful only in the event of improper waste management.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lang="en-US" sz="800" i="1" dirty="0">
                <a:solidFill>
                  <a:srgbClr val="000000"/>
                </a:solidFill>
                <a:latin typeface="Arial" panose="020B0604020202020204" pitchFamily="34" charset="0"/>
                <a:cs typeface="Arial" panose="020B0604020202020204" pitchFamily="34" charset="0"/>
              </a:rPr>
              <a:t>V</a:t>
            </a:r>
            <a:r>
              <a:rPr kumimoji="0" lang="en-US" sz="800" b="0" i="1"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ries</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y region.</a:t>
            </a:r>
            <a:endParaRPr lang="en-US" sz="800" dirty="0">
              <a:solidFill>
                <a:srgbClr val="000000"/>
              </a:solidFill>
            </a:endParaRPr>
          </a:p>
          <a:p>
            <a:r>
              <a:rPr lang="en-US" sz="800" dirty="0">
                <a:solidFill>
                  <a:srgbClr val="000000"/>
                </a:solidFill>
              </a:rPr>
              <a:t>Sources: </a:t>
            </a:r>
            <a:r>
              <a:rPr lang="en-US" sz="800" dirty="0"/>
              <a:t>Sustainability by numbers, </a:t>
            </a:r>
            <a:r>
              <a:rPr lang="en-US" sz="800" u="sng" dirty="0">
                <a:hlinkClick r:id="rId7"/>
              </a:rPr>
              <a:t>How much waste do solar panels and wind turbines produce?</a:t>
            </a:r>
            <a:r>
              <a:rPr lang="en-US" sz="800" u="sng" dirty="0"/>
              <a:t> (2023); </a:t>
            </a:r>
            <a:r>
              <a:rPr lang="en-US" sz="800" dirty="0">
                <a:solidFill>
                  <a:srgbClr val="000000"/>
                </a:solidFill>
              </a:rPr>
              <a:t>MDPI, </a:t>
            </a:r>
            <a:r>
              <a:rPr lang="en-US" sz="800" dirty="0">
                <a:solidFill>
                  <a:srgbClr val="000000"/>
                </a:solidFill>
                <a:hlinkClick r:id="rId8"/>
              </a:rPr>
              <a:t>The End of Life of Solar PV Systems </a:t>
            </a:r>
            <a:r>
              <a:rPr lang="en-US" sz="800" dirty="0">
                <a:solidFill>
                  <a:srgbClr val="000000"/>
                </a:solidFill>
              </a:rPr>
              <a:t>(2023); Science Direct, </a:t>
            </a:r>
            <a:r>
              <a:rPr lang="en-US" sz="800" dirty="0">
                <a:solidFill>
                  <a:srgbClr val="000000"/>
                </a:solidFill>
                <a:hlinkClick r:id="rId9"/>
              </a:rPr>
              <a:t>End-of-life solar voltaic waste management </a:t>
            </a:r>
            <a:r>
              <a:rPr lang="en-US" sz="800" dirty="0">
                <a:solidFill>
                  <a:srgbClr val="000000"/>
                </a:solidFill>
              </a:rPr>
              <a:t>(2024); MDPI, </a:t>
            </a:r>
            <a:r>
              <a:rPr lang="en-US" sz="800" dirty="0">
                <a:solidFill>
                  <a:srgbClr val="000000"/>
                </a:solidFill>
                <a:hlinkClick r:id="rId10"/>
              </a:rPr>
              <a:t>Waste Management of Wind Turbine Blades </a:t>
            </a:r>
            <a:r>
              <a:rPr lang="en-US" sz="800" dirty="0">
                <a:solidFill>
                  <a:srgbClr val="000000"/>
                </a:solidFill>
              </a:rPr>
              <a:t>(2024); EPA, </a:t>
            </a:r>
            <a:r>
              <a:rPr lang="en-US" sz="800" dirty="0">
                <a:solidFill>
                  <a:srgbClr val="000000"/>
                </a:solidFill>
                <a:hlinkClick r:id="rId11"/>
              </a:rPr>
              <a:t>Coal Ash Basics </a:t>
            </a:r>
            <a:r>
              <a:rPr lang="en-US" sz="800" dirty="0">
                <a:solidFill>
                  <a:srgbClr val="000000"/>
                </a:solidFill>
              </a:rPr>
              <a:t>(2025).</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Clara </a:t>
            </a:r>
            <a:r>
              <a:rPr lang="en-US" sz="800" dirty="0" err="1">
                <a:solidFill>
                  <a:srgbClr val="000000"/>
                </a:solidFill>
                <a:latin typeface="Arial"/>
              </a:rPr>
              <a:t>Zibell</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15" name="btfpColumnHeaderBoxText223027">
            <a:extLst>
              <a:ext uri="{FF2B5EF4-FFF2-40B4-BE49-F238E27FC236}">
                <a16:creationId xmlns:a16="http://schemas.microsoft.com/office/drawing/2014/main" id="{E42DE0EF-F477-39E9-FD2A-39B8F8C47DCE}"/>
              </a:ext>
            </a:extLst>
          </p:cNvPr>
          <p:cNvSpPr txBox="1"/>
          <p:nvPr/>
        </p:nvSpPr>
        <p:spPr bwMode="gray">
          <a:xfrm>
            <a:off x="363386" y="2582568"/>
            <a:ext cx="1357660" cy="411330"/>
          </a:xfrm>
          <a:prstGeom prst="rect">
            <a:avLst/>
          </a:prstGeom>
          <a:noFill/>
        </p:spPr>
        <p:txBody>
          <a:bodyPr vert="horz" wrap="square" lIns="0" tIns="36036" rIns="36036" bIns="36036" rtlCol="0" anchor="b">
            <a:spAutoFit/>
          </a:bodyPr>
          <a:lstStyle/>
          <a:p>
            <a:pPr marL="0" indent="0">
              <a:spcBef>
                <a:spcPts val="0"/>
              </a:spcBef>
              <a:buNone/>
            </a:pPr>
            <a:r>
              <a:rPr lang="en-US" sz="1100" b="1">
                <a:solidFill>
                  <a:srgbClr val="000000"/>
                </a:solidFill>
              </a:rPr>
              <a:t>Operational waste products</a:t>
            </a:r>
          </a:p>
        </p:txBody>
      </p:sp>
      <p:sp>
        <p:nvSpPr>
          <p:cNvPr id="16" name="btfpColumnHeaderBoxText223027">
            <a:extLst>
              <a:ext uri="{FF2B5EF4-FFF2-40B4-BE49-F238E27FC236}">
                <a16:creationId xmlns:a16="http://schemas.microsoft.com/office/drawing/2014/main" id="{166BABDD-6A52-DDF7-E632-230DB9114475}"/>
              </a:ext>
            </a:extLst>
          </p:cNvPr>
          <p:cNvSpPr txBox="1"/>
          <p:nvPr/>
        </p:nvSpPr>
        <p:spPr bwMode="gray">
          <a:xfrm>
            <a:off x="363386" y="4438664"/>
            <a:ext cx="1357660" cy="411330"/>
          </a:xfrm>
          <a:prstGeom prst="rect">
            <a:avLst/>
          </a:prstGeom>
          <a:noFill/>
        </p:spPr>
        <p:txBody>
          <a:bodyPr vert="horz" wrap="square" lIns="0" tIns="36036" rIns="36036" bIns="36036" rtlCol="0" anchor="b">
            <a:spAutoFit/>
          </a:bodyPr>
          <a:lstStyle/>
          <a:p>
            <a:pPr marL="0" indent="0">
              <a:spcBef>
                <a:spcPts val="0"/>
              </a:spcBef>
              <a:buNone/>
            </a:pPr>
            <a:r>
              <a:rPr lang="en-US" sz="1100" b="1">
                <a:solidFill>
                  <a:srgbClr val="000000"/>
                </a:solidFill>
              </a:rPr>
              <a:t>Waste risks and challenges</a:t>
            </a:r>
            <a:endParaRPr lang="en-US" sz="1100">
              <a:solidFill>
                <a:srgbClr val="000000"/>
              </a:solidFill>
            </a:endParaRPr>
          </a:p>
        </p:txBody>
      </p:sp>
      <p:sp>
        <p:nvSpPr>
          <p:cNvPr id="18" name="TextBox 17">
            <a:extLst>
              <a:ext uri="{FF2B5EF4-FFF2-40B4-BE49-F238E27FC236}">
                <a16:creationId xmlns:a16="http://schemas.microsoft.com/office/drawing/2014/main" id="{67C1BF5A-45AF-E57F-E92D-313E8D90D10A}"/>
              </a:ext>
            </a:extLst>
          </p:cNvPr>
          <p:cNvSpPr txBox="1"/>
          <p:nvPr/>
        </p:nvSpPr>
        <p:spPr bwMode="gray">
          <a:xfrm>
            <a:off x="3618549" y="2093936"/>
            <a:ext cx="1630729" cy="382588"/>
          </a:xfrm>
          <a:prstGeom prst="rect">
            <a:avLst/>
          </a:prstGeom>
          <a:solidFill>
            <a:schemeClr val="tx1">
              <a:lumMod val="75000"/>
              <a:lumOff val="25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000" b="1">
                <a:solidFill>
                  <a:srgbClr val="FFFFFF"/>
                </a:solidFill>
              </a:rPr>
              <a:t>Solar PV</a:t>
            </a:r>
          </a:p>
        </p:txBody>
      </p:sp>
      <p:sp>
        <p:nvSpPr>
          <p:cNvPr id="19" name="TextBox 18">
            <a:extLst>
              <a:ext uri="{FF2B5EF4-FFF2-40B4-BE49-F238E27FC236}">
                <a16:creationId xmlns:a16="http://schemas.microsoft.com/office/drawing/2014/main" id="{07109B9D-5689-0FF7-A93B-03192775F6B8}"/>
              </a:ext>
            </a:extLst>
          </p:cNvPr>
          <p:cNvSpPr txBox="1"/>
          <p:nvPr/>
        </p:nvSpPr>
        <p:spPr bwMode="gray">
          <a:xfrm>
            <a:off x="5416258" y="2093936"/>
            <a:ext cx="1630363" cy="382588"/>
          </a:xfrm>
          <a:prstGeom prst="rect">
            <a:avLst/>
          </a:prstGeom>
          <a:solidFill>
            <a:schemeClr val="tx1">
              <a:lumMod val="75000"/>
              <a:lumOff val="25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000" b="1">
                <a:solidFill>
                  <a:srgbClr val="FFFFFF"/>
                </a:solidFill>
              </a:rPr>
              <a:t>Wind</a:t>
            </a:r>
          </a:p>
        </p:txBody>
      </p:sp>
      <p:sp>
        <p:nvSpPr>
          <p:cNvPr id="22" name="btfpColumnHeaderBoxText223027">
            <a:extLst>
              <a:ext uri="{FF2B5EF4-FFF2-40B4-BE49-F238E27FC236}">
                <a16:creationId xmlns:a16="http://schemas.microsoft.com/office/drawing/2014/main" id="{F886EE67-E4C8-4382-B696-67D3B186F8E7}"/>
              </a:ext>
            </a:extLst>
          </p:cNvPr>
          <p:cNvSpPr txBox="1"/>
          <p:nvPr/>
        </p:nvSpPr>
        <p:spPr bwMode="gray">
          <a:xfrm>
            <a:off x="363386" y="2248943"/>
            <a:ext cx="1357660" cy="242053"/>
          </a:xfrm>
          <a:prstGeom prst="rect">
            <a:avLst/>
          </a:prstGeom>
          <a:noFill/>
        </p:spPr>
        <p:txBody>
          <a:bodyPr vert="horz" wrap="square" lIns="0" tIns="36036" rIns="36036" bIns="36036" rtlCol="0" anchor="b">
            <a:spAutoFit/>
          </a:bodyPr>
          <a:lstStyle/>
          <a:p>
            <a:pPr marL="0" indent="0">
              <a:spcBef>
                <a:spcPts val="0"/>
              </a:spcBef>
              <a:buNone/>
            </a:pPr>
            <a:r>
              <a:rPr lang="en-US" sz="1100" b="1">
                <a:solidFill>
                  <a:srgbClr val="000000"/>
                </a:solidFill>
              </a:rPr>
              <a:t>Energy source</a:t>
            </a:r>
          </a:p>
        </p:txBody>
      </p:sp>
      <p:sp>
        <p:nvSpPr>
          <p:cNvPr id="37" name="btfpColumnHeaderBoxText223027">
            <a:extLst>
              <a:ext uri="{FF2B5EF4-FFF2-40B4-BE49-F238E27FC236}">
                <a16:creationId xmlns:a16="http://schemas.microsoft.com/office/drawing/2014/main" id="{AADC3F49-CF13-8254-3915-B2BD7394230A}"/>
              </a:ext>
            </a:extLst>
          </p:cNvPr>
          <p:cNvSpPr txBox="1"/>
          <p:nvPr/>
        </p:nvSpPr>
        <p:spPr bwMode="gray">
          <a:xfrm>
            <a:off x="363386" y="3322402"/>
            <a:ext cx="1276024" cy="242053"/>
          </a:xfrm>
          <a:prstGeom prst="rect">
            <a:avLst/>
          </a:prstGeom>
          <a:noFill/>
        </p:spPr>
        <p:txBody>
          <a:bodyPr vert="horz" wrap="square" lIns="0" tIns="36036" rIns="36036" bIns="36036" rtlCol="0" anchor="b">
            <a:spAutoFit/>
          </a:bodyPr>
          <a:lstStyle/>
          <a:p>
            <a:pPr marL="0" indent="0">
              <a:spcBef>
                <a:spcPts val="0"/>
              </a:spcBef>
              <a:buNone/>
            </a:pPr>
            <a:r>
              <a:rPr lang="en-US" sz="1100" b="1">
                <a:solidFill>
                  <a:srgbClr val="000000"/>
                </a:solidFill>
              </a:rPr>
              <a:t>Volume (kg/MWh)</a:t>
            </a:r>
          </a:p>
        </p:txBody>
      </p:sp>
      <p:sp>
        <p:nvSpPr>
          <p:cNvPr id="44" name="btfpColumnHeaderBoxText223027">
            <a:extLst>
              <a:ext uri="{FF2B5EF4-FFF2-40B4-BE49-F238E27FC236}">
                <a16:creationId xmlns:a16="http://schemas.microsoft.com/office/drawing/2014/main" id="{33C791F9-EEC3-919B-2076-02878ADAC6AF}"/>
              </a:ext>
            </a:extLst>
          </p:cNvPr>
          <p:cNvSpPr txBox="1"/>
          <p:nvPr/>
        </p:nvSpPr>
        <p:spPr bwMode="gray">
          <a:xfrm>
            <a:off x="363386" y="5113528"/>
            <a:ext cx="1357660" cy="241300"/>
          </a:xfrm>
          <a:prstGeom prst="rect">
            <a:avLst/>
          </a:prstGeom>
          <a:noFill/>
        </p:spPr>
        <p:txBody>
          <a:bodyPr vert="horz" wrap="square" lIns="0" tIns="36036" rIns="36036" bIns="36036" rtlCol="0" anchor="b">
            <a:spAutoFit/>
          </a:bodyPr>
          <a:lstStyle/>
          <a:p>
            <a:pPr marL="0" indent="0">
              <a:spcBef>
                <a:spcPts val="0"/>
              </a:spcBef>
              <a:buNone/>
            </a:pPr>
            <a:r>
              <a:rPr lang="en-US" sz="1100" b="1">
                <a:solidFill>
                  <a:srgbClr val="000000"/>
                </a:solidFill>
              </a:rPr>
              <a:t>Toxicity</a:t>
            </a:r>
          </a:p>
        </p:txBody>
      </p:sp>
      <p:cxnSp>
        <p:nvCxnSpPr>
          <p:cNvPr id="212" name="Straight Connector 211">
            <a:extLst>
              <a:ext uri="{FF2B5EF4-FFF2-40B4-BE49-F238E27FC236}">
                <a16:creationId xmlns:a16="http://schemas.microsoft.com/office/drawing/2014/main" id="{3115F7D3-32BA-577A-4A7F-07328D6681D0}"/>
              </a:ext>
            </a:extLst>
          </p:cNvPr>
          <p:cNvCxnSpPr>
            <a:cxnSpLocks/>
          </p:cNvCxnSpPr>
          <p:nvPr/>
        </p:nvCxnSpPr>
        <p:spPr bwMode="gray">
          <a:xfrm>
            <a:off x="7133420" y="2093936"/>
            <a:ext cx="0" cy="396243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5F4EFA84-3F2C-4822-6CBB-4077B572DB3B}"/>
              </a:ext>
            </a:extLst>
          </p:cNvPr>
          <p:cNvCxnSpPr>
            <a:cxnSpLocks/>
          </p:cNvCxnSpPr>
          <p:nvPr/>
        </p:nvCxnSpPr>
        <p:spPr bwMode="gray">
          <a:xfrm>
            <a:off x="330200" y="2560538"/>
            <a:ext cx="859737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5423730F-801C-FADF-6935-D1CDC8BE97B6}"/>
              </a:ext>
            </a:extLst>
          </p:cNvPr>
          <p:cNvSpPr txBox="1"/>
          <p:nvPr/>
        </p:nvSpPr>
        <p:spPr bwMode="gray">
          <a:xfrm>
            <a:off x="7213600" y="2095276"/>
            <a:ext cx="1630363" cy="382588"/>
          </a:xfrm>
          <a:prstGeom prst="rect">
            <a:avLst/>
          </a:prstGeom>
          <a:solidFill>
            <a:srgbClr val="3A3A3A"/>
          </a:solidFill>
          <a:ln w="6350">
            <a:noFill/>
            <a:prstDash val="solid"/>
          </a:ln>
        </p:spPr>
        <p:txBody>
          <a:bodyPr wrap="square" lIns="91440" tIns="91440" rIns="91440" bIns="91440" rtlCol="0" anchor="ctr">
            <a:noAutofit/>
          </a:bodyPr>
          <a:lstStyle/>
          <a:p>
            <a:pPr marL="0" indent="0" algn="ctr">
              <a:spcAft>
                <a:spcPts val="600"/>
              </a:spcAft>
              <a:buNone/>
            </a:pPr>
            <a:r>
              <a:rPr lang="en-US" sz="1000" b="1">
                <a:solidFill>
                  <a:srgbClr val="FFFFFF"/>
                </a:solidFill>
              </a:rPr>
              <a:t>Coal</a:t>
            </a:r>
          </a:p>
        </p:txBody>
      </p:sp>
      <p:cxnSp>
        <p:nvCxnSpPr>
          <p:cNvPr id="126" name="Straight Connector 125">
            <a:extLst>
              <a:ext uri="{FF2B5EF4-FFF2-40B4-BE49-F238E27FC236}">
                <a16:creationId xmlns:a16="http://schemas.microsoft.com/office/drawing/2014/main" id="{DBE7CD61-4F98-6C3F-6DCA-58A8DF18DF4C}"/>
              </a:ext>
            </a:extLst>
          </p:cNvPr>
          <p:cNvCxnSpPr>
            <a:cxnSpLocks/>
          </p:cNvCxnSpPr>
          <p:nvPr/>
        </p:nvCxnSpPr>
        <p:spPr bwMode="gray">
          <a:xfrm>
            <a:off x="3545116" y="2093936"/>
            <a:ext cx="0" cy="400972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6034C859-46BB-5D08-26DF-EB02BE8478EF}"/>
              </a:ext>
            </a:extLst>
          </p:cNvPr>
          <p:cNvCxnSpPr>
            <a:cxnSpLocks/>
          </p:cNvCxnSpPr>
          <p:nvPr/>
        </p:nvCxnSpPr>
        <p:spPr bwMode="gray">
          <a:xfrm>
            <a:off x="5339268" y="2093936"/>
            <a:ext cx="0" cy="399153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1459E1FC-6E7F-B082-B88A-BBE5B79CC5A9}"/>
              </a:ext>
            </a:extLst>
          </p:cNvPr>
          <p:cNvCxnSpPr>
            <a:cxnSpLocks/>
          </p:cNvCxnSpPr>
          <p:nvPr/>
        </p:nvCxnSpPr>
        <p:spPr bwMode="gray">
          <a:xfrm>
            <a:off x="1750964" y="2168176"/>
            <a:ext cx="0" cy="399153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8ADE8F98-0EA7-307E-495C-BC9F9A7B6326}"/>
              </a:ext>
            </a:extLst>
          </p:cNvPr>
          <p:cNvSpPr/>
          <p:nvPr/>
        </p:nvSpPr>
        <p:spPr bwMode="gray">
          <a:xfrm>
            <a:off x="4261377" y="5252852"/>
            <a:ext cx="267826" cy="245551"/>
          </a:xfrm>
          <a:prstGeom prst="ellipse">
            <a:avLst/>
          </a:prstGeom>
          <a:solidFill>
            <a:srgbClr val="FCCC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black"/>
                </a:solidFill>
                <a:effectLst/>
                <a:uLnTx/>
                <a:uFillTx/>
                <a:latin typeface="Arial (body)"/>
              </a:rPr>
              <a:t>M</a:t>
            </a:r>
          </a:p>
        </p:txBody>
      </p:sp>
      <p:sp>
        <p:nvSpPr>
          <p:cNvPr id="55" name="btfpColumnHeaderBoxText223027">
            <a:extLst>
              <a:ext uri="{FF2B5EF4-FFF2-40B4-BE49-F238E27FC236}">
                <a16:creationId xmlns:a16="http://schemas.microsoft.com/office/drawing/2014/main" id="{DCA89292-572F-0176-E988-833A866C7D12}"/>
              </a:ext>
            </a:extLst>
          </p:cNvPr>
          <p:cNvSpPr txBox="1"/>
          <p:nvPr/>
        </p:nvSpPr>
        <p:spPr bwMode="gray">
          <a:xfrm>
            <a:off x="363386" y="5723704"/>
            <a:ext cx="1357660" cy="242053"/>
          </a:xfrm>
          <a:prstGeom prst="rect">
            <a:avLst/>
          </a:prstGeom>
          <a:noFill/>
        </p:spPr>
        <p:txBody>
          <a:bodyPr vert="horz" wrap="square" lIns="0" tIns="36036" rIns="36036" bIns="36036" rtlCol="0" anchor="b">
            <a:spAutoFit/>
          </a:bodyPr>
          <a:lstStyle/>
          <a:p>
            <a:pPr marL="0" indent="0">
              <a:spcBef>
                <a:spcPts val="0"/>
              </a:spcBef>
              <a:buNone/>
            </a:pPr>
            <a:r>
              <a:rPr lang="en-US" sz="1100" b="1">
                <a:solidFill>
                  <a:srgbClr val="000000"/>
                </a:solidFill>
              </a:rPr>
              <a:t>Recyclability</a:t>
            </a:r>
          </a:p>
        </p:txBody>
      </p:sp>
      <p:sp>
        <p:nvSpPr>
          <p:cNvPr id="103" name="btfpColumnHeaderBoxText223027">
            <a:extLst>
              <a:ext uri="{FF2B5EF4-FFF2-40B4-BE49-F238E27FC236}">
                <a16:creationId xmlns:a16="http://schemas.microsoft.com/office/drawing/2014/main" id="{6276BC44-E552-DB12-4508-1892DC18B455}"/>
              </a:ext>
            </a:extLst>
          </p:cNvPr>
          <p:cNvSpPr txBox="1"/>
          <p:nvPr/>
        </p:nvSpPr>
        <p:spPr bwMode="gray">
          <a:xfrm>
            <a:off x="363386" y="3792093"/>
            <a:ext cx="1357660" cy="242053"/>
          </a:xfrm>
          <a:prstGeom prst="rect">
            <a:avLst/>
          </a:prstGeom>
          <a:noFill/>
        </p:spPr>
        <p:txBody>
          <a:bodyPr vert="horz" wrap="square" lIns="0" tIns="36036" rIns="36036" bIns="36036" rtlCol="0" anchor="b">
            <a:spAutoFit/>
          </a:bodyPr>
          <a:lstStyle/>
          <a:p>
            <a:pPr marL="0" indent="0">
              <a:spcBef>
                <a:spcPts val="0"/>
              </a:spcBef>
              <a:buNone/>
            </a:pPr>
            <a:r>
              <a:rPr lang="en-US" sz="1100" b="1">
                <a:solidFill>
                  <a:srgbClr val="000000"/>
                </a:solidFill>
              </a:rPr>
              <a:t>Waste management</a:t>
            </a:r>
          </a:p>
        </p:txBody>
      </p:sp>
      <p:sp>
        <p:nvSpPr>
          <p:cNvPr id="113" name="TextBox 112">
            <a:extLst>
              <a:ext uri="{FF2B5EF4-FFF2-40B4-BE49-F238E27FC236}">
                <a16:creationId xmlns:a16="http://schemas.microsoft.com/office/drawing/2014/main" id="{7116F55B-2207-87DE-F229-E266AA0BF053}"/>
              </a:ext>
            </a:extLst>
          </p:cNvPr>
          <p:cNvSpPr txBox="1"/>
          <p:nvPr/>
        </p:nvSpPr>
        <p:spPr bwMode="gray">
          <a:xfrm>
            <a:off x="1674638" y="3715171"/>
            <a:ext cx="2019844" cy="76174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a:t>Near-surface disposal for LLW and deep geological disposal for ILW and HLW</a:t>
            </a:r>
          </a:p>
        </p:txBody>
      </p:sp>
      <p:sp>
        <p:nvSpPr>
          <p:cNvPr id="116" name="TextBox 115">
            <a:extLst>
              <a:ext uri="{FF2B5EF4-FFF2-40B4-BE49-F238E27FC236}">
                <a16:creationId xmlns:a16="http://schemas.microsoft.com/office/drawing/2014/main" id="{B303AE5B-168E-197E-6FFA-B9C30CB076A0}"/>
              </a:ext>
            </a:extLst>
          </p:cNvPr>
          <p:cNvSpPr txBox="1"/>
          <p:nvPr/>
        </p:nvSpPr>
        <p:spPr bwMode="gray">
          <a:xfrm>
            <a:off x="7099190" y="2479883"/>
            <a:ext cx="2000337" cy="411163"/>
          </a:xfrm>
          <a:prstGeom prst="rect">
            <a:avLst/>
          </a:prstGeom>
          <a:noFill/>
        </p:spPr>
        <p:txBody>
          <a:bodyPr wrap="square" lIns="137160" tIns="137160" rIns="274320" bIns="137160" rtlCol="0">
            <a:noAutofit/>
          </a:bodyPr>
          <a:lstStyle/>
          <a:p>
            <a:pPr marL="0" indent="0" algn="l">
              <a:spcBef>
                <a:spcPts val="600"/>
              </a:spcBef>
              <a:spcAft>
                <a:spcPts val="600"/>
              </a:spcAft>
              <a:buNone/>
            </a:pPr>
            <a:r>
              <a:rPr lang="en-US" sz="1050"/>
              <a:t>Coal ash (contains arsenic, lead, mercury) and greenhouse gases</a:t>
            </a:r>
          </a:p>
        </p:txBody>
      </p:sp>
      <p:sp>
        <p:nvSpPr>
          <p:cNvPr id="117" name="TextBox 116">
            <a:extLst>
              <a:ext uri="{FF2B5EF4-FFF2-40B4-BE49-F238E27FC236}">
                <a16:creationId xmlns:a16="http://schemas.microsoft.com/office/drawing/2014/main" id="{267C7355-B414-2522-F327-7B678FC5CC6B}"/>
              </a:ext>
            </a:extLst>
          </p:cNvPr>
          <p:cNvSpPr txBox="1"/>
          <p:nvPr/>
        </p:nvSpPr>
        <p:spPr bwMode="gray">
          <a:xfrm>
            <a:off x="7099190" y="4350217"/>
            <a:ext cx="2114628" cy="76174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a:t>Contaminates soil, water, and air sources, posing threats to human health </a:t>
            </a:r>
          </a:p>
        </p:txBody>
      </p:sp>
      <p:sp>
        <p:nvSpPr>
          <p:cNvPr id="129" name="TextBox 128">
            <a:extLst>
              <a:ext uri="{FF2B5EF4-FFF2-40B4-BE49-F238E27FC236}">
                <a16:creationId xmlns:a16="http://schemas.microsoft.com/office/drawing/2014/main" id="{9B2DE55A-B01A-0A27-6363-F1571A8C66C6}"/>
              </a:ext>
            </a:extLst>
          </p:cNvPr>
          <p:cNvSpPr txBox="1"/>
          <p:nvPr/>
        </p:nvSpPr>
        <p:spPr bwMode="gray">
          <a:xfrm>
            <a:off x="1674638" y="4350217"/>
            <a:ext cx="1992205" cy="600164"/>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a:t>Long-term disposal of HLW remains a challenge</a:t>
            </a:r>
          </a:p>
        </p:txBody>
      </p:sp>
      <p:sp>
        <p:nvSpPr>
          <p:cNvPr id="130" name="TextBox 129">
            <a:extLst>
              <a:ext uri="{FF2B5EF4-FFF2-40B4-BE49-F238E27FC236}">
                <a16:creationId xmlns:a16="http://schemas.microsoft.com/office/drawing/2014/main" id="{F6644A6B-7D66-5324-BAC1-B0EC3E22FB73}"/>
              </a:ext>
            </a:extLst>
          </p:cNvPr>
          <p:cNvSpPr txBox="1"/>
          <p:nvPr/>
        </p:nvSpPr>
        <p:spPr bwMode="gray">
          <a:xfrm>
            <a:off x="1674638" y="2479884"/>
            <a:ext cx="2085949" cy="411163"/>
          </a:xfrm>
          <a:prstGeom prst="rect">
            <a:avLst/>
          </a:prstGeom>
          <a:noFill/>
        </p:spPr>
        <p:txBody>
          <a:bodyPr wrap="square" lIns="137160" tIns="137160" rIns="274320" bIns="137160" rtlCol="0">
            <a:noAutofit/>
          </a:bodyPr>
          <a:lstStyle/>
          <a:p>
            <a:pPr marL="0" indent="0" algn="l">
              <a:spcBef>
                <a:spcPts val="600"/>
              </a:spcBef>
              <a:spcAft>
                <a:spcPts val="600"/>
              </a:spcAft>
              <a:buNone/>
            </a:pPr>
            <a:r>
              <a:rPr lang="en-US" sz="1050"/>
              <a:t>Spent fuel rod and unprocessed uranium (radiotoxic)</a:t>
            </a:r>
          </a:p>
        </p:txBody>
      </p:sp>
      <p:sp>
        <p:nvSpPr>
          <p:cNvPr id="131" name="TextBox 130">
            <a:extLst>
              <a:ext uri="{FF2B5EF4-FFF2-40B4-BE49-F238E27FC236}">
                <a16:creationId xmlns:a16="http://schemas.microsoft.com/office/drawing/2014/main" id="{C895A735-417E-96A5-B7E2-7855B57C4DD1}"/>
              </a:ext>
            </a:extLst>
          </p:cNvPr>
          <p:cNvSpPr txBox="1"/>
          <p:nvPr/>
        </p:nvSpPr>
        <p:spPr bwMode="gray">
          <a:xfrm>
            <a:off x="3470052" y="4350217"/>
            <a:ext cx="1790088" cy="600164"/>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a:t>Trace amounts of lead in solar PV solders</a:t>
            </a:r>
          </a:p>
        </p:txBody>
      </p:sp>
      <p:sp>
        <p:nvSpPr>
          <p:cNvPr id="137" name="TextBox 136">
            <a:extLst>
              <a:ext uri="{FF2B5EF4-FFF2-40B4-BE49-F238E27FC236}">
                <a16:creationId xmlns:a16="http://schemas.microsoft.com/office/drawing/2014/main" id="{7502B640-831B-7EE5-91CC-07162632DC7A}"/>
              </a:ext>
            </a:extLst>
          </p:cNvPr>
          <p:cNvSpPr txBox="1"/>
          <p:nvPr/>
        </p:nvSpPr>
        <p:spPr bwMode="gray">
          <a:xfrm>
            <a:off x="5287324" y="2479883"/>
            <a:ext cx="1897061" cy="411163"/>
          </a:xfrm>
          <a:prstGeom prst="rect">
            <a:avLst/>
          </a:prstGeom>
          <a:noFill/>
        </p:spPr>
        <p:txBody>
          <a:bodyPr wrap="square" lIns="137160" tIns="137160" rIns="274320" bIns="137160" rtlCol="0">
            <a:noAutofit/>
          </a:bodyPr>
          <a:lstStyle/>
          <a:p>
            <a:pPr marL="0" indent="0" algn="l">
              <a:spcBef>
                <a:spcPts val="600"/>
              </a:spcBef>
              <a:spcAft>
                <a:spcPts val="600"/>
              </a:spcAft>
              <a:buNone/>
            </a:pPr>
            <a:r>
              <a:rPr lang="en-US" sz="1050"/>
              <a:t>Turbine</a:t>
            </a:r>
            <a:r>
              <a:rPr lang="en-US" sz="1250"/>
              <a:t> </a:t>
            </a:r>
            <a:r>
              <a:rPr lang="en-US" sz="1050"/>
              <a:t>blades</a:t>
            </a:r>
          </a:p>
        </p:txBody>
      </p:sp>
      <p:sp>
        <p:nvSpPr>
          <p:cNvPr id="139" name="TextBox 138">
            <a:extLst>
              <a:ext uri="{FF2B5EF4-FFF2-40B4-BE49-F238E27FC236}">
                <a16:creationId xmlns:a16="http://schemas.microsoft.com/office/drawing/2014/main" id="{D20D42E4-95B5-AE63-87AC-7414A068426C}"/>
              </a:ext>
            </a:extLst>
          </p:cNvPr>
          <p:cNvSpPr txBox="1"/>
          <p:nvPr/>
        </p:nvSpPr>
        <p:spPr bwMode="gray">
          <a:xfrm>
            <a:off x="7099189" y="3114927"/>
            <a:ext cx="593733" cy="438582"/>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a:t>89</a:t>
            </a:r>
          </a:p>
        </p:txBody>
      </p:sp>
      <p:sp>
        <p:nvSpPr>
          <p:cNvPr id="141" name="TextBox 140">
            <a:extLst>
              <a:ext uri="{FF2B5EF4-FFF2-40B4-BE49-F238E27FC236}">
                <a16:creationId xmlns:a16="http://schemas.microsoft.com/office/drawing/2014/main" id="{325C0BFE-C217-9815-6664-5DD0F3742077}"/>
              </a:ext>
            </a:extLst>
          </p:cNvPr>
          <p:cNvSpPr txBox="1"/>
          <p:nvPr/>
        </p:nvSpPr>
        <p:spPr bwMode="gray">
          <a:xfrm>
            <a:off x="3460416" y="3114927"/>
            <a:ext cx="736829" cy="438582"/>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a:t>1.67</a:t>
            </a:r>
          </a:p>
        </p:txBody>
      </p:sp>
      <p:sp>
        <p:nvSpPr>
          <p:cNvPr id="145" name="TextBox 144">
            <a:extLst>
              <a:ext uri="{FF2B5EF4-FFF2-40B4-BE49-F238E27FC236}">
                <a16:creationId xmlns:a16="http://schemas.microsoft.com/office/drawing/2014/main" id="{F73A9804-833F-99AE-5D4A-5618D97630AB}"/>
              </a:ext>
            </a:extLst>
          </p:cNvPr>
          <p:cNvSpPr txBox="1"/>
          <p:nvPr/>
        </p:nvSpPr>
        <p:spPr bwMode="gray">
          <a:xfrm>
            <a:off x="5285441" y="3114927"/>
            <a:ext cx="733609" cy="438582"/>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a:t>0.16</a:t>
            </a:r>
          </a:p>
        </p:txBody>
      </p:sp>
      <p:sp>
        <p:nvSpPr>
          <p:cNvPr id="146" name="TextBox 145">
            <a:extLst>
              <a:ext uri="{FF2B5EF4-FFF2-40B4-BE49-F238E27FC236}">
                <a16:creationId xmlns:a16="http://schemas.microsoft.com/office/drawing/2014/main" id="{B323C74A-2AA1-8826-D924-2C4C63B25636}"/>
              </a:ext>
            </a:extLst>
          </p:cNvPr>
          <p:cNvSpPr txBox="1"/>
          <p:nvPr/>
        </p:nvSpPr>
        <p:spPr bwMode="gray">
          <a:xfrm>
            <a:off x="1674639" y="3114927"/>
            <a:ext cx="678391" cy="438582"/>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a:t>0.03</a:t>
            </a:r>
          </a:p>
        </p:txBody>
      </p:sp>
      <p:sp>
        <p:nvSpPr>
          <p:cNvPr id="147" name="Oval 146">
            <a:extLst>
              <a:ext uri="{FF2B5EF4-FFF2-40B4-BE49-F238E27FC236}">
                <a16:creationId xmlns:a16="http://schemas.microsoft.com/office/drawing/2014/main" id="{1ACF85CA-8E0F-7960-2455-6CD1B1AD5451}"/>
              </a:ext>
            </a:extLst>
          </p:cNvPr>
          <p:cNvSpPr/>
          <p:nvPr/>
        </p:nvSpPr>
        <p:spPr bwMode="gray">
          <a:xfrm>
            <a:off x="6096609" y="5252852"/>
            <a:ext cx="246585" cy="245551"/>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white"/>
                </a:solidFill>
                <a:effectLst/>
                <a:uLnTx/>
                <a:uFillTx/>
                <a:latin typeface="Arial (body)"/>
              </a:rPr>
              <a:t>L </a:t>
            </a:r>
          </a:p>
        </p:txBody>
      </p:sp>
      <p:sp>
        <p:nvSpPr>
          <p:cNvPr id="149" name="Oval 148">
            <a:extLst>
              <a:ext uri="{FF2B5EF4-FFF2-40B4-BE49-F238E27FC236}">
                <a16:creationId xmlns:a16="http://schemas.microsoft.com/office/drawing/2014/main" id="{11BB8588-8D93-4E45-2FDE-3C00FD7A0CC9}"/>
              </a:ext>
            </a:extLst>
          </p:cNvPr>
          <p:cNvSpPr/>
          <p:nvPr/>
        </p:nvSpPr>
        <p:spPr bwMode="gray">
          <a:xfrm>
            <a:off x="7913520" y="5252852"/>
            <a:ext cx="246585" cy="245551"/>
          </a:xfrm>
          <a:prstGeom prst="ellipse">
            <a:avLst/>
          </a:prstGeom>
          <a:solidFill>
            <a:srgbClr val="EE352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white"/>
                </a:solidFill>
                <a:effectLst/>
                <a:uLnTx/>
                <a:uFillTx/>
                <a:latin typeface="Arial (body)"/>
              </a:rPr>
              <a:t>H</a:t>
            </a:r>
          </a:p>
        </p:txBody>
      </p:sp>
      <p:sp>
        <p:nvSpPr>
          <p:cNvPr id="5" name="TextBox 4">
            <a:extLst>
              <a:ext uri="{FF2B5EF4-FFF2-40B4-BE49-F238E27FC236}">
                <a16:creationId xmlns:a16="http://schemas.microsoft.com/office/drawing/2014/main" id="{679DECF1-7E41-39B1-7D2C-BC1FC8FE41DE}"/>
              </a:ext>
            </a:extLst>
          </p:cNvPr>
          <p:cNvSpPr txBox="1"/>
          <p:nvPr/>
        </p:nvSpPr>
        <p:spPr bwMode="gray">
          <a:xfrm>
            <a:off x="3470052" y="2479884"/>
            <a:ext cx="1843565" cy="411163"/>
          </a:xfrm>
          <a:prstGeom prst="rect">
            <a:avLst/>
          </a:prstGeom>
          <a:noFill/>
        </p:spPr>
        <p:txBody>
          <a:bodyPr wrap="square" lIns="137160" tIns="137160" rIns="274320" bIns="137160" rtlCol="0">
            <a:noAutofit/>
          </a:bodyPr>
          <a:lstStyle/>
          <a:p>
            <a:pPr marL="0" indent="0" algn="l">
              <a:spcBef>
                <a:spcPts val="600"/>
              </a:spcBef>
              <a:spcAft>
                <a:spcPts val="600"/>
              </a:spcAft>
              <a:buNone/>
            </a:pPr>
            <a:r>
              <a:rPr lang="en-US" sz="1050"/>
              <a:t>End-of-life solar panels</a:t>
            </a:r>
          </a:p>
        </p:txBody>
      </p:sp>
      <p:sp>
        <p:nvSpPr>
          <p:cNvPr id="6" name="TextBox 5">
            <a:extLst>
              <a:ext uri="{FF2B5EF4-FFF2-40B4-BE49-F238E27FC236}">
                <a16:creationId xmlns:a16="http://schemas.microsoft.com/office/drawing/2014/main" id="{C2697ADD-2B8A-3569-C3DC-234791E8E805}"/>
              </a:ext>
            </a:extLst>
          </p:cNvPr>
          <p:cNvSpPr txBox="1"/>
          <p:nvPr/>
        </p:nvSpPr>
        <p:spPr bwMode="gray">
          <a:xfrm>
            <a:off x="5287324" y="4350217"/>
            <a:ext cx="1584418" cy="76174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a:t>Microplastics pollution from blade degradation</a:t>
            </a:r>
          </a:p>
        </p:txBody>
      </p:sp>
      <p:grpSp>
        <p:nvGrpSpPr>
          <p:cNvPr id="61" name="Group 60">
            <a:extLst>
              <a:ext uri="{FF2B5EF4-FFF2-40B4-BE49-F238E27FC236}">
                <a16:creationId xmlns:a16="http://schemas.microsoft.com/office/drawing/2014/main" id="{5CDCED04-D373-E119-6155-BECCEFC97AA2}"/>
              </a:ext>
            </a:extLst>
          </p:cNvPr>
          <p:cNvGrpSpPr/>
          <p:nvPr/>
        </p:nvGrpSpPr>
        <p:grpSpPr>
          <a:xfrm>
            <a:off x="1771393" y="3153836"/>
            <a:ext cx="1680177" cy="2493528"/>
            <a:chOff x="1771393" y="2876384"/>
            <a:chExt cx="1680177" cy="2493528"/>
          </a:xfrm>
        </p:grpSpPr>
        <p:cxnSp>
          <p:nvCxnSpPr>
            <p:cNvPr id="105" name="Straight Connector 104">
              <a:extLst>
                <a:ext uri="{FF2B5EF4-FFF2-40B4-BE49-F238E27FC236}">
                  <a16:creationId xmlns:a16="http://schemas.microsoft.com/office/drawing/2014/main" id="{804BD475-FC10-0CA1-79B8-19778C3875B7}"/>
                </a:ext>
              </a:extLst>
            </p:cNvPr>
            <p:cNvCxnSpPr>
              <a:cxnSpLocks/>
            </p:cNvCxnSpPr>
            <p:nvPr/>
          </p:nvCxnSpPr>
          <p:spPr bwMode="gray">
            <a:xfrm>
              <a:off x="1771393" y="2876384"/>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D40FE85-E194-CDBF-0FC5-86CF1140150C}"/>
                </a:ext>
              </a:extLst>
            </p:cNvPr>
            <p:cNvCxnSpPr>
              <a:cxnSpLocks/>
            </p:cNvCxnSpPr>
            <p:nvPr/>
          </p:nvCxnSpPr>
          <p:spPr bwMode="gray">
            <a:xfrm>
              <a:off x="1771393" y="3499766"/>
              <a:ext cx="165868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D783BB9-CA20-FAAC-BF03-53AE9F76E11D}"/>
                </a:ext>
              </a:extLst>
            </p:cNvPr>
            <p:cNvCxnSpPr>
              <a:cxnSpLocks/>
            </p:cNvCxnSpPr>
            <p:nvPr/>
          </p:nvCxnSpPr>
          <p:spPr bwMode="gray">
            <a:xfrm>
              <a:off x="1771393" y="5369912"/>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214543F-570C-4F91-E1F7-54A55B9E680C}"/>
                </a:ext>
              </a:extLst>
            </p:cNvPr>
            <p:cNvCxnSpPr>
              <a:cxnSpLocks/>
            </p:cNvCxnSpPr>
            <p:nvPr/>
          </p:nvCxnSpPr>
          <p:spPr bwMode="gray">
            <a:xfrm>
              <a:off x="1771393" y="4746530"/>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DB26561-A938-26BF-4000-33E72E841418}"/>
                </a:ext>
              </a:extLst>
            </p:cNvPr>
            <p:cNvCxnSpPr>
              <a:cxnSpLocks/>
            </p:cNvCxnSpPr>
            <p:nvPr/>
          </p:nvCxnSpPr>
          <p:spPr bwMode="gray">
            <a:xfrm>
              <a:off x="1771393" y="4123148"/>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4" name="Oval 33">
            <a:extLst>
              <a:ext uri="{FF2B5EF4-FFF2-40B4-BE49-F238E27FC236}">
                <a16:creationId xmlns:a16="http://schemas.microsoft.com/office/drawing/2014/main" id="{D9D86AF3-2C40-5E56-BB86-E471D54C29FB}"/>
              </a:ext>
            </a:extLst>
          </p:cNvPr>
          <p:cNvSpPr/>
          <p:nvPr/>
        </p:nvSpPr>
        <p:spPr bwMode="gray">
          <a:xfrm>
            <a:off x="2559903" y="5252852"/>
            <a:ext cx="246585" cy="245551"/>
          </a:xfrm>
          <a:prstGeom prst="ellipse">
            <a:avLst/>
          </a:prstGeom>
          <a:solidFill>
            <a:srgbClr val="EE352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white"/>
                </a:solidFill>
                <a:effectLst/>
                <a:uLnTx/>
                <a:uFillTx/>
                <a:latin typeface="Arial (body)"/>
              </a:rPr>
              <a:t>H</a:t>
            </a:r>
          </a:p>
        </p:txBody>
      </p:sp>
      <p:sp>
        <p:nvSpPr>
          <p:cNvPr id="48" name="TextBox 47">
            <a:extLst>
              <a:ext uri="{FF2B5EF4-FFF2-40B4-BE49-F238E27FC236}">
                <a16:creationId xmlns:a16="http://schemas.microsoft.com/office/drawing/2014/main" id="{AE33EB82-7C5E-EF7D-A414-0584C6F84473}"/>
              </a:ext>
            </a:extLst>
          </p:cNvPr>
          <p:cNvSpPr txBox="1"/>
          <p:nvPr/>
        </p:nvSpPr>
        <p:spPr bwMode="gray">
          <a:xfrm>
            <a:off x="2730223" y="5062947"/>
            <a:ext cx="279625" cy="438582"/>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b="1"/>
              <a:t>*</a:t>
            </a:r>
          </a:p>
        </p:txBody>
      </p:sp>
      <p:sp>
        <p:nvSpPr>
          <p:cNvPr id="60" name="TextBox 59">
            <a:extLst>
              <a:ext uri="{FF2B5EF4-FFF2-40B4-BE49-F238E27FC236}">
                <a16:creationId xmlns:a16="http://schemas.microsoft.com/office/drawing/2014/main" id="{44B075E9-00E6-F8C8-7805-D7738CFBD5F3}"/>
              </a:ext>
            </a:extLst>
          </p:cNvPr>
          <p:cNvSpPr txBox="1"/>
          <p:nvPr/>
        </p:nvSpPr>
        <p:spPr bwMode="gray">
          <a:xfrm>
            <a:off x="3470052" y="3715171"/>
            <a:ext cx="1985267" cy="600164"/>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a:t>Landfills or recycling (14% global recycling rate**)</a:t>
            </a:r>
          </a:p>
        </p:txBody>
      </p:sp>
      <p:grpSp>
        <p:nvGrpSpPr>
          <p:cNvPr id="62" name="Group 61">
            <a:extLst>
              <a:ext uri="{FF2B5EF4-FFF2-40B4-BE49-F238E27FC236}">
                <a16:creationId xmlns:a16="http://schemas.microsoft.com/office/drawing/2014/main" id="{AE9A9697-5B37-983C-2F56-5CC4AFE056E9}"/>
              </a:ext>
            </a:extLst>
          </p:cNvPr>
          <p:cNvGrpSpPr/>
          <p:nvPr/>
        </p:nvGrpSpPr>
        <p:grpSpPr>
          <a:xfrm>
            <a:off x="3580633" y="3153836"/>
            <a:ext cx="1680177" cy="2493528"/>
            <a:chOff x="1771393" y="2876384"/>
            <a:chExt cx="1680177" cy="2493528"/>
          </a:xfrm>
        </p:grpSpPr>
        <p:cxnSp>
          <p:nvCxnSpPr>
            <p:cNvPr id="63" name="Straight Connector 62">
              <a:extLst>
                <a:ext uri="{FF2B5EF4-FFF2-40B4-BE49-F238E27FC236}">
                  <a16:creationId xmlns:a16="http://schemas.microsoft.com/office/drawing/2014/main" id="{F577A8E5-B953-E04B-172B-C03D2159B17A}"/>
                </a:ext>
              </a:extLst>
            </p:cNvPr>
            <p:cNvCxnSpPr>
              <a:cxnSpLocks/>
            </p:cNvCxnSpPr>
            <p:nvPr/>
          </p:nvCxnSpPr>
          <p:spPr bwMode="gray">
            <a:xfrm>
              <a:off x="1771393" y="2876384"/>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4103E97-BD14-2C51-4B98-6643D046748A}"/>
                </a:ext>
              </a:extLst>
            </p:cNvPr>
            <p:cNvCxnSpPr>
              <a:cxnSpLocks/>
            </p:cNvCxnSpPr>
            <p:nvPr/>
          </p:nvCxnSpPr>
          <p:spPr bwMode="gray">
            <a:xfrm>
              <a:off x="1771393" y="3499766"/>
              <a:ext cx="165868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4FAB16A-B731-D727-7ADF-3614FD271E33}"/>
                </a:ext>
              </a:extLst>
            </p:cNvPr>
            <p:cNvCxnSpPr>
              <a:cxnSpLocks/>
            </p:cNvCxnSpPr>
            <p:nvPr/>
          </p:nvCxnSpPr>
          <p:spPr bwMode="gray">
            <a:xfrm>
              <a:off x="1771393" y="5369912"/>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9702237-C7A0-F355-A729-3511EC4799CF}"/>
                </a:ext>
              </a:extLst>
            </p:cNvPr>
            <p:cNvCxnSpPr>
              <a:cxnSpLocks/>
            </p:cNvCxnSpPr>
            <p:nvPr/>
          </p:nvCxnSpPr>
          <p:spPr bwMode="gray">
            <a:xfrm>
              <a:off x="1771393" y="4746530"/>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E76337D-120B-545D-412A-9D58896A9BD5}"/>
                </a:ext>
              </a:extLst>
            </p:cNvPr>
            <p:cNvCxnSpPr>
              <a:cxnSpLocks/>
            </p:cNvCxnSpPr>
            <p:nvPr/>
          </p:nvCxnSpPr>
          <p:spPr bwMode="gray">
            <a:xfrm>
              <a:off x="1771393" y="4123148"/>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09DD31C7-203A-5537-2B02-C29F7A22ADB1}"/>
              </a:ext>
            </a:extLst>
          </p:cNvPr>
          <p:cNvGrpSpPr/>
          <p:nvPr/>
        </p:nvGrpSpPr>
        <p:grpSpPr>
          <a:xfrm>
            <a:off x="5389873" y="3153836"/>
            <a:ext cx="1680177" cy="2493528"/>
            <a:chOff x="1771393" y="2876384"/>
            <a:chExt cx="1680177" cy="2493528"/>
          </a:xfrm>
        </p:grpSpPr>
        <p:cxnSp>
          <p:nvCxnSpPr>
            <p:cNvPr id="69" name="Straight Connector 68">
              <a:extLst>
                <a:ext uri="{FF2B5EF4-FFF2-40B4-BE49-F238E27FC236}">
                  <a16:creationId xmlns:a16="http://schemas.microsoft.com/office/drawing/2014/main" id="{79B66BEE-A909-DE2A-0443-819F62E6BC96}"/>
                </a:ext>
              </a:extLst>
            </p:cNvPr>
            <p:cNvCxnSpPr>
              <a:cxnSpLocks/>
            </p:cNvCxnSpPr>
            <p:nvPr/>
          </p:nvCxnSpPr>
          <p:spPr bwMode="gray">
            <a:xfrm>
              <a:off x="1771393" y="2876384"/>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188C37D-49F3-9ED0-B766-C007E9260B3C}"/>
                </a:ext>
              </a:extLst>
            </p:cNvPr>
            <p:cNvCxnSpPr>
              <a:cxnSpLocks/>
            </p:cNvCxnSpPr>
            <p:nvPr/>
          </p:nvCxnSpPr>
          <p:spPr bwMode="gray">
            <a:xfrm>
              <a:off x="1771393" y="3499766"/>
              <a:ext cx="165868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C3B2F95-D505-5397-9FEB-30114EF1D68D}"/>
                </a:ext>
              </a:extLst>
            </p:cNvPr>
            <p:cNvCxnSpPr>
              <a:cxnSpLocks/>
            </p:cNvCxnSpPr>
            <p:nvPr/>
          </p:nvCxnSpPr>
          <p:spPr bwMode="gray">
            <a:xfrm>
              <a:off x="1771393" y="5369912"/>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94D69EE-D06F-CAB9-ABD7-7C5B130D48F3}"/>
                </a:ext>
              </a:extLst>
            </p:cNvPr>
            <p:cNvCxnSpPr>
              <a:cxnSpLocks/>
            </p:cNvCxnSpPr>
            <p:nvPr/>
          </p:nvCxnSpPr>
          <p:spPr bwMode="gray">
            <a:xfrm>
              <a:off x="1771393" y="4746530"/>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1294630-4A52-C230-9022-B042FB2DCCB3}"/>
                </a:ext>
              </a:extLst>
            </p:cNvPr>
            <p:cNvCxnSpPr>
              <a:cxnSpLocks/>
            </p:cNvCxnSpPr>
            <p:nvPr/>
          </p:nvCxnSpPr>
          <p:spPr bwMode="gray">
            <a:xfrm>
              <a:off x="1771393" y="4123148"/>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640B71E9-BFA6-AA0B-A8E6-C9A0B74E3CAB}"/>
              </a:ext>
            </a:extLst>
          </p:cNvPr>
          <p:cNvGrpSpPr/>
          <p:nvPr/>
        </p:nvGrpSpPr>
        <p:grpSpPr>
          <a:xfrm>
            <a:off x="7199112" y="3153836"/>
            <a:ext cx="1680177" cy="2493528"/>
            <a:chOff x="1771393" y="2876384"/>
            <a:chExt cx="1680177" cy="2493528"/>
          </a:xfrm>
        </p:grpSpPr>
        <p:cxnSp>
          <p:nvCxnSpPr>
            <p:cNvPr id="75" name="Straight Connector 74">
              <a:extLst>
                <a:ext uri="{FF2B5EF4-FFF2-40B4-BE49-F238E27FC236}">
                  <a16:creationId xmlns:a16="http://schemas.microsoft.com/office/drawing/2014/main" id="{AC0A6307-2B6C-F905-9F0D-C99B671481D0}"/>
                </a:ext>
              </a:extLst>
            </p:cNvPr>
            <p:cNvCxnSpPr>
              <a:cxnSpLocks/>
            </p:cNvCxnSpPr>
            <p:nvPr/>
          </p:nvCxnSpPr>
          <p:spPr bwMode="gray">
            <a:xfrm>
              <a:off x="1771393" y="2876384"/>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6CEA25F5-693F-4FFA-DA3E-4131E4901E1B}"/>
                </a:ext>
              </a:extLst>
            </p:cNvPr>
            <p:cNvCxnSpPr>
              <a:cxnSpLocks/>
            </p:cNvCxnSpPr>
            <p:nvPr/>
          </p:nvCxnSpPr>
          <p:spPr bwMode="gray">
            <a:xfrm>
              <a:off x="1771393" y="3499766"/>
              <a:ext cx="165868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EB741583-1439-1528-C8E5-435DFA4513C2}"/>
                </a:ext>
              </a:extLst>
            </p:cNvPr>
            <p:cNvCxnSpPr>
              <a:cxnSpLocks/>
            </p:cNvCxnSpPr>
            <p:nvPr/>
          </p:nvCxnSpPr>
          <p:spPr bwMode="gray">
            <a:xfrm>
              <a:off x="1771393" y="5369912"/>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D076EC0-01EA-1222-836A-8F38305D994B}"/>
                </a:ext>
              </a:extLst>
            </p:cNvPr>
            <p:cNvCxnSpPr>
              <a:cxnSpLocks/>
            </p:cNvCxnSpPr>
            <p:nvPr/>
          </p:nvCxnSpPr>
          <p:spPr bwMode="gray">
            <a:xfrm>
              <a:off x="1771393" y="4746530"/>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ADCD032-70F2-C0D5-72C2-189F58506186}"/>
                </a:ext>
              </a:extLst>
            </p:cNvPr>
            <p:cNvCxnSpPr>
              <a:cxnSpLocks/>
            </p:cNvCxnSpPr>
            <p:nvPr/>
          </p:nvCxnSpPr>
          <p:spPr bwMode="gray">
            <a:xfrm>
              <a:off x="1771393" y="4123148"/>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80" name="Group 79">
            <a:extLst>
              <a:ext uri="{FF2B5EF4-FFF2-40B4-BE49-F238E27FC236}">
                <a16:creationId xmlns:a16="http://schemas.microsoft.com/office/drawing/2014/main" id="{379EF1FD-CC20-3ABA-BC76-336C032995CB}"/>
              </a:ext>
            </a:extLst>
          </p:cNvPr>
          <p:cNvGrpSpPr/>
          <p:nvPr/>
        </p:nvGrpSpPr>
        <p:grpSpPr>
          <a:xfrm>
            <a:off x="320314" y="3151930"/>
            <a:ext cx="1418531" cy="2493528"/>
            <a:chOff x="1771393" y="2876384"/>
            <a:chExt cx="1680177" cy="2493528"/>
          </a:xfrm>
        </p:grpSpPr>
        <p:cxnSp>
          <p:nvCxnSpPr>
            <p:cNvPr id="81" name="Straight Connector 80">
              <a:extLst>
                <a:ext uri="{FF2B5EF4-FFF2-40B4-BE49-F238E27FC236}">
                  <a16:creationId xmlns:a16="http://schemas.microsoft.com/office/drawing/2014/main" id="{DE260BC5-96B1-07D0-A035-6DC68228C89F}"/>
                </a:ext>
              </a:extLst>
            </p:cNvPr>
            <p:cNvCxnSpPr>
              <a:cxnSpLocks/>
            </p:cNvCxnSpPr>
            <p:nvPr/>
          </p:nvCxnSpPr>
          <p:spPr bwMode="gray">
            <a:xfrm>
              <a:off x="1771393" y="2876384"/>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FA49489B-A2E2-AA21-4AFF-D1AC1B0FD4A3}"/>
                </a:ext>
              </a:extLst>
            </p:cNvPr>
            <p:cNvCxnSpPr>
              <a:cxnSpLocks/>
            </p:cNvCxnSpPr>
            <p:nvPr/>
          </p:nvCxnSpPr>
          <p:spPr bwMode="gray">
            <a:xfrm>
              <a:off x="1771393" y="3499766"/>
              <a:ext cx="165868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DE7F0FB-B72C-CA3C-1C70-E8B9A2566213}"/>
                </a:ext>
              </a:extLst>
            </p:cNvPr>
            <p:cNvCxnSpPr>
              <a:cxnSpLocks/>
            </p:cNvCxnSpPr>
            <p:nvPr/>
          </p:nvCxnSpPr>
          <p:spPr bwMode="gray">
            <a:xfrm>
              <a:off x="1771393" y="5369912"/>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AB750E02-0A4A-F343-E757-E0BD759BCC29}"/>
                </a:ext>
              </a:extLst>
            </p:cNvPr>
            <p:cNvCxnSpPr>
              <a:cxnSpLocks/>
            </p:cNvCxnSpPr>
            <p:nvPr/>
          </p:nvCxnSpPr>
          <p:spPr bwMode="gray">
            <a:xfrm>
              <a:off x="1771393" y="4746530"/>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6B8D1D5-5C11-D58C-F6BA-2323BC515285}"/>
                </a:ext>
              </a:extLst>
            </p:cNvPr>
            <p:cNvCxnSpPr>
              <a:cxnSpLocks/>
            </p:cNvCxnSpPr>
            <p:nvPr/>
          </p:nvCxnSpPr>
          <p:spPr bwMode="gray">
            <a:xfrm>
              <a:off x="1771393" y="4123148"/>
              <a:ext cx="16801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91" name="TextBox 90">
            <a:extLst>
              <a:ext uri="{FF2B5EF4-FFF2-40B4-BE49-F238E27FC236}">
                <a16:creationId xmlns:a16="http://schemas.microsoft.com/office/drawing/2014/main" id="{0CAEED15-450C-A004-E28E-C36A6EA238AB}"/>
              </a:ext>
            </a:extLst>
          </p:cNvPr>
          <p:cNvSpPr txBox="1"/>
          <p:nvPr/>
        </p:nvSpPr>
        <p:spPr bwMode="gray">
          <a:xfrm>
            <a:off x="5287324" y="3715171"/>
            <a:ext cx="2000336" cy="600164"/>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a:t>Landfills and incineration most common</a:t>
            </a:r>
          </a:p>
        </p:txBody>
      </p:sp>
      <p:sp>
        <p:nvSpPr>
          <p:cNvPr id="93" name="TextBox 92">
            <a:extLst>
              <a:ext uri="{FF2B5EF4-FFF2-40B4-BE49-F238E27FC236}">
                <a16:creationId xmlns:a16="http://schemas.microsoft.com/office/drawing/2014/main" id="{AEC08E10-A3B2-0FAF-3FB2-654F94341D1A}"/>
              </a:ext>
            </a:extLst>
          </p:cNvPr>
          <p:cNvSpPr txBox="1"/>
          <p:nvPr/>
        </p:nvSpPr>
        <p:spPr bwMode="gray">
          <a:xfrm>
            <a:off x="7099190" y="3715171"/>
            <a:ext cx="2000336" cy="76174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a:t>Landfills and reuse in other materials (concrete or wallboard)</a:t>
            </a:r>
          </a:p>
        </p:txBody>
      </p:sp>
      <p:sp>
        <p:nvSpPr>
          <p:cNvPr id="12" name="Oval 11">
            <a:extLst>
              <a:ext uri="{FF2B5EF4-FFF2-40B4-BE49-F238E27FC236}">
                <a16:creationId xmlns:a16="http://schemas.microsoft.com/office/drawing/2014/main" id="{81417926-E333-4952-79EF-9C6E17F8D568}"/>
              </a:ext>
            </a:extLst>
          </p:cNvPr>
          <p:cNvSpPr/>
          <p:nvPr/>
        </p:nvSpPr>
        <p:spPr bwMode="gray">
          <a:xfrm>
            <a:off x="6096609" y="5789670"/>
            <a:ext cx="246585" cy="245551"/>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white"/>
                </a:solidFill>
                <a:effectLst/>
                <a:uLnTx/>
                <a:uFillTx/>
                <a:latin typeface="Arial (body)"/>
              </a:rPr>
              <a:t>H</a:t>
            </a:r>
          </a:p>
        </p:txBody>
      </p:sp>
      <p:sp>
        <p:nvSpPr>
          <p:cNvPr id="20" name="Oval 19">
            <a:extLst>
              <a:ext uri="{FF2B5EF4-FFF2-40B4-BE49-F238E27FC236}">
                <a16:creationId xmlns:a16="http://schemas.microsoft.com/office/drawing/2014/main" id="{E3DCB9C2-9B08-29E9-069A-3C733AD55C22}"/>
              </a:ext>
            </a:extLst>
          </p:cNvPr>
          <p:cNvSpPr/>
          <p:nvPr/>
        </p:nvSpPr>
        <p:spPr bwMode="gray">
          <a:xfrm>
            <a:off x="7913520" y="5789670"/>
            <a:ext cx="246585" cy="245551"/>
          </a:xfrm>
          <a:prstGeom prst="ellipse">
            <a:avLst/>
          </a:prstGeom>
          <a:solidFill>
            <a:srgbClr val="EE352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white"/>
                </a:solidFill>
                <a:effectLst/>
                <a:uLnTx/>
                <a:uFillTx/>
                <a:latin typeface="Arial (body)"/>
              </a:rPr>
              <a:t>L </a:t>
            </a:r>
          </a:p>
        </p:txBody>
      </p:sp>
      <p:sp>
        <p:nvSpPr>
          <p:cNvPr id="21" name="Oval 20">
            <a:extLst>
              <a:ext uri="{FF2B5EF4-FFF2-40B4-BE49-F238E27FC236}">
                <a16:creationId xmlns:a16="http://schemas.microsoft.com/office/drawing/2014/main" id="{8608CE12-6694-D5AC-B2E5-884E659AF03C}"/>
              </a:ext>
            </a:extLst>
          </p:cNvPr>
          <p:cNvSpPr/>
          <p:nvPr/>
        </p:nvSpPr>
        <p:spPr bwMode="gray">
          <a:xfrm>
            <a:off x="2235230" y="5252852"/>
            <a:ext cx="246585" cy="245551"/>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white"/>
                </a:solidFill>
                <a:effectLst/>
                <a:uLnTx/>
                <a:uFillTx/>
                <a:latin typeface="Arial (body)"/>
              </a:rPr>
              <a:t>L </a:t>
            </a:r>
          </a:p>
        </p:txBody>
      </p:sp>
      <p:sp>
        <p:nvSpPr>
          <p:cNvPr id="17" name="Oval 16">
            <a:extLst>
              <a:ext uri="{FF2B5EF4-FFF2-40B4-BE49-F238E27FC236}">
                <a16:creationId xmlns:a16="http://schemas.microsoft.com/office/drawing/2014/main" id="{24134980-FE91-BDDF-4073-C457B1446FC6}"/>
              </a:ext>
            </a:extLst>
          </p:cNvPr>
          <p:cNvSpPr/>
          <p:nvPr/>
        </p:nvSpPr>
        <p:spPr bwMode="gray">
          <a:xfrm>
            <a:off x="2395008" y="5789670"/>
            <a:ext cx="267826" cy="245551"/>
          </a:xfrm>
          <a:prstGeom prst="ellipse">
            <a:avLst/>
          </a:prstGeom>
          <a:solidFill>
            <a:srgbClr val="FCCC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black"/>
                </a:solidFill>
                <a:effectLst/>
                <a:uLnTx/>
                <a:uFillTx/>
                <a:latin typeface="Arial (body)"/>
              </a:rPr>
              <a:t>M</a:t>
            </a:r>
          </a:p>
        </p:txBody>
      </p:sp>
      <p:sp>
        <p:nvSpPr>
          <p:cNvPr id="23" name="TextBox 22">
            <a:extLst>
              <a:ext uri="{FF2B5EF4-FFF2-40B4-BE49-F238E27FC236}">
                <a16:creationId xmlns:a16="http://schemas.microsoft.com/office/drawing/2014/main" id="{78F7F23D-5D94-D8BA-91A0-4E75AF24E890}"/>
              </a:ext>
            </a:extLst>
          </p:cNvPr>
          <p:cNvSpPr txBox="1"/>
          <p:nvPr/>
        </p:nvSpPr>
        <p:spPr bwMode="gray">
          <a:xfrm>
            <a:off x="2606627" y="5603383"/>
            <a:ext cx="718457" cy="438582"/>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b="1"/>
              <a:t>**</a:t>
            </a:r>
          </a:p>
        </p:txBody>
      </p:sp>
      <p:sp>
        <p:nvSpPr>
          <p:cNvPr id="24" name="Oval 23">
            <a:extLst>
              <a:ext uri="{FF2B5EF4-FFF2-40B4-BE49-F238E27FC236}">
                <a16:creationId xmlns:a16="http://schemas.microsoft.com/office/drawing/2014/main" id="{CA2DE977-C115-CF04-B771-650B110D74E4}"/>
              </a:ext>
            </a:extLst>
          </p:cNvPr>
          <p:cNvSpPr/>
          <p:nvPr/>
        </p:nvSpPr>
        <p:spPr bwMode="gray">
          <a:xfrm>
            <a:off x="4261377" y="5789670"/>
            <a:ext cx="267826" cy="245551"/>
          </a:xfrm>
          <a:prstGeom prst="ellipse">
            <a:avLst/>
          </a:prstGeom>
          <a:solidFill>
            <a:srgbClr val="FCCC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black"/>
                </a:solidFill>
                <a:effectLst/>
                <a:uLnTx/>
                <a:uFillTx/>
                <a:latin typeface="Arial (body)"/>
              </a:rPr>
              <a:t>M</a:t>
            </a:r>
          </a:p>
        </p:txBody>
      </p:sp>
      <p:sp>
        <p:nvSpPr>
          <p:cNvPr id="25" name="TextBox 24">
            <a:extLst>
              <a:ext uri="{FF2B5EF4-FFF2-40B4-BE49-F238E27FC236}">
                <a16:creationId xmlns:a16="http://schemas.microsoft.com/office/drawing/2014/main" id="{B27BCF0E-4B61-0160-0EDB-9012DD76E867}"/>
              </a:ext>
            </a:extLst>
          </p:cNvPr>
          <p:cNvSpPr txBox="1"/>
          <p:nvPr/>
        </p:nvSpPr>
        <p:spPr bwMode="gray">
          <a:xfrm>
            <a:off x="4459387" y="5625439"/>
            <a:ext cx="718457" cy="438582"/>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50" b="1"/>
              <a:t>**</a:t>
            </a:r>
          </a:p>
        </p:txBody>
      </p:sp>
      <p:sp>
        <p:nvSpPr>
          <p:cNvPr id="8" name="TextBox 7">
            <a:extLst>
              <a:ext uri="{FF2B5EF4-FFF2-40B4-BE49-F238E27FC236}">
                <a16:creationId xmlns:a16="http://schemas.microsoft.com/office/drawing/2014/main" id="{600D5FC1-0D8D-DB0B-D43A-AD63D9363631}"/>
              </a:ext>
            </a:extLst>
          </p:cNvPr>
          <p:cNvSpPr txBox="1"/>
          <p:nvPr/>
        </p:nvSpPr>
        <p:spPr bwMode="gray">
          <a:xfrm>
            <a:off x="1597" y="0"/>
            <a:ext cx="2926080" cy="382208"/>
          </a:xfrm>
          <a:prstGeom prst="rect">
            <a:avLst/>
          </a:prstGeom>
          <a:solidFill>
            <a:schemeClr val="bg2">
              <a:lumMod val="75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200" b="1">
                <a:solidFill>
                  <a:schemeClr val="bg1"/>
                </a:solidFill>
              </a:rPr>
              <a:t>Appendix: Deployment</a:t>
            </a:r>
          </a:p>
        </p:txBody>
      </p:sp>
    </p:spTree>
    <p:extLst>
      <p:ext uri="{BB962C8B-B14F-4D97-AF65-F5344CB8AC3E}">
        <p14:creationId xmlns:p14="http://schemas.microsoft.com/office/powerpoint/2010/main" val="46041053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9470C1-D599-670E-5EAA-7B7EB58992B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6D51581-199E-77D7-F76D-62B89A53485D}"/>
              </a:ext>
            </a:extLst>
          </p:cNvPr>
          <p:cNvGraphicFramePr>
            <a:graphicFrameLocks noChangeAspect="1"/>
          </p:cNvGraphicFramePr>
          <p:nvPr>
            <p:custDataLst>
              <p:tags r:id="rId1"/>
            </p:custDataLst>
            <p:extLst>
              <p:ext uri="{D42A27DB-BD31-4B8C-83A1-F6EECF244321}">
                <p14:modId xmlns:p14="http://schemas.microsoft.com/office/powerpoint/2010/main" val="24786191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1" imgW="7772400" imgH="10058400" progId="TCLayout.ActiveDocument.1">
                  <p:embed/>
                </p:oleObj>
              </mc:Choice>
              <mc:Fallback>
                <p:oleObj name="think-cell Slide" r:id="rId71" imgW="7772400" imgH="10058400" progId="TCLayout.ActiveDocument.1">
                  <p:embed/>
                  <p:pic>
                    <p:nvPicPr>
                      <p:cNvPr id="4" name="think-cell data - do not delete" hidden="1">
                        <a:extLst>
                          <a:ext uri="{FF2B5EF4-FFF2-40B4-BE49-F238E27FC236}">
                            <a16:creationId xmlns:a16="http://schemas.microsoft.com/office/drawing/2014/main" id="{26D51581-199E-77D7-F76D-62B89A53485D}"/>
                          </a:ext>
                        </a:extLst>
                      </p:cNvPr>
                      <p:cNvPicPr/>
                      <p:nvPr/>
                    </p:nvPicPr>
                    <p:blipFill>
                      <a:blip r:embed="rId72"/>
                      <a:stretch>
                        <a:fillRect/>
                      </a:stretch>
                    </p:blipFill>
                    <p:spPr>
                      <a:xfrm>
                        <a:off x="1588" y="1588"/>
                        <a:ext cx="1227" cy="1588"/>
                      </a:xfrm>
                      <a:prstGeom prst="rect">
                        <a:avLst/>
                      </a:prstGeom>
                    </p:spPr>
                  </p:pic>
                </p:oleObj>
              </mc:Fallback>
            </mc:AlternateContent>
          </a:graphicData>
        </a:graphic>
      </p:graphicFrame>
      <p:sp>
        <p:nvSpPr>
          <p:cNvPr id="498" name="TextBox 497">
            <a:extLst>
              <a:ext uri="{FF2B5EF4-FFF2-40B4-BE49-F238E27FC236}">
                <a16:creationId xmlns:a16="http://schemas.microsoft.com/office/drawing/2014/main" id="{234F06C7-0290-4B68-87AC-C76599DAC5D5}"/>
              </a:ext>
            </a:extLst>
          </p:cNvPr>
          <p:cNvSpPr txBox="1"/>
          <p:nvPr/>
        </p:nvSpPr>
        <p:spPr bwMode="gray">
          <a:xfrm>
            <a:off x="2974883" y="1604820"/>
            <a:ext cx="2361081" cy="382588"/>
          </a:xfrm>
          <a:prstGeom prst="rect">
            <a:avLst/>
          </a:prstGeom>
          <a:solidFill>
            <a:schemeClr val="accent1">
              <a:lumMod val="60000"/>
              <a:lumOff val="40000"/>
            </a:schemeClr>
          </a:solidFill>
          <a:ln w="6350">
            <a:noFill/>
            <a:prstDash val="solid"/>
          </a:ln>
        </p:spPr>
        <p:txBody>
          <a:bodyPr wrap="square" lIns="91440" tIns="91440" rIns="91440" bIns="91440" rtlCol="0" anchor="ctr">
            <a:noAutofit/>
          </a:bodyPr>
          <a:lstStyle/>
          <a:p>
            <a:r>
              <a:rPr lang="en-US" sz="1200" b="1"/>
              <a:t>Plant construction (special)</a:t>
            </a:r>
            <a:endParaRPr lang="en-US" sz="1200"/>
          </a:p>
        </p:txBody>
      </p:sp>
      <p:sp>
        <p:nvSpPr>
          <p:cNvPr id="499" name="TextBox 498">
            <a:extLst>
              <a:ext uri="{FF2B5EF4-FFF2-40B4-BE49-F238E27FC236}">
                <a16:creationId xmlns:a16="http://schemas.microsoft.com/office/drawing/2014/main" id="{5B8F8873-3A5E-B958-BECD-32F18488DCB5}"/>
              </a:ext>
            </a:extLst>
          </p:cNvPr>
          <p:cNvSpPr txBox="1"/>
          <p:nvPr/>
        </p:nvSpPr>
        <p:spPr bwMode="gray">
          <a:xfrm>
            <a:off x="5625865" y="1604820"/>
            <a:ext cx="2361081" cy="382588"/>
          </a:xfrm>
          <a:prstGeom prst="rect">
            <a:avLst/>
          </a:prstGeom>
          <a:solidFill>
            <a:schemeClr val="accent1">
              <a:lumMod val="50000"/>
            </a:schemeClr>
          </a:solidFill>
          <a:ln w="6350">
            <a:noFill/>
            <a:prstDash val="solid"/>
          </a:ln>
        </p:spPr>
        <p:txBody>
          <a:bodyPr wrap="square" lIns="91440" tIns="91440" rIns="91440" bIns="91440" rtlCol="0" anchor="ctr">
            <a:noAutofit/>
          </a:bodyPr>
          <a:lstStyle/>
          <a:p>
            <a:r>
              <a:rPr lang="en-US" sz="1200" b="1">
                <a:solidFill>
                  <a:srgbClr val="FFFFFF"/>
                </a:solidFill>
              </a:rPr>
              <a:t>Plant operations</a:t>
            </a:r>
            <a:endParaRPr lang="en-US" sz="1200">
              <a:solidFill>
                <a:srgbClr val="FFFFFF"/>
              </a:solidFill>
            </a:endParaRPr>
          </a:p>
        </p:txBody>
      </p:sp>
      <p:sp>
        <p:nvSpPr>
          <p:cNvPr id="2" name="Title 1">
            <a:extLst>
              <a:ext uri="{FF2B5EF4-FFF2-40B4-BE49-F238E27FC236}">
                <a16:creationId xmlns:a16="http://schemas.microsoft.com/office/drawing/2014/main" id="{F1A7ACD7-5EEA-2488-5F5D-A74842A6EDCD}"/>
              </a:ext>
            </a:extLst>
          </p:cNvPr>
          <p:cNvSpPr>
            <a:spLocks noGrp="1"/>
          </p:cNvSpPr>
          <p:nvPr>
            <p:ph type="title"/>
          </p:nvPr>
        </p:nvSpPr>
        <p:spPr/>
        <p:txBody>
          <a:bodyPr vert="horz">
            <a:noAutofit/>
          </a:bodyPr>
          <a:lstStyle/>
          <a:p>
            <a:r>
              <a:rPr lang="en-US" b="1"/>
              <a:t>Nuclear power operations are highly dependent on strategic elements such as lithium-7, uranium, zirconium, and indium</a:t>
            </a:r>
            <a:endParaRPr lang="en-US"/>
          </a:p>
        </p:txBody>
      </p:sp>
      <p:sp>
        <p:nvSpPr>
          <p:cNvPr id="409" name="TextBox 408">
            <a:extLst>
              <a:ext uri="{FF2B5EF4-FFF2-40B4-BE49-F238E27FC236}">
                <a16:creationId xmlns:a16="http://schemas.microsoft.com/office/drawing/2014/main" id="{987C96C6-77B0-0762-6B9C-F0ED8455E003}"/>
              </a:ext>
            </a:extLst>
          </p:cNvPr>
          <p:cNvSpPr txBox="1"/>
          <p:nvPr/>
        </p:nvSpPr>
        <p:spPr>
          <a:xfrm>
            <a:off x="8329845" y="1554480"/>
            <a:ext cx="3563931" cy="4355038"/>
          </a:xfrm>
          <a:prstGeom prst="rect">
            <a:avLst/>
          </a:prstGeom>
          <a:solidFill>
            <a:srgbClr val="E3E9EE"/>
          </a:solidFill>
        </p:spPr>
        <p:txBody>
          <a:bodyPr wrap="square" rtlCol="0">
            <a:spAutoFit/>
          </a:bodyPr>
          <a:lstStyle/>
          <a:p>
            <a:r>
              <a:rPr lang="en-US" sz="1250" b="1"/>
              <a:t>Observations</a:t>
            </a:r>
          </a:p>
          <a:p>
            <a:endParaRPr lang="en-US" sz="1250" b="1"/>
          </a:p>
          <a:p>
            <a:r>
              <a:rPr lang="en-US" sz="1050" b="1">
                <a:latin typeface="Arial" panose="020B0604020202020204" pitchFamily="34" charset="0"/>
                <a:cs typeface="Arial" panose="020B0604020202020204" pitchFamily="34" charset="0"/>
              </a:rPr>
              <a:t>Concrete</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Safety considerations are the main factor determining the amount of concrete needed in a nuclear plant.</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After safety incidents and the 9/11 attacks, the regulations for nuclear plants were tightened and concrete requirements nearly doubled since the 1960s.</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In Gen IV reactors, the concrete requirement has decreased fivefold due to smarter design.</a:t>
            </a:r>
          </a:p>
          <a:p>
            <a:endParaRPr lang="en-US" sz="1050">
              <a:latin typeface="Arial" panose="020B0604020202020204" pitchFamily="34" charset="0"/>
              <a:cs typeface="Arial" panose="020B0604020202020204" pitchFamily="34" charset="0"/>
            </a:endParaRPr>
          </a:p>
          <a:p>
            <a:r>
              <a:rPr lang="en-US" sz="1050" b="1">
                <a:latin typeface="Arial" panose="020B0604020202020204" pitchFamily="34" charset="0"/>
                <a:cs typeface="Arial" panose="020B0604020202020204" pitchFamily="34" charset="0"/>
              </a:rPr>
              <a:t>Zirconium</a:t>
            </a:r>
            <a:endParaRPr lang="en-US" sz="105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Zirconium is used in fuel cladding to encase uranium fuel pellets in reactors.</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Low neutron absorption allows efficient reactions; it is highly corrosion-resistant.</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Zirconium must be purified to remove hafnium, which absorbs neutrons.</a:t>
            </a:r>
          </a:p>
          <a:p>
            <a:endParaRPr lang="en-US" sz="1050">
              <a:latin typeface="Arial" panose="020B0604020202020204" pitchFamily="34" charset="0"/>
              <a:cs typeface="Arial" panose="020B0604020202020204" pitchFamily="34" charset="0"/>
            </a:endParaRPr>
          </a:p>
          <a:p>
            <a:r>
              <a:rPr lang="en-US" sz="1050" b="1">
                <a:latin typeface="Arial" panose="020B0604020202020204" pitchFamily="34" charset="0"/>
                <a:cs typeface="Arial" panose="020B0604020202020204" pitchFamily="34" charset="0"/>
              </a:rPr>
              <a:t>Uranium (recoverable)</a:t>
            </a:r>
            <a:endParaRPr lang="en-US" sz="105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It is a primary fuel source in nuclear reactors, with uranium-235 undergoing fission to generate energy.</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Uranium is typically processed into uranium dioxide (UO₂) pellets and encased in zirconium fuel rods.</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It has a heavily fluctuating price.</a:t>
            </a:r>
          </a:p>
        </p:txBody>
      </p:sp>
      <p:sp>
        <p:nvSpPr>
          <p:cNvPr id="6" name="btfpNotesBox361175">
            <a:extLst>
              <a:ext uri="{FF2B5EF4-FFF2-40B4-BE49-F238E27FC236}">
                <a16:creationId xmlns:a16="http://schemas.microsoft.com/office/drawing/2014/main" id="{EBF446BC-563C-79A7-E8DC-3E280C33CE57}"/>
              </a:ext>
            </a:extLst>
          </p:cNvPr>
          <p:cNvSpPr txBox="1"/>
          <p:nvPr>
            <p:custDataLst>
              <p:tags r:id="rId2"/>
            </p:custDataLst>
          </p:nvPr>
        </p:nvSpPr>
        <p:spPr bwMode="gray">
          <a:xfrm>
            <a:off x="330200" y="6309360"/>
            <a:ext cx="9199283" cy="492443"/>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DoE, </a:t>
            </a:r>
            <a:r>
              <a:rPr lang="en-US" sz="800" dirty="0">
                <a:solidFill>
                  <a:srgbClr val="000000"/>
                </a:solidFill>
                <a:hlinkClick r:id="rId73"/>
              </a:rPr>
              <a:t>Nuclear Energy Supply Chain Deep Dive Assess</a:t>
            </a:r>
            <a:r>
              <a:rPr lang="en-US" sz="800" dirty="0">
                <a:solidFill>
                  <a:srgbClr val="000000"/>
                </a:solidFill>
              </a:rPr>
              <a:t> (2022); Ashby, </a:t>
            </a:r>
            <a:r>
              <a:rPr lang="en-US" sz="800" dirty="0">
                <a:solidFill>
                  <a:srgbClr val="000000"/>
                </a:solidFill>
                <a:hlinkClick r:id="rId74"/>
              </a:rPr>
              <a:t>Materials and the Environment Ch. 12</a:t>
            </a:r>
            <a:r>
              <a:rPr lang="en-US" sz="800" dirty="0">
                <a:solidFill>
                  <a:srgbClr val="000000"/>
                </a:solidFill>
              </a:rPr>
              <a:t> (2013); WNA, </a:t>
            </a:r>
            <a:r>
              <a:rPr lang="en-US" sz="800" dirty="0">
                <a:solidFill>
                  <a:srgbClr val="000000"/>
                </a:solidFill>
                <a:hlinkClick r:id="rId75"/>
              </a:rPr>
              <a:t>Advanced Nuclear Power Reactors</a:t>
            </a:r>
            <a:r>
              <a:rPr lang="en-US" sz="800" dirty="0">
                <a:solidFill>
                  <a:srgbClr val="000000"/>
                </a:solidFill>
              </a:rPr>
              <a:t> (2021); Peterson </a:t>
            </a:r>
            <a:r>
              <a:rPr lang="en-US" sz="800" i="1" dirty="0">
                <a:solidFill>
                  <a:srgbClr val="000000"/>
                </a:solidFill>
              </a:rPr>
              <a:t>et al</a:t>
            </a:r>
            <a:r>
              <a:rPr lang="en-US" sz="800" dirty="0">
                <a:solidFill>
                  <a:srgbClr val="000000"/>
                </a:solidFill>
              </a:rPr>
              <a:t>., </a:t>
            </a:r>
            <a:r>
              <a:rPr lang="en-US" sz="800" dirty="0">
                <a:solidFill>
                  <a:srgbClr val="000000"/>
                </a:solidFill>
                <a:hlinkClick r:id="rId76"/>
              </a:rPr>
              <a:t>Metal And Concrete Inputs For Several Nuclear Power Plants</a:t>
            </a:r>
            <a:r>
              <a:rPr lang="en-US" sz="800" dirty="0">
                <a:solidFill>
                  <a:srgbClr val="000000"/>
                </a:solidFill>
              </a:rPr>
              <a:t> (2005).</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7"/>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8"/>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cxnSp>
        <p:nvCxnSpPr>
          <p:cNvPr id="49" name="Straight Connector 48">
            <a:extLst>
              <a:ext uri="{FF2B5EF4-FFF2-40B4-BE49-F238E27FC236}">
                <a16:creationId xmlns:a16="http://schemas.microsoft.com/office/drawing/2014/main" id="{3A691279-B93C-1113-976D-3A5E2A3FAF77}"/>
              </a:ext>
            </a:extLst>
          </p:cNvPr>
          <p:cNvCxnSpPr>
            <a:cxnSpLocks/>
          </p:cNvCxnSpPr>
          <p:nvPr/>
        </p:nvCxnSpPr>
        <p:spPr bwMode="gray">
          <a:xfrm>
            <a:off x="2827338" y="1547216"/>
            <a:ext cx="0" cy="408548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E35272A-C10E-6A41-F233-CE4D888BACCB}"/>
              </a:ext>
            </a:extLst>
          </p:cNvPr>
          <p:cNvCxnSpPr>
            <a:cxnSpLocks/>
          </p:cNvCxnSpPr>
          <p:nvPr/>
        </p:nvCxnSpPr>
        <p:spPr bwMode="gray">
          <a:xfrm>
            <a:off x="5451475" y="1547216"/>
            <a:ext cx="0" cy="408548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513" name="Chart 512">
            <a:extLst>
              <a:ext uri="{FF2B5EF4-FFF2-40B4-BE49-F238E27FC236}">
                <a16:creationId xmlns:a16="http://schemas.microsoft.com/office/drawing/2014/main" id="{625F3210-1E8E-0BFA-0F92-6CA2E43C952E}"/>
              </a:ext>
            </a:extLst>
          </p:cNvPr>
          <p:cNvGraphicFramePr/>
          <p:nvPr>
            <p:custDataLst>
              <p:tags r:id="rId3"/>
            </p:custDataLst>
            <p:extLst>
              <p:ext uri="{D42A27DB-BD31-4B8C-83A1-F6EECF244321}">
                <p14:modId xmlns:p14="http://schemas.microsoft.com/office/powerpoint/2010/main" val="2660664922"/>
              </p:ext>
            </p:extLst>
          </p:nvPr>
        </p:nvGraphicFramePr>
        <p:xfrm>
          <a:off x="309563" y="2508250"/>
          <a:ext cx="1793875" cy="3390900"/>
        </p:xfrm>
        <a:graphic>
          <a:graphicData uri="http://schemas.openxmlformats.org/drawingml/2006/chart">
            <c:chart xmlns:c="http://schemas.openxmlformats.org/drawingml/2006/chart" xmlns:r="http://schemas.openxmlformats.org/officeDocument/2006/relationships" r:id="rId79"/>
          </a:graphicData>
        </a:graphic>
      </p:graphicFrame>
      <p:sp useBgFill="1">
        <p:nvSpPr>
          <p:cNvPr id="339" name="Freeform: Shape 338">
            <a:extLst>
              <a:ext uri="{FF2B5EF4-FFF2-40B4-BE49-F238E27FC236}">
                <a16:creationId xmlns:a16="http://schemas.microsoft.com/office/drawing/2014/main" id="{43ADC38D-4524-1FD7-BB8C-A4453D30AE79}"/>
              </a:ext>
            </a:extLst>
          </p:cNvPr>
          <p:cNvSpPr/>
          <p:nvPr>
            <p:custDataLst>
              <p:tags r:id="rId4"/>
            </p:custDataLst>
          </p:nvPr>
        </p:nvSpPr>
        <p:spPr bwMode="auto">
          <a:xfrm>
            <a:off x="881063" y="5214938"/>
            <a:ext cx="652463" cy="233363"/>
          </a:xfrm>
          <a:custGeom>
            <a:avLst/>
            <a:gdLst/>
            <a:ahLst/>
            <a:cxnLst/>
            <a:rect l="0" t="0" r="0" b="0"/>
            <a:pathLst>
              <a:path w="652464" h="233363">
                <a:moveTo>
                  <a:pt x="0" y="176212"/>
                </a:moveTo>
                <a:lnTo>
                  <a:pt x="652463" y="0"/>
                </a:lnTo>
                <a:lnTo>
                  <a:pt x="652463" y="57150"/>
                </a:lnTo>
                <a:lnTo>
                  <a:pt x="0" y="2333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useBgFill="1">
        <p:nvSpPr>
          <p:cNvPr id="342" name="Freeform: Shape 341">
            <a:extLst>
              <a:ext uri="{FF2B5EF4-FFF2-40B4-BE49-F238E27FC236}">
                <a16:creationId xmlns:a16="http://schemas.microsoft.com/office/drawing/2014/main" id="{9A12F7A7-0802-6A30-2A9D-E1994BF4F707}"/>
              </a:ext>
            </a:extLst>
          </p:cNvPr>
          <p:cNvSpPr/>
          <p:nvPr>
            <p:custDataLst>
              <p:tags r:id="rId5"/>
            </p:custDataLst>
          </p:nvPr>
        </p:nvSpPr>
        <p:spPr bwMode="auto">
          <a:xfrm>
            <a:off x="881063" y="4557713"/>
            <a:ext cx="652463" cy="233363"/>
          </a:xfrm>
          <a:custGeom>
            <a:avLst/>
            <a:gdLst/>
            <a:ahLst/>
            <a:cxnLst/>
            <a:rect l="0" t="0" r="0" b="0"/>
            <a:pathLst>
              <a:path w="652464" h="233364">
                <a:moveTo>
                  <a:pt x="0" y="176213"/>
                </a:moveTo>
                <a:lnTo>
                  <a:pt x="652463" y="0"/>
                </a:lnTo>
                <a:lnTo>
                  <a:pt x="652463" y="57150"/>
                </a:lnTo>
                <a:lnTo>
                  <a:pt x="0" y="2333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7" name="Freeform: Shape 336">
            <a:extLst>
              <a:ext uri="{FF2B5EF4-FFF2-40B4-BE49-F238E27FC236}">
                <a16:creationId xmlns:a16="http://schemas.microsoft.com/office/drawing/2014/main" id="{E8444085-92DF-0D1D-7D83-126EB333970A}"/>
              </a:ext>
            </a:extLst>
          </p:cNvPr>
          <p:cNvSpPr/>
          <p:nvPr>
            <p:custDataLst>
              <p:tags r:id="rId6"/>
            </p:custDataLst>
          </p:nvPr>
        </p:nvSpPr>
        <p:spPr bwMode="auto">
          <a:xfrm>
            <a:off x="881063" y="5214938"/>
            <a:ext cx="652463" cy="176213"/>
          </a:xfrm>
          <a:custGeom>
            <a:avLst/>
            <a:gdLst/>
            <a:ahLst/>
            <a:cxnLst/>
            <a:rect l="0" t="0" r="0" b="0"/>
            <a:pathLst>
              <a:path w="652464" h="176213">
                <a:moveTo>
                  <a:pt x="0" y="176212"/>
                </a:moveTo>
                <a:lnTo>
                  <a:pt x="652463"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8" name="Freeform: Shape 337">
            <a:extLst>
              <a:ext uri="{FF2B5EF4-FFF2-40B4-BE49-F238E27FC236}">
                <a16:creationId xmlns:a16="http://schemas.microsoft.com/office/drawing/2014/main" id="{5C4BC546-149E-DEDC-B179-930F8564EEDC}"/>
              </a:ext>
            </a:extLst>
          </p:cNvPr>
          <p:cNvSpPr/>
          <p:nvPr>
            <p:custDataLst>
              <p:tags r:id="rId7"/>
            </p:custDataLst>
          </p:nvPr>
        </p:nvSpPr>
        <p:spPr bwMode="auto">
          <a:xfrm>
            <a:off x="881063" y="5272088"/>
            <a:ext cx="652463" cy="176213"/>
          </a:xfrm>
          <a:custGeom>
            <a:avLst/>
            <a:gdLst/>
            <a:ahLst/>
            <a:cxnLst/>
            <a:rect l="0" t="0" r="0" b="0"/>
            <a:pathLst>
              <a:path w="652464" h="176213">
                <a:moveTo>
                  <a:pt x="0" y="176212"/>
                </a:moveTo>
                <a:lnTo>
                  <a:pt x="652463"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0" name="Freeform: Shape 339">
            <a:extLst>
              <a:ext uri="{FF2B5EF4-FFF2-40B4-BE49-F238E27FC236}">
                <a16:creationId xmlns:a16="http://schemas.microsoft.com/office/drawing/2014/main" id="{3C0F04E8-0C04-A8C6-9B8C-C5191DE25EEC}"/>
              </a:ext>
            </a:extLst>
          </p:cNvPr>
          <p:cNvSpPr/>
          <p:nvPr>
            <p:custDataLst>
              <p:tags r:id="rId8"/>
            </p:custDataLst>
          </p:nvPr>
        </p:nvSpPr>
        <p:spPr bwMode="auto">
          <a:xfrm>
            <a:off x="881063" y="4557713"/>
            <a:ext cx="652463" cy="176213"/>
          </a:xfrm>
          <a:custGeom>
            <a:avLst/>
            <a:gdLst/>
            <a:ahLst/>
            <a:cxnLst/>
            <a:rect l="0" t="0" r="0" b="0"/>
            <a:pathLst>
              <a:path w="652464" h="176214">
                <a:moveTo>
                  <a:pt x="0" y="176213"/>
                </a:moveTo>
                <a:lnTo>
                  <a:pt x="652463"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1" name="Freeform: Shape 340">
            <a:extLst>
              <a:ext uri="{FF2B5EF4-FFF2-40B4-BE49-F238E27FC236}">
                <a16:creationId xmlns:a16="http://schemas.microsoft.com/office/drawing/2014/main" id="{F36BBDE1-D0A0-3801-8889-326018A8389D}"/>
              </a:ext>
            </a:extLst>
          </p:cNvPr>
          <p:cNvSpPr/>
          <p:nvPr>
            <p:custDataLst>
              <p:tags r:id="rId9"/>
            </p:custDataLst>
          </p:nvPr>
        </p:nvSpPr>
        <p:spPr bwMode="auto">
          <a:xfrm>
            <a:off x="881063" y="4614863"/>
            <a:ext cx="652463" cy="176213"/>
          </a:xfrm>
          <a:custGeom>
            <a:avLst/>
            <a:gdLst/>
            <a:ahLst/>
            <a:cxnLst/>
            <a:rect l="0" t="0" r="0" b="0"/>
            <a:pathLst>
              <a:path w="652464" h="176214">
                <a:moveTo>
                  <a:pt x="0" y="176213"/>
                </a:moveTo>
                <a:lnTo>
                  <a:pt x="652463"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6" name="Straight Connector 245">
            <a:extLst>
              <a:ext uri="{FF2B5EF4-FFF2-40B4-BE49-F238E27FC236}">
                <a16:creationId xmlns:a16="http://schemas.microsoft.com/office/drawing/2014/main" id="{2030C20F-AB2A-71D3-9E6C-87C92599F3AF}"/>
              </a:ext>
            </a:extLst>
          </p:cNvPr>
          <p:cNvCxnSpPr>
            <a:cxnSpLocks/>
          </p:cNvCxnSpPr>
          <p:nvPr>
            <p:custDataLst>
              <p:tags r:id="rId10"/>
            </p:custDataLst>
          </p:nvPr>
        </p:nvCxnSpPr>
        <p:spPr bwMode="auto">
          <a:xfrm flipH="1" flipV="1">
            <a:off x="1522413" y="3502026"/>
            <a:ext cx="61913" cy="2968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0B1FD335-E864-B38A-F03D-85C63991FA86}"/>
              </a:ext>
            </a:extLst>
          </p:cNvPr>
          <p:cNvCxnSpPr>
            <a:cxnSpLocks/>
          </p:cNvCxnSpPr>
          <p:nvPr>
            <p:custDataLst>
              <p:tags r:id="rId11"/>
            </p:custDataLst>
          </p:nvPr>
        </p:nvCxnSpPr>
        <p:spPr bwMode="auto">
          <a:xfrm flipH="1" flipV="1">
            <a:off x="1522413" y="3287714"/>
            <a:ext cx="61913" cy="2778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8BEDA3D-28D4-683C-EE4B-EA2FD76EABD6}"/>
              </a:ext>
            </a:extLst>
          </p:cNvPr>
          <p:cNvCxnSpPr>
            <a:cxnSpLocks/>
          </p:cNvCxnSpPr>
          <p:nvPr>
            <p:custDataLst>
              <p:tags r:id="rId12"/>
            </p:custDataLst>
          </p:nvPr>
        </p:nvCxnSpPr>
        <p:spPr bwMode="auto">
          <a:xfrm flipH="1" flipV="1">
            <a:off x="1522413" y="3109913"/>
            <a:ext cx="61913" cy="2222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CFBEA7EE-7C23-F34D-4357-9B996ECBEE6C}"/>
              </a:ext>
            </a:extLst>
          </p:cNvPr>
          <p:cNvCxnSpPr>
            <a:cxnSpLocks/>
          </p:cNvCxnSpPr>
          <p:nvPr>
            <p:custDataLst>
              <p:tags r:id="rId13"/>
            </p:custDataLst>
          </p:nvPr>
        </p:nvCxnSpPr>
        <p:spPr bwMode="auto">
          <a:xfrm flipH="1" flipV="1">
            <a:off x="1522413" y="2954338"/>
            <a:ext cx="61913" cy="1444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04"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995363" y="5421313"/>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CBCBB38-8704-4E8E-81E5-D3D8B8D44926}" type="datetime'''''37''''''''''0''''.''''''0'''''''">
              <a:rPr lang="en-US" altLang="en-US" sz="1200" smtClean="0">
                <a:solidFill>
                  <a:schemeClr val="bg1"/>
                </a:solidFill>
              </a:rPr>
              <a:pPr marL="0" lvl="0" indent="0" algn="ctr">
                <a:spcBef>
                  <a:spcPct val="0"/>
                </a:spcBef>
                <a:spcAft>
                  <a:spcPct val="0"/>
                </a:spcAft>
                <a:buNone/>
              </a:pPr>
              <a:t>370.0</a:t>
            </a:fld>
            <a:endParaRPr lang="en-US" sz="1200">
              <a:solidFill>
                <a:schemeClr val="bg1"/>
              </a:solidFill>
            </a:endParaRPr>
          </a:p>
        </p:txBody>
      </p:sp>
      <p:sp>
        <p:nvSpPr>
          <p:cNvPr id="195"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939800" y="2738438"/>
            <a:ext cx="255588"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AED4D0F-88EB-4680-AFBD-EBC64634650D}" type="datetime'''''''''''0''''''''''''''''''''''''''.''''''''''''''8'''''">
              <a:rPr lang="en-US" altLang="en-US" sz="1200" smtClean="0">
                <a:solidFill>
                  <a:schemeClr val="bg1"/>
                </a:solidFill>
                <a:effectLst/>
              </a:rPr>
              <a:pPr marL="0" lvl="0" indent="0" algn="ctr">
                <a:spcBef>
                  <a:spcPct val="0"/>
                </a:spcBef>
                <a:spcAft>
                  <a:spcPct val="0"/>
                </a:spcAft>
                <a:buNone/>
              </a:pPr>
              <a:t>0.8</a:t>
            </a:fld>
            <a:endParaRPr lang="en-US" sz="1200">
              <a:solidFill>
                <a:schemeClr val="bg1"/>
              </a:solidFill>
            </a:endParaRPr>
          </a:p>
        </p:txBody>
      </p:sp>
      <p:sp>
        <p:nvSpPr>
          <p:cNvPr id="197"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1000125" y="2555875"/>
            <a:ext cx="412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F54B4AC-4266-4BD7-83C9-1C63520E2245}" type="datetime'''41''''''''''''''''''''1''.''''''''''''''3'''">
              <a:rPr lang="en-US" altLang="en-US" sz="1200" smtClean="0"/>
              <a:pPr marL="0" lvl="0" indent="0" algn="ctr">
                <a:spcBef>
                  <a:spcPct val="0"/>
                </a:spcBef>
                <a:spcAft>
                  <a:spcPct val="0"/>
                </a:spcAft>
                <a:buNone/>
              </a:pPr>
              <a:t>411.3</a:t>
            </a:fld>
            <a:endParaRPr lang="en-US" sz="1200"/>
          </a:p>
        </p:txBody>
      </p:sp>
      <p:sp>
        <p:nvSpPr>
          <p:cNvPr id="225"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1609725" y="5240338"/>
            <a:ext cx="6159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7E1BCD-4BF2-4F67-890E-869563843A15}" type="datetime'''C''''''''''''''''''''''''o''n''''c''''ret''e'''''">
              <a:rPr lang="en-US" altLang="en-US" sz="1200" smtClean="0"/>
              <a:pPr marL="0" lvl="0" indent="0">
                <a:spcBef>
                  <a:spcPct val="0"/>
                </a:spcBef>
                <a:spcAft>
                  <a:spcPct val="0"/>
                </a:spcAft>
                <a:buNone/>
              </a:pPr>
              <a:t>Concrete</a:t>
            </a:fld>
            <a:endParaRPr lang="en-US" sz="1200"/>
          </a:p>
        </p:txBody>
      </p:sp>
      <p:sp>
        <p:nvSpPr>
          <p:cNvPr id="227"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1609725" y="4583113"/>
            <a:ext cx="860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09F7B42-D43C-4079-A17A-DCEECACDCCA3}" type="datetime'Ca''''''''''''''''rb''''on'' ''s''''''t''e''e''''''l'''''''">
              <a:rPr lang="en-US" altLang="en-US" sz="1200" smtClean="0"/>
              <a:pPr marL="0" lvl="0" indent="0">
                <a:spcBef>
                  <a:spcPct val="0"/>
                </a:spcBef>
                <a:spcAft>
                  <a:spcPct val="0"/>
                </a:spcAft>
                <a:buNone/>
              </a:pPr>
              <a:t>Carbon steel</a:t>
            </a:fld>
            <a:endParaRPr lang="en-US" sz="1200"/>
          </a:p>
        </p:txBody>
      </p:sp>
      <p:sp>
        <p:nvSpPr>
          <p:cNvPr id="228"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1609725" y="3941763"/>
            <a:ext cx="393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C05197-2F70-4286-8B42-275E77D4E94B}" type="datetime'''W''''''''o''''''''''''''''o''''''''''d'''''''''''''">
              <a:rPr lang="en-US" altLang="en-US" sz="1200" smtClean="0"/>
              <a:pPr marL="0" lvl="0" indent="0">
                <a:spcBef>
                  <a:spcPct val="0"/>
                </a:spcBef>
                <a:spcAft>
                  <a:spcPct val="0"/>
                </a:spcAft>
                <a:buNone/>
              </a:pPr>
              <a:t>Wood</a:t>
            </a:fld>
            <a:endParaRPr lang="en-US" sz="1200"/>
          </a:p>
        </p:txBody>
      </p:sp>
      <p:sp>
        <p:nvSpPr>
          <p:cNvPr id="22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1609725" y="3708400"/>
            <a:ext cx="9794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1CE8245-2A59-4BF2-BC25-88EF2BA292D1}" type="datetime'S''''ta''''''in''''''''''''''''''''less ste''''''''el'''''''''">
              <a:rPr lang="en-US" altLang="en-US" sz="1200" smtClean="0"/>
              <a:pPr marL="0" lvl="0" indent="0">
                <a:spcBef>
                  <a:spcPct val="0"/>
                </a:spcBef>
                <a:spcAft>
                  <a:spcPct val="0"/>
                </a:spcAft>
                <a:buNone/>
              </a:pPr>
              <a:t>Stainless steel</a:t>
            </a:fld>
            <a:endParaRPr lang="en-US" sz="1200"/>
          </a:p>
        </p:txBody>
      </p:sp>
      <p:sp>
        <p:nvSpPr>
          <p:cNvPr id="23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1609725" y="3475038"/>
            <a:ext cx="4968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D5C22DD-243F-4481-9596-A27D3A1BF7A3}" type="datetime'''''''''C''o''''''''''''''''''p''''p''''''''''e''''r'''''''">
              <a:rPr lang="en-US" altLang="en-US" sz="1200" smtClean="0"/>
              <a:pPr marL="0" lvl="0" indent="0">
                <a:spcBef>
                  <a:spcPct val="0"/>
                </a:spcBef>
                <a:spcAft>
                  <a:spcPct val="0"/>
                </a:spcAft>
                <a:buNone/>
              </a:pPr>
              <a:t>Copper</a:t>
            </a:fld>
            <a:endParaRPr lang="en-US" sz="1200"/>
          </a:p>
        </p:txBody>
      </p:sp>
      <p:sp>
        <p:nvSpPr>
          <p:cNvPr id="23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1609725" y="3241675"/>
            <a:ext cx="1054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2A813F7-3774-48C6-B4D4-83A8DEB8EE45}" type="datetime'''G''''''a''''lv''''a''n''''''''''''''i''ze''d ''ir''o''n'''">
              <a:rPr lang="en-US" altLang="en-US" sz="1200" smtClean="0"/>
              <a:pPr marL="0" lvl="0" indent="0">
                <a:spcBef>
                  <a:spcPct val="0"/>
                </a:spcBef>
                <a:spcAft>
                  <a:spcPct val="0"/>
                </a:spcAft>
                <a:buNone/>
              </a:pPr>
              <a:t>Galvanized iron</a:t>
            </a:fld>
            <a:endParaRPr lang="en-US" sz="1200"/>
          </a:p>
        </p:txBody>
      </p:sp>
      <p:sp>
        <p:nvSpPr>
          <p:cNvPr id="23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1609725" y="3008313"/>
            <a:ext cx="3127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BB6513F-8800-4A12-8134-DFB389D4C09D}" type="datetime'''''P''''''''''''''''''V''''''''''''C'''''">
              <a:rPr lang="en-US" altLang="en-US" sz="1200" smtClean="0"/>
              <a:pPr marL="0" lvl="0" indent="0">
                <a:spcBef>
                  <a:spcPct val="0"/>
                </a:spcBef>
                <a:spcAft>
                  <a:spcPct val="0"/>
                </a:spcAft>
                <a:buNone/>
              </a:pPr>
              <a:t>PVC</a:t>
            </a:fld>
            <a:endParaRPr lang="en-US" sz="1200"/>
          </a:p>
        </p:txBody>
      </p:sp>
      <p:sp>
        <p:nvSpPr>
          <p:cNvPr id="233"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1609725" y="2774950"/>
            <a:ext cx="649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DD2556E-C35E-4583-B9A0-944171CF9DAA}" type="datetime'I''''''''n''''''''s''ul''''at''''i''''''''''''o''''''n'">
              <a:rPr lang="en-US" altLang="en-US" sz="1200" smtClean="0"/>
              <a:pPr marL="0" lvl="0" indent="0">
                <a:spcBef>
                  <a:spcPct val="0"/>
                </a:spcBef>
                <a:spcAft>
                  <a:spcPct val="0"/>
                </a:spcAft>
                <a:buNone/>
              </a:pPr>
              <a:t>Insulation</a:t>
            </a:fld>
            <a:endParaRPr lang="en-US" sz="1200"/>
          </a:p>
        </p:txBody>
      </p:sp>
      <p:sp>
        <p:nvSpPr>
          <p:cNvPr id="323"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1036638" y="4371975"/>
            <a:ext cx="339725"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4FF338-B10B-40FB-8209-850BE453F539}" type="datetime'''3''''''''''''''''''''''''''''''''''0.0'''''''''''''">
              <a:rPr lang="en-US" altLang="en-US" sz="1200" smtClean="0">
                <a:solidFill>
                  <a:schemeClr val="bg1"/>
                </a:solidFill>
                <a:effectLst/>
              </a:rPr>
              <a:pPr marL="0" lvl="0" indent="0" algn="ctr">
                <a:spcBef>
                  <a:spcPct val="0"/>
                </a:spcBef>
                <a:spcAft>
                  <a:spcPct val="0"/>
                </a:spcAft>
                <a:buNone/>
              </a:pPr>
              <a:t>30.0</a:t>
            </a:fld>
            <a:endParaRPr lang="en-US" sz="1200">
              <a:solidFill>
                <a:schemeClr val="bg1"/>
              </a:solidFill>
            </a:endParaRPr>
          </a:p>
        </p:txBody>
      </p:sp>
      <p:sp>
        <p:nvSpPr>
          <p:cNvPr id="500"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1220788" y="2863850"/>
            <a:ext cx="255588"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2AE2E94-9AB4-4E69-92C0-CA86A9C3F812}" type="datetime'''''''1''''''''''''.''''''''''''''''''''''''''''''''''''0'''">
              <a:rPr lang="en-US" altLang="en-US" sz="1200" smtClean="0">
                <a:solidFill>
                  <a:schemeClr val="bg1"/>
                </a:solidFill>
                <a:effectLst/>
              </a:rPr>
              <a:pPr marL="0" lvl="0" indent="0" algn="ctr">
                <a:spcBef>
                  <a:spcPct val="0"/>
                </a:spcBef>
                <a:spcAft>
                  <a:spcPct val="0"/>
                </a:spcAft>
                <a:buNone/>
              </a:pPr>
              <a:t>1.0</a:t>
            </a:fld>
            <a:endParaRPr lang="en-US" sz="1200">
              <a:solidFill>
                <a:schemeClr val="bg1"/>
              </a:solidFill>
            </a:endParaRPr>
          </a:p>
        </p:txBody>
      </p:sp>
      <p:sp>
        <p:nvSpPr>
          <p:cNvPr id="224" name="btfpColumnHeaderBoxText223027">
            <a:extLst>
              <a:ext uri="{FF2B5EF4-FFF2-40B4-BE49-F238E27FC236}">
                <a16:creationId xmlns:a16="http://schemas.microsoft.com/office/drawing/2014/main" id="{B052D29B-310C-C061-BF1E-CD6C56ACF138}"/>
              </a:ext>
            </a:extLst>
          </p:cNvPr>
          <p:cNvSpPr txBox="1"/>
          <p:nvPr/>
        </p:nvSpPr>
        <p:spPr bwMode="gray">
          <a:xfrm>
            <a:off x="407194" y="2059496"/>
            <a:ext cx="2024063" cy="257442"/>
          </a:xfrm>
          <a:prstGeom prst="rect">
            <a:avLst/>
          </a:prstGeom>
          <a:noFill/>
        </p:spPr>
        <p:txBody>
          <a:bodyPr vert="horz" wrap="square" lIns="36036" tIns="36036" rIns="36036" bIns="36036" rtlCol="0" anchor="b">
            <a:spAutoFit/>
          </a:bodyPr>
          <a:lstStyle/>
          <a:p>
            <a:r>
              <a:rPr lang="en-US" sz="1200"/>
              <a:t>Material intensity (kg/kW)</a:t>
            </a:r>
          </a:p>
        </p:txBody>
      </p:sp>
      <p:graphicFrame>
        <p:nvGraphicFramePr>
          <p:cNvPr id="526" name="Chart 525">
            <a:extLst>
              <a:ext uri="{FF2B5EF4-FFF2-40B4-BE49-F238E27FC236}">
                <a16:creationId xmlns:a16="http://schemas.microsoft.com/office/drawing/2014/main" id="{BCDE9157-A7B1-ECF9-7589-8586CB958DC0}"/>
              </a:ext>
            </a:extLst>
          </p:cNvPr>
          <p:cNvGraphicFramePr/>
          <p:nvPr>
            <p:custDataLst>
              <p:tags r:id="rId27"/>
            </p:custDataLst>
            <p:extLst>
              <p:ext uri="{D42A27DB-BD31-4B8C-83A1-F6EECF244321}">
                <p14:modId xmlns:p14="http://schemas.microsoft.com/office/powerpoint/2010/main" val="231714262"/>
              </p:ext>
            </p:extLst>
          </p:nvPr>
        </p:nvGraphicFramePr>
        <p:xfrm>
          <a:off x="2913063" y="2692400"/>
          <a:ext cx="1173162" cy="3022600"/>
        </p:xfrm>
        <a:graphic>
          <a:graphicData uri="http://schemas.openxmlformats.org/drawingml/2006/chart">
            <c:chart xmlns:c="http://schemas.openxmlformats.org/drawingml/2006/chart" xmlns:r="http://schemas.openxmlformats.org/officeDocument/2006/relationships" r:id="rId80"/>
          </a:graphicData>
        </a:graphic>
      </p:graphicFrame>
      <p:cxnSp>
        <p:nvCxnSpPr>
          <p:cNvPr id="517" name="Straight Connector 516">
            <a:extLst>
              <a:ext uri="{FF2B5EF4-FFF2-40B4-BE49-F238E27FC236}">
                <a16:creationId xmlns:a16="http://schemas.microsoft.com/office/drawing/2014/main" id="{1199A0E7-EF3C-07BB-F968-7B64D99A2D89}"/>
              </a:ext>
            </a:extLst>
          </p:cNvPr>
          <p:cNvCxnSpPr/>
          <p:nvPr>
            <p:custDataLst>
              <p:tags r:id="rId28"/>
            </p:custDataLst>
          </p:nvPr>
        </p:nvCxnSpPr>
        <p:spPr bwMode="auto">
          <a:xfrm flipH="1" flipV="1">
            <a:off x="3814763" y="2957513"/>
            <a:ext cx="61912" cy="141287"/>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01BD591B-3341-1AE9-5F44-1D88DFA61CE6}"/>
              </a:ext>
            </a:extLst>
          </p:cNvPr>
          <p:cNvCxnSpPr/>
          <p:nvPr>
            <p:custDataLst>
              <p:tags r:id="rId29"/>
            </p:custDataLst>
          </p:nvPr>
        </p:nvCxnSpPr>
        <p:spPr bwMode="auto">
          <a:xfrm flipH="1" flipV="1">
            <a:off x="3814763" y="2814638"/>
            <a:ext cx="61912" cy="508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4" name="Straight Connector 523">
            <a:extLst>
              <a:ext uri="{FF2B5EF4-FFF2-40B4-BE49-F238E27FC236}">
                <a16:creationId xmlns:a16="http://schemas.microsoft.com/office/drawing/2014/main" id="{0B643E09-F6F2-B32E-F86A-6ADD3B829DCF}"/>
              </a:ext>
            </a:extLst>
          </p:cNvPr>
          <p:cNvCxnSpPr/>
          <p:nvPr>
            <p:custDataLst>
              <p:tags r:id="rId30"/>
            </p:custDataLst>
          </p:nvPr>
        </p:nvCxnSpPr>
        <p:spPr bwMode="auto">
          <a:xfrm flipH="1" flipV="1">
            <a:off x="3814763" y="3170238"/>
            <a:ext cx="61912" cy="161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67" name="Text Placeholder 10">
            <a:extLst>
              <a:ext uri="{FF2B5EF4-FFF2-40B4-BE49-F238E27FC236}">
                <a16:creationId xmlns:a16="http://schemas.microsoft.com/office/drawing/2014/main" id="{26383BFB-3FC9-E39A-0C1A-D3658800081E}"/>
              </a:ext>
            </a:extLst>
          </p:cNvPr>
          <p:cNvSpPr>
            <a:spLocks noGrp="1"/>
          </p:cNvSpPr>
          <p:nvPr>
            <p:custDataLst>
              <p:tags r:id="rId31"/>
            </p:custDataLst>
          </p:nvPr>
        </p:nvSpPr>
        <p:spPr bwMode="auto">
          <a:xfrm>
            <a:off x="3902075" y="5024438"/>
            <a:ext cx="7921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27B3940-AFB7-4881-BD84-475A860D8867}" type="datetime'''''''''Ma''''''''''''''ng''''''''a''''''n''''''''es''''''e'''">
              <a:rPr lang="en-US" altLang="en-US" sz="1200" smtClean="0"/>
              <a:pPr marL="0" lvl="0" indent="0">
                <a:spcBef>
                  <a:spcPct val="0"/>
                </a:spcBef>
                <a:spcAft>
                  <a:spcPct val="0"/>
                </a:spcAft>
                <a:buNone/>
              </a:pPr>
              <a:t>Manganese</a:t>
            </a:fld>
            <a:endParaRPr lang="en-US" sz="1200"/>
          </a:p>
        </p:txBody>
      </p:sp>
      <p:sp>
        <p:nvSpPr>
          <p:cNvPr id="368" name="Text Placeholder 10">
            <a:extLst>
              <a:ext uri="{FF2B5EF4-FFF2-40B4-BE49-F238E27FC236}">
                <a16:creationId xmlns:a16="http://schemas.microsoft.com/office/drawing/2014/main" id="{5DF10908-7EC1-AB4F-92D9-878E0A1D9C86}"/>
              </a:ext>
            </a:extLst>
          </p:cNvPr>
          <p:cNvSpPr>
            <a:spLocks noGrp="1"/>
          </p:cNvSpPr>
          <p:nvPr>
            <p:custDataLst>
              <p:tags r:id="rId32"/>
            </p:custDataLst>
          </p:nvPr>
        </p:nvSpPr>
        <p:spPr bwMode="auto">
          <a:xfrm>
            <a:off x="3902075" y="3494088"/>
            <a:ext cx="412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DDF437F-CDCF-4B5D-BB92-C5B25F6F8CD3}" type="datetime'''''''N''i''''c''''''''''k''''''''''''e''''''''''''''''''l'">
              <a:rPr lang="en-US" altLang="en-US" sz="1200" smtClean="0"/>
              <a:pPr marL="0" lvl="0" indent="0">
                <a:spcBef>
                  <a:spcPct val="0"/>
                </a:spcBef>
                <a:spcAft>
                  <a:spcPct val="0"/>
                </a:spcAft>
                <a:buNone/>
              </a:pPr>
              <a:t>Nickel</a:t>
            </a:fld>
            <a:endParaRPr lang="en-US" sz="1200"/>
          </a:p>
        </p:txBody>
      </p:sp>
      <p:sp>
        <p:nvSpPr>
          <p:cNvPr id="369" name="Text Placeholder 10">
            <a:extLst>
              <a:ext uri="{FF2B5EF4-FFF2-40B4-BE49-F238E27FC236}">
                <a16:creationId xmlns:a16="http://schemas.microsoft.com/office/drawing/2014/main" id="{A500D4D3-9BCB-A125-1C2D-C36E766B56FD}"/>
              </a:ext>
            </a:extLst>
          </p:cNvPr>
          <p:cNvSpPr>
            <a:spLocks noGrp="1"/>
          </p:cNvSpPr>
          <p:nvPr>
            <p:custDataLst>
              <p:tags r:id="rId33"/>
            </p:custDataLst>
          </p:nvPr>
        </p:nvSpPr>
        <p:spPr bwMode="auto">
          <a:xfrm>
            <a:off x="3902075" y="3241675"/>
            <a:ext cx="4889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F8EC20D-665D-4376-AA90-431CD6240E3C}" type="datetime'''''''''''I''n''''''''''''''''c''''''''''''''o''n''el'">
              <a:rPr lang="en-US" altLang="en-US" sz="1200" smtClean="0"/>
              <a:pPr marL="0" lvl="0" indent="0">
                <a:spcBef>
                  <a:spcPct val="0"/>
                </a:spcBef>
                <a:spcAft>
                  <a:spcPct val="0"/>
                </a:spcAft>
                <a:buNone/>
              </a:pPr>
              <a:t>Inconel</a:t>
            </a:fld>
            <a:endParaRPr lang="en-US" sz="1200"/>
          </a:p>
        </p:txBody>
      </p:sp>
      <p:sp>
        <p:nvSpPr>
          <p:cNvPr id="366" name="Text Placeholder 10">
            <a:extLst>
              <a:ext uri="{FF2B5EF4-FFF2-40B4-BE49-F238E27FC236}">
                <a16:creationId xmlns:a16="http://schemas.microsoft.com/office/drawing/2014/main" id="{433682E2-D9D9-0B3C-C89C-A622904AA292}"/>
              </a:ext>
            </a:extLst>
          </p:cNvPr>
          <p:cNvSpPr>
            <a:spLocks noGrp="1"/>
          </p:cNvSpPr>
          <p:nvPr>
            <p:custDataLst>
              <p:tags r:id="rId34"/>
            </p:custDataLst>
          </p:nvPr>
        </p:nvSpPr>
        <p:spPr bwMode="gray">
          <a:xfrm>
            <a:off x="3287713" y="2541588"/>
            <a:ext cx="423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73125DD-CF93-4EFF-B704-CD1A687B82F8}" type="datetime'''''''1'''',''''''''''''''''''''''''''''''4''1''''''0'''''">
              <a:rPr lang="en-US" altLang="en-US" sz="1200" smtClean="0"/>
              <a:pPr marL="0" lvl="0" indent="0" algn="ctr">
                <a:spcBef>
                  <a:spcPct val="0"/>
                </a:spcBef>
                <a:spcAft>
                  <a:spcPct val="0"/>
                </a:spcAft>
                <a:buNone/>
              </a:pPr>
              <a:t>1,410</a:t>
            </a:fld>
            <a:endParaRPr lang="en-US" sz="1200"/>
          </a:p>
        </p:txBody>
      </p:sp>
      <p:sp>
        <p:nvSpPr>
          <p:cNvPr id="425"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3351213" y="5024438"/>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987882E-1225-4535-B1DF-92D6499EC2C3}" type="datetime'''''5''''''''''1''''0'''''''''''''''''''''''''''''''''''''''">
              <a:rPr lang="en-US" altLang="en-US" sz="1200" smtClean="0">
                <a:solidFill>
                  <a:schemeClr val="bg1"/>
                </a:solidFill>
              </a:rPr>
              <a:pPr marL="0" lvl="0" indent="0" algn="ctr">
                <a:spcBef>
                  <a:spcPct val="0"/>
                </a:spcBef>
                <a:spcAft>
                  <a:spcPct val="0"/>
                </a:spcAft>
                <a:buNone/>
              </a:pPr>
              <a:t>510</a:t>
            </a:fld>
            <a:endParaRPr lang="en-US" sz="1200">
              <a:solidFill>
                <a:schemeClr val="bg1"/>
              </a:solidFill>
            </a:endParaRPr>
          </a:p>
        </p:txBody>
      </p:sp>
      <p:sp>
        <p:nvSpPr>
          <p:cNvPr id="426"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gray">
          <a:xfrm>
            <a:off x="3351213" y="3494088"/>
            <a:ext cx="296863"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E0FED03-BEB2-4582-8AC2-86E496C1524D}" type="datetime'''3''''''''''''''''0''''''''''''''''''''''''''''''''''0'''">
              <a:rPr lang="en-US" altLang="en-US" sz="1200" smtClean="0">
                <a:solidFill>
                  <a:schemeClr val="bg1"/>
                </a:solidFill>
                <a:effectLst/>
              </a:rPr>
              <a:pPr marL="0" lvl="0" indent="0" algn="ctr">
                <a:spcBef>
                  <a:spcPct val="0"/>
                </a:spcBef>
                <a:spcAft>
                  <a:spcPct val="0"/>
                </a:spcAft>
                <a:buNone/>
              </a:pPr>
              <a:t>300</a:t>
            </a:fld>
            <a:endParaRPr lang="en-US" sz="1200">
              <a:solidFill>
                <a:schemeClr val="bg1"/>
              </a:solidFill>
            </a:endParaRPr>
          </a:p>
        </p:txBody>
      </p:sp>
      <p:sp>
        <p:nvSpPr>
          <p:cNvPr id="431"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gray">
          <a:xfrm>
            <a:off x="3355975" y="3079750"/>
            <a:ext cx="285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50BC1F8-4270-48BE-886A-348E726E67F1}" type="datetime'''''''''''''''''''''''11''''0'''''''''''''''''''''''">
              <a:rPr lang="en-US" altLang="en-US" sz="1200" smtClean="0">
                <a:solidFill>
                  <a:schemeClr val="bg1"/>
                </a:solidFill>
              </a:rPr>
              <a:pPr marL="0" lvl="0" indent="0" algn="ctr">
                <a:spcBef>
                  <a:spcPct val="0"/>
                </a:spcBef>
                <a:spcAft>
                  <a:spcPct val="0"/>
                </a:spcAft>
                <a:buNone/>
              </a:pPr>
              <a:t>110</a:t>
            </a:fld>
            <a:endParaRPr lang="en-US" sz="1200">
              <a:solidFill>
                <a:schemeClr val="bg1"/>
              </a:solidFill>
            </a:endParaRPr>
          </a:p>
        </p:txBody>
      </p:sp>
      <p:sp>
        <p:nvSpPr>
          <p:cNvPr id="505" name="Text Placeholder 10">
            <a:extLst>
              <a:ext uri="{FF2B5EF4-FFF2-40B4-BE49-F238E27FC236}">
                <a16:creationId xmlns:a16="http://schemas.microsoft.com/office/drawing/2014/main" id="{4BBD9824-8E3C-AC69-0AC5-AACB74A3B50A}"/>
              </a:ext>
            </a:extLst>
          </p:cNvPr>
          <p:cNvSpPr>
            <a:spLocks noGrp="1"/>
          </p:cNvSpPr>
          <p:nvPr>
            <p:custDataLst>
              <p:tags r:id="rId38"/>
            </p:custDataLst>
          </p:nvPr>
        </p:nvSpPr>
        <p:spPr bwMode="auto">
          <a:xfrm>
            <a:off x="3902075" y="3008313"/>
            <a:ext cx="674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9861F3A-9CBC-4456-9058-5896BCE8514B}" type="datetime'''''''''''''''''''A''''''''''''''l''''''um''''''in''''u''''m'">
              <a:rPr lang="en-US" altLang="en-US" sz="1200" smtClean="0"/>
              <a:pPr marL="0" lvl="0" indent="0">
                <a:spcBef>
                  <a:spcPct val="0"/>
                </a:spcBef>
                <a:spcAft>
                  <a:spcPct val="0"/>
                </a:spcAft>
                <a:buNone/>
              </a:pPr>
              <a:t>Aluminum</a:t>
            </a:fld>
            <a:endParaRPr lang="en-US" sz="1200"/>
          </a:p>
        </p:txBody>
      </p:sp>
      <p:sp>
        <p:nvSpPr>
          <p:cNvPr id="507" name="Text Placeholder 10">
            <a:extLst>
              <a:ext uri="{FF2B5EF4-FFF2-40B4-BE49-F238E27FC236}">
                <a16:creationId xmlns:a16="http://schemas.microsoft.com/office/drawing/2014/main" id="{000B5D02-3F13-E52B-28BC-1E9FCE2FC710}"/>
              </a:ext>
            </a:extLst>
          </p:cNvPr>
          <p:cNvSpPr>
            <a:spLocks noGrp="1"/>
          </p:cNvSpPr>
          <p:nvPr>
            <p:custDataLst>
              <p:tags r:id="rId39"/>
            </p:custDataLst>
          </p:nvPr>
        </p:nvSpPr>
        <p:spPr bwMode="gray">
          <a:xfrm>
            <a:off x="3211513" y="2867025"/>
            <a:ext cx="296863" cy="182563"/>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C70DDEF-5F3F-4A4D-82DE-9CA2183FE937}" type="datetime'''''''''1''''0''0'''''''''''''''''''''''''''">
              <a:rPr lang="en-US" altLang="en-US" sz="1200" smtClean="0">
                <a:solidFill>
                  <a:schemeClr val="bg1"/>
                </a:solidFill>
                <a:effectLst/>
              </a:rPr>
              <a:pPr marL="0" lvl="0" indent="0" algn="ctr">
                <a:spcBef>
                  <a:spcPct val="0"/>
                </a:spcBef>
                <a:spcAft>
                  <a:spcPct val="0"/>
                </a:spcAft>
                <a:buNone/>
              </a:pPr>
              <a:t>100</a:t>
            </a:fld>
            <a:endParaRPr lang="en-US" sz="1200">
              <a:solidFill>
                <a:schemeClr val="bg1"/>
              </a:solidFill>
            </a:endParaRPr>
          </a:p>
        </p:txBody>
      </p:sp>
      <p:sp>
        <p:nvSpPr>
          <p:cNvPr id="514" name="Text Placeholder 10">
            <a:extLst>
              <a:ext uri="{FF2B5EF4-FFF2-40B4-BE49-F238E27FC236}">
                <a16:creationId xmlns:a16="http://schemas.microsoft.com/office/drawing/2014/main" id="{36622806-4E56-B569-0A26-33E90D2707A6}"/>
              </a:ext>
            </a:extLst>
          </p:cNvPr>
          <p:cNvSpPr>
            <a:spLocks noGrp="1"/>
          </p:cNvSpPr>
          <p:nvPr>
            <p:custDataLst>
              <p:tags r:id="rId40"/>
            </p:custDataLst>
          </p:nvPr>
        </p:nvSpPr>
        <p:spPr bwMode="auto">
          <a:xfrm>
            <a:off x="3902075" y="2774950"/>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46B4C5A-3622-4F50-B349-D57197BC4DBD}" type="datetime'''''''''''L''e''''''''a''d'''''''''''''''''''">
              <a:rPr lang="en-US" altLang="en-US" sz="1200" smtClean="0"/>
              <a:pPr marL="0" lvl="0" indent="0">
                <a:spcBef>
                  <a:spcPct val="0"/>
                </a:spcBef>
                <a:spcAft>
                  <a:spcPct val="0"/>
                </a:spcAft>
                <a:buNone/>
              </a:pPr>
              <a:t>Lead</a:t>
            </a:fld>
            <a:endParaRPr lang="en-US" sz="1200"/>
          </a:p>
        </p:txBody>
      </p:sp>
      <p:sp>
        <p:nvSpPr>
          <p:cNvPr id="515" name="Text Placeholder 10">
            <a:extLst>
              <a:ext uri="{FF2B5EF4-FFF2-40B4-BE49-F238E27FC236}">
                <a16:creationId xmlns:a16="http://schemas.microsoft.com/office/drawing/2014/main" id="{F7E4FBE5-89D1-3619-A4F7-C44F91846747}"/>
              </a:ext>
            </a:extLst>
          </p:cNvPr>
          <p:cNvSpPr>
            <a:spLocks noGrp="1"/>
          </p:cNvSpPr>
          <p:nvPr>
            <p:custDataLst>
              <p:tags r:id="rId41"/>
            </p:custDataLst>
          </p:nvPr>
        </p:nvSpPr>
        <p:spPr bwMode="gray">
          <a:xfrm>
            <a:off x="3533775" y="2724150"/>
            <a:ext cx="212725" cy="182563"/>
          </a:xfrm>
          <a:prstGeom prst="rect">
            <a:avLst/>
          </a:prstGeom>
          <a:solidFill>
            <a:schemeClr val="accent6"/>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21FBC0-352C-4CAD-AE04-82F7D282BDAE}" type="datetime'''4''''''''''''''''''''0'''''''''''''''''''''">
              <a:rPr lang="en-US" altLang="en-US" sz="1200" smtClean="0">
                <a:solidFill>
                  <a:schemeClr val="bg1"/>
                </a:solidFill>
              </a:rPr>
              <a:pPr marL="0" lvl="0" indent="0" algn="ctr">
                <a:spcBef>
                  <a:spcPct val="0"/>
                </a:spcBef>
                <a:spcAft>
                  <a:spcPct val="0"/>
                </a:spcAft>
                <a:buNone/>
              </a:pPr>
              <a:t>40</a:t>
            </a:fld>
            <a:endParaRPr lang="en-US" sz="1200">
              <a:solidFill>
                <a:schemeClr val="bg1"/>
              </a:solidFill>
            </a:endParaRPr>
          </a:p>
        </p:txBody>
      </p:sp>
      <p:sp>
        <p:nvSpPr>
          <p:cNvPr id="521" name="Text Placeholder 10">
            <a:extLst>
              <a:ext uri="{FF2B5EF4-FFF2-40B4-BE49-F238E27FC236}">
                <a16:creationId xmlns:a16="http://schemas.microsoft.com/office/drawing/2014/main" id="{D1B64FC3-D374-F442-87A0-C16BDFF287FE}"/>
              </a:ext>
            </a:extLst>
          </p:cNvPr>
          <p:cNvSpPr>
            <a:spLocks noGrp="1"/>
          </p:cNvSpPr>
          <p:nvPr>
            <p:custDataLst>
              <p:tags r:id="rId42"/>
            </p:custDataLst>
          </p:nvPr>
        </p:nvSpPr>
        <p:spPr bwMode="auto">
          <a:xfrm>
            <a:off x="3902075" y="4152900"/>
            <a:ext cx="700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93C9C59-9DDC-4A1F-B617-8EBAD2E3989B}" type="datetime'''C''h''ro''''''m''''''''''i''''u''''m'''''''''''''''">
              <a:rPr lang="en-US" altLang="en-US" sz="1200" smtClean="0"/>
              <a:pPr marL="0" lvl="0" indent="0">
                <a:spcBef>
                  <a:spcPct val="0"/>
                </a:spcBef>
                <a:spcAft>
                  <a:spcPct val="0"/>
                </a:spcAft>
                <a:buNone/>
              </a:pPr>
              <a:t>Chromium</a:t>
            </a:fld>
            <a:endParaRPr lang="en-US" sz="1200"/>
          </a:p>
        </p:txBody>
      </p:sp>
      <p:sp>
        <p:nvSpPr>
          <p:cNvPr id="522" name="Text Placeholder 10">
            <a:extLst>
              <a:ext uri="{FF2B5EF4-FFF2-40B4-BE49-F238E27FC236}">
                <a16:creationId xmlns:a16="http://schemas.microsoft.com/office/drawing/2014/main" id="{0F79FDB5-A483-BBF7-F7CB-0346DA730682}"/>
              </a:ext>
            </a:extLst>
          </p:cNvPr>
          <p:cNvSpPr>
            <a:spLocks noGrp="1"/>
          </p:cNvSpPr>
          <p:nvPr>
            <p:custDataLst>
              <p:tags r:id="rId43"/>
            </p:custDataLst>
          </p:nvPr>
        </p:nvSpPr>
        <p:spPr bwMode="gray">
          <a:xfrm>
            <a:off x="3351213" y="415290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7644C77-56A3-4F41-A8CB-80C8B524E548}" type="datetime'''''''''3''''''''''''''''''5''''''''''''''''''0'">
              <a:rPr lang="en-US" altLang="en-US" sz="1200" smtClean="0">
                <a:solidFill>
                  <a:schemeClr val="bg1"/>
                </a:solidFill>
              </a:rPr>
              <a:pPr marL="0" lvl="0" indent="0" algn="ctr">
                <a:spcBef>
                  <a:spcPct val="0"/>
                </a:spcBef>
                <a:spcAft>
                  <a:spcPct val="0"/>
                </a:spcAft>
                <a:buNone/>
              </a:pPr>
              <a:t>350</a:t>
            </a:fld>
            <a:endParaRPr lang="en-US" sz="1200">
              <a:solidFill>
                <a:schemeClr val="bg1"/>
              </a:solidFill>
            </a:endParaRPr>
          </a:p>
        </p:txBody>
      </p:sp>
      <p:sp>
        <p:nvSpPr>
          <p:cNvPr id="415" name="btfpColumnHeaderBoxText223027">
            <a:extLst>
              <a:ext uri="{FF2B5EF4-FFF2-40B4-BE49-F238E27FC236}">
                <a16:creationId xmlns:a16="http://schemas.microsoft.com/office/drawing/2014/main" id="{B87521C6-3060-0F93-1020-35734CE94638}"/>
              </a:ext>
            </a:extLst>
          </p:cNvPr>
          <p:cNvSpPr txBox="1"/>
          <p:nvPr/>
        </p:nvSpPr>
        <p:spPr bwMode="gray">
          <a:xfrm>
            <a:off x="2990850" y="2059496"/>
            <a:ext cx="2024063" cy="257442"/>
          </a:xfrm>
          <a:prstGeom prst="rect">
            <a:avLst/>
          </a:prstGeom>
          <a:noFill/>
        </p:spPr>
        <p:txBody>
          <a:bodyPr vert="horz" wrap="square" lIns="36036" tIns="36036" rIns="36036" bIns="36036" rtlCol="0" anchor="b">
            <a:spAutoFit/>
          </a:bodyPr>
          <a:lstStyle/>
          <a:p>
            <a:r>
              <a:rPr lang="en-US" sz="1200"/>
              <a:t>Material intensity (g/kW)</a:t>
            </a:r>
          </a:p>
        </p:txBody>
      </p:sp>
      <p:sp>
        <p:nvSpPr>
          <p:cNvPr id="416" name="btfpColumnHeaderBoxText223027">
            <a:extLst>
              <a:ext uri="{FF2B5EF4-FFF2-40B4-BE49-F238E27FC236}">
                <a16:creationId xmlns:a16="http://schemas.microsoft.com/office/drawing/2014/main" id="{7A0805C4-E536-E78B-56BE-25CF9CFC2AEE}"/>
              </a:ext>
            </a:extLst>
          </p:cNvPr>
          <p:cNvSpPr txBox="1"/>
          <p:nvPr/>
        </p:nvSpPr>
        <p:spPr bwMode="gray">
          <a:xfrm>
            <a:off x="5794375" y="2059496"/>
            <a:ext cx="2024063" cy="257442"/>
          </a:xfrm>
          <a:prstGeom prst="rect">
            <a:avLst/>
          </a:prstGeom>
          <a:noFill/>
        </p:spPr>
        <p:txBody>
          <a:bodyPr vert="horz" wrap="square" lIns="36036" tIns="36036" rIns="36036" bIns="36036" rtlCol="0" anchor="b">
            <a:spAutoFit/>
          </a:bodyPr>
          <a:lstStyle/>
          <a:p>
            <a:r>
              <a:rPr lang="en-US" sz="1200"/>
              <a:t>Material intensity (g/kW)</a:t>
            </a:r>
          </a:p>
        </p:txBody>
      </p:sp>
      <p:graphicFrame>
        <p:nvGraphicFramePr>
          <p:cNvPr id="495" name="Chart 494">
            <a:extLst>
              <a:ext uri="{FF2B5EF4-FFF2-40B4-BE49-F238E27FC236}">
                <a16:creationId xmlns:a16="http://schemas.microsoft.com/office/drawing/2014/main" id="{3223220E-E190-2CC7-C1B9-F79780C9FD1E}"/>
              </a:ext>
            </a:extLst>
          </p:cNvPr>
          <p:cNvGraphicFramePr/>
          <p:nvPr>
            <p:custDataLst>
              <p:tags r:id="rId44"/>
            </p:custDataLst>
            <p:extLst>
              <p:ext uri="{D42A27DB-BD31-4B8C-83A1-F6EECF244321}">
                <p14:modId xmlns:p14="http://schemas.microsoft.com/office/powerpoint/2010/main" val="300574047"/>
              </p:ext>
            </p:extLst>
          </p:nvPr>
        </p:nvGraphicFramePr>
        <p:xfrm>
          <a:off x="5711825" y="2692400"/>
          <a:ext cx="1173163" cy="3022600"/>
        </p:xfrm>
        <a:graphic>
          <a:graphicData uri="http://schemas.openxmlformats.org/drawingml/2006/chart">
            <c:chart xmlns:c="http://schemas.openxmlformats.org/drawingml/2006/chart" xmlns:r="http://schemas.openxmlformats.org/officeDocument/2006/relationships" r:id="rId81"/>
          </a:graphicData>
        </a:graphic>
      </p:graphicFrame>
      <p:sp useBgFill="1">
        <p:nvSpPr>
          <p:cNvPr id="480" name="Freeform: Shape 479">
            <a:extLst>
              <a:ext uri="{FF2B5EF4-FFF2-40B4-BE49-F238E27FC236}">
                <a16:creationId xmlns:a16="http://schemas.microsoft.com/office/drawing/2014/main" id="{C1FD813D-5E44-D1E6-529B-76450F11A908}"/>
              </a:ext>
            </a:extLst>
          </p:cNvPr>
          <p:cNvSpPr/>
          <p:nvPr>
            <p:custDataLst>
              <p:tags r:id="rId45"/>
            </p:custDataLst>
          </p:nvPr>
        </p:nvSpPr>
        <p:spPr bwMode="auto">
          <a:xfrm>
            <a:off x="5972175" y="4951414"/>
            <a:ext cx="652463" cy="233363"/>
          </a:xfrm>
          <a:custGeom>
            <a:avLst/>
            <a:gdLst/>
            <a:ahLst/>
            <a:cxnLst/>
            <a:rect l="0" t="0" r="0" b="0"/>
            <a:pathLst>
              <a:path w="652463" h="233364">
                <a:moveTo>
                  <a:pt x="0" y="176213"/>
                </a:moveTo>
                <a:lnTo>
                  <a:pt x="652462" y="0"/>
                </a:lnTo>
                <a:lnTo>
                  <a:pt x="652462" y="57150"/>
                </a:lnTo>
                <a:lnTo>
                  <a:pt x="0" y="2333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useBgFill="1">
        <p:nvSpPr>
          <p:cNvPr id="484" name="Freeform: Shape 483">
            <a:extLst>
              <a:ext uri="{FF2B5EF4-FFF2-40B4-BE49-F238E27FC236}">
                <a16:creationId xmlns:a16="http://schemas.microsoft.com/office/drawing/2014/main" id="{18686B11-D1DE-3C3A-71A0-993E8F7C7781}"/>
              </a:ext>
            </a:extLst>
          </p:cNvPr>
          <p:cNvSpPr/>
          <p:nvPr>
            <p:custDataLst>
              <p:tags r:id="rId46"/>
            </p:custDataLst>
          </p:nvPr>
        </p:nvSpPr>
        <p:spPr bwMode="auto">
          <a:xfrm>
            <a:off x="5972175" y="4049713"/>
            <a:ext cx="652463" cy="233363"/>
          </a:xfrm>
          <a:custGeom>
            <a:avLst/>
            <a:gdLst/>
            <a:ahLst/>
            <a:cxnLst/>
            <a:rect l="0" t="0" r="0" b="0"/>
            <a:pathLst>
              <a:path w="652463" h="233364">
                <a:moveTo>
                  <a:pt x="0" y="176213"/>
                </a:moveTo>
                <a:lnTo>
                  <a:pt x="652462" y="0"/>
                </a:lnTo>
                <a:lnTo>
                  <a:pt x="652462" y="57150"/>
                </a:lnTo>
                <a:lnTo>
                  <a:pt x="0" y="233363"/>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78" name="Freeform: Shape 477">
            <a:extLst>
              <a:ext uri="{FF2B5EF4-FFF2-40B4-BE49-F238E27FC236}">
                <a16:creationId xmlns:a16="http://schemas.microsoft.com/office/drawing/2014/main" id="{3683C382-72FA-4543-A727-37B8AAA0005F}"/>
              </a:ext>
            </a:extLst>
          </p:cNvPr>
          <p:cNvSpPr/>
          <p:nvPr>
            <p:custDataLst>
              <p:tags r:id="rId47"/>
            </p:custDataLst>
          </p:nvPr>
        </p:nvSpPr>
        <p:spPr bwMode="auto">
          <a:xfrm>
            <a:off x="5972175" y="4951414"/>
            <a:ext cx="652463" cy="176213"/>
          </a:xfrm>
          <a:custGeom>
            <a:avLst/>
            <a:gdLst/>
            <a:ahLst/>
            <a:cxnLst/>
            <a:rect l="0" t="0" r="0" b="0"/>
            <a:pathLst>
              <a:path w="652463" h="176214">
                <a:moveTo>
                  <a:pt x="0" y="176213"/>
                </a:moveTo>
                <a:lnTo>
                  <a:pt x="652462"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9" name="Freeform: Shape 478">
            <a:extLst>
              <a:ext uri="{FF2B5EF4-FFF2-40B4-BE49-F238E27FC236}">
                <a16:creationId xmlns:a16="http://schemas.microsoft.com/office/drawing/2014/main" id="{20C55846-39CB-8327-795E-D3F31CCE5217}"/>
              </a:ext>
            </a:extLst>
          </p:cNvPr>
          <p:cNvSpPr/>
          <p:nvPr>
            <p:custDataLst>
              <p:tags r:id="rId48"/>
            </p:custDataLst>
          </p:nvPr>
        </p:nvSpPr>
        <p:spPr bwMode="auto">
          <a:xfrm>
            <a:off x="5972175" y="5008564"/>
            <a:ext cx="652463" cy="176213"/>
          </a:xfrm>
          <a:custGeom>
            <a:avLst/>
            <a:gdLst/>
            <a:ahLst/>
            <a:cxnLst/>
            <a:rect l="0" t="0" r="0" b="0"/>
            <a:pathLst>
              <a:path w="652463" h="176214">
                <a:moveTo>
                  <a:pt x="0" y="176213"/>
                </a:moveTo>
                <a:lnTo>
                  <a:pt x="652462"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2" name="Freeform: Shape 481">
            <a:extLst>
              <a:ext uri="{FF2B5EF4-FFF2-40B4-BE49-F238E27FC236}">
                <a16:creationId xmlns:a16="http://schemas.microsoft.com/office/drawing/2014/main" id="{11FAF235-3D1E-2267-7BFF-24BFE7D3C890}"/>
              </a:ext>
            </a:extLst>
          </p:cNvPr>
          <p:cNvSpPr/>
          <p:nvPr>
            <p:custDataLst>
              <p:tags r:id="rId49"/>
            </p:custDataLst>
          </p:nvPr>
        </p:nvSpPr>
        <p:spPr bwMode="auto">
          <a:xfrm>
            <a:off x="5972175" y="4049713"/>
            <a:ext cx="652463" cy="176213"/>
          </a:xfrm>
          <a:custGeom>
            <a:avLst/>
            <a:gdLst/>
            <a:ahLst/>
            <a:cxnLst/>
            <a:rect l="0" t="0" r="0" b="0"/>
            <a:pathLst>
              <a:path w="652463" h="176214">
                <a:moveTo>
                  <a:pt x="0" y="176213"/>
                </a:moveTo>
                <a:lnTo>
                  <a:pt x="652462"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3" name="Freeform: Shape 482">
            <a:extLst>
              <a:ext uri="{FF2B5EF4-FFF2-40B4-BE49-F238E27FC236}">
                <a16:creationId xmlns:a16="http://schemas.microsoft.com/office/drawing/2014/main" id="{55AB312C-3B0C-B5B3-153A-16C44CC90904}"/>
              </a:ext>
            </a:extLst>
          </p:cNvPr>
          <p:cNvSpPr/>
          <p:nvPr>
            <p:custDataLst>
              <p:tags r:id="rId50"/>
            </p:custDataLst>
          </p:nvPr>
        </p:nvSpPr>
        <p:spPr bwMode="auto">
          <a:xfrm>
            <a:off x="5972175" y="4106863"/>
            <a:ext cx="652463" cy="176213"/>
          </a:xfrm>
          <a:custGeom>
            <a:avLst/>
            <a:gdLst/>
            <a:ahLst/>
            <a:cxnLst/>
            <a:rect l="0" t="0" r="0" b="0"/>
            <a:pathLst>
              <a:path w="652463" h="176214">
                <a:moveTo>
                  <a:pt x="0" y="176213"/>
                </a:moveTo>
                <a:lnTo>
                  <a:pt x="652462"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89" name="Straight Connector 488">
            <a:extLst>
              <a:ext uri="{FF2B5EF4-FFF2-40B4-BE49-F238E27FC236}">
                <a16:creationId xmlns:a16="http://schemas.microsoft.com/office/drawing/2014/main" id="{D9F63508-14B0-165D-5E3C-A7FAC497EFE0}"/>
              </a:ext>
            </a:extLst>
          </p:cNvPr>
          <p:cNvCxnSpPr/>
          <p:nvPr>
            <p:custDataLst>
              <p:tags r:id="rId51"/>
            </p:custDataLst>
          </p:nvPr>
        </p:nvCxnSpPr>
        <p:spPr bwMode="auto">
          <a:xfrm flipH="1" flipV="1">
            <a:off x="6613525" y="3302000"/>
            <a:ext cx="61913" cy="2635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0" name="Straight Connector 489">
            <a:extLst>
              <a:ext uri="{FF2B5EF4-FFF2-40B4-BE49-F238E27FC236}">
                <a16:creationId xmlns:a16="http://schemas.microsoft.com/office/drawing/2014/main" id="{CDAC2F85-0293-7D5E-75EA-32C6DEC3A201}"/>
              </a:ext>
            </a:extLst>
          </p:cNvPr>
          <p:cNvCxnSpPr/>
          <p:nvPr>
            <p:custDataLst>
              <p:tags r:id="rId52"/>
            </p:custDataLst>
          </p:nvPr>
        </p:nvCxnSpPr>
        <p:spPr bwMode="auto">
          <a:xfrm flipH="1" flipV="1">
            <a:off x="6613525" y="3151188"/>
            <a:ext cx="61913" cy="1809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1" name="Straight Connector 490">
            <a:extLst>
              <a:ext uri="{FF2B5EF4-FFF2-40B4-BE49-F238E27FC236}">
                <a16:creationId xmlns:a16="http://schemas.microsoft.com/office/drawing/2014/main" id="{4914B5E0-26EE-AFEA-1FC1-C0D3FD922038}"/>
              </a:ext>
            </a:extLst>
          </p:cNvPr>
          <p:cNvCxnSpPr/>
          <p:nvPr>
            <p:custDataLst>
              <p:tags r:id="rId53"/>
            </p:custDataLst>
          </p:nvPr>
        </p:nvCxnSpPr>
        <p:spPr bwMode="auto">
          <a:xfrm flipH="1" flipV="1">
            <a:off x="6613525" y="3000375"/>
            <a:ext cx="61913" cy="984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49" name="Text Placeholder 10">
            <a:extLst>
              <a:ext uri="{FF2B5EF4-FFF2-40B4-BE49-F238E27FC236}">
                <a16:creationId xmlns:a16="http://schemas.microsoft.com/office/drawing/2014/main" id="{0881BE21-748F-0082-A1A9-09FBBC76EF99}"/>
              </a:ext>
            </a:extLst>
          </p:cNvPr>
          <p:cNvSpPr>
            <a:spLocks noGrp="1"/>
          </p:cNvSpPr>
          <p:nvPr>
            <p:custDataLst>
              <p:tags r:id="rId54"/>
            </p:custDataLst>
          </p:nvPr>
        </p:nvSpPr>
        <p:spPr bwMode="gray">
          <a:xfrm>
            <a:off x="6149975" y="519112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6F431F7-164F-4F08-B096-76E976CDB49B}" type="datetime'5''''''''0''''''''''''''''''''''''0'''''''''''''''''''''''">
              <a:rPr lang="en-US" altLang="en-US" sz="1200" smtClean="0">
                <a:solidFill>
                  <a:schemeClr val="bg1"/>
                </a:solidFill>
              </a:rPr>
              <a:pPr marL="0" lvl="0" indent="0" algn="ctr">
                <a:spcBef>
                  <a:spcPct val="0"/>
                </a:spcBef>
                <a:spcAft>
                  <a:spcPct val="0"/>
                </a:spcAft>
                <a:buNone/>
              </a:pPr>
              <a:t>500</a:t>
            </a:fld>
            <a:endParaRPr lang="en-US" sz="1200">
              <a:solidFill>
                <a:schemeClr val="bg1"/>
              </a:solidFill>
            </a:endParaRPr>
          </a:p>
        </p:txBody>
      </p:sp>
      <p:sp>
        <p:nvSpPr>
          <p:cNvPr id="450" name="Text Placeholder 10">
            <a:extLst>
              <a:ext uri="{FF2B5EF4-FFF2-40B4-BE49-F238E27FC236}">
                <a16:creationId xmlns:a16="http://schemas.microsoft.com/office/drawing/2014/main" id="{31D3C302-A653-B091-99B2-C9D451457770}"/>
              </a:ext>
            </a:extLst>
          </p:cNvPr>
          <p:cNvSpPr>
            <a:spLocks noGrp="1"/>
          </p:cNvSpPr>
          <p:nvPr>
            <p:custDataLst>
              <p:tags r:id="rId55"/>
            </p:custDataLst>
          </p:nvPr>
        </p:nvSpPr>
        <p:spPr bwMode="gray">
          <a:xfrm>
            <a:off x="6149975" y="4273550"/>
            <a:ext cx="296863"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2CFA91B-9EF0-44D1-829D-A6F9F5D33C31}" type="datetime'''''3''''''''''''''''''0''''''''''''0'''''''''''''''">
              <a:rPr lang="en-US" altLang="en-US" sz="1200" smtClean="0">
                <a:solidFill>
                  <a:schemeClr val="bg1"/>
                </a:solidFill>
                <a:effectLst/>
              </a:rPr>
              <a:pPr marL="0" lvl="0" indent="0" algn="ctr">
                <a:spcBef>
                  <a:spcPct val="0"/>
                </a:spcBef>
                <a:spcAft>
                  <a:spcPct val="0"/>
                </a:spcAft>
                <a:buNone/>
              </a:pPr>
              <a:t>300</a:t>
            </a:fld>
            <a:endParaRPr lang="en-US" sz="1200">
              <a:solidFill>
                <a:schemeClr val="bg1"/>
              </a:solidFill>
            </a:endParaRPr>
          </a:p>
        </p:txBody>
      </p:sp>
      <p:sp>
        <p:nvSpPr>
          <p:cNvPr id="452" name="Text Placeholder 10">
            <a:extLst>
              <a:ext uri="{FF2B5EF4-FFF2-40B4-BE49-F238E27FC236}">
                <a16:creationId xmlns:a16="http://schemas.microsoft.com/office/drawing/2014/main" id="{35C19482-44A1-7D09-840E-0545AF344824}"/>
              </a:ext>
            </a:extLst>
          </p:cNvPr>
          <p:cNvSpPr>
            <a:spLocks noGrp="1"/>
          </p:cNvSpPr>
          <p:nvPr>
            <p:custDataLst>
              <p:tags r:id="rId56"/>
            </p:custDataLst>
          </p:nvPr>
        </p:nvSpPr>
        <p:spPr bwMode="gray">
          <a:xfrm>
            <a:off x="6191250" y="3211513"/>
            <a:ext cx="212725" cy="182563"/>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68E978-2D04-4475-A739-7B86966D7C28}" type="datetime'''1''''''''''''''''''''''''''''''''''0'''''''''''''''''">
              <a:rPr lang="en-US" altLang="en-US" sz="1200" smtClean="0">
                <a:solidFill>
                  <a:schemeClr val="bg1"/>
                </a:solidFill>
              </a:rPr>
              <a:pPr marL="0" lvl="0" indent="0" algn="ctr">
                <a:spcBef>
                  <a:spcPct val="0"/>
                </a:spcBef>
                <a:spcAft>
                  <a:spcPct val="0"/>
                </a:spcAft>
                <a:buNone/>
              </a:pPr>
              <a:t>10</a:t>
            </a:fld>
            <a:endParaRPr lang="en-US" sz="1200">
              <a:solidFill>
                <a:schemeClr val="bg1"/>
              </a:solidFill>
            </a:endParaRPr>
          </a:p>
        </p:txBody>
      </p:sp>
      <p:sp>
        <p:nvSpPr>
          <p:cNvPr id="444" name="Text Placeholder 10">
            <a:extLst>
              <a:ext uri="{FF2B5EF4-FFF2-40B4-BE49-F238E27FC236}">
                <a16:creationId xmlns:a16="http://schemas.microsoft.com/office/drawing/2014/main" id="{72EC92C5-114C-A583-5A9B-1F835C17954C}"/>
              </a:ext>
            </a:extLst>
          </p:cNvPr>
          <p:cNvSpPr>
            <a:spLocks noGrp="1"/>
          </p:cNvSpPr>
          <p:nvPr>
            <p:custDataLst>
              <p:tags r:id="rId57"/>
            </p:custDataLst>
          </p:nvPr>
        </p:nvSpPr>
        <p:spPr bwMode="auto">
          <a:xfrm>
            <a:off x="6700838" y="4976813"/>
            <a:ext cx="573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8A31F83-98AF-434F-AD9E-757D83FB81AB}" type="datetime'U''''''r''''''''''''''''an''''''''ium'''''''''''''''">
              <a:rPr lang="en-US" altLang="en-US" sz="1200" smtClean="0"/>
              <a:pPr marL="0" lvl="0" indent="0">
                <a:spcBef>
                  <a:spcPct val="0"/>
                </a:spcBef>
                <a:spcAft>
                  <a:spcPct val="0"/>
                </a:spcAft>
                <a:buNone/>
              </a:pPr>
              <a:t>Uranium</a:t>
            </a:fld>
            <a:endParaRPr lang="en-US" sz="1200"/>
          </a:p>
        </p:txBody>
      </p:sp>
      <p:sp>
        <p:nvSpPr>
          <p:cNvPr id="445" name="Text Placeholder 10">
            <a:extLst>
              <a:ext uri="{FF2B5EF4-FFF2-40B4-BE49-F238E27FC236}">
                <a16:creationId xmlns:a16="http://schemas.microsoft.com/office/drawing/2014/main" id="{064DAB7F-A11B-5225-40A2-F729DD05A32D}"/>
              </a:ext>
            </a:extLst>
          </p:cNvPr>
          <p:cNvSpPr>
            <a:spLocks noGrp="1"/>
          </p:cNvSpPr>
          <p:nvPr>
            <p:custDataLst>
              <p:tags r:id="rId58"/>
            </p:custDataLst>
          </p:nvPr>
        </p:nvSpPr>
        <p:spPr bwMode="auto">
          <a:xfrm>
            <a:off x="6700838" y="4075113"/>
            <a:ext cx="666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6F0A9F8-A4A3-4DF6-868E-41925FC1680C}" type="datetime'''''''''''Zir''''''con''''''''''''''i''''u''''m'''''''''''''''">
              <a:rPr lang="en-US" altLang="en-US" sz="1200" smtClean="0"/>
              <a:pPr marL="0" lvl="0" indent="0">
                <a:spcBef>
                  <a:spcPct val="0"/>
                </a:spcBef>
                <a:spcAft>
                  <a:spcPct val="0"/>
                </a:spcAft>
                <a:buNone/>
              </a:pPr>
              <a:t>Zirconium</a:t>
            </a:fld>
            <a:endParaRPr lang="en-US" sz="1200"/>
          </a:p>
        </p:txBody>
      </p:sp>
      <p:sp>
        <p:nvSpPr>
          <p:cNvPr id="446" name="Text Placeholder 10">
            <a:extLst>
              <a:ext uri="{FF2B5EF4-FFF2-40B4-BE49-F238E27FC236}">
                <a16:creationId xmlns:a16="http://schemas.microsoft.com/office/drawing/2014/main" id="{7423E8C3-F0D2-F05E-DABD-960F85D4FB30}"/>
              </a:ext>
            </a:extLst>
          </p:cNvPr>
          <p:cNvSpPr>
            <a:spLocks noGrp="1"/>
          </p:cNvSpPr>
          <p:nvPr>
            <p:custDataLst>
              <p:tags r:id="rId59"/>
            </p:custDataLst>
          </p:nvPr>
        </p:nvSpPr>
        <p:spPr bwMode="auto">
          <a:xfrm>
            <a:off x="6700838" y="3708400"/>
            <a:ext cx="6238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CD0BD88-B8B9-4B18-B97B-93D513CC32C1}" type="datetime'''''''''Li''th''''iu''m''''''''''''''''''''''''''''''''-7'">
              <a:rPr lang="en-US" altLang="en-US" sz="1200" smtClean="0"/>
              <a:pPr marL="0" lvl="0" indent="0">
                <a:spcBef>
                  <a:spcPct val="0"/>
                </a:spcBef>
                <a:spcAft>
                  <a:spcPct val="0"/>
                </a:spcAft>
                <a:buNone/>
              </a:pPr>
              <a:t>Lithium-7</a:t>
            </a:fld>
            <a:endParaRPr lang="en-US" sz="1200"/>
          </a:p>
        </p:txBody>
      </p:sp>
      <p:sp>
        <p:nvSpPr>
          <p:cNvPr id="447" name="Text Placeholder 10">
            <a:extLst>
              <a:ext uri="{FF2B5EF4-FFF2-40B4-BE49-F238E27FC236}">
                <a16:creationId xmlns:a16="http://schemas.microsoft.com/office/drawing/2014/main" id="{5C38A135-D42C-60A1-D893-188EF849522D}"/>
              </a:ext>
            </a:extLst>
          </p:cNvPr>
          <p:cNvSpPr>
            <a:spLocks noGrp="1"/>
          </p:cNvSpPr>
          <p:nvPr>
            <p:custDataLst>
              <p:tags r:id="rId60"/>
            </p:custDataLst>
          </p:nvPr>
        </p:nvSpPr>
        <p:spPr bwMode="auto">
          <a:xfrm>
            <a:off x="6700838" y="3475038"/>
            <a:ext cx="404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591A5CE-FCDF-4D86-80D8-B7497268A8FB}" type="datetime'''B''''''''''''''''''''''o''r''''''''o''n'''''''''''''">
              <a:rPr lang="en-US" altLang="en-US" sz="1200" smtClean="0"/>
              <a:pPr marL="0" lvl="0" indent="0">
                <a:spcBef>
                  <a:spcPct val="0"/>
                </a:spcBef>
                <a:spcAft>
                  <a:spcPct val="0"/>
                </a:spcAft>
                <a:buNone/>
              </a:pPr>
              <a:t>Boron</a:t>
            </a:fld>
            <a:endParaRPr lang="en-US" sz="1200"/>
          </a:p>
        </p:txBody>
      </p:sp>
      <p:sp>
        <p:nvSpPr>
          <p:cNvPr id="448" name="Text Placeholder 10">
            <a:extLst>
              <a:ext uri="{FF2B5EF4-FFF2-40B4-BE49-F238E27FC236}">
                <a16:creationId xmlns:a16="http://schemas.microsoft.com/office/drawing/2014/main" id="{8B7AFC7F-DF6A-49BC-9E52-2FC5F344DEC9}"/>
              </a:ext>
            </a:extLst>
          </p:cNvPr>
          <p:cNvSpPr>
            <a:spLocks noGrp="1"/>
          </p:cNvSpPr>
          <p:nvPr>
            <p:custDataLst>
              <p:tags r:id="rId61"/>
            </p:custDataLst>
          </p:nvPr>
        </p:nvSpPr>
        <p:spPr bwMode="gray">
          <a:xfrm>
            <a:off x="6149975" y="2566988"/>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57C52F-9B6B-4595-9958-7A184702E4D1}" type="datetime'''''''''''''''''''''''''8''''''''''7''''''''''''''0'">
              <a:rPr lang="en-US" altLang="en-US" sz="1200" smtClean="0"/>
              <a:pPr marL="0" lvl="0" indent="0" algn="ctr">
                <a:spcBef>
                  <a:spcPct val="0"/>
                </a:spcBef>
                <a:spcAft>
                  <a:spcPct val="0"/>
                </a:spcAft>
                <a:buNone/>
              </a:pPr>
              <a:t>870</a:t>
            </a:fld>
            <a:endParaRPr lang="en-US" sz="1200"/>
          </a:p>
        </p:txBody>
      </p:sp>
      <p:sp>
        <p:nvSpPr>
          <p:cNvPr id="455" name="Text Placeholder 10">
            <a:extLst>
              <a:ext uri="{FF2B5EF4-FFF2-40B4-BE49-F238E27FC236}">
                <a16:creationId xmlns:a16="http://schemas.microsoft.com/office/drawing/2014/main" id="{15A79441-354B-1116-41EA-BAD48566AC31}"/>
              </a:ext>
            </a:extLst>
          </p:cNvPr>
          <p:cNvSpPr>
            <a:spLocks noGrp="1"/>
          </p:cNvSpPr>
          <p:nvPr>
            <p:custDataLst>
              <p:tags r:id="rId62"/>
            </p:custDataLst>
          </p:nvPr>
        </p:nvSpPr>
        <p:spPr bwMode="auto">
          <a:xfrm>
            <a:off x="6700838" y="3241675"/>
            <a:ext cx="649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8C69DF7-DC87-4817-A7DD-FA67DDE5CD8B}" type="datetime'''''''Ca''''''d''''''m''''''''''''''''i''''u''m'''">
              <a:rPr lang="en-US" altLang="en-US" sz="1200" smtClean="0"/>
              <a:pPr marL="0" lvl="0" indent="0">
                <a:spcBef>
                  <a:spcPct val="0"/>
                </a:spcBef>
                <a:spcAft>
                  <a:spcPct val="0"/>
                </a:spcAft>
                <a:buNone/>
              </a:pPr>
              <a:t>Cadmium</a:t>
            </a:fld>
            <a:endParaRPr lang="en-US" sz="1200"/>
          </a:p>
        </p:txBody>
      </p:sp>
      <p:sp>
        <p:nvSpPr>
          <p:cNvPr id="456" name="Text Placeholder 10">
            <a:extLst>
              <a:ext uri="{FF2B5EF4-FFF2-40B4-BE49-F238E27FC236}">
                <a16:creationId xmlns:a16="http://schemas.microsoft.com/office/drawing/2014/main" id="{0BE8368E-63E7-5C35-E323-E077AE63C44A}"/>
              </a:ext>
            </a:extLst>
          </p:cNvPr>
          <p:cNvSpPr>
            <a:spLocks noGrp="1"/>
          </p:cNvSpPr>
          <p:nvPr>
            <p:custDataLst>
              <p:tags r:id="rId63"/>
            </p:custDataLst>
          </p:nvPr>
        </p:nvSpPr>
        <p:spPr bwMode="auto">
          <a:xfrm>
            <a:off x="6700838" y="3008313"/>
            <a:ext cx="455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8537D4A-3D4A-408E-AC47-AA35E5F5E638}" type="datetime'I''''''''''''''''''''''''''nd''''''''''i''''''u''''''m'">
              <a:rPr lang="en-US" altLang="en-US" sz="1200" smtClean="0"/>
              <a:pPr marL="0" lvl="0" indent="0">
                <a:spcBef>
                  <a:spcPct val="0"/>
                </a:spcBef>
                <a:spcAft>
                  <a:spcPct val="0"/>
                </a:spcAft>
                <a:buNone/>
              </a:pPr>
              <a:t>Indium</a:t>
            </a:fld>
            <a:endParaRPr lang="en-US" sz="1200"/>
          </a:p>
        </p:txBody>
      </p:sp>
      <p:sp>
        <p:nvSpPr>
          <p:cNvPr id="457" name="Text Placeholder 10">
            <a:extLst>
              <a:ext uri="{FF2B5EF4-FFF2-40B4-BE49-F238E27FC236}">
                <a16:creationId xmlns:a16="http://schemas.microsoft.com/office/drawing/2014/main" id="{036D6A09-117F-9489-B839-E12C7CA87FD8}"/>
              </a:ext>
            </a:extLst>
          </p:cNvPr>
          <p:cNvSpPr>
            <a:spLocks noGrp="1"/>
          </p:cNvSpPr>
          <p:nvPr>
            <p:custDataLst>
              <p:tags r:id="rId64"/>
            </p:custDataLst>
          </p:nvPr>
        </p:nvSpPr>
        <p:spPr bwMode="auto">
          <a:xfrm>
            <a:off x="6700838" y="277495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5E02C49-5A4D-47B1-94EF-9268F220C9F3}" type="datetime'''''S''''''''''''''''''i''''''''l''''v''''''er'''''''''''''">
              <a:rPr lang="en-US" altLang="en-US" sz="1200" smtClean="0"/>
              <a:pPr marL="0" lvl="0" indent="0">
                <a:spcBef>
                  <a:spcPct val="0"/>
                </a:spcBef>
                <a:spcAft>
                  <a:spcPct val="0"/>
                </a:spcAft>
                <a:buNone/>
              </a:pPr>
              <a:t>Silver</a:t>
            </a:fld>
            <a:endParaRPr lang="en-US" sz="1200"/>
          </a:p>
        </p:txBody>
      </p:sp>
      <p:sp>
        <p:nvSpPr>
          <p:cNvPr id="458" name="Text Placeholder 10">
            <a:extLst>
              <a:ext uri="{FF2B5EF4-FFF2-40B4-BE49-F238E27FC236}">
                <a16:creationId xmlns:a16="http://schemas.microsoft.com/office/drawing/2014/main" id="{C613EA98-3F40-3BA9-7A8F-ACCFE194908F}"/>
              </a:ext>
            </a:extLst>
          </p:cNvPr>
          <p:cNvSpPr>
            <a:spLocks noGrp="1"/>
          </p:cNvSpPr>
          <p:nvPr>
            <p:custDataLst>
              <p:tags r:id="rId65"/>
            </p:custDataLst>
          </p:nvPr>
        </p:nvSpPr>
        <p:spPr bwMode="gray">
          <a:xfrm>
            <a:off x="6191250" y="3060700"/>
            <a:ext cx="212725" cy="182563"/>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B7B8C9-9608-4976-99AA-08D0B1C5AB51}" type="datetime'''''''''''''1''''''''''''0'''">
              <a:rPr lang="en-US" altLang="en-US" sz="1200" smtClean="0">
                <a:solidFill>
                  <a:schemeClr val="bg1"/>
                </a:solidFill>
              </a:rPr>
              <a:pPr marL="0" lvl="0" indent="0" algn="ctr">
                <a:spcBef>
                  <a:spcPct val="0"/>
                </a:spcBef>
                <a:spcAft>
                  <a:spcPct val="0"/>
                </a:spcAft>
                <a:buNone/>
              </a:pPr>
              <a:t>10</a:t>
            </a:fld>
            <a:endParaRPr lang="en-US" sz="1200">
              <a:solidFill>
                <a:schemeClr val="bg1"/>
              </a:solidFill>
            </a:endParaRPr>
          </a:p>
        </p:txBody>
      </p:sp>
      <p:sp>
        <p:nvSpPr>
          <p:cNvPr id="459" name="Text Placeholder 10">
            <a:extLst>
              <a:ext uri="{FF2B5EF4-FFF2-40B4-BE49-F238E27FC236}">
                <a16:creationId xmlns:a16="http://schemas.microsoft.com/office/drawing/2014/main" id="{E3506A79-1CB0-8268-DB93-B813F2A5339D}"/>
              </a:ext>
            </a:extLst>
          </p:cNvPr>
          <p:cNvSpPr>
            <a:spLocks noGrp="1"/>
          </p:cNvSpPr>
          <p:nvPr>
            <p:custDataLst>
              <p:tags r:id="rId66"/>
            </p:custDataLst>
          </p:nvPr>
        </p:nvSpPr>
        <p:spPr bwMode="gray">
          <a:xfrm>
            <a:off x="6191250" y="2909888"/>
            <a:ext cx="212725" cy="182563"/>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9C243B-BE53-4019-8D87-B484F575F8CA}" type="datetime'''''''''''1''0'''''''''''">
              <a:rPr lang="en-US" altLang="en-US" sz="1200" smtClean="0">
                <a:solidFill>
                  <a:schemeClr val="bg1"/>
                </a:solidFill>
              </a:rPr>
              <a:pPr marL="0" lvl="0" indent="0" algn="ctr">
                <a:spcBef>
                  <a:spcPct val="0"/>
                </a:spcBef>
                <a:spcAft>
                  <a:spcPct val="0"/>
                </a:spcAft>
                <a:buNone/>
              </a:pPr>
              <a:t>10</a:t>
            </a:fld>
            <a:endParaRPr lang="en-US" sz="1200">
              <a:solidFill>
                <a:schemeClr val="bg1"/>
              </a:solidFill>
            </a:endParaRPr>
          </a:p>
        </p:txBody>
      </p:sp>
      <p:sp>
        <p:nvSpPr>
          <p:cNvPr id="460" name="Text Placeholder 10">
            <a:extLst>
              <a:ext uri="{FF2B5EF4-FFF2-40B4-BE49-F238E27FC236}">
                <a16:creationId xmlns:a16="http://schemas.microsoft.com/office/drawing/2014/main" id="{89566EAA-B0C4-6926-9331-25E381F2A28D}"/>
              </a:ext>
            </a:extLst>
          </p:cNvPr>
          <p:cNvSpPr>
            <a:spLocks noGrp="1"/>
          </p:cNvSpPr>
          <p:nvPr>
            <p:custDataLst>
              <p:tags r:id="rId67"/>
            </p:custDataLst>
          </p:nvPr>
        </p:nvSpPr>
        <p:spPr bwMode="gray">
          <a:xfrm>
            <a:off x="6191250" y="2759075"/>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2073C5-EDDF-4D84-AB78-519CCD2A9B10}" type="datetime'''''''''''''''''''''''1''''''''0'''''">
              <a:rPr lang="en-US" altLang="en-US" sz="1200" smtClean="0">
                <a:solidFill>
                  <a:schemeClr val="bg1"/>
                </a:solidFill>
              </a:rPr>
              <a:pPr marL="0" lvl="0" indent="0" algn="ctr">
                <a:spcBef>
                  <a:spcPct val="0"/>
                </a:spcBef>
                <a:spcAft>
                  <a:spcPct val="0"/>
                </a:spcAft>
                <a:buNone/>
              </a:pPr>
              <a:t>10</a:t>
            </a:fld>
            <a:endParaRPr lang="en-US" sz="1200">
              <a:solidFill>
                <a:schemeClr val="bg1"/>
              </a:solidFill>
            </a:endParaRPr>
          </a:p>
        </p:txBody>
      </p:sp>
      <p:sp>
        <p:nvSpPr>
          <p:cNvPr id="474" name="Text Placeholder 10">
            <a:extLst>
              <a:ext uri="{FF2B5EF4-FFF2-40B4-BE49-F238E27FC236}">
                <a16:creationId xmlns:a16="http://schemas.microsoft.com/office/drawing/2014/main" id="{62ACE451-0A32-FB56-6259-BCE8B7C6DFE3}"/>
              </a:ext>
            </a:extLst>
          </p:cNvPr>
          <p:cNvSpPr>
            <a:spLocks noGrp="1"/>
          </p:cNvSpPr>
          <p:nvPr>
            <p:custDataLst>
              <p:tags r:id="rId68"/>
            </p:custDataLst>
          </p:nvPr>
        </p:nvSpPr>
        <p:spPr bwMode="gray">
          <a:xfrm>
            <a:off x="6191250" y="3511550"/>
            <a:ext cx="212725" cy="182563"/>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738231B-36AB-44DF-914F-9D1B17299B66}" type="datetime'''''''''''''''''''''''''''''30'''''">
              <a:rPr lang="en-US" altLang="en-US" sz="1200" smtClean="0">
                <a:solidFill>
                  <a:schemeClr val="bg1"/>
                </a:solidFill>
                <a:effectLst/>
              </a:rPr>
              <a:pPr marL="0" lvl="0" indent="0" algn="ctr">
                <a:spcBef>
                  <a:spcPct val="0"/>
                </a:spcBef>
                <a:spcAft>
                  <a:spcPct val="0"/>
                </a:spcAft>
                <a:buNone/>
              </a:pPr>
              <a:t>30</a:t>
            </a:fld>
            <a:endParaRPr lang="en-US" sz="1200">
              <a:solidFill>
                <a:schemeClr val="bg1"/>
              </a:solidFill>
            </a:endParaRPr>
          </a:p>
        </p:txBody>
      </p:sp>
      <p:sp>
        <p:nvSpPr>
          <p:cNvPr id="496" name="btfpColumnHeaderBoxText223027">
            <a:extLst>
              <a:ext uri="{FF2B5EF4-FFF2-40B4-BE49-F238E27FC236}">
                <a16:creationId xmlns:a16="http://schemas.microsoft.com/office/drawing/2014/main" id="{A2CD51E4-8F78-88D3-1E37-C720091AFCEB}"/>
              </a:ext>
            </a:extLst>
          </p:cNvPr>
          <p:cNvSpPr txBox="1"/>
          <p:nvPr/>
        </p:nvSpPr>
        <p:spPr bwMode="gray">
          <a:xfrm>
            <a:off x="364331" y="1337725"/>
            <a:ext cx="5274469" cy="257442"/>
          </a:xfrm>
          <a:prstGeom prst="rect">
            <a:avLst/>
          </a:prstGeom>
          <a:noFill/>
        </p:spPr>
        <p:txBody>
          <a:bodyPr vert="horz" wrap="square" lIns="36036" tIns="36036" rIns="36036" bIns="36036" rtlCol="0" anchor="b">
            <a:spAutoFit/>
          </a:bodyPr>
          <a:lstStyle/>
          <a:p>
            <a:r>
              <a:rPr lang="en-US" sz="1200" b="1"/>
              <a:t>Overview of material intensity by type</a:t>
            </a:r>
            <a:endParaRPr lang="en-US" sz="1200"/>
          </a:p>
        </p:txBody>
      </p:sp>
      <p:sp>
        <p:nvSpPr>
          <p:cNvPr id="497" name="TextBox 496">
            <a:extLst>
              <a:ext uri="{FF2B5EF4-FFF2-40B4-BE49-F238E27FC236}">
                <a16:creationId xmlns:a16="http://schemas.microsoft.com/office/drawing/2014/main" id="{0387697E-220D-56B5-F0C6-035107B4CA50}"/>
              </a:ext>
            </a:extLst>
          </p:cNvPr>
          <p:cNvSpPr txBox="1"/>
          <p:nvPr/>
        </p:nvSpPr>
        <p:spPr bwMode="gray">
          <a:xfrm>
            <a:off x="391645" y="1604820"/>
            <a:ext cx="2361081" cy="382588"/>
          </a:xfrm>
          <a:prstGeom prst="rect">
            <a:avLst/>
          </a:prstGeom>
          <a:solidFill>
            <a:schemeClr val="accent1">
              <a:lumMod val="20000"/>
              <a:lumOff val="80000"/>
            </a:schemeClr>
          </a:solidFill>
          <a:ln w="6350">
            <a:noFill/>
            <a:prstDash val="solid"/>
          </a:ln>
        </p:spPr>
        <p:txBody>
          <a:bodyPr wrap="square" lIns="91440" tIns="91440" rIns="91440" bIns="91440" rtlCol="0" anchor="ctr">
            <a:noAutofit/>
          </a:bodyPr>
          <a:lstStyle/>
          <a:p>
            <a:r>
              <a:rPr lang="en-US" sz="1200" b="1"/>
              <a:t>Plant construction (local)</a:t>
            </a:r>
            <a:endParaRPr lang="en-US" sz="1200"/>
          </a:p>
        </p:txBody>
      </p:sp>
      <p:sp>
        <p:nvSpPr>
          <p:cNvPr id="5" name="TextBox 4">
            <a:extLst>
              <a:ext uri="{FF2B5EF4-FFF2-40B4-BE49-F238E27FC236}">
                <a16:creationId xmlns:a16="http://schemas.microsoft.com/office/drawing/2014/main" id="{FD499B9A-09FF-639A-AE0C-65345B29FA89}"/>
              </a:ext>
            </a:extLst>
          </p:cNvPr>
          <p:cNvSpPr txBox="1"/>
          <p:nvPr/>
        </p:nvSpPr>
        <p:spPr bwMode="gray">
          <a:xfrm>
            <a:off x="1597" y="0"/>
            <a:ext cx="2926080" cy="382208"/>
          </a:xfrm>
          <a:prstGeom prst="rect">
            <a:avLst/>
          </a:prstGeom>
          <a:solidFill>
            <a:schemeClr val="bg2">
              <a:lumMod val="75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200" b="1">
                <a:solidFill>
                  <a:schemeClr val="bg1"/>
                </a:solidFill>
              </a:rPr>
              <a:t>Appendix: Supply chain</a:t>
            </a:r>
          </a:p>
        </p:txBody>
      </p:sp>
    </p:spTree>
    <p:extLst>
      <p:ext uri="{BB962C8B-B14F-4D97-AF65-F5344CB8AC3E}">
        <p14:creationId xmlns:p14="http://schemas.microsoft.com/office/powerpoint/2010/main" val="38526667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C88DE9-BC88-0F5C-3747-687D407BCF9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C6A23F-30F8-E7D0-18DC-859C46F36F2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9" imgW="7772400" imgH="10058400" progId="TCLayout.ActiveDocument.1">
                  <p:embed/>
                </p:oleObj>
              </mc:Choice>
              <mc:Fallback>
                <p:oleObj name="think-cell Slide" r:id="rId39" imgW="7772400" imgH="10058400" progId="TCLayout.ActiveDocument.1">
                  <p:embed/>
                  <p:pic>
                    <p:nvPicPr>
                      <p:cNvPr id="5" name="think-cell data - do not delete" hidden="1">
                        <a:extLst>
                          <a:ext uri="{FF2B5EF4-FFF2-40B4-BE49-F238E27FC236}">
                            <a16:creationId xmlns:a16="http://schemas.microsoft.com/office/drawing/2014/main" id="{91C6A23F-30F8-E7D0-18DC-859C46F36F27}"/>
                          </a:ext>
                        </a:extLst>
                      </p:cNvPr>
                      <p:cNvPicPr/>
                      <p:nvPr/>
                    </p:nvPicPr>
                    <p:blipFill>
                      <a:blip r:embed="rId40"/>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60351D-A39A-A640-6FBC-4214C4569F88}"/>
              </a:ext>
            </a:extLst>
          </p:cNvPr>
          <p:cNvSpPr>
            <a:spLocks noGrp="1"/>
          </p:cNvSpPr>
          <p:nvPr>
            <p:ph type="title"/>
          </p:nvPr>
        </p:nvSpPr>
        <p:spPr>
          <a:xfrm>
            <a:off x="330200" y="523318"/>
            <a:ext cx="11531600" cy="1035188"/>
          </a:xfrm>
        </p:spPr>
        <p:txBody>
          <a:bodyPr vert="horz">
            <a:noAutofit/>
          </a:bodyPr>
          <a:lstStyle/>
          <a:p>
            <a:r>
              <a:rPr lang="en-US">
                <a:latin typeface="Arial"/>
                <a:cs typeface="Arial"/>
              </a:rPr>
              <a:t>Nuclear is a proven source of stable baseload power, offering a more cost-competitive and reliable solution than renewables</a:t>
            </a:r>
            <a:endParaRPr lang="en-US" b="0">
              <a:latin typeface="Arial"/>
              <a:cs typeface="Arial"/>
            </a:endParaRPr>
          </a:p>
        </p:txBody>
      </p:sp>
      <p:sp>
        <p:nvSpPr>
          <p:cNvPr id="6" name="TextBox 8">
            <a:extLst>
              <a:ext uri="{FF2B5EF4-FFF2-40B4-BE49-F238E27FC236}">
                <a16:creationId xmlns:a16="http://schemas.microsoft.com/office/drawing/2014/main" id="{2055F222-5B6D-890A-F10E-06D656D92909}"/>
              </a:ext>
            </a:extLst>
          </p:cNvPr>
          <p:cNvSpPr txBox="1"/>
          <p:nvPr/>
        </p:nvSpPr>
        <p:spPr bwMode="gray">
          <a:xfrm>
            <a:off x="7997694" y="1554480"/>
            <a:ext cx="3703770" cy="3813865"/>
          </a:xfrm>
          <a:prstGeom prst="rect">
            <a:avLst/>
          </a:prstGeom>
          <a:solidFill>
            <a:srgbClr val="E3E8EE"/>
          </a:solidFill>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bservations</a:t>
            </a:r>
          </a:p>
          <a:p>
            <a:pPr marL="171450" indent="-171450">
              <a:spcAft>
                <a:spcPts val="400"/>
              </a:spcAft>
              <a:buFont typeface="Arial"/>
              <a:buChar char="•"/>
              <a:defRPr/>
            </a:pPr>
            <a:r>
              <a:rPr lang="en-US" sz="1050">
                <a:solidFill>
                  <a:srgbClr val="000000"/>
                </a:solidFill>
                <a:latin typeface="Arial" panose="020B0604020202020204" pitchFamily="34" charset="0"/>
                <a:ea typeface="+mn-lt"/>
                <a:cs typeface="Arial" panose="020B0604020202020204" pitchFamily="34" charset="0"/>
              </a:rPr>
              <a:t>Nuclear power’s </a:t>
            </a:r>
            <a:r>
              <a:rPr lang="en-US" sz="1050" b="1">
                <a:solidFill>
                  <a:srgbClr val="000000"/>
                </a:solidFill>
                <a:latin typeface="Arial" panose="020B0604020202020204" pitchFamily="34" charset="0"/>
                <a:ea typeface="+mn-lt"/>
                <a:cs typeface="Arial" panose="020B0604020202020204" pitchFamily="34" charset="0"/>
              </a:rPr>
              <a:t>high-capacity factor ensures a stable and continuous electricity supply and</a:t>
            </a:r>
            <a:r>
              <a:rPr lang="en-US" sz="1050">
                <a:solidFill>
                  <a:srgbClr val="000000"/>
                </a:solidFill>
                <a:latin typeface="Arial" panose="020B0604020202020204" pitchFamily="34" charset="0"/>
                <a:ea typeface="+mn-lt"/>
                <a:cs typeface="Arial" panose="020B0604020202020204" pitchFamily="34" charset="0"/>
              </a:rPr>
              <a:t>  accommodates fluctuations from renewable sources.</a:t>
            </a:r>
          </a:p>
          <a:p>
            <a:pPr marL="171450" indent="-171450">
              <a:spcAft>
                <a:spcPts val="400"/>
              </a:spcAft>
              <a:buFont typeface="Arial"/>
              <a:buChar char="•"/>
              <a:defRPr/>
            </a:pPr>
            <a:r>
              <a:rPr kumimoji="0" lang="en-US" sz="1050" b="0" i="0" u="none" strike="noStrike" kern="1200" cap="none" spc="0" normalizeH="0" baseline="0" noProof="0">
                <a:ln>
                  <a:noFill/>
                </a:ln>
                <a:solidFill>
                  <a:srgbClr val="000000"/>
                </a:solidFill>
                <a:effectLst/>
                <a:uLnTx/>
                <a:uFillTx/>
                <a:latin typeface="Arial"/>
                <a:ea typeface="+mn-lt"/>
                <a:cs typeface="Arial"/>
              </a:rPr>
              <a:t>Standalone solar and wind </a:t>
            </a:r>
            <a:r>
              <a:rPr lang="en-US" sz="1050">
                <a:solidFill>
                  <a:srgbClr val="000000"/>
                </a:solidFill>
                <a:latin typeface="Arial"/>
                <a:ea typeface="+mn-lt"/>
                <a:cs typeface="Arial"/>
              </a:rPr>
              <a:t>are</a:t>
            </a:r>
            <a:r>
              <a:rPr kumimoji="0" lang="en-US" sz="1050" b="0" i="0" u="none" strike="noStrike" kern="1200" cap="none" spc="0" normalizeH="0" baseline="0" noProof="0">
                <a:ln>
                  <a:noFill/>
                </a:ln>
                <a:solidFill>
                  <a:srgbClr val="000000"/>
                </a:solidFill>
                <a:effectLst/>
                <a:uLnTx/>
                <a:uFillTx/>
                <a:latin typeface="Arial"/>
                <a:ea typeface="+mn-lt"/>
                <a:cs typeface="Arial"/>
              </a:rPr>
              <a:t> cheaper, but </a:t>
            </a:r>
            <a:r>
              <a:rPr kumimoji="0" lang="en-US" sz="1050" b="1" i="0" u="none" strike="noStrike" kern="1200" cap="none" spc="0" normalizeH="0" baseline="0" noProof="0">
                <a:ln>
                  <a:noFill/>
                </a:ln>
                <a:solidFill>
                  <a:srgbClr val="000000"/>
                </a:solidFill>
                <a:effectLst/>
                <a:uLnTx/>
                <a:uFillTx/>
                <a:latin typeface="Arial"/>
                <a:ea typeface="+mn-lt"/>
                <a:cs typeface="Arial"/>
              </a:rPr>
              <a:t>the need for large-scale storage </a:t>
            </a:r>
            <a:r>
              <a:rPr lang="en-US" sz="1050">
                <a:solidFill>
                  <a:srgbClr val="000000"/>
                </a:solidFill>
                <a:latin typeface="Arial"/>
                <a:ea typeface="+mn-lt"/>
                <a:cs typeface="Arial"/>
              </a:rPr>
              <a:t>and</a:t>
            </a:r>
            <a:r>
              <a:rPr kumimoji="0" lang="en-US" sz="1050" b="0" i="0" u="none" strike="noStrike" kern="1200" cap="none" spc="0" normalizeH="0" baseline="0" noProof="0">
                <a:ln>
                  <a:noFill/>
                </a:ln>
                <a:solidFill>
                  <a:srgbClr val="000000"/>
                </a:solidFill>
                <a:effectLst/>
                <a:uLnTx/>
                <a:uFillTx/>
                <a:latin typeface="Arial"/>
                <a:ea typeface="+mn-lt"/>
                <a:cs typeface="Arial"/>
              </a:rPr>
              <a:t> grid upgrades raises </a:t>
            </a:r>
            <a:r>
              <a:rPr kumimoji="0" lang="en-US" sz="1050" b="1" i="0" u="none" strike="noStrike" kern="1200" cap="none" spc="0" normalizeH="0" baseline="0" noProof="0">
                <a:ln>
                  <a:noFill/>
                </a:ln>
                <a:solidFill>
                  <a:srgbClr val="000000"/>
                </a:solidFill>
                <a:effectLst/>
                <a:uLnTx/>
                <a:uFillTx/>
                <a:latin typeface="Arial"/>
                <a:ea typeface="+mn-lt"/>
                <a:cs typeface="Arial"/>
              </a:rPr>
              <a:t>their true cost significantly</a:t>
            </a:r>
            <a:r>
              <a:rPr lang="en-US" sz="1050">
                <a:solidFill>
                  <a:srgbClr val="000000"/>
                </a:solidFill>
                <a:latin typeface="Arial"/>
                <a:ea typeface="+mn-lt"/>
                <a:cs typeface="Arial"/>
              </a:rPr>
              <a:t>,</a:t>
            </a:r>
            <a:r>
              <a:rPr kumimoji="0" lang="en-US" sz="1050" b="0" i="0" u="none" strike="noStrike" kern="1200" cap="none" spc="0" normalizeH="0" baseline="0" noProof="0">
                <a:ln>
                  <a:noFill/>
                </a:ln>
                <a:solidFill>
                  <a:srgbClr val="000000"/>
                </a:solidFill>
                <a:effectLst/>
                <a:uLnTx/>
                <a:uFillTx/>
                <a:latin typeface="Arial"/>
                <a:ea typeface="+mn-lt"/>
                <a:cs typeface="Arial"/>
              </a:rPr>
              <a:t> </a:t>
            </a:r>
            <a:r>
              <a:rPr lang="en-US" sz="1050">
                <a:solidFill>
                  <a:srgbClr val="000000"/>
                </a:solidFill>
                <a:latin typeface="Arial"/>
                <a:ea typeface="+mn-lt"/>
                <a:cs typeface="Arial"/>
              </a:rPr>
              <a:t>setting premium</a:t>
            </a:r>
            <a:r>
              <a:rPr kumimoji="0" lang="en-US" sz="1050" b="0" i="0" u="none" strike="noStrike" kern="1200" cap="none" spc="0" normalizeH="0" baseline="0" noProof="0">
                <a:ln>
                  <a:noFill/>
                </a:ln>
                <a:solidFill>
                  <a:srgbClr val="000000"/>
                </a:solidFill>
                <a:effectLst/>
                <a:uLnTx/>
                <a:uFillTx/>
                <a:latin typeface="Arial"/>
                <a:ea typeface="+mn-lt"/>
                <a:cs typeface="Arial"/>
              </a:rPr>
              <a:t> for solar at $162/MWh and wind at $177/MWh, compared </a:t>
            </a:r>
            <a:r>
              <a:rPr lang="en-US" sz="1050">
                <a:solidFill>
                  <a:srgbClr val="000000"/>
                </a:solidFill>
                <a:latin typeface="Arial"/>
                <a:ea typeface="+mn-lt"/>
                <a:cs typeface="Arial"/>
              </a:rPr>
              <a:t>with</a:t>
            </a:r>
            <a:r>
              <a:rPr kumimoji="0" lang="en-US" sz="1050" b="0" i="0" u="none" strike="noStrike" kern="1200" cap="none" spc="0" normalizeH="0" baseline="0" noProof="0">
                <a:ln>
                  <a:noFill/>
                </a:ln>
                <a:solidFill>
                  <a:srgbClr val="000000"/>
                </a:solidFill>
                <a:effectLst/>
                <a:uLnTx/>
                <a:uFillTx/>
                <a:latin typeface="Arial"/>
                <a:ea typeface="+mn-lt"/>
                <a:cs typeface="Arial"/>
              </a:rPr>
              <a:t> SMR projections of $69</a:t>
            </a:r>
            <a:r>
              <a:rPr lang="en-US" sz="1050">
                <a:solidFill>
                  <a:srgbClr val="000000"/>
                </a:solidFill>
                <a:latin typeface="Arial"/>
                <a:ea typeface="+mn-lt"/>
                <a:cs typeface="Arial"/>
              </a:rPr>
              <a:t>-</a:t>
            </a:r>
            <a:r>
              <a:rPr kumimoji="0" lang="en-US" sz="1050" b="0" i="0" u="none" strike="noStrike" kern="1200" cap="none" spc="0" normalizeH="0" baseline="0" noProof="0">
                <a:ln>
                  <a:noFill/>
                </a:ln>
                <a:solidFill>
                  <a:srgbClr val="000000"/>
                </a:solidFill>
                <a:effectLst/>
                <a:uLnTx/>
                <a:uFillTx/>
                <a:latin typeface="Arial"/>
                <a:ea typeface="+mn-lt"/>
                <a:cs typeface="Arial"/>
              </a:rPr>
              <a:t>$120/MWh.</a:t>
            </a:r>
            <a:endParaRPr kumimoji="0" lang="en-US" sz="1050" b="0" i="0" u="none" strike="noStrike" kern="1200" cap="none" spc="0" normalizeH="0" baseline="0" noProof="0">
              <a:ln>
                <a:noFill/>
              </a:ln>
              <a:solidFill>
                <a:srgbClr val="000000"/>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The energy storage requirement to decarbonize with renewables alone is vastly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more expensive and unattainable </a:t>
            </a:r>
            <a:r>
              <a:rPr lang="en-US" sz="1050" b="1">
                <a:solidFill>
                  <a:srgbClr val="000000"/>
                </a:solidFill>
                <a:latin typeface="Arial" panose="020B0604020202020204" pitchFamily="34" charset="0"/>
                <a:ea typeface="+mn-lt"/>
                <a:cs typeface="Arial" panose="020B0604020202020204" pitchFamily="34" charset="0"/>
              </a:rPr>
              <a:t>with</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 today's technology.</a:t>
            </a:r>
            <a:endPar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Upfront nuclear costs are offset by high-capacity factors, grid stability, and long asset life.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This</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generates a viable alternative to renewables with storage.</a:t>
            </a:r>
          </a:p>
          <a:p>
            <a:pPr marL="171450" marR="0" lvl="0" indent="-171450" algn="l" defTabSz="9144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To replace nuclear as a baseload source, the United States would need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313 GW of new solar and wind </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and 992 GWh</a:t>
            </a:r>
            <a:r>
              <a:rPr lang="en-US" sz="1050">
                <a:solidFill>
                  <a:srgbClr val="000000"/>
                </a:solidFill>
                <a:latin typeface="Arial" panose="020B0604020202020204" pitchFamily="34" charset="0"/>
                <a:ea typeface="+mn-lt"/>
                <a:cs typeface="Arial" panose="020B0604020202020204" pitchFamily="34" charset="0"/>
              </a:rPr>
              <a:t> per </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day of storage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10x increase of current storage capacity</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a:t>
            </a:r>
          </a:p>
        </p:txBody>
      </p:sp>
      <p:sp>
        <p:nvSpPr>
          <p:cNvPr id="10" name="btfpNotesBox111697">
            <a:extLst>
              <a:ext uri="{FF2B5EF4-FFF2-40B4-BE49-F238E27FC236}">
                <a16:creationId xmlns:a16="http://schemas.microsoft.com/office/drawing/2014/main" id="{AC37616B-1A58-49F0-BE42-A988C960D943}"/>
              </a:ext>
            </a:extLst>
          </p:cNvPr>
          <p:cNvSpPr txBox="1"/>
          <p:nvPr/>
        </p:nvSpPr>
        <p:spPr bwMode="gray">
          <a:xfrm>
            <a:off x="330200" y="6309360"/>
            <a:ext cx="11531600" cy="492443"/>
          </a:xfrm>
          <a:prstGeom prst="rect">
            <a:avLst/>
          </a:prstGeom>
          <a:noFill/>
        </p:spPr>
        <p:txBody>
          <a:bodyPr vert="horz" wrap="square" lIns="0" tIns="0" rIns="0" bIns="0"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panose="020B0604020202020204" pitchFamily="34" charset="0"/>
              <a:cs typeface="Arial" panose="020B0604020202020204" pitchFamily="34" charset="0"/>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s: Lazard,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41"/>
              </a:rPr>
              <a:t>LCOE+</a:t>
            </a:r>
            <a:r>
              <a:rPr lang="en-US" sz="800" dirty="0">
                <a:solidFill>
                  <a:srgbClr val="000000"/>
                </a:solidFill>
                <a:latin typeface="Arial" panose="020B0604020202020204" pitchFamily="34" charset="0"/>
                <a:ea typeface="+mn-lt"/>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5</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EIA,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hlinkClick r:id="rId42"/>
              </a:rPr>
              <a:t>Hourly Electric Grid Monitor</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2025); WNA,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hlinkClick r:id="rId43"/>
              </a:rPr>
              <a:t>Nuclear Power in the USA</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 (2025).</a:t>
            </a:r>
            <a:b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redit: Christian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andjaja</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Quint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ouwink</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44"/>
              </a:rPr>
              <a:t>Gernot Wagner</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hare with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45"/>
              </a:rPr>
              <a:t>attribution</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ouwink</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800" b="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t al.,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energizing Nuclear" (23 September 2025).</a:t>
            </a:r>
          </a:p>
        </p:txBody>
      </p:sp>
      <p:graphicFrame>
        <p:nvGraphicFramePr>
          <p:cNvPr id="24" name="Chart 23">
            <a:extLst>
              <a:ext uri="{FF2B5EF4-FFF2-40B4-BE49-F238E27FC236}">
                <a16:creationId xmlns:a16="http://schemas.microsoft.com/office/drawing/2014/main" id="{CB99665A-079E-87A0-A6A7-7C66B3465936}"/>
              </a:ext>
            </a:extLst>
          </p:cNvPr>
          <p:cNvGraphicFramePr/>
          <p:nvPr>
            <p:custDataLst>
              <p:tags r:id="rId2"/>
            </p:custDataLst>
          </p:nvPr>
        </p:nvGraphicFramePr>
        <p:xfrm>
          <a:off x="842963" y="1973263"/>
          <a:ext cx="6672262" cy="3667125"/>
        </p:xfrm>
        <a:graphic>
          <a:graphicData uri="http://schemas.openxmlformats.org/drawingml/2006/chart">
            <c:chart xmlns:c="http://schemas.openxmlformats.org/drawingml/2006/chart" xmlns:r="http://schemas.openxmlformats.org/officeDocument/2006/relationships" r:id="rId46"/>
          </a:graphicData>
        </a:graphic>
      </p:graphicFrame>
      <p:sp>
        <p:nvSpPr>
          <p:cNvPr id="42" name="Text Placeholder 2">
            <a:extLst>
              <a:ext uri="{FF2B5EF4-FFF2-40B4-BE49-F238E27FC236}">
                <a16:creationId xmlns:a16="http://schemas.microsoft.com/office/drawing/2014/main" id="{838AE194-D321-2531-6E3A-70CA3CB20935}"/>
              </a:ext>
            </a:extLst>
          </p:cNvPr>
          <p:cNvSpPr txBox="1">
            <a:spLocks/>
          </p:cNvSpPr>
          <p:nvPr>
            <p:custDataLst>
              <p:tags r:id="rId3"/>
            </p:custDataLst>
          </p:nvPr>
        </p:nvSpPr>
        <p:spPr bwMode="gray">
          <a:xfrm>
            <a:off x="727074" y="5494338"/>
            <a:ext cx="69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3467197-738E-401E-BDFC-61C518B4FE12}"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9" name="Text Placeholder 2">
            <a:extLst>
              <a:ext uri="{FF2B5EF4-FFF2-40B4-BE49-F238E27FC236}">
                <a16:creationId xmlns:a16="http://schemas.microsoft.com/office/drawing/2014/main" id="{658E9417-BC1F-61C0-31FC-82FBB7EAB673}"/>
              </a:ext>
            </a:extLst>
          </p:cNvPr>
          <p:cNvSpPr txBox="1">
            <a:spLocks/>
          </p:cNvSpPr>
          <p:nvPr>
            <p:custDataLst>
              <p:tags r:id="rId4"/>
            </p:custDataLst>
          </p:nvPr>
        </p:nvSpPr>
        <p:spPr bwMode="gray">
          <a:xfrm>
            <a:off x="587375" y="524351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C09AC56-44E8-41E8-A71B-1DC78A455738}" type="datetime'''''''''''''2''''''''''''''''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0" name="Text Placeholder 2">
            <a:extLst>
              <a:ext uri="{FF2B5EF4-FFF2-40B4-BE49-F238E27FC236}">
                <a16:creationId xmlns:a16="http://schemas.microsoft.com/office/drawing/2014/main" id="{67C94D39-C117-16D3-AEE7-1274FECC3D6A}"/>
              </a:ext>
            </a:extLst>
          </p:cNvPr>
          <p:cNvSpPr txBox="1">
            <a:spLocks/>
          </p:cNvSpPr>
          <p:nvPr>
            <p:custDataLst>
              <p:tags r:id="rId5"/>
            </p:custDataLst>
          </p:nvPr>
        </p:nvSpPr>
        <p:spPr bwMode="gray">
          <a:xfrm>
            <a:off x="587375" y="4994275"/>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D3261A6-250F-478F-B316-0D903D2B4E52}" type="datetime'4''''''''''''''''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1" name="Text Placeholder 2">
            <a:extLst>
              <a:ext uri="{FF2B5EF4-FFF2-40B4-BE49-F238E27FC236}">
                <a16:creationId xmlns:a16="http://schemas.microsoft.com/office/drawing/2014/main" id="{E10F7EBD-6E64-4396-1A8C-E3981A07C803}"/>
              </a:ext>
            </a:extLst>
          </p:cNvPr>
          <p:cNvSpPr txBox="1">
            <a:spLocks/>
          </p:cNvSpPr>
          <p:nvPr>
            <p:custDataLst>
              <p:tags r:id="rId6"/>
            </p:custDataLst>
          </p:nvPr>
        </p:nvSpPr>
        <p:spPr bwMode="gray">
          <a:xfrm>
            <a:off x="587375" y="4743450"/>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169F761-0F5D-4B19-B30F-B4A658DF584D}" type="datetime'''''''''''''''''''''''''6''''''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2" name="Text Placeholder 2">
            <a:extLst>
              <a:ext uri="{FF2B5EF4-FFF2-40B4-BE49-F238E27FC236}">
                <a16:creationId xmlns:a16="http://schemas.microsoft.com/office/drawing/2014/main" id="{F2CC9336-D515-3F93-718A-852FB5FC012C}"/>
              </a:ext>
            </a:extLst>
          </p:cNvPr>
          <p:cNvSpPr txBox="1">
            <a:spLocks/>
          </p:cNvSpPr>
          <p:nvPr>
            <p:custDataLst>
              <p:tags r:id="rId7"/>
            </p:custDataLst>
          </p:nvPr>
        </p:nvSpPr>
        <p:spPr bwMode="gray">
          <a:xfrm>
            <a:off x="587375" y="4494213"/>
            <a:ext cx="209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9F46B5B-4362-4141-A6AF-88961317D646}" type="datetime'''''''''''''8''''''''''''''''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8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7" name="Text Placeholder 2">
            <a:extLst>
              <a:ext uri="{FF2B5EF4-FFF2-40B4-BE49-F238E27FC236}">
                <a16:creationId xmlns:a16="http://schemas.microsoft.com/office/drawing/2014/main" id="{4C497C8E-E0B0-C3D1-6DFF-BC95A1C2F30C}"/>
              </a:ext>
            </a:extLst>
          </p:cNvPr>
          <p:cNvSpPr txBox="1">
            <a:spLocks/>
          </p:cNvSpPr>
          <p:nvPr>
            <p:custDataLst>
              <p:tags r:id="rId8"/>
            </p:custDataLst>
          </p:nvPr>
        </p:nvSpPr>
        <p:spPr bwMode="gray">
          <a:xfrm>
            <a:off x="482600" y="4243388"/>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5F04364-24F5-4A7A-9F85-1B5E4E6876A3}" type="datetime'''''''1''''''.''''''''''''''''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3" name="Text Placeholder 2">
            <a:extLst>
              <a:ext uri="{FF2B5EF4-FFF2-40B4-BE49-F238E27FC236}">
                <a16:creationId xmlns:a16="http://schemas.microsoft.com/office/drawing/2014/main" id="{05B2EF71-F630-0431-96A1-5D39A1A95410}"/>
              </a:ext>
            </a:extLst>
          </p:cNvPr>
          <p:cNvSpPr txBox="1">
            <a:spLocks/>
          </p:cNvSpPr>
          <p:nvPr>
            <p:custDataLst>
              <p:tags r:id="rId9"/>
            </p:custDataLst>
          </p:nvPr>
        </p:nvSpPr>
        <p:spPr bwMode="gray">
          <a:xfrm>
            <a:off x="482600" y="3994150"/>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322609A-EB3A-4ECE-AAB0-D04E2BACE3E6}" type="datetime'''''''''''''''''''1''''''''.2''''''''''''''''''''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2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4" name="Text Placeholder 2">
            <a:extLst>
              <a:ext uri="{FF2B5EF4-FFF2-40B4-BE49-F238E27FC236}">
                <a16:creationId xmlns:a16="http://schemas.microsoft.com/office/drawing/2014/main" id="{476CDC31-D6CB-9D94-29A9-E8FCB448907C}"/>
              </a:ext>
            </a:extLst>
          </p:cNvPr>
          <p:cNvSpPr txBox="1">
            <a:spLocks/>
          </p:cNvSpPr>
          <p:nvPr>
            <p:custDataLst>
              <p:tags r:id="rId10"/>
            </p:custDataLst>
          </p:nvPr>
        </p:nvSpPr>
        <p:spPr bwMode="gray">
          <a:xfrm>
            <a:off x="482600" y="3743325"/>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09F171D-C192-48DE-A9D7-A660675C85A3}" type="datetime'''''1''''''.''''''''''4''''''''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4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5" name="Text Placeholder 2">
            <a:extLst>
              <a:ext uri="{FF2B5EF4-FFF2-40B4-BE49-F238E27FC236}">
                <a16:creationId xmlns:a16="http://schemas.microsoft.com/office/drawing/2014/main" id="{485CDB4F-7746-DACB-2FB5-883FE80222BF}"/>
              </a:ext>
            </a:extLst>
          </p:cNvPr>
          <p:cNvSpPr txBox="1">
            <a:spLocks/>
          </p:cNvSpPr>
          <p:nvPr>
            <p:custDataLst>
              <p:tags r:id="rId11"/>
            </p:custDataLst>
          </p:nvPr>
        </p:nvSpPr>
        <p:spPr bwMode="gray">
          <a:xfrm>
            <a:off x="482600" y="3492500"/>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CB14C5F-7B3E-41C4-964F-B74406FFE9A8}" type="datetime'''''''''''''''''''''1.''''''6''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6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6" name="Text Placeholder 2">
            <a:extLst>
              <a:ext uri="{FF2B5EF4-FFF2-40B4-BE49-F238E27FC236}">
                <a16:creationId xmlns:a16="http://schemas.microsoft.com/office/drawing/2014/main" id="{8635B8C3-357D-F010-0F24-898BCBB7F306}"/>
              </a:ext>
            </a:extLst>
          </p:cNvPr>
          <p:cNvSpPr txBox="1">
            <a:spLocks/>
          </p:cNvSpPr>
          <p:nvPr>
            <p:custDataLst>
              <p:tags r:id="rId12"/>
            </p:custDataLst>
          </p:nvPr>
        </p:nvSpPr>
        <p:spPr bwMode="gray">
          <a:xfrm>
            <a:off x="482600" y="3243263"/>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5B4516E-5B71-45CB-BCAC-315C73E937AB}" type="datetime'''''''''1.''''''''''8''''''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8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2" name="Text Placeholder 2">
            <a:extLst>
              <a:ext uri="{FF2B5EF4-FFF2-40B4-BE49-F238E27FC236}">
                <a16:creationId xmlns:a16="http://schemas.microsoft.com/office/drawing/2014/main" id="{F92657D6-E792-F59E-FD36-D23DAEDC9BB3}"/>
              </a:ext>
            </a:extLst>
          </p:cNvPr>
          <p:cNvSpPr txBox="1">
            <a:spLocks/>
          </p:cNvSpPr>
          <p:nvPr>
            <p:custDataLst>
              <p:tags r:id="rId13"/>
            </p:custDataLst>
          </p:nvPr>
        </p:nvSpPr>
        <p:spPr bwMode="gray">
          <a:xfrm>
            <a:off x="482600" y="2992438"/>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EA1C73E-4BD8-432D-9AB4-E330633071EC}"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7" name="Text Placeholder 2">
            <a:extLst>
              <a:ext uri="{FF2B5EF4-FFF2-40B4-BE49-F238E27FC236}">
                <a16:creationId xmlns:a16="http://schemas.microsoft.com/office/drawing/2014/main" id="{EA9FCC68-3FE8-73F4-EDA5-1F2EB71ACB1A}"/>
              </a:ext>
            </a:extLst>
          </p:cNvPr>
          <p:cNvSpPr txBox="1">
            <a:spLocks/>
          </p:cNvSpPr>
          <p:nvPr>
            <p:custDataLst>
              <p:tags r:id="rId14"/>
            </p:custDataLst>
          </p:nvPr>
        </p:nvSpPr>
        <p:spPr bwMode="gray">
          <a:xfrm>
            <a:off x="482600" y="2743200"/>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0D612EA-6DC7-4996-A817-955E23E36CFB}" type="datetime'''''''''''''''''2''.''''2''''''''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2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8" name="Text Placeholder 2">
            <a:extLst>
              <a:ext uri="{FF2B5EF4-FFF2-40B4-BE49-F238E27FC236}">
                <a16:creationId xmlns:a16="http://schemas.microsoft.com/office/drawing/2014/main" id="{402D7392-D116-584F-FA15-F07DAC0B7A93}"/>
              </a:ext>
            </a:extLst>
          </p:cNvPr>
          <p:cNvSpPr txBox="1">
            <a:spLocks/>
          </p:cNvSpPr>
          <p:nvPr>
            <p:custDataLst>
              <p:tags r:id="rId15"/>
            </p:custDataLst>
          </p:nvPr>
        </p:nvSpPr>
        <p:spPr bwMode="gray">
          <a:xfrm>
            <a:off x="482600" y="2492375"/>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C13BDE0-8F9B-4730-B11D-782D517808E2}" type="datetime'''''2''.''''''''''''4''''''''''''''''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4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9" name="Text Placeholder 2">
            <a:extLst>
              <a:ext uri="{FF2B5EF4-FFF2-40B4-BE49-F238E27FC236}">
                <a16:creationId xmlns:a16="http://schemas.microsoft.com/office/drawing/2014/main" id="{40406E02-3D90-32A3-CEC7-A0D3812E8FF4}"/>
              </a:ext>
            </a:extLst>
          </p:cNvPr>
          <p:cNvSpPr txBox="1">
            <a:spLocks/>
          </p:cNvSpPr>
          <p:nvPr>
            <p:custDataLst>
              <p:tags r:id="rId16"/>
            </p:custDataLst>
          </p:nvPr>
        </p:nvSpPr>
        <p:spPr bwMode="gray">
          <a:xfrm>
            <a:off x="482600" y="2243138"/>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17ECA1E-8EB7-4A38-B34B-2E5522C337C3}" type="datetime'2''''''''''.6''''''''''''''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6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0" name="Text Placeholder 2">
            <a:extLst>
              <a:ext uri="{FF2B5EF4-FFF2-40B4-BE49-F238E27FC236}">
                <a16:creationId xmlns:a16="http://schemas.microsoft.com/office/drawing/2014/main" id="{0AB2DA72-5B49-D802-E12D-583148638DC2}"/>
              </a:ext>
            </a:extLst>
          </p:cNvPr>
          <p:cNvSpPr txBox="1">
            <a:spLocks/>
          </p:cNvSpPr>
          <p:nvPr>
            <p:custDataLst>
              <p:tags r:id="rId17"/>
            </p:custDataLst>
          </p:nvPr>
        </p:nvSpPr>
        <p:spPr bwMode="gray">
          <a:xfrm>
            <a:off x="482600" y="1992313"/>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3DF30A8-1D1F-4349-8E23-D06D9DA98D5F}" type="datetime'''''''''''''2''''''''.''''''''''8''''''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8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9" name="Text Placeholder 2">
            <a:extLst>
              <a:ext uri="{FF2B5EF4-FFF2-40B4-BE49-F238E27FC236}">
                <a16:creationId xmlns:a16="http://schemas.microsoft.com/office/drawing/2014/main" id="{54C71AF2-C99E-B655-F7B5-ABC3BE3BFACE}"/>
              </a:ext>
            </a:extLst>
          </p:cNvPr>
          <p:cNvSpPr txBox="1">
            <a:spLocks/>
          </p:cNvSpPr>
          <p:nvPr>
            <p:custDataLst>
              <p:tags r:id="rId18"/>
            </p:custDataLst>
          </p:nvPr>
        </p:nvSpPr>
        <p:spPr bwMode="auto">
          <a:xfrm>
            <a:off x="762000" y="5600700"/>
            <a:ext cx="328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12am</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 name="Text Placeholder 2">
            <a:extLst>
              <a:ext uri="{FF2B5EF4-FFF2-40B4-BE49-F238E27FC236}">
                <a16:creationId xmlns:a16="http://schemas.microsoft.com/office/drawing/2014/main" id="{E2373CFD-4D14-C97A-4156-049F0F7B3C04}"/>
              </a:ext>
            </a:extLst>
          </p:cNvPr>
          <p:cNvSpPr txBox="1">
            <a:spLocks/>
          </p:cNvSpPr>
          <p:nvPr>
            <p:custDataLst>
              <p:tags r:id="rId19"/>
            </p:custDataLst>
          </p:nvPr>
        </p:nvSpPr>
        <p:spPr bwMode="auto">
          <a:xfrm>
            <a:off x="2211388" y="5600700"/>
            <a:ext cx="2587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6am</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5" name="Text Placeholder 2">
            <a:extLst>
              <a:ext uri="{FF2B5EF4-FFF2-40B4-BE49-F238E27FC236}">
                <a16:creationId xmlns:a16="http://schemas.microsoft.com/office/drawing/2014/main" id="{CE4F2335-3C7A-29C3-4FF7-BA55F63E2413}"/>
              </a:ext>
            </a:extLst>
          </p:cNvPr>
          <p:cNvSpPr txBox="1">
            <a:spLocks/>
          </p:cNvSpPr>
          <p:nvPr>
            <p:custDataLst>
              <p:tags r:id="rId20"/>
            </p:custDataLst>
          </p:nvPr>
        </p:nvSpPr>
        <p:spPr bwMode="auto">
          <a:xfrm>
            <a:off x="3873500" y="5600700"/>
            <a:ext cx="328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12pm</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8" name="Text Placeholder 2">
            <a:extLst>
              <a:ext uri="{FF2B5EF4-FFF2-40B4-BE49-F238E27FC236}">
                <a16:creationId xmlns:a16="http://schemas.microsoft.com/office/drawing/2014/main" id="{7A8A8E5B-4F73-7B10-0E91-3EDD2CC31249}"/>
              </a:ext>
            </a:extLst>
          </p:cNvPr>
          <p:cNvSpPr txBox="1">
            <a:spLocks/>
          </p:cNvSpPr>
          <p:nvPr>
            <p:custDataLst>
              <p:tags r:id="rId21"/>
            </p:custDataLst>
          </p:nvPr>
        </p:nvSpPr>
        <p:spPr bwMode="auto">
          <a:xfrm>
            <a:off x="5607051" y="5600700"/>
            <a:ext cx="2587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6pm</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7" name="Text Placeholder 2">
            <a:extLst>
              <a:ext uri="{FF2B5EF4-FFF2-40B4-BE49-F238E27FC236}">
                <a16:creationId xmlns:a16="http://schemas.microsoft.com/office/drawing/2014/main" id="{5F36ECD0-E43F-C48E-2FAB-4B90A3D16225}"/>
              </a:ext>
            </a:extLst>
          </p:cNvPr>
          <p:cNvSpPr txBox="1">
            <a:spLocks/>
          </p:cNvSpPr>
          <p:nvPr>
            <p:custDataLst>
              <p:tags r:id="rId22"/>
            </p:custDataLst>
          </p:nvPr>
        </p:nvSpPr>
        <p:spPr bwMode="auto">
          <a:xfrm>
            <a:off x="7269163" y="5600700"/>
            <a:ext cx="328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12am</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7" name="Rectangle 106">
            <a:extLst>
              <a:ext uri="{FF2B5EF4-FFF2-40B4-BE49-F238E27FC236}">
                <a16:creationId xmlns:a16="http://schemas.microsoft.com/office/drawing/2014/main" id="{F91BEAB1-85A4-2D1C-F84C-D86D0ED5BFB3}"/>
              </a:ext>
            </a:extLst>
          </p:cNvPr>
          <p:cNvSpPr/>
          <p:nvPr>
            <p:custDataLst>
              <p:tags r:id="rId23"/>
            </p:custDataLst>
          </p:nvPr>
        </p:nvSpPr>
        <p:spPr bwMode="auto">
          <a:xfrm>
            <a:off x="976313" y="5895975"/>
            <a:ext cx="179388" cy="133350"/>
          </a:xfrm>
          <a:prstGeom prst="rect">
            <a:avLst/>
          </a:prstGeom>
          <a:solidFill>
            <a:srgbClr val="D1227D"/>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8" name="Rectangle 107">
            <a:extLst>
              <a:ext uri="{FF2B5EF4-FFF2-40B4-BE49-F238E27FC236}">
                <a16:creationId xmlns:a16="http://schemas.microsoft.com/office/drawing/2014/main" id="{176BB5E4-F5DF-22D5-9D94-1C8B1EFCBAF8}"/>
              </a:ext>
            </a:extLst>
          </p:cNvPr>
          <p:cNvSpPr/>
          <p:nvPr>
            <p:custDataLst>
              <p:tags r:id="rId24"/>
            </p:custDataLst>
          </p:nvPr>
        </p:nvSpPr>
        <p:spPr bwMode="auto">
          <a:xfrm>
            <a:off x="1744663" y="5895975"/>
            <a:ext cx="179388" cy="133350"/>
          </a:xfrm>
          <a:prstGeom prst="rect">
            <a:avLst/>
          </a:prstGeom>
          <a:solidFill>
            <a:srgbClr val="80808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9" name="Rectangle 108">
            <a:extLst>
              <a:ext uri="{FF2B5EF4-FFF2-40B4-BE49-F238E27FC236}">
                <a16:creationId xmlns:a16="http://schemas.microsoft.com/office/drawing/2014/main" id="{9F08E034-8401-47B2-FF21-3CD1A251445E}"/>
              </a:ext>
            </a:extLst>
          </p:cNvPr>
          <p:cNvSpPr/>
          <p:nvPr>
            <p:custDataLst>
              <p:tags r:id="rId25"/>
            </p:custDataLst>
          </p:nvPr>
        </p:nvSpPr>
        <p:spPr bwMode="auto">
          <a:xfrm>
            <a:off x="2751138" y="5895975"/>
            <a:ext cx="179388" cy="133350"/>
          </a:xfrm>
          <a:prstGeom prst="rect">
            <a:avLst/>
          </a:prstGeom>
          <a:solidFill>
            <a:srgbClr val="00000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0" name="Rectangle 109">
            <a:extLst>
              <a:ext uri="{FF2B5EF4-FFF2-40B4-BE49-F238E27FC236}">
                <a16:creationId xmlns:a16="http://schemas.microsoft.com/office/drawing/2014/main" id="{24DBA6F5-E68B-E548-836A-387E5F605C2C}"/>
              </a:ext>
            </a:extLst>
          </p:cNvPr>
          <p:cNvSpPr/>
          <p:nvPr>
            <p:custDataLst>
              <p:tags r:id="rId26"/>
            </p:custDataLst>
          </p:nvPr>
        </p:nvSpPr>
        <p:spPr bwMode="auto">
          <a:xfrm>
            <a:off x="3343275" y="5895975"/>
            <a:ext cx="179388" cy="133350"/>
          </a:xfrm>
          <a:prstGeom prst="rect">
            <a:avLst/>
          </a:prstGeom>
          <a:solidFill>
            <a:srgbClr val="34A398"/>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1" name="Rectangle 110">
            <a:extLst>
              <a:ext uri="{FF2B5EF4-FFF2-40B4-BE49-F238E27FC236}">
                <a16:creationId xmlns:a16="http://schemas.microsoft.com/office/drawing/2014/main" id="{6D90A5F1-53D2-B3E2-6725-BF3654DEA813}"/>
              </a:ext>
            </a:extLst>
          </p:cNvPr>
          <p:cNvSpPr/>
          <p:nvPr>
            <p:custDataLst>
              <p:tags r:id="rId27"/>
            </p:custDataLst>
          </p:nvPr>
        </p:nvSpPr>
        <p:spPr bwMode="auto">
          <a:xfrm>
            <a:off x="4013200" y="5895975"/>
            <a:ext cx="179388" cy="133350"/>
          </a:xfrm>
          <a:prstGeom prst="rect">
            <a:avLst/>
          </a:prstGeom>
          <a:solidFill>
            <a:srgbClr val="9DB1CF"/>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2" name="Rectangle 111">
            <a:extLst>
              <a:ext uri="{FF2B5EF4-FFF2-40B4-BE49-F238E27FC236}">
                <a16:creationId xmlns:a16="http://schemas.microsoft.com/office/drawing/2014/main" id="{CDDA631C-319F-4AF7-8E2A-804509E0753D}"/>
              </a:ext>
            </a:extLst>
          </p:cNvPr>
          <p:cNvSpPr/>
          <p:nvPr>
            <p:custDataLst>
              <p:tags r:id="rId28"/>
            </p:custDataLst>
          </p:nvPr>
        </p:nvSpPr>
        <p:spPr bwMode="auto">
          <a:xfrm>
            <a:off x="4633913" y="5895975"/>
            <a:ext cx="179388" cy="133350"/>
          </a:xfrm>
          <a:prstGeom prst="rect">
            <a:avLst/>
          </a:prstGeom>
          <a:solidFill>
            <a:srgbClr val="FFC002"/>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3" name="Rectangle 112">
            <a:extLst>
              <a:ext uri="{FF2B5EF4-FFF2-40B4-BE49-F238E27FC236}">
                <a16:creationId xmlns:a16="http://schemas.microsoft.com/office/drawing/2014/main" id="{DA066405-9C4F-2CA7-FC25-AFD67F41B1D0}"/>
              </a:ext>
            </a:extLst>
          </p:cNvPr>
          <p:cNvSpPr/>
          <p:nvPr>
            <p:custDataLst>
              <p:tags r:id="rId29"/>
            </p:custDataLst>
          </p:nvPr>
        </p:nvSpPr>
        <p:spPr bwMode="auto">
          <a:xfrm>
            <a:off x="5260975" y="5895975"/>
            <a:ext cx="179388" cy="133350"/>
          </a:xfrm>
          <a:prstGeom prst="rect">
            <a:avLst/>
          </a:prstGeom>
          <a:solidFill>
            <a:srgbClr val="DFE5EF"/>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5" name="Text Placeholder 2">
            <a:extLst>
              <a:ext uri="{FF2B5EF4-FFF2-40B4-BE49-F238E27FC236}">
                <a16:creationId xmlns:a16="http://schemas.microsoft.com/office/drawing/2014/main" id="{BC249501-ECCC-5669-F74B-C697C3FB31ED}"/>
              </a:ext>
            </a:extLst>
          </p:cNvPr>
          <p:cNvSpPr txBox="1">
            <a:spLocks/>
          </p:cNvSpPr>
          <p:nvPr>
            <p:custDataLst>
              <p:tags r:id="rId30"/>
            </p:custDataLst>
          </p:nvPr>
        </p:nvSpPr>
        <p:spPr bwMode="auto">
          <a:xfrm>
            <a:off x="1206501" y="5903913"/>
            <a:ext cx="436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0C1405B-3581-4235-B4F8-9FAA2B6E0FF1}" type="datetime'''''''''N''''''''''''''''''''''''''''''uc''''''l''e''''a''''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Nuclear</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4" name="Text Placeholder 2">
            <a:extLst>
              <a:ext uri="{FF2B5EF4-FFF2-40B4-BE49-F238E27FC236}">
                <a16:creationId xmlns:a16="http://schemas.microsoft.com/office/drawing/2014/main" id="{142E269A-95C9-34FC-3C4E-AF293CA67CEB}"/>
              </a:ext>
            </a:extLst>
          </p:cNvPr>
          <p:cNvSpPr txBox="1">
            <a:spLocks/>
          </p:cNvSpPr>
          <p:nvPr>
            <p:custDataLst>
              <p:tags r:id="rId31"/>
            </p:custDataLst>
          </p:nvPr>
        </p:nvSpPr>
        <p:spPr bwMode="auto">
          <a:xfrm>
            <a:off x="1974850" y="5903913"/>
            <a:ext cx="674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Natural ga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2" name="Text Placeholder 2">
            <a:extLst>
              <a:ext uri="{FF2B5EF4-FFF2-40B4-BE49-F238E27FC236}">
                <a16:creationId xmlns:a16="http://schemas.microsoft.com/office/drawing/2014/main" id="{6F8241C4-1F1D-F3EF-8F46-303DB9E1A8F3}"/>
              </a:ext>
            </a:extLst>
          </p:cNvPr>
          <p:cNvSpPr txBox="1">
            <a:spLocks/>
          </p:cNvSpPr>
          <p:nvPr>
            <p:custDataLst>
              <p:tags r:id="rId32"/>
            </p:custDataLst>
          </p:nvPr>
        </p:nvSpPr>
        <p:spPr bwMode="auto">
          <a:xfrm>
            <a:off x="2981324" y="5903913"/>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D8037B6-3DB0-4144-83A8-E9D68175EC50}" type="datetime'''''''C''''''''o''''''''a''''''''l'''''''''">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Coal</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3" name="Text Placeholder 2">
            <a:extLst>
              <a:ext uri="{FF2B5EF4-FFF2-40B4-BE49-F238E27FC236}">
                <a16:creationId xmlns:a16="http://schemas.microsoft.com/office/drawing/2014/main" id="{EF4D53ED-99EC-749E-B986-055F2B221765}"/>
              </a:ext>
            </a:extLst>
          </p:cNvPr>
          <p:cNvSpPr txBox="1">
            <a:spLocks/>
          </p:cNvSpPr>
          <p:nvPr>
            <p:custDataLst>
              <p:tags r:id="rId33"/>
            </p:custDataLst>
          </p:nvPr>
        </p:nvSpPr>
        <p:spPr bwMode="auto">
          <a:xfrm>
            <a:off x="3573463" y="5903913"/>
            <a:ext cx="338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62E5E37-614F-4F0A-9855-8447CD642809}" type="datetime'''''''''''''H''''''''''yd''''''''''''''''''''''''''''r''''''o'">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Hydro</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1" name="Text Placeholder 2">
            <a:extLst>
              <a:ext uri="{FF2B5EF4-FFF2-40B4-BE49-F238E27FC236}">
                <a16:creationId xmlns:a16="http://schemas.microsoft.com/office/drawing/2014/main" id="{D5C7FF0C-11BF-B397-5698-B6C17802E896}"/>
              </a:ext>
            </a:extLst>
          </p:cNvPr>
          <p:cNvSpPr txBox="1">
            <a:spLocks/>
          </p:cNvSpPr>
          <p:nvPr>
            <p:custDataLst>
              <p:tags r:id="rId34"/>
            </p:custDataLst>
          </p:nvPr>
        </p:nvSpPr>
        <p:spPr bwMode="auto">
          <a:xfrm>
            <a:off x="4243388" y="5903913"/>
            <a:ext cx="288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6077B66-A332-4712-BC43-99E7AF520380}" type="datetime'''''''Win''''''''''''''''''''''d'''''''''''">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Wind</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0" name="Text Placeholder 2">
            <a:extLst>
              <a:ext uri="{FF2B5EF4-FFF2-40B4-BE49-F238E27FC236}">
                <a16:creationId xmlns:a16="http://schemas.microsoft.com/office/drawing/2014/main" id="{16837E6A-C9A0-58B1-0AD2-2781C3B755F3}"/>
              </a:ext>
            </a:extLst>
          </p:cNvPr>
          <p:cNvSpPr txBox="1">
            <a:spLocks/>
          </p:cNvSpPr>
          <p:nvPr>
            <p:custDataLst>
              <p:tags r:id="rId35"/>
            </p:custDataLst>
          </p:nvPr>
        </p:nvSpPr>
        <p:spPr bwMode="auto">
          <a:xfrm>
            <a:off x="4864100" y="5903913"/>
            <a:ext cx="295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EF92E86-D67E-4EEB-81A4-29A2A6E7BDAD}" type="datetime'S''''''''''o''''''l''''''''''a''''''''''''''''''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Solar</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98" name="Text Placeholder 2">
            <a:extLst>
              <a:ext uri="{FF2B5EF4-FFF2-40B4-BE49-F238E27FC236}">
                <a16:creationId xmlns:a16="http://schemas.microsoft.com/office/drawing/2014/main" id="{98AD7184-B56D-A5C4-CBA3-271F11DAB3BF}"/>
              </a:ext>
            </a:extLst>
          </p:cNvPr>
          <p:cNvSpPr txBox="1">
            <a:spLocks/>
          </p:cNvSpPr>
          <p:nvPr>
            <p:custDataLst>
              <p:tags r:id="rId36"/>
            </p:custDataLst>
          </p:nvPr>
        </p:nvSpPr>
        <p:spPr bwMode="auto">
          <a:xfrm>
            <a:off x="5491162" y="5903913"/>
            <a:ext cx="814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Other source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61" name="TextBox 160">
            <a:extLst>
              <a:ext uri="{FF2B5EF4-FFF2-40B4-BE49-F238E27FC236}">
                <a16:creationId xmlns:a16="http://schemas.microsoft.com/office/drawing/2014/main" id="{C51B6274-4322-1DF6-8414-AD89F3256161}"/>
              </a:ext>
            </a:extLst>
          </p:cNvPr>
          <p:cNvSpPr txBox="1"/>
          <p:nvPr/>
        </p:nvSpPr>
        <p:spPr bwMode="gray">
          <a:xfrm>
            <a:off x="329184" y="1557818"/>
            <a:ext cx="7272606" cy="28814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U.S. </a:t>
            </a:r>
            <a:r>
              <a:rPr lang="en-US" sz="1400" b="1">
                <a:solidFill>
                  <a:srgbClr val="000000"/>
                </a:solidFill>
                <a:latin typeface="Arial" panose="020B0604020202020204" pitchFamily="34" charset="0"/>
                <a:cs typeface="Arial" panose="020B0604020202020204" pitchFamily="34" charset="0"/>
              </a:rPr>
              <a:t>h</a:t>
            </a:r>
            <a:r>
              <a:rPr kumimoji="0" lang="en-US" sz="14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ourly</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lang="en-US" sz="1400" b="1">
                <a:solidFill>
                  <a:srgbClr val="000000"/>
                </a:solidFill>
                <a:latin typeface="Arial" panose="020B0604020202020204" pitchFamily="34" charset="0"/>
                <a:cs typeface="Arial" panose="020B0604020202020204" pitchFamily="34" charset="0"/>
              </a:rPr>
              <a:t>e</a:t>
            </a:r>
            <a:r>
              <a:rPr kumimoji="0" lang="en-US" sz="14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lectricity</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lang="en-US" sz="1400" b="1">
                <a:solidFill>
                  <a:srgbClr val="000000"/>
                </a:solidFill>
                <a:latin typeface="Arial" panose="020B0604020202020204" pitchFamily="34" charset="0"/>
                <a:cs typeface="Arial" panose="020B0604020202020204" pitchFamily="34" charset="0"/>
              </a:rPr>
              <a:t>g</a:t>
            </a:r>
            <a:r>
              <a:rPr kumimoji="0" lang="en-US" sz="14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eneration</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by source,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Wh; Feb. 27–March 4, 2025; ISO NE</a:t>
            </a: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62" name="btfpColumnHeaderBoxLine912903">
            <a:extLst>
              <a:ext uri="{FF2B5EF4-FFF2-40B4-BE49-F238E27FC236}">
                <a16:creationId xmlns:a16="http://schemas.microsoft.com/office/drawing/2014/main" id="{8B7AF203-BDE7-FEE4-6F49-2EEDCA36C1A0}"/>
              </a:ext>
            </a:extLst>
          </p:cNvPr>
          <p:cNvCxnSpPr>
            <a:cxnSpLocks/>
          </p:cNvCxnSpPr>
          <p:nvPr/>
        </p:nvCxnSpPr>
        <p:spPr bwMode="gray">
          <a:xfrm flipV="1">
            <a:off x="329184" y="1838843"/>
            <a:ext cx="701913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62A452C-E750-5683-6BE0-E64E2D25B11B}"/>
              </a:ext>
            </a:extLst>
          </p:cNvPr>
          <p:cNvSpPr txBox="1"/>
          <p:nvPr/>
        </p:nvSpPr>
        <p:spPr bwMode="gray">
          <a:xfrm>
            <a:off x="2321092" y="4998619"/>
            <a:ext cx="3318710" cy="430887"/>
          </a:xfrm>
          <a:prstGeom prst="rect">
            <a:avLst/>
          </a:prstGeom>
          <a:noFill/>
          <a:ln>
            <a:noFill/>
          </a:ln>
        </p:spPr>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lt"/>
                <a:cs typeface="Arial" panose="020B0604020202020204" pitchFamily="34" charset="0"/>
              </a:rPr>
              <a:t>Nuclear provides a 24-hour stable baseload</a:t>
            </a:r>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Speech Bubble: Rectangle with Corners Rounded 10">
            <a:extLst>
              <a:ext uri="{FF2B5EF4-FFF2-40B4-BE49-F238E27FC236}">
                <a16:creationId xmlns:a16="http://schemas.microsoft.com/office/drawing/2014/main" id="{11142DBC-4487-577C-1987-77780B496D32}"/>
              </a:ext>
            </a:extLst>
          </p:cNvPr>
          <p:cNvSpPr/>
          <p:nvPr/>
        </p:nvSpPr>
        <p:spPr bwMode="gray">
          <a:xfrm>
            <a:off x="4295775" y="1989201"/>
            <a:ext cx="1314450" cy="412622"/>
          </a:xfrm>
          <a:prstGeom prst="wedgeRectCallou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eak period covered by solar</a:t>
            </a:r>
          </a:p>
        </p:txBody>
      </p:sp>
      <p:sp>
        <p:nvSpPr>
          <p:cNvPr id="12" name="Speech Bubble: Rectangle with Corners Rounded 11">
            <a:extLst>
              <a:ext uri="{FF2B5EF4-FFF2-40B4-BE49-F238E27FC236}">
                <a16:creationId xmlns:a16="http://schemas.microsoft.com/office/drawing/2014/main" id="{91FC19A5-9D37-01F0-2521-873B66631C7B}"/>
              </a:ext>
            </a:extLst>
          </p:cNvPr>
          <p:cNvSpPr/>
          <p:nvPr/>
        </p:nvSpPr>
        <p:spPr bwMode="gray">
          <a:xfrm>
            <a:off x="1285874" y="2027300"/>
            <a:ext cx="1200150" cy="565022"/>
          </a:xfrm>
          <a:prstGeom prst="wedgeRectCallou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lt"/>
                <a:cs typeface="Arial" panose="020B0604020202020204" pitchFamily="34" charset="0"/>
              </a:rPr>
              <a:t>Wind generation is higher at night and in early morning.</a:t>
            </a: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 name="Speech Bubble: Rectangle with Corners Rounded 2">
            <a:extLst>
              <a:ext uri="{FF2B5EF4-FFF2-40B4-BE49-F238E27FC236}">
                <a16:creationId xmlns:a16="http://schemas.microsoft.com/office/drawing/2014/main" id="{CD69B0BC-6B5C-1948-A4B0-1D5EACC21A9E}"/>
              </a:ext>
            </a:extLst>
          </p:cNvPr>
          <p:cNvSpPr/>
          <p:nvPr/>
        </p:nvSpPr>
        <p:spPr bwMode="gray">
          <a:xfrm>
            <a:off x="4648199" y="2808350"/>
            <a:ext cx="1819275" cy="755522"/>
          </a:xfrm>
          <a:prstGeom prst="wedgeRectCallout">
            <a:avLst/>
          </a:prstGeom>
          <a:solidFill>
            <a:schemeClr val="accent1"/>
          </a:solidFill>
          <a:ln w="9525">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lt"/>
                <a:cs typeface="Arial" panose="020B0604020202020204" pitchFamily="34" charset="0"/>
              </a:rPr>
              <a:t>Natural gas, coal, and hydro allow dispatchable electricity generation, </a:t>
            </a:r>
            <a:r>
              <a:rPr lang="en-US" sz="1000">
                <a:solidFill>
                  <a:srgbClr val="FFFFFF"/>
                </a:solidFill>
                <a:latin typeface="Arial" panose="020B0604020202020204" pitchFamily="34" charset="0"/>
                <a:ea typeface="+mn-lt"/>
                <a:cs typeface="Arial" panose="020B0604020202020204" pitchFamily="34" charset="0"/>
              </a:rPr>
              <a:t>providing</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lt"/>
                <a:cs typeface="Arial" panose="020B0604020202020204" pitchFamily="34" charset="0"/>
              </a:rPr>
              <a:t> space for cheaper solar and wind.</a:t>
            </a: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9740774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59F5D1-1982-7667-1C79-BD3322EFB3E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AB1FE99-6D7C-D971-E978-1EACB15DC878}"/>
              </a:ext>
            </a:extLst>
          </p:cNvPr>
          <p:cNvGraphicFramePr>
            <a:graphicFrameLocks noChangeAspect="1"/>
          </p:cNvGraphicFramePr>
          <p:nvPr>
            <p:custDataLst>
              <p:tags r:id="rId2"/>
            </p:custDataLst>
            <p:extLst>
              <p:ext uri="{D42A27DB-BD31-4B8C-83A1-F6EECF244321}">
                <p14:modId xmlns:p14="http://schemas.microsoft.com/office/powerpoint/2010/main" val="3850664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592" imgH="591" progId="TCLayout.ActiveDocument.1">
                  <p:embed/>
                </p:oleObj>
              </mc:Choice>
              <mc:Fallback>
                <p:oleObj name="think-cell Slide" r:id="rId28" imgW="592" imgH="591" progId="TCLayout.ActiveDocument.1">
                  <p:embed/>
                  <p:pic>
                    <p:nvPicPr>
                      <p:cNvPr id="7" name="think-cell data - do not delete" hidden="1">
                        <a:extLst>
                          <a:ext uri="{FF2B5EF4-FFF2-40B4-BE49-F238E27FC236}">
                            <a16:creationId xmlns:a16="http://schemas.microsoft.com/office/drawing/2014/main" id="{EAB1FE99-6D7C-D971-E978-1EACB15DC87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6ADF2E73-CF67-A708-9E7F-4EAF90AF2B8F}"/>
              </a:ext>
            </a:extLst>
          </p:cNvPr>
          <p:cNvSpPr>
            <a:spLocks noGrp="1"/>
          </p:cNvSpPr>
          <p:nvPr>
            <p:ph type="title"/>
          </p:nvPr>
        </p:nvSpPr>
        <p:spPr>
          <a:xfrm>
            <a:off x="330200" y="523318"/>
            <a:ext cx="11861800" cy="882788"/>
          </a:xfrm>
        </p:spPr>
        <p:txBody>
          <a:bodyPr vert="horz">
            <a:noAutofit/>
          </a:bodyPr>
          <a:lstStyle/>
          <a:p>
            <a:r>
              <a:rPr lang="en-US"/>
              <a:t>Post-Fukushima, Germany quickly decided to shut down reactors; France maintained policy stance given its high reliance on nuclear</a:t>
            </a:r>
          </a:p>
        </p:txBody>
      </p:sp>
      <p:sp>
        <p:nvSpPr>
          <p:cNvPr id="32" name="btfpNotesBox368131">
            <a:hlinkClick r:id="rId30"/>
            <a:extLst>
              <a:ext uri="{FF2B5EF4-FFF2-40B4-BE49-F238E27FC236}">
                <a16:creationId xmlns:a16="http://schemas.microsoft.com/office/drawing/2014/main" id="{63438D60-5A52-B1CA-1451-090552F8B781}"/>
              </a:ext>
            </a:extLst>
          </p:cNvPr>
          <p:cNvSpPr txBox="1"/>
          <p:nvPr>
            <p:custDataLst>
              <p:tags r:id="rId3"/>
            </p:custDataLst>
          </p:nvPr>
        </p:nvSpPr>
        <p:spPr bwMode="gray">
          <a:xfrm>
            <a:off x="329184" y="6309360"/>
            <a:ext cx="9165493" cy="492443"/>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Embe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1"/>
              </a:rPr>
              <a:t>Electricity Data Explorer</a:t>
            </a:r>
            <a:r>
              <a:rPr kumimoji="0" lang="en-US" sz="800" b="0" i="0" u="none" strike="noStrike" kern="1200" cap="none" spc="0" normalizeH="0" baseline="0" noProof="0" dirty="0">
                <a:ln>
                  <a:noFill/>
                </a:ln>
                <a:solidFill>
                  <a:srgbClr val="000000"/>
                </a:solidFill>
                <a:effectLst/>
                <a:uLnTx/>
                <a:uFillTx/>
                <a:latin typeface="Arial"/>
                <a:ea typeface="+mn-ea"/>
                <a:cs typeface="+mn-cs"/>
              </a:rPr>
              <a:t> (2024); Columbia K=1 Project Center for Nuclear Studi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2"/>
              </a:rPr>
              <a:t>France: A Study of French Nuclear Policy After Fukushima</a:t>
            </a:r>
            <a:r>
              <a:rPr kumimoji="0" lang="en-US" sz="800" b="0" i="0" u="none" strike="noStrike" kern="1200" cap="none" spc="0" normalizeH="0" baseline="0" noProof="0" dirty="0">
                <a:ln>
                  <a:noFill/>
                </a:ln>
                <a:solidFill>
                  <a:srgbClr val="000000"/>
                </a:solidFill>
                <a:effectLst/>
                <a:uLnTx/>
                <a:uFillTx/>
                <a:latin typeface="Arial"/>
                <a:ea typeface="+mn-ea"/>
                <a:cs typeface="+mn-cs"/>
              </a:rPr>
              <a:t> (2012); Asahi Shimbu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3"/>
              </a:rPr>
              <a:t>Opposition to Nuclear Growing</a:t>
            </a:r>
            <a:r>
              <a:rPr kumimoji="0" lang="en-US" sz="800" b="0" i="0" u="none" strike="noStrike" kern="1200" cap="none" spc="0" normalizeH="0" baseline="0" noProof="0" dirty="0">
                <a:ln>
                  <a:noFill/>
                </a:ln>
                <a:solidFill>
                  <a:srgbClr val="000000"/>
                </a:solidFill>
                <a:effectLst/>
                <a:uLnTx/>
                <a:uFillTx/>
                <a:latin typeface="Arial"/>
                <a:ea typeface="+mn-ea"/>
                <a:cs typeface="+mn-cs"/>
              </a:rPr>
              <a:t> (2011); Bundestag,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4"/>
              </a:rPr>
              <a:t>The Nuclear Phase-out in Germany</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kumimoji="0" lang="en-US" sz="800" b="0" i="0" u="none" strike="noStrike" kern="1200" cap="none" spc="0" normalizeH="0" baseline="0" noProof="0" dirty="0" err="1">
                <a:ln>
                  <a:noFill/>
                </a:ln>
                <a:solidFill>
                  <a:srgbClr val="000000"/>
                </a:solidFill>
                <a:effectLst/>
                <a:uLnTx/>
                <a:uFillTx/>
                <a:latin typeface="Arial"/>
                <a:ea typeface="+mn-ea"/>
                <a:cs typeface="+mn-cs"/>
              </a:rPr>
              <a:t>Willsh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35"/>
              </a:rPr>
              <a:t>Nicolas Sarkozy makes </a:t>
            </a:r>
            <a:r>
              <a:rPr lang="en-US" sz="800" b="0" i="0" dirty="0">
                <a:solidFill>
                  <a:srgbClr val="121212"/>
                </a:solidFill>
                <a:effectLst/>
                <a:highlight>
                  <a:srgbClr val="FFFFFF"/>
                </a:highlight>
                <a:latin typeface="GH Guardian Headline"/>
                <a:hlinkClick r:id="rId35"/>
              </a:rPr>
              <a:t>€</a:t>
            </a:r>
            <a:r>
              <a:rPr kumimoji="0" lang="en-US" sz="800" b="0" i="0" u="none" strike="noStrike" kern="1200" cap="none" spc="0" normalizeH="0" baseline="0" noProof="0" dirty="0">
                <a:ln>
                  <a:noFill/>
                </a:ln>
                <a:solidFill>
                  <a:srgbClr val="000000"/>
                </a:solidFill>
                <a:effectLst/>
                <a:uLnTx/>
                <a:uFillTx/>
                <a:latin typeface="Arial"/>
                <a:hlinkClick r:id="rId35"/>
              </a:rPr>
              <a:t>1bn Commitment to Nuclear </a:t>
            </a:r>
            <a:r>
              <a:rPr lang="en-US" sz="800" dirty="0">
                <a:solidFill>
                  <a:srgbClr val="000000"/>
                </a:solidFill>
                <a:latin typeface="Arial"/>
                <a:hlinkClick r:id="rId35"/>
              </a:rPr>
              <a:t>P</a:t>
            </a:r>
            <a:r>
              <a:rPr kumimoji="0" lang="en-US" sz="800" b="0" i="0" u="none" strike="noStrike" kern="1200" cap="none" spc="0" normalizeH="0" baseline="0" noProof="0" dirty="0" err="1">
                <a:ln>
                  <a:noFill/>
                </a:ln>
                <a:solidFill>
                  <a:srgbClr val="000000"/>
                </a:solidFill>
                <a:effectLst/>
                <a:uLnTx/>
                <a:uFillTx/>
                <a:latin typeface="Arial"/>
                <a:hlinkClick r:id="rId35"/>
              </a:rPr>
              <a:t>ower</a:t>
            </a:r>
            <a:r>
              <a:rPr kumimoji="0" lang="en-US" sz="800" b="0" i="0" u="none" strike="noStrike" kern="1200" cap="none" spc="0" normalizeH="0" baseline="0" noProof="0" dirty="0">
                <a:ln>
                  <a:noFill/>
                </a:ln>
                <a:solidFill>
                  <a:srgbClr val="000000"/>
                </a:solidFill>
                <a:effectLst/>
                <a:uLnTx/>
                <a:uFillTx/>
                <a:latin typeface="Arial"/>
              </a:rPr>
              <a:t> (2011)</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inako Arai,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6"/>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7"/>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2" name="TextBox 1">
            <a:extLst>
              <a:ext uri="{FF2B5EF4-FFF2-40B4-BE49-F238E27FC236}">
                <a16:creationId xmlns:a16="http://schemas.microsoft.com/office/drawing/2014/main" id="{C908F9D2-CB1E-6ADE-9B01-AE2A4009CD77}"/>
              </a:ext>
            </a:extLst>
          </p:cNvPr>
          <p:cNvSpPr txBox="1"/>
          <p:nvPr/>
        </p:nvSpPr>
        <p:spPr bwMode="gray">
          <a:xfrm>
            <a:off x="8928101" y="1554480"/>
            <a:ext cx="2928936" cy="4365298"/>
          </a:xfrm>
          <a:prstGeom prst="rect">
            <a:avLst/>
          </a:prstGeom>
          <a:solidFill>
            <a:srgbClr val="E3E8EE"/>
          </a:solidFill>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In response to the Fukushima Daiichi disaster in March 2011, France and Germany followed a diverging policy path.</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a:rPr>
              <a:t>France: </a:t>
            </a:r>
            <a:r>
              <a:rPr kumimoji="0" lang="en-US" sz="1050" b="0" i="0" u="none" strike="noStrike" kern="1200" cap="none" spc="0" normalizeH="0" baseline="0" noProof="0">
                <a:ln>
                  <a:noFill/>
                </a:ln>
                <a:solidFill>
                  <a:srgbClr val="000000"/>
                </a:solidFill>
                <a:effectLst/>
                <a:uLnTx/>
                <a:uFillTx/>
                <a:latin typeface="Arial"/>
                <a:ea typeface="+mn-ea"/>
                <a:cs typeface="Arial"/>
              </a:rPr>
              <a:t>Then</a:t>
            </a:r>
            <a:r>
              <a:rPr lang="en-US" sz="1050">
                <a:solidFill>
                  <a:srgbClr val="000000"/>
                </a:solidFill>
                <a:latin typeface="Arial"/>
                <a:cs typeface="Arial"/>
              </a:rPr>
              <a:t>-</a:t>
            </a:r>
            <a:r>
              <a:rPr kumimoji="0" lang="en-US" sz="1050" b="0" i="0" u="none" strike="noStrike" kern="1200" cap="none" spc="0" normalizeH="0" baseline="0" noProof="0">
                <a:ln>
                  <a:noFill/>
                </a:ln>
                <a:solidFill>
                  <a:srgbClr val="000000"/>
                </a:solidFill>
                <a:effectLst/>
                <a:uLnTx/>
                <a:uFillTx/>
                <a:latin typeface="Arial"/>
                <a:ea typeface="+mn-ea"/>
                <a:cs typeface="Arial"/>
              </a:rPr>
              <a:t>President Nicolas Sarkozy stood steadfast on using nuclear power plants given that </a:t>
            </a:r>
            <a:r>
              <a:rPr kumimoji="0" lang="en-US" sz="1050" b="1" i="0" u="none" strike="noStrike" kern="1200" cap="none" spc="0" normalizeH="0" baseline="0" noProof="0">
                <a:ln>
                  <a:noFill/>
                </a:ln>
                <a:solidFill>
                  <a:srgbClr val="000000"/>
                </a:solidFill>
                <a:effectLst/>
                <a:uLnTx/>
                <a:uFillTx/>
                <a:latin typeface="Arial"/>
                <a:ea typeface="+mn-ea"/>
                <a:cs typeface="Arial"/>
              </a:rPr>
              <a:t>74% of the country’s electricity supply came from nuclear </a:t>
            </a:r>
            <a:r>
              <a:rPr kumimoji="0" lang="en-US" sz="1050" b="0" i="0" u="none" strike="noStrike" kern="1200" cap="none" spc="0" normalizeH="0" baseline="0" noProof="0">
                <a:ln>
                  <a:noFill/>
                </a:ln>
                <a:solidFill>
                  <a:srgbClr val="000000"/>
                </a:solidFill>
                <a:effectLst/>
                <a:uLnTx/>
                <a:uFillTx/>
                <a:latin typeface="Arial"/>
                <a:ea typeface="+mn-ea"/>
                <a:cs typeface="Arial"/>
              </a:rPr>
              <a:t>at that time. Despite large anti-nuclear protests, the government focused on securing jobs by keeping the plants open.</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a:rPr>
              <a:t>Germany: </a:t>
            </a:r>
            <a:r>
              <a:rPr kumimoji="0" lang="en-US" sz="1050" b="0" i="0" u="none" strike="noStrike" kern="1200" cap="none" spc="0" normalizeH="0" baseline="0" noProof="0">
                <a:ln>
                  <a:noFill/>
                </a:ln>
                <a:solidFill>
                  <a:srgbClr val="000000"/>
                </a:solidFill>
                <a:effectLst/>
                <a:uLnTx/>
                <a:uFillTx/>
                <a:latin typeface="Arial"/>
                <a:ea typeface="+mn-ea"/>
                <a:cs typeface="Arial"/>
              </a:rPr>
              <a:t>Germany had its nuclear phaseout policy from 2002</a:t>
            </a:r>
            <a:r>
              <a:rPr lang="en-US" sz="1050">
                <a:solidFill>
                  <a:srgbClr val="000000"/>
                </a:solidFill>
                <a:latin typeface="Arial"/>
                <a:cs typeface="Arial"/>
              </a:rPr>
              <a:t> </a:t>
            </a:r>
            <a:r>
              <a:rPr kumimoji="0" lang="en-US" sz="1050" b="0" i="0" u="none" strike="noStrike" kern="1200" cap="none" spc="0" normalizeH="0" baseline="0" noProof="0">
                <a:ln>
                  <a:noFill/>
                </a:ln>
                <a:solidFill>
                  <a:srgbClr val="000000"/>
                </a:solidFill>
                <a:effectLst/>
                <a:uLnTx/>
                <a:uFillTx/>
                <a:latin typeface="Arial"/>
                <a:ea typeface="+mn-ea"/>
                <a:cs typeface="Arial"/>
              </a:rPr>
              <a:t>but decided in 2010 to extend the operating life to continue using nuclear energy while shifting to renewable energy. However, three days after the Fukushima accident in 2011, Germany declared </a:t>
            </a:r>
            <a:r>
              <a:rPr kumimoji="0" lang="en-US" sz="1050" b="1" i="0" u="none" strike="noStrike" kern="1200" cap="none" spc="0" normalizeH="0" baseline="0" noProof="0">
                <a:ln>
                  <a:noFill/>
                </a:ln>
                <a:solidFill>
                  <a:srgbClr val="000000"/>
                </a:solidFill>
                <a:effectLst/>
                <a:uLnTx/>
                <a:uFillTx/>
                <a:latin typeface="Arial"/>
                <a:ea typeface="+mn-ea"/>
                <a:cs typeface="Arial"/>
              </a:rPr>
              <a:t>a three-month nuclear moratorium. </a:t>
            </a:r>
            <a:r>
              <a:rPr kumimoji="0" lang="en-US" sz="1050" b="0" i="0" u="none" strike="noStrike" kern="1200" cap="none" spc="0" normalizeH="0" baseline="0" noProof="0">
                <a:ln>
                  <a:noFill/>
                </a:ln>
                <a:solidFill>
                  <a:srgbClr val="000000"/>
                </a:solidFill>
                <a:effectLst/>
                <a:uLnTx/>
                <a:uFillTx/>
                <a:latin typeface="Arial"/>
                <a:ea typeface="+mn-ea"/>
                <a:cs typeface="Arial"/>
              </a:rPr>
              <a:t>All plants constructed pre-1980 were shut down immediately and all other operating plants underwent stress test</a:t>
            </a:r>
            <a:r>
              <a:rPr lang="en-US" sz="1050" err="1">
                <a:solidFill>
                  <a:srgbClr val="000000"/>
                </a:solidFill>
                <a:latin typeface="Arial"/>
                <a:cs typeface="Arial"/>
              </a:rPr>
              <a:t>ing</a:t>
            </a:r>
            <a:r>
              <a:rPr kumimoji="0" lang="en-US" sz="1050" b="0" i="0" u="none" strike="noStrike" kern="1200" cap="none" spc="0" normalizeH="0" baseline="0" noProof="0">
                <a:ln>
                  <a:noFill/>
                </a:ln>
                <a:solidFill>
                  <a:srgbClr val="000000"/>
                </a:solidFill>
                <a:effectLst/>
                <a:uLnTx/>
                <a:uFillTx/>
                <a:latin typeface="Arial"/>
                <a:ea typeface="+mn-ea"/>
                <a:cs typeface="Arial"/>
              </a:rPr>
              <a:t>. </a:t>
            </a:r>
          </a:p>
        </p:txBody>
      </p:sp>
      <p:graphicFrame>
        <p:nvGraphicFramePr>
          <p:cNvPr id="34" name="Chart 33">
            <a:extLst>
              <a:ext uri="{FF2B5EF4-FFF2-40B4-BE49-F238E27FC236}">
                <a16:creationId xmlns:a16="http://schemas.microsoft.com/office/drawing/2014/main" id="{B4B1C23C-2365-D46A-4CDA-7923B8FF29E2}"/>
              </a:ext>
            </a:extLst>
          </p:cNvPr>
          <p:cNvGraphicFramePr/>
          <p:nvPr>
            <p:custDataLst>
              <p:tags r:id="rId4"/>
            </p:custDataLst>
            <p:extLst>
              <p:ext uri="{D42A27DB-BD31-4B8C-83A1-F6EECF244321}">
                <p14:modId xmlns:p14="http://schemas.microsoft.com/office/powerpoint/2010/main" val="2766533236"/>
              </p:ext>
            </p:extLst>
          </p:nvPr>
        </p:nvGraphicFramePr>
        <p:xfrm>
          <a:off x="1125538" y="4322762"/>
          <a:ext cx="2527300" cy="2224340"/>
        </p:xfrm>
        <a:graphic>
          <a:graphicData uri="http://schemas.openxmlformats.org/drawingml/2006/chart">
            <c:chart xmlns:c="http://schemas.openxmlformats.org/drawingml/2006/chart" xmlns:r="http://schemas.openxmlformats.org/officeDocument/2006/relationships" r:id="rId38"/>
          </a:graphicData>
        </a:graphic>
      </p:graphicFrame>
      <p:sp>
        <p:nvSpPr>
          <p:cNvPr id="425" name="Text Placeholder 10">
            <a:extLst>
              <a:ext uri="{FF2B5EF4-FFF2-40B4-BE49-F238E27FC236}">
                <a16:creationId xmlns:a16="http://schemas.microsoft.com/office/drawing/2014/main" id="{0A9912C2-20EF-183E-0EBA-0CA4F94D0786}"/>
              </a:ext>
            </a:extLst>
          </p:cNvPr>
          <p:cNvSpPr txBox="1">
            <a:spLocks/>
          </p:cNvSpPr>
          <p:nvPr>
            <p:custDataLst>
              <p:tags r:id="rId5"/>
            </p:custDataLst>
          </p:nvPr>
        </p:nvSpPr>
        <p:spPr bwMode="auto">
          <a:xfrm>
            <a:off x="3702050" y="4951413"/>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08AB138-5012-4FC2-874D-FAD3E8F8C64A}" type="datetime'''''''''F''''''r''''''''a''''''n''''''''''c''e'' '">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France </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7" name="Text Placeholder 10">
            <a:extLst>
              <a:ext uri="{FF2B5EF4-FFF2-40B4-BE49-F238E27FC236}">
                <a16:creationId xmlns:a16="http://schemas.microsoft.com/office/drawing/2014/main" id="{ABF9A54F-F368-C5E9-6848-F42641711F92}"/>
              </a:ext>
            </a:extLst>
          </p:cNvPr>
          <p:cNvSpPr txBox="1">
            <a:spLocks/>
          </p:cNvSpPr>
          <p:nvPr>
            <p:custDataLst>
              <p:tags r:id="rId6"/>
            </p:custDataLst>
          </p:nvPr>
        </p:nvSpPr>
        <p:spPr bwMode="auto">
          <a:xfrm>
            <a:off x="3656013" y="5748338"/>
            <a:ext cx="520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56C7B0D-6148-434F-A3F1-28A2D2B60961}" type="datetime'''G''''''e''r''''''''''''''''''m''''''a''n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ermany</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51" name="btfpColumnHeaderBoxText223027">
            <a:extLst>
              <a:ext uri="{FF2B5EF4-FFF2-40B4-BE49-F238E27FC236}">
                <a16:creationId xmlns:a16="http://schemas.microsoft.com/office/drawing/2014/main" id="{09D5471E-9A06-D286-F9D9-193CA3FF6FC1}"/>
              </a:ext>
            </a:extLst>
          </p:cNvPr>
          <p:cNvSpPr txBox="1"/>
          <p:nvPr/>
        </p:nvSpPr>
        <p:spPr bwMode="gray">
          <a:xfrm>
            <a:off x="329184" y="1554480"/>
            <a:ext cx="6698774"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Electricity generation from nuclear power and number of operating reactors</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cxnSp>
        <p:nvCxnSpPr>
          <p:cNvPr id="452" name="btfpColumnHeaderBoxLine223027">
            <a:extLst>
              <a:ext uri="{FF2B5EF4-FFF2-40B4-BE49-F238E27FC236}">
                <a16:creationId xmlns:a16="http://schemas.microsoft.com/office/drawing/2014/main" id="{2D0B36AB-C07B-F455-C391-12E07F710F70}"/>
              </a:ext>
            </a:extLst>
          </p:cNvPr>
          <p:cNvCxnSpPr>
            <a:cxnSpLocks/>
          </p:cNvCxnSpPr>
          <p:nvPr/>
        </p:nvCxnSpPr>
        <p:spPr bwMode="gray">
          <a:xfrm>
            <a:off x="329183" y="1842699"/>
            <a:ext cx="832104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35" name="Chart 34">
            <a:extLst>
              <a:ext uri="{FF2B5EF4-FFF2-40B4-BE49-F238E27FC236}">
                <a16:creationId xmlns:a16="http://schemas.microsoft.com/office/drawing/2014/main" id="{B4AE537F-40F4-3856-A9A5-32D3916387C6}"/>
              </a:ext>
            </a:extLst>
          </p:cNvPr>
          <p:cNvGraphicFramePr/>
          <p:nvPr>
            <p:custDataLst>
              <p:tags r:id="rId7"/>
            </p:custDataLst>
            <p:extLst>
              <p:ext uri="{D42A27DB-BD31-4B8C-83A1-F6EECF244321}">
                <p14:modId xmlns:p14="http://schemas.microsoft.com/office/powerpoint/2010/main" val="3175349097"/>
              </p:ext>
            </p:extLst>
          </p:nvPr>
        </p:nvGraphicFramePr>
        <p:xfrm>
          <a:off x="4151313" y="4316413"/>
          <a:ext cx="3233737" cy="2230690"/>
        </p:xfrm>
        <a:graphic>
          <a:graphicData uri="http://schemas.openxmlformats.org/drawingml/2006/chart">
            <c:chart xmlns:c="http://schemas.openxmlformats.org/drawingml/2006/chart" xmlns:r="http://schemas.openxmlformats.org/officeDocument/2006/relationships" r:id="rId39"/>
          </a:graphicData>
        </a:graphic>
      </p:graphicFrame>
      <p:sp>
        <p:nvSpPr>
          <p:cNvPr id="511" name="btfpColumnHeaderBoxText223027">
            <a:extLst>
              <a:ext uri="{FF2B5EF4-FFF2-40B4-BE49-F238E27FC236}">
                <a16:creationId xmlns:a16="http://schemas.microsoft.com/office/drawing/2014/main" id="{B9CAE4C6-430C-A3BF-8A57-5BA967694B06}"/>
              </a:ext>
            </a:extLst>
          </p:cNvPr>
          <p:cNvSpPr txBox="1"/>
          <p:nvPr/>
        </p:nvSpPr>
        <p:spPr bwMode="gray">
          <a:xfrm>
            <a:off x="365760" y="4082362"/>
            <a:ext cx="6698774" cy="288925"/>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Public perception on the use of nuclear energy (%)</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cxnSp>
        <p:nvCxnSpPr>
          <p:cNvPr id="512" name="btfpColumnHeaderBoxLine223027">
            <a:extLst>
              <a:ext uri="{FF2B5EF4-FFF2-40B4-BE49-F238E27FC236}">
                <a16:creationId xmlns:a16="http://schemas.microsoft.com/office/drawing/2014/main" id="{F729D854-CE77-9EF2-B694-CBC338765BB9}"/>
              </a:ext>
            </a:extLst>
          </p:cNvPr>
          <p:cNvCxnSpPr>
            <a:cxnSpLocks/>
          </p:cNvCxnSpPr>
          <p:nvPr/>
        </p:nvCxnSpPr>
        <p:spPr bwMode="gray">
          <a:xfrm>
            <a:off x="329184" y="4373563"/>
            <a:ext cx="832104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18" name="Rectangle 517">
            <a:extLst>
              <a:ext uri="{FF2B5EF4-FFF2-40B4-BE49-F238E27FC236}">
                <a16:creationId xmlns:a16="http://schemas.microsoft.com/office/drawing/2014/main" id="{44A66598-1039-EFDC-BE71-5B2C68B1571E}"/>
              </a:ext>
            </a:extLst>
          </p:cNvPr>
          <p:cNvSpPr/>
          <p:nvPr>
            <p:custDataLst>
              <p:tags r:id="rId8"/>
            </p:custDataLst>
          </p:nvPr>
        </p:nvSpPr>
        <p:spPr bwMode="auto">
          <a:xfrm>
            <a:off x="6294438" y="4819650"/>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19" name="Rectangle 518">
            <a:extLst>
              <a:ext uri="{FF2B5EF4-FFF2-40B4-BE49-F238E27FC236}">
                <a16:creationId xmlns:a16="http://schemas.microsoft.com/office/drawing/2014/main" id="{3C843C7C-BAAA-8E52-94B4-29C7718BC75C}"/>
              </a:ext>
            </a:extLst>
          </p:cNvPr>
          <p:cNvSpPr/>
          <p:nvPr>
            <p:custDataLst>
              <p:tags r:id="rId9"/>
            </p:custDataLst>
          </p:nvPr>
        </p:nvSpPr>
        <p:spPr bwMode="auto">
          <a:xfrm>
            <a:off x="6294438" y="5022850"/>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16" name="Text Placeholder 10">
            <a:extLst>
              <a:ext uri="{FF2B5EF4-FFF2-40B4-BE49-F238E27FC236}">
                <a16:creationId xmlns:a16="http://schemas.microsoft.com/office/drawing/2014/main" id="{122FFA1E-B462-F526-A72C-F1ABBF66F637}"/>
              </a:ext>
            </a:extLst>
          </p:cNvPr>
          <p:cNvSpPr txBox="1">
            <a:spLocks/>
          </p:cNvSpPr>
          <p:nvPr>
            <p:custDataLst>
              <p:tags r:id="rId10"/>
            </p:custDataLst>
          </p:nvPr>
        </p:nvSpPr>
        <p:spPr bwMode="auto">
          <a:xfrm>
            <a:off x="6524625" y="4814888"/>
            <a:ext cx="15255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Before Fukushima disaster</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14" name="Text Placeholder 10">
            <a:extLst>
              <a:ext uri="{FF2B5EF4-FFF2-40B4-BE49-F238E27FC236}">
                <a16:creationId xmlns:a16="http://schemas.microsoft.com/office/drawing/2014/main" id="{4AF94374-C32D-A1F8-7771-9FD13C96EA6A}"/>
              </a:ext>
            </a:extLst>
          </p:cNvPr>
          <p:cNvSpPr txBox="1">
            <a:spLocks/>
          </p:cNvSpPr>
          <p:nvPr>
            <p:custDataLst>
              <p:tags r:id="rId11"/>
            </p:custDataLst>
          </p:nvPr>
        </p:nvSpPr>
        <p:spPr bwMode="auto">
          <a:xfrm>
            <a:off x="6524625" y="5018088"/>
            <a:ext cx="14208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After Fukushima disaster</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46" name="btfpColumnHeaderBoxText223027">
            <a:extLst>
              <a:ext uri="{FF2B5EF4-FFF2-40B4-BE49-F238E27FC236}">
                <a16:creationId xmlns:a16="http://schemas.microsoft.com/office/drawing/2014/main" id="{4129021B-0420-1544-F848-E4BB6E07426B}"/>
              </a:ext>
            </a:extLst>
          </p:cNvPr>
          <p:cNvSpPr txBox="1"/>
          <p:nvPr/>
        </p:nvSpPr>
        <p:spPr bwMode="gray">
          <a:xfrm>
            <a:off x="2408081" y="4379913"/>
            <a:ext cx="738465" cy="242888"/>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In favor</a:t>
            </a:r>
          </a:p>
        </p:txBody>
      </p:sp>
      <p:sp>
        <p:nvSpPr>
          <p:cNvPr id="548" name="btfpColumnHeaderBoxText223027">
            <a:extLst>
              <a:ext uri="{FF2B5EF4-FFF2-40B4-BE49-F238E27FC236}">
                <a16:creationId xmlns:a16="http://schemas.microsoft.com/office/drawing/2014/main" id="{8384DDD8-3D6A-7006-52D2-977157A12579}"/>
              </a:ext>
            </a:extLst>
          </p:cNvPr>
          <p:cNvSpPr txBox="1"/>
          <p:nvPr/>
        </p:nvSpPr>
        <p:spPr bwMode="gray">
          <a:xfrm>
            <a:off x="4671080" y="4367212"/>
            <a:ext cx="738465" cy="241300"/>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Against</a:t>
            </a:r>
          </a:p>
        </p:txBody>
      </p:sp>
      <p:graphicFrame>
        <p:nvGraphicFramePr>
          <p:cNvPr id="59" name="Chart 58"/>
          <p:cNvGraphicFramePr/>
          <p:nvPr>
            <p:custDataLst>
              <p:tags r:id="rId12"/>
            </p:custDataLst>
            <p:extLst>
              <p:ext uri="{D42A27DB-BD31-4B8C-83A1-F6EECF244321}">
                <p14:modId xmlns:p14="http://schemas.microsoft.com/office/powerpoint/2010/main" val="1025468384"/>
              </p:ext>
            </p:extLst>
          </p:nvPr>
        </p:nvGraphicFramePr>
        <p:xfrm>
          <a:off x="150813" y="2157413"/>
          <a:ext cx="8524875" cy="1868487"/>
        </p:xfrm>
        <a:graphic>
          <a:graphicData uri="http://schemas.openxmlformats.org/drawingml/2006/chart">
            <c:chart xmlns:c="http://schemas.openxmlformats.org/drawingml/2006/chart" xmlns:r="http://schemas.openxmlformats.org/officeDocument/2006/relationships" r:id="rId40"/>
          </a:graphicData>
        </a:graphic>
      </p:graphicFrame>
      <p:sp>
        <p:nvSpPr>
          <p:cNvPr id="421" name="Text Placeholder 10">
            <a:extLst>
              <a:ext uri="{FF2B5EF4-FFF2-40B4-BE49-F238E27FC236}">
                <a16:creationId xmlns:a16="http://schemas.microsoft.com/office/drawing/2014/main" id="{128F241D-914E-DBD7-C9F0-699ED711851D}"/>
              </a:ext>
            </a:extLst>
          </p:cNvPr>
          <p:cNvSpPr txBox="1">
            <a:spLocks/>
          </p:cNvSpPr>
          <p:nvPr>
            <p:custDataLst>
              <p:tags r:id="rId13"/>
            </p:custDataLst>
          </p:nvPr>
        </p:nvSpPr>
        <p:spPr bwMode="auto">
          <a:xfrm>
            <a:off x="254000" y="1982788"/>
            <a:ext cx="1389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Number of operating reactor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90" name="Text Placeholder 10">
            <a:extLst>
              <a:ext uri="{FF2B5EF4-FFF2-40B4-BE49-F238E27FC236}">
                <a16:creationId xmlns:a16="http://schemas.microsoft.com/office/drawing/2014/main" id="{DFE5E24C-D400-76CE-BE12-464714EB7F68}"/>
              </a:ext>
            </a:extLst>
          </p:cNvPr>
          <p:cNvSpPr txBox="1">
            <a:spLocks/>
          </p:cNvSpPr>
          <p:nvPr>
            <p:custDataLst>
              <p:tags r:id="rId14"/>
            </p:custDataLst>
          </p:nvPr>
        </p:nvSpPr>
        <p:spPr bwMode="auto">
          <a:xfrm>
            <a:off x="8101013" y="1982788"/>
            <a:ext cx="268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TWh</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189F358A-F1D3-2C75-87F7-4797B5746AB1}"/>
              </a:ext>
            </a:extLst>
          </p:cNvPr>
          <p:cNvSpPr txBox="1">
            <a:spLocks/>
          </p:cNvSpPr>
          <p:nvPr>
            <p:custDataLst>
              <p:tags r:id="rId15"/>
            </p:custDataLst>
          </p:nvPr>
        </p:nvSpPr>
        <p:spPr bwMode="auto">
          <a:xfrm>
            <a:off x="530225" y="3913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4B65873-C71F-4270-840E-9C65D5955CC8}"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51" name="Text Placeholder 10">
            <a:extLst>
              <a:ext uri="{FF2B5EF4-FFF2-40B4-BE49-F238E27FC236}">
                <a16:creationId xmlns:a16="http://schemas.microsoft.com/office/drawing/2014/main" id="{E992C3D5-9200-D8F0-E26B-EC90E065AF31}"/>
              </a:ext>
            </a:extLst>
          </p:cNvPr>
          <p:cNvSpPr txBox="1">
            <a:spLocks/>
          </p:cNvSpPr>
          <p:nvPr>
            <p:custDataLst>
              <p:tags r:id="rId16"/>
            </p:custDataLst>
          </p:nvPr>
        </p:nvSpPr>
        <p:spPr bwMode="auto">
          <a:xfrm>
            <a:off x="2073275" y="3913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5B500ED-9ED6-4790-BB6F-0E943FDE54BF}" type="datetime'''2''''''''''0''''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57" name="Text Placeholder 10">
            <a:extLst>
              <a:ext uri="{FF2B5EF4-FFF2-40B4-BE49-F238E27FC236}">
                <a16:creationId xmlns:a16="http://schemas.microsoft.com/office/drawing/2014/main" id="{31939F01-0791-8236-37E1-9FEFFEADFDD9}"/>
              </a:ext>
            </a:extLst>
          </p:cNvPr>
          <p:cNvSpPr txBox="1">
            <a:spLocks/>
          </p:cNvSpPr>
          <p:nvPr>
            <p:custDataLst>
              <p:tags r:id="rId17"/>
            </p:custDataLst>
          </p:nvPr>
        </p:nvSpPr>
        <p:spPr bwMode="auto">
          <a:xfrm>
            <a:off x="3614738" y="3913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AB727CD-8A35-4981-95DD-C8E6BBA4250A}"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3" name="Text Placeholder 10">
            <a:extLst>
              <a:ext uri="{FF2B5EF4-FFF2-40B4-BE49-F238E27FC236}">
                <a16:creationId xmlns:a16="http://schemas.microsoft.com/office/drawing/2014/main" id="{73FDF877-71E1-0572-1E28-7B167914ED6A}"/>
              </a:ext>
            </a:extLst>
          </p:cNvPr>
          <p:cNvSpPr txBox="1">
            <a:spLocks/>
          </p:cNvSpPr>
          <p:nvPr>
            <p:custDataLst>
              <p:tags r:id="rId18"/>
            </p:custDataLst>
          </p:nvPr>
        </p:nvSpPr>
        <p:spPr bwMode="auto">
          <a:xfrm>
            <a:off x="5157788" y="3913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C219B2A-56D4-4349-9EBE-850AA884FE98}" type="datetime'''''2''''0''''''''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9" name="Text Placeholder 10">
            <a:extLst>
              <a:ext uri="{FF2B5EF4-FFF2-40B4-BE49-F238E27FC236}">
                <a16:creationId xmlns:a16="http://schemas.microsoft.com/office/drawing/2014/main" id="{FC664673-C053-1F3B-878B-76FB1CD7E3E1}"/>
              </a:ext>
            </a:extLst>
          </p:cNvPr>
          <p:cNvSpPr txBox="1">
            <a:spLocks/>
          </p:cNvSpPr>
          <p:nvPr>
            <p:custDataLst>
              <p:tags r:id="rId19"/>
            </p:custDataLst>
          </p:nvPr>
        </p:nvSpPr>
        <p:spPr bwMode="auto">
          <a:xfrm>
            <a:off x="6699250" y="3913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0D30F5-A866-4976-816F-4F1847610C3E}"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73" name="Text Placeholder 10">
            <a:extLst>
              <a:ext uri="{FF2B5EF4-FFF2-40B4-BE49-F238E27FC236}">
                <a16:creationId xmlns:a16="http://schemas.microsoft.com/office/drawing/2014/main" id="{86917E9F-FA25-8A42-0E96-984B58878C2F}"/>
              </a:ext>
            </a:extLst>
          </p:cNvPr>
          <p:cNvSpPr txBox="1">
            <a:spLocks/>
          </p:cNvSpPr>
          <p:nvPr>
            <p:custDataLst>
              <p:tags r:id="rId20"/>
            </p:custDataLst>
          </p:nvPr>
        </p:nvSpPr>
        <p:spPr bwMode="auto">
          <a:xfrm>
            <a:off x="7934325" y="3913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CB89CB5-A37F-4299-8229-8585D7BB39CD}" type="datetime'''''''''''20''''''''''''''''''''''''''''''''''''''2''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20C35B54-8A8E-C916-EBB7-C1E63238B7A6}"/>
              </a:ext>
            </a:extLst>
          </p:cNvPr>
          <p:cNvSpPr/>
          <p:nvPr>
            <p:custDataLst>
              <p:tags r:id="rId21"/>
            </p:custDataLst>
          </p:nvPr>
        </p:nvSpPr>
        <p:spPr bwMode="auto">
          <a:xfrm>
            <a:off x="6475413" y="2114550"/>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527267F5-CAC1-3ED3-B2E7-29EDE7F14F63}"/>
              </a:ext>
            </a:extLst>
          </p:cNvPr>
          <p:cNvSpPr/>
          <p:nvPr>
            <p:custDataLst>
              <p:tags r:id="rId22"/>
            </p:custDataLst>
          </p:nvPr>
        </p:nvSpPr>
        <p:spPr bwMode="auto">
          <a:xfrm>
            <a:off x="7362825" y="2114550"/>
            <a:ext cx="179388" cy="133350"/>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6" name="Text Placeholder 10">
            <a:extLst>
              <a:ext uri="{FF2B5EF4-FFF2-40B4-BE49-F238E27FC236}">
                <a16:creationId xmlns:a16="http://schemas.microsoft.com/office/drawing/2014/main" id="{65ACB2A8-DD73-74AC-7D34-59F8E917309E}"/>
              </a:ext>
            </a:extLst>
          </p:cNvPr>
          <p:cNvSpPr txBox="1">
            <a:spLocks/>
          </p:cNvSpPr>
          <p:nvPr>
            <p:custDataLst>
              <p:tags r:id="rId23"/>
            </p:custDataLst>
          </p:nvPr>
        </p:nvSpPr>
        <p:spPr bwMode="auto">
          <a:xfrm>
            <a:off x="6705600" y="2109788"/>
            <a:ext cx="555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26186A2-780D-40D7-8F7E-91BEBD4C1C80}" type="datetime'G''''''e''''''''''''r''''''''''m''a''''''''''''''ny'''''''' '">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ermany </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 name="Text Placeholder 10">
            <a:extLst>
              <a:ext uri="{FF2B5EF4-FFF2-40B4-BE49-F238E27FC236}">
                <a16:creationId xmlns:a16="http://schemas.microsoft.com/office/drawing/2014/main" id="{8AB3EE76-FEF7-A42A-D053-7FFA2222CB78}"/>
              </a:ext>
            </a:extLst>
          </p:cNvPr>
          <p:cNvSpPr txBox="1">
            <a:spLocks/>
          </p:cNvSpPr>
          <p:nvPr>
            <p:custDataLst>
              <p:tags r:id="rId24"/>
            </p:custDataLst>
          </p:nvPr>
        </p:nvSpPr>
        <p:spPr bwMode="auto">
          <a:xfrm>
            <a:off x="7593013" y="2109788"/>
            <a:ext cx="393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A4F472D-0A0C-4ADA-92B2-C2C282E5BAD4}" type="datetime'F''''''''''''''''''''''''r''''a''''n''''''''c''''''''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France</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49" name="TextBox 348">
            <a:extLst>
              <a:ext uri="{FF2B5EF4-FFF2-40B4-BE49-F238E27FC236}">
                <a16:creationId xmlns:a16="http://schemas.microsoft.com/office/drawing/2014/main" id="{B5603A00-A16C-9871-478A-3756653F5D3A}"/>
              </a:ext>
            </a:extLst>
          </p:cNvPr>
          <p:cNvSpPr txBox="1"/>
          <p:nvPr/>
        </p:nvSpPr>
        <p:spPr bwMode="gray">
          <a:xfrm>
            <a:off x="4171333" y="1873801"/>
            <a:ext cx="2177700" cy="600164"/>
          </a:xfrm>
          <a:prstGeom prst="rect">
            <a:avLst/>
          </a:prstGeom>
          <a:noFill/>
          <a:ln>
            <a:noFill/>
          </a:ln>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0000"/>
                </a:solidFill>
                <a:effectLst/>
                <a:uLnTx/>
                <a:uFillTx/>
                <a:latin typeface="Arial"/>
                <a:ea typeface="+mn-ea"/>
                <a:cs typeface="Arial"/>
              </a:rPr>
              <a:t>March 201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0000"/>
                </a:solidFill>
                <a:effectLst/>
                <a:uLnTx/>
                <a:uFillTx/>
                <a:latin typeface="Arial"/>
                <a:ea typeface="+mn-ea"/>
                <a:cs typeface="Arial"/>
              </a:rPr>
              <a:t>Fukushima Daiichi accident</a:t>
            </a:r>
          </a:p>
        </p:txBody>
      </p:sp>
      <p:cxnSp>
        <p:nvCxnSpPr>
          <p:cNvPr id="348" name="Straight Connector 347">
            <a:extLst>
              <a:ext uri="{FF2B5EF4-FFF2-40B4-BE49-F238E27FC236}">
                <a16:creationId xmlns:a16="http://schemas.microsoft.com/office/drawing/2014/main" id="{50E5DF65-0152-775E-1DE7-0D4F9E605AAC}"/>
              </a:ext>
            </a:extLst>
          </p:cNvPr>
          <p:cNvCxnSpPr>
            <a:cxnSpLocks/>
          </p:cNvCxnSpPr>
          <p:nvPr/>
        </p:nvCxnSpPr>
        <p:spPr bwMode="gray">
          <a:xfrm>
            <a:off x="4233863" y="2076237"/>
            <a:ext cx="0" cy="1786789"/>
          </a:xfrm>
          <a:prstGeom prst="line">
            <a:avLst/>
          </a:prstGeom>
          <a:ln w="9525" cap="flat">
            <a:solidFill>
              <a:srgbClr val="FF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432645-0EF0-8EC4-0E8E-42229C38300E}"/>
              </a:ext>
            </a:extLst>
          </p:cNvPr>
          <p:cNvSpPr txBox="1"/>
          <p:nvPr/>
        </p:nvSpPr>
        <p:spPr bwMode="gray">
          <a:xfrm>
            <a:off x="1597" y="0"/>
            <a:ext cx="2926080" cy="382208"/>
          </a:xfrm>
          <a:prstGeom prst="rect">
            <a:avLst/>
          </a:prstGeom>
          <a:solidFill>
            <a:schemeClr val="bg2">
              <a:lumMod val="75000"/>
            </a:schemeClr>
          </a:solidFill>
          <a:ln w="6350">
            <a:noFill/>
            <a:prstDash val="solid"/>
          </a:ln>
        </p:spPr>
        <p:txBody>
          <a:bodyPr wrap="square" lIns="91440" tIns="91440" rIns="91440" bIns="91440" rtlCol="0" anchor="ctr">
            <a:noAutofit/>
          </a:bodyPr>
          <a:lstStyle/>
          <a:p>
            <a:pPr marL="0" indent="0" algn="ctr">
              <a:spcAft>
                <a:spcPts val="600"/>
              </a:spcAft>
              <a:buNone/>
            </a:pPr>
            <a:r>
              <a:rPr lang="en-US" sz="1200" b="1">
                <a:solidFill>
                  <a:schemeClr val="bg1"/>
                </a:solidFill>
              </a:rPr>
              <a:t>Appendix: Global policy</a:t>
            </a:r>
          </a:p>
        </p:txBody>
      </p:sp>
    </p:spTree>
    <p:custDataLst>
      <p:tags r:id="rId1"/>
    </p:custDataLst>
    <p:extLst>
      <p:ext uri="{BB962C8B-B14F-4D97-AF65-F5344CB8AC3E}">
        <p14:creationId xmlns:p14="http://schemas.microsoft.com/office/powerpoint/2010/main" val="1360855411"/>
      </p:ext>
    </p:extLst>
  </p:cSld>
  <p:clrMapOvr>
    <a:masterClrMapping/>
  </p:clrMapOvr>
  <p:extLst>
    <p:ext uri="{6950BFC3-D8DA-4A85-94F7-54DA5524770B}">
      <p188:commentRel xmlns:p188="http://schemas.microsoft.com/office/powerpoint/2018/8/main" r:id="rId27"/>
    </p:ext>
  </p:extLs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Glossary</a:t>
            </a:r>
          </a:p>
        </p:txBody>
      </p:sp>
      <p:sp>
        <p:nvSpPr>
          <p:cNvPr id="36" name="btfpNotesBox164659"/>
          <p:cNvSpPr txBox="1"/>
          <p:nvPr>
            <p:custDataLst>
              <p:tags r:id="rId3"/>
            </p:custDataLst>
          </p:nvPr>
        </p:nvSpPr>
        <p:spPr bwMode="gray">
          <a:xfrm>
            <a:off x="330200" y="6680533"/>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graphicFrame>
        <p:nvGraphicFramePr>
          <p:cNvPr id="4" name="Table 3">
            <a:extLst>
              <a:ext uri="{FF2B5EF4-FFF2-40B4-BE49-F238E27FC236}">
                <a16:creationId xmlns:a16="http://schemas.microsoft.com/office/drawing/2014/main" id="{CF237EAF-0C94-570A-5477-E261043D3494}"/>
              </a:ext>
            </a:extLst>
          </p:cNvPr>
          <p:cNvGraphicFramePr>
            <a:graphicFrameLocks noGrp="1"/>
          </p:cNvGraphicFramePr>
          <p:nvPr>
            <p:extLst>
              <p:ext uri="{D42A27DB-BD31-4B8C-83A1-F6EECF244321}">
                <p14:modId xmlns:p14="http://schemas.microsoft.com/office/powerpoint/2010/main" val="3067455290"/>
              </p:ext>
            </p:extLst>
          </p:nvPr>
        </p:nvGraphicFramePr>
        <p:xfrm>
          <a:off x="565013" y="1208023"/>
          <a:ext cx="3600933" cy="488197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ADR</a:t>
                      </a:r>
                    </a:p>
                    <a:p>
                      <a:pPr marL="0" indent="0" algn="l" rtl="0" fontAlgn="t">
                        <a:buNone/>
                      </a:pPr>
                      <a:r>
                        <a:rPr lang="en-US" sz="1200" b="1" i="0" u="none" strike="noStrike">
                          <a:solidFill>
                            <a:srgbClr val="000000"/>
                          </a:solidFill>
                          <a:effectLst/>
                          <a:latin typeface="Arial" panose="020B0604020202020204" pitchFamily="34" charset="0"/>
                        </a:rPr>
                        <a:t>APAC</a:t>
                      </a:r>
                    </a:p>
                    <a:p>
                      <a:pPr marL="0" indent="0" algn="l" rtl="0" fontAlgn="t">
                        <a:buNone/>
                      </a:pPr>
                      <a:r>
                        <a:rPr lang="en-US" sz="1200" b="1" i="0" u="none" strike="noStrike">
                          <a:solidFill>
                            <a:srgbClr val="000000"/>
                          </a:solidFill>
                          <a:effectLst/>
                          <a:latin typeface="Arial" panose="020B0604020202020204" pitchFamily="34" charset="0"/>
                        </a:rPr>
                        <a:t>AI</a:t>
                      </a:r>
                    </a:p>
                    <a:p>
                      <a:pPr marL="0" indent="0" algn="l" rtl="0" fontAlgn="t">
                        <a:buNone/>
                      </a:pPr>
                      <a:r>
                        <a:rPr lang="en-US" sz="1200" b="1" i="0" u="none" strike="noStrike">
                          <a:solidFill>
                            <a:srgbClr val="000000"/>
                          </a:solidFill>
                          <a:effectLst/>
                          <a:latin typeface="Arial" panose="020B0604020202020204" pitchFamily="34" charset="0"/>
                        </a:rPr>
                        <a:t>ARG</a:t>
                      </a:r>
                    </a:p>
                    <a:p>
                      <a:pPr marL="0" indent="0" algn="l" rtl="0" fontAlgn="t">
                        <a:buNone/>
                      </a:pPr>
                      <a:r>
                        <a:rPr lang="en-US" sz="1200" b="1" i="0" u="none" strike="noStrike">
                          <a:solidFill>
                            <a:srgbClr val="000000"/>
                          </a:solidFill>
                          <a:effectLst/>
                          <a:latin typeface="Arial" panose="020B0604020202020204" pitchFamily="34" charset="0"/>
                        </a:rPr>
                        <a:t>BWR</a:t>
                      </a:r>
                    </a:p>
                    <a:p>
                      <a:pPr marL="0" indent="0" algn="l" rtl="0" fontAlgn="t">
                        <a:buNone/>
                      </a:pPr>
                      <a:r>
                        <a:rPr lang="en-US" sz="1200" b="1" i="0" u="none" strike="noStrike">
                          <a:solidFill>
                            <a:srgbClr val="000000"/>
                          </a:solidFill>
                          <a:effectLst/>
                          <a:latin typeface="Arial" panose="020B0604020202020204" pitchFamily="34" charset="0"/>
                        </a:rPr>
                        <a:t>CAN</a:t>
                      </a:r>
                    </a:p>
                    <a:p>
                      <a:pPr marL="0" indent="0" algn="l" rtl="0" fontAlgn="t">
                        <a:buNone/>
                      </a:pPr>
                      <a:r>
                        <a:rPr lang="en-US" sz="1200" b="1" i="0" u="none" strike="noStrike" err="1">
                          <a:solidFill>
                            <a:srgbClr val="000000"/>
                          </a:solidFill>
                          <a:effectLst/>
                          <a:latin typeface="Arial" panose="020B0604020202020204" pitchFamily="34" charset="0"/>
                        </a:rPr>
                        <a:t>CapEx</a:t>
                      </a:r>
                      <a:endParaRPr lang="en-US" sz="1200" b="1" i="0" u="none" strike="noStrike">
                        <a:solidFill>
                          <a:srgbClr val="000000"/>
                        </a:solidFill>
                        <a:effectLst/>
                        <a:latin typeface="Arial" panose="020B0604020202020204" pitchFamily="34" charset="0"/>
                      </a:endParaRPr>
                    </a:p>
                    <a:p>
                      <a:pPr marL="0" indent="0" algn="l" rtl="0" fontAlgn="t">
                        <a:buNone/>
                      </a:pPr>
                      <a:r>
                        <a:rPr lang="en-US" sz="1200" b="1" i="0" u="none" strike="noStrike">
                          <a:solidFill>
                            <a:srgbClr val="000000"/>
                          </a:solidFill>
                          <a:effectLst/>
                          <a:latin typeface="Arial" panose="020B0604020202020204" pitchFamily="34" charset="0"/>
                        </a:rPr>
                        <a:t>CCUS</a:t>
                      </a:r>
                    </a:p>
                    <a:p>
                      <a:pPr marL="0" indent="0" algn="l" rtl="0" fontAlgn="t">
                        <a:buNone/>
                      </a:pPr>
                      <a:r>
                        <a:rPr lang="en-US" sz="1200" b="1" i="0" u="none" strike="noStrike">
                          <a:solidFill>
                            <a:srgbClr val="000000"/>
                          </a:solidFill>
                          <a:effectLst/>
                          <a:latin typeface="Arial" panose="020B0604020202020204" pitchFamily="34" charset="0"/>
                        </a:rPr>
                        <a:t>CFS</a:t>
                      </a:r>
                    </a:p>
                    <a:p>
                      <a:pPr marL="0" indent="0" algn="l" rtl="0" fontAlgn="t">
                        <a:buNone/>
                      </a:pPr>
                      <a:r>
                        <a:rPr lang="en-US" sz="1200" b="1" i="0" u="none" strike="noStrike">
                          <a:solidFill>
                            <a:srgbClr val="000000"/>
                          </a:solidFill>
                          <a:effectLst/>
                          <a:latin typeface="Arial" panose="020B0604020202020204" pitchFamily="34" charset="0"/>
                        </a:rPr>
                        <a:t>COP</a:t>
                      </a:r>
                    </a:p>
                    <a:p>
                      <a:pPr marL="0" indent="0" algn="l" rtl="0" fontAlgn="t">
                        <a:buNone/>
                      </a:pPr>
                      <a:r>
                        <a:rPr lang="en-US" sz="1200" b="1" i="0" u="none" strike="noStrike">
                          <a:solidFill>
                            <a:srgbClr val="000000"/>
                          </a:solidFill>
                          <a:effectLst/>
                          <a:latin typeface="Arial" panose="020B0604020202020204" pitchFamily="34" charset="0"/>
                        </a:rPr>
                        <a:t>CO</a:t>
                      </a:r>
                      <a:r>
                        <a:rPr lang="en-US" sz="1200" b="1" i="0" u="none" strike="noStrike" baseline="-25000">
                          <a:solidFill>
                            <a:srgbClr val="000000"/>
                          </a:solidFill>
                          <a:effectLst/>
                          <a:latin typeface="Arial" panose="020B0604020202020204" pitchFamily="34" charset="0"/>
                        </a:rPr>
                        <a:t>2</a:t>
                      </a:r>
                    </a:p>
                    <a:p>
                      <a:pPr marL="0" indent="0" algn="l" rtl="0" fontAlgn="t">
                        <a:buNone/>
                      </a:pPr>
                      <a:r>
                        <a:rPr lang="en-US" sz="1200" b="1" i="0" u="none" strike="noStrike">
                          <a:solidFill>
                            <a:srgbClr val="000000"/>
                          </a:solidFill>
                          <a:effectLst/>
                          <a:latin typeface="Arial" panose="020B0604020202020204" pitchFamily="34" charset="0"/>
                        </a:rPr>
                        <a:t>D-T fuel</a:t>
                      </a:r>
                    </a:p>
                    <a:p>
                      <a:pPr marL="0" indent="0" algn="l" rtl="0" fontAlgn="t">
                        <a:buNone/>
                      </a:pPr>
                      <a:r>
                        <a:rPr lang="en-US" sz="1200" b="1" i="0" u="none" strike="noStrike">
                          <a:solidFill>
                            <a:srgbClr val="000000"/>
                          </a:solidFill>
                          <a:effectLst/>
                          <a:latin typeface="Arial" panose="020B0604020202020204" pitchFamily="34" charset="0"/>
                        </a:rPr>
                        <a:t>DGD</a:t>
                      </a:r>
                    </a:p>
                    <a:p>
                      <a:pPr marL="0" indent="0" algn="l" rtl="0" fontAlgn="t">
                        <a:buNone/>
                      </a:pPr>
                      <a:r>
                        <a:rPr lang="en-US" sz="1200" b="1" i="0" u="none" strike="noStrike">
                          <a:solidFill>
                            <a:srgbClr val="000000"/>
                          </a:solidFill>
                          <a:effectLst/>
                          <a:latin typeface="Arial" panose="020B0604020202020204" pitchFamily="34" charset="0"/>
                        </a:rPr>
                        <a:t>DOE</a:t>
                      </a:r>
                    </a:p>
                    <a:p>
                      <a:pPr marL="0" indent="0" algn="l" rtl="0" fontAlgn="t">
                        <a:buNone/>
                      </a:pPr>
                      <a:r>
                        <a:rPr lang="en-US" sz="1200" b="1" i="0" u="none" strike="noStrike">
                          <a:solidFill>
                            <a:srgbClr val="000000"/>
                          </a:solidFill>
                          <a:effectLst/>
                          <a:latin typeface="Arial" panose="020B0604020202020204" pitchFamily="34" charset="0"/>
                        </a:rPr>
                        <a:t>EM</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Advanced modular reactor</a:t>
                      </a:r>
                    </a:p>
                    <a:p>
                      <a:pPr marL="0" indent="0" algn="l" rtl="0" fontAlgn="t">
                        <a:buNone/>
                      </a:pPr>
                      <a:r>
                        <a:rPr lang="en-US" sz="1200" b="0" i="0" u="none" strike="noStrike">
                          <a:solidFill>
                            <a:srgbClr val="000000"/>
                          </a:solidFill>
                          <a:effectLst/>
                          <a:latin typeface="Arial" panose="020B0604020202020204" pitchFamily="34" charset="0"/>
                        </a:rPr>
                        <a:t>Asia Pacific</a:t>
                      </a:r>
                    </a:p>
                    <a:p>
                      <a:pPr marL="0" indent="0" algn="l" rtl="0" fontAlgn="t">
                        <a:buNone/>
                      </a:pPr>
                      <a:r>
                        <a:rPr lang="en-US" sz="1200" b="0" i="0" u="none" strike="noStrike">
                          <a:solidFill>
                            <a:srgbClr val="000000"/>
                          </a:solidFill>
                          <a:effectLst/>
                          <a:latin typeface="Arial" panose="020B0604020202020204" pitchFamily="34" charset="0"/>
                        </a:rPr>
                        <a:t>Artificial intelligence </a:t>
                      </a:r>
                    </a:p>
                    <a:p>
                      <a:pPr marL="0" indent="0" algn="l" rtl="0" fontAlgn="t">
                        <a:buNone/>
                      </a:pPr>
                      <a:r>
                        <a:rPr lang="en-US" sz="1200" b="0" i="0" u="none" strike="noStrike">
                          <a:solidFill>
                            <a:srgbClr val="000000"/>
                          </a:solidFill>
                          <a:effectLst/>
                          <a:latin typeface="Arial" panose="020B0604020202020204" pitchFamily="34" charset="0"/>
                        </a:rPr>
                        <a:t>Argentina</a:t>
                      </a:r>
                    </a:p>
                    <a:p>
                      <a:pPr marL="0" indent="0" algn="l" rtl="0" fontAlgn="t">
                        <a:buNone/>
                      </a:pPr>
                      <a:r>
                        <a:rPr lang="en-US" sz="1200" b="0" i="0" u="none" strike="noStrike">
                          <a:solidFill>
                            <a:srgbClr val="000000"/>
                          </a:solidFill>
                          <a:effectLst/>
                          <a:latin typeface="Arial" panose="020B0604020202020204" pitchFamily="34" charset="0"/>
                        </a:rPr>
                        <a:t>Boiling water reactor</a:t>
                      </a:r>
                    </a:p>
                    <a:p>
                      <a:pPr marL="0" indent="0" algn="l" rtl="0" fontAlgn="t">
                        <a:buNone/>
                      </a:pPr>
                      <a:r>
                        <a:rPr lang="en-US" sz="1200" b="0" i="0" u="none" strike="noStrike">
                          <a:solidFill>
                            <a:srgbClr val="000000"/>
                          </a:solidFill>
                          <a:effectLst/>
                          <a:latin typeface="Arial" panose="020B0604020202020204" pitchFamily="34" charset="0"/>
                        </a:rPr>
                        <a:t>Canada</a:t>
                      </a:r>
                    </a:p>
                    <a:p>
                      <a:pPr marL="0" indent="0" algn="l" rtl="0" fontAlgn="t">
                        <a:buNone/>
                      </a:pPr>
                      <a:r>
                        <a:rPr lang="en-US" sz="1200" b="0" i="0" u="none" strike="noStrike">
                          <a:solidFill>
                            <a:srgbClr val="000000"/>
                          </a:solidFill>
                          <a:effectLst/>
                          <a:latin typeface="Arial" panose="020B0604020202020204" pitchFamily="34" charset="0"/>
                        </a:rPr>
                        <a:t>Capital expenditures</a:t>
                      </a:r>
                    </a:p>
                    <a:p>
                      <a:pPr marL="0" indent="0" algn="l" rtl="0" fontAlgn="t">
                        <a:buNone/>
                      </a:pPr>
                      <a:r>
                        <a:rPr lang="en-US" sz="1200" b="0" i="0" u="none" strike="noStrike">
                          <a:solidFill>
                            <a:srgbClr val="000000"/>
                          </a:solidFill>
                          <a:effectLst/>
                          <a:latin typeface="Arial" panose="020B0604020202020204" pitchFamily="34" charset="0"/>
                        </a:rPr>
                        <a:t>Carbon capture, utilization, and storage</a:t>
                      </a:r>
                    </a:p>
                    <a:p>
                      <a:pPr marL="0" indent="0" algn="l" rtl="0" fontAlgn="t">
                        <a:buNone/>
                      </a:pPr>
                      <a:r>
                        <a:rPr lang="en-US" sz="1200" b="0" i="0" u="none" strike="noStrike">
                          <a:solidFill>
                            <a:srgbClr val="000000"/>
                          </a:solidFill>
                          <a:effectLst/>
                          <a:latin typeface="Arial" panose="020B0604020202020204" pitchFamily="34" charset="0"/>
                        </a:rPr>
                        <a:t>Commonwealth Fusion Systems</a:t>
                      </a:r>
                    </a:p>
                    <a:p>
                      <a:pPr marL="0" indent="0" algn="l" rtl="0" fontAlgn="t">
                        <a:buNone/>
                      </a:pPr>
                      <a:r>
                        <a:rPr lang="en-US" sz="1200" b="0" i="0" u="none" strike="noStrike">
                          <a:solidFill>
                            <a:srgbClr val="000000"/>
                          </a:solidFill>
                          <a:effectLst/>
                          <a:latin typeface="Arial" panose="020B0604020202020204" pitchFamily="34" charset="0"/>
                        </a:rPr>
                        <a:t>Conference of the Parties</a:t>
                      </a:r>
                    </a:p>
                    <a:p>
                      <a:pPr marL="0" indent="0" algn="l" rtl="0" fontAlgn="t">
                        <a:buNone/>
                      </a:pPr>
                      <a:r>
                        <a:rPr lang="en-US" sz="1200" b="0" i="0" u="none" strike="noStrike">
                          <a:solidFill>
                            <a:srgbClr val="000000"/>
                          </a:solidFill>
                          <a:effectLst/>
                          <a:latin typeface="Arial" panose="020B0604020202020204" pitchFamily="34" charset="0"/>
                        </a:rPr>
                        <a:t>Carbon dioxide</a:t>
                      </a:r>
                    </a:p>
                    <a:p>
                      <a:pPr marL="0" indent="0" algn="l" rtl="0" fontAlgn="t">
                        <a:buNone/>
                      </a:pPr>
                      <a:r>
                        <a:rPr lang="en-US" sz="1200" b="0" i="0" u="none" strike="noStrike">
                          <a:solidFill>
                            <a:srgbClr val="000000"/>
                          </a:solidFill>
                          <a:effectLst/>
                          <a:latin typeface="Arial" panose="020B0604020202020204" pitchFamily="34" charset="0"/>
                        </a:rPr>
                        <a:t>Deuterium-tritium fusion fuel</a:t>
                      </a:r>
                    </a:p>
                    <a:p>
                      <a:pPr marL="0" indent="0" algn="l" rtl="0" fontAlgn="t">
                        <a:buNone/>
                      </a:pPr>
                      <a:r>
                        <a:rPr lang="en-US" sz="1200" b="0" i="0" u="none" strike="noStrike">
                          <a:solidFill>
                            <a:srgbClr val="000000"/>
                          </a:solidFill>
                          <a:effectLst/>
                          <a:latin typeface="Arial" panose="020B0604020202020204" pitchFamily="34" charset="0"/>
                        </a:rPr>
                        <a:t>Deep geological disposal</a:t>
                      </a:r>
                    </a:p>
                    <a:p>
                      <a:pPr marL="0" indent="0" algn="l" rtl="0" fontAlgn="t">
                        <a:buNone/>
                      </a:pPr>
                      <a:r>
                        <a:rPr lang="en-US" sz="1200" b="0" i="0" u="none" strike="noStrike">
                          <a:solidFill>
                            <a:srgbClr val="000000"/>
                          </a:solidFill>
                          <a:effectLst/>
                          <a:latin typeface="Arial" panose="020B0604020202020204" pitchFamily="34" charset="0"/>
                        </a:rPr>
                        <a:t>Department of Energy</a:t>
                      </a:r>
                    </a:p>
                    <a:p>
                      <a:pPr marL="0" indent="0" algn="l" rtl="0" fontAlgn="t">
                        <a:buNone/>
                      </a:pPr>
                      <a:r>
                        <a:rPr lang="en-US" sz="1200" b="0" i="0" u="none" strike="noStrike">
                          <a:solidFill>
                            <a:srgbClr val="000000"/>
                          </a:solidFill>
                          <a:effectLst/>
                          <a:latin typeface="Arial" panose="020B0604020202020204" pitchFamily="34" charset="0"/>
                        </a:rPr>
                        <a:t>Electromagnetic</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5" name="Table 4">
            <a:extLst>
              <a:ext uri="{FF2B5EF4-FFF2-40B4-BE49-F238E27FC236}">
                <a16:creationId xmlns:a16="http://schemas.microsoft.com/office/drawing/2014/main" id="{E72851B7-9F51-6D80-C2CA-56B48B931B26}"/>
              </a:ext>
            </a:extLst>
          </p:cNvPr>
          <p:cNvGraphicFramePr>
            <a:graphicFrameLocks noGrp="1"/>
          </p:cNvGraphicFramePr>
          <p:nvPr>
            <p:extLst>
              <p:ext uri="{D42A27DB-BD31-4B8C-83A1-F6EECF244321}">
                <p14:modId xmlns:p14="http://schemas.microsoft.com/office/powerpoint/2010/main" val="2649521116"/>
              </p:ext>
            </p:extLst>
          </p:nvPr>
        </p:nvGraphicFramePr>
        <p:xfrm>
          <a:off x="4348509" y="1208023"/>
          <a:ext cx="3912358" cy="4881973"/>
        </p:xfrm>
        <a:graphic>
          <a:graphicData uri="http://schemas.openxmlformats.org/drawingml/2006/table">
            <a:tbl>
              <a:tblPr firstRow="1" bandRow="1"/>
              <a:tblGrid>
                <a:gridCol w="733567">
                  <a:extLst>
                    <a:ext uri="{9D8B030D-6E8A-4147-A177-3AD203B41FA5}">
                      <a16:colId xmlns:a16="http://schemas.microsoft.com/office/drawing/2014/main" val="20000"/>
                    </a:ext>
                  </a:extLst>
                </a:gridCol>
                <a:gridCol w="3178791">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EPC</a:t>
                      </a:r>
                    </a:p>
                    <a:p>
                      <a:pPr marL="0" indent="0" algn="l" rtl="0" fontAlgn="t">
                        <a:buNone/>
                      </a:pPr>
                      <a:r>
                        <a:rPr lang="en-US" sz="1200" b="1" i="0" u="none" strike="noStrike">
                          <a:solidFill>
                            <a:srgbClr val="000000"/>
                          </a:solidFill>
                          <a:effectLst/>
                          <a:latin typeface="Arial" panose="020B0604020202020204" pitchFamily="34" charset="0"/>
                        </a:rPr>
                        <a:t>EPR</a:t>
                      </a:r>
                    </a:p>
                    <a:p>
                      <a:pPr marL="0" indent="0" algn="l" rtl="0" fontAlgn="t">
                        <a:buNone/>
                      </a:pPr>
                      <a:r>
                        <a:rPr lang="en-US" sz="1200" b="1" i="0" u="none" strike="noStrike">
                          <a:solidFill>
                            <a:srgbClr val="000000"/>
                          </a:solidFill>
                          <a:effectLst/>
                          <a:latin typeface="Arial" panose="020B0604020202020204" pitchFamily="34" charset="0"/>
                        </a:rPr>
                        <a:t>EU</a:t>
                      </a:r>
                    </a:p>
                    <a:p>
                      <a:pPr marL="0" indent="0" algn="l" rtl="0" fontAlgn="t">
                        <a:buNone/>
                      </a:pPr>
                      <a:r>
                        <a:rPr lang="en-US" sz="1200" b="1" i="0" u="none" strike="noStrike">
                          <a:solidFill>
                            <a:srgbClr val="000000"/>
                          </a:solidFill>
                          <a:effectLst/>
                          <a:latin typeface="Arial" panose="020B0604020202020204" pitchFamily="34" charset="0"/>
                        </a:rPr>
                        <a:t>ETS</a:t>
                      </a:r>
                    </a:p>
                    <a:p>
                      <a:pPr marL="0" indent="0" algn="l" rtl="0" fontAlgn="t">
                        <a:buNone/>
                      </a:pPr>
                      <a:r>
                        <a:rPr lang="en-US" sz="1200" b="1" i="0" u="none" strike="noStrike">
                          <a:solidFill>
                            <a:srgbClr val="000000"/>
                          </a:solidFill>
                          <a:effectLst/>
                          <a:latin typeface="Arial" panose="020B0604020202020204" pitchFamily="34" charset="0"/>
                        </a:rPr>
                        <a:t>FOAK</a:t>
                      </a:r>
                    </a:p>
                    <a:p>
                      <a:pPr marL="0" indent="0" algn="l" rtl="0" fontAlgn="t">
                        <a:buNone/>
                      </a:pPr>
                      <a:r>
                        <a:rPr lang="en-US" sz="1200" b="1" i="0" u="none" strike="noStrike">
                          <a:solidFill>
                            <a:srgbClr val="000000"/>
                          </a:solidFill>
                          <a:effectLst/>
                          <a:latin typeface="Arial" panose="020B0604020202020204" pitchFamily="34" charset="0"/>
                        </a:rPr>
                        <a:t>GHG</a:t>
                      </a:r>
                    </a:p>
                    <a:p>
                      <a:pPr marL="0" marR="0" lvl="0" indent="0" algn="l" defTabSz="711200" rtl="0" eaLnBrk="1" fontAlgn="t" latinLnBrk="0" hangingPunct="1">
                        <a:lnSpc>
                          <a:spcPct val="100000"/>
                        </a:lnSpc>
                        <a:spcBef>
                          <a:spcPts val="1200"/>
                        </a:spcBef>
                        <a:spcAft>
                          <a:spcPts val="0"/>
                        </a:spcAft>
                        <a:buClrTx/>
                        <a:buSzTx/>
                        <a:buFontTx/>
                        <a:buNone/>
                        <a:tabLst/>
                        <a:defRPr/>
                      </a:pPr>
                      <a:r>
                        <a:rPr lang="en-US" sz="1200" b="1" i="0" u="none" strike="noStrike">
                          <a:solidFill>
                            <a:srgbClr val="000000"/>
                          </a:solidFill>
                          <a:effectLst/>
                          <a:latin typeface="Arial" panose="020B0604020202020204" pitchFamily="34" charset="0"/>
                        </a:rPr>
                        <a:t>GT</a:t>
                      </a:r>
                    </a:p>
                    <a:p>
                      <a:pPr marL="0" marR="0" lvl="0" indent="0" algn="l" defTabSz="711200" rtl="0" eaLnBrk="1" fontAlgn="t" latinLnBrk="0" hangingPunct="1">
                        <a:lnSpc>
                          <a:spcPct val="100000"/>
                        </a:lnSpc>
                        <a:spcBef>
                          <a:spcPts val="1200"/>
                        </a:spcBef>
                        <a:spcAft>
                          <a:spcPts val="0"/>
                        </a:spcAft>
                        <a:buClrTx/>
                        <a:buSzTx/>
                        <a:buFontTx/>
                        <a:buNone/>
                        <a:tabLst/>
                        <a:defRPr/>
                      </a:pPr>
                      <a:r>
                        <a:rPr lang="en-US" sz="1200" b="1" i="0" u="none" strike="noStrike">
                          <a:solidFill>
                            <a:srgbClr val="000000"/>
                          </a:solidFill>
                          <a:effectLst/>
                          <a:latin typeface="Arial" panose="020B0604020202020204" pitchFamily="34" charset="0"/>
                        </a:rPr>
                        <a:t>HALEU</a:t>
                      </a:r>
                    </a:p>
                    <a:p>
                      <a:pPr marL="0" indent="0" algn="l" rtl="0" fontAlgn="t">
                        <a:buNone/>
                      </a:pPr>
                      <a:r>
                        <a:rPr lang="en-US" sz="1200" b="1" i="0" u="none" strike="noStrike">
                          <a:solidFill>
                            <a:srgbClr val="000000"/>
                          </a:solidFill>
                          <a:effectLst/>
                          <a:latin typeface="Arial" panose="020B0604020202020204" pitchFamily="34" charset="0"/>
                        </a:rPr>
                        <a:t>HTGR</a:t>
                      </a:r>
                    </a:p>
                    <a:p>
                      <a:pPr marL="0" indent="0" algn="l" rtl="0" fontAlgn="t">
                        <a:buNone/>
                      </a:pPr>
                      <a:r>
                        <a:rPr lang="en-US" sz="1200" b="1" i="0" u="none" strike="noStrike">
                          <a:solidFill>
                            <a:srgbClr val="000000"/>
                          </a:solidFill>
                          <a:effectLst/>
                          <a:latin typeface="Arial" panose="020B0604020202020204" pitchFamily="34" charset="0"/>
                        </a:rPr>
                        <a:t>HLW</a:t>
                      </a:r>
                    </a:p>
                    <a:p>
                      <a:pPr marL="0" indent="0" algn="l" rtl="0" fontAlgn="t">
                        <a:buNone/>
                      </a:pPr>
                      <a:r>
                        <a:rPr lang="en-US" sz="1200" b="1" i="0" u="none" strike="noStrike">
                          <a:solidFill>
                            <a:srgbClr val="000000"/>
                          </a:solidFill>
                          <a:effectLst/>
                          <a:latin typeface="Arial" panose="020B0604020202020204" pitchFamily="34" charset="0"/>
                        </a:rPr>
                        <a:t>IAEA</a:t>
                      </a:r>
                    </a:p>
                    <a:p>
                      <a:pPr marL="0" indent="0" algn="l" rtl="0" fontAlgn="t">
                        <a:buNone/>
                      </a:pPr>
                      <a:r>
                        <a:rPr lang="en-US" sz="1200" b="1" i="0" u="none" strike="noStrike">
                          <a:solidFill>
                            <a:srgbClr val="000000"/>
                          </a:solidFill>
                          <a:effectLst/>
                          <a:latin typeface="Arial" panose="020B0604020202020204" pitchFamily="34" charset="0"/>
                        </a:rPr>
                        <a:t>ICF</a:t>
                      </a:r>
                    </a:p>
                    <a:p>
                      <a:pPr marL="0" indent="0" algn="l" rtl="0" fontAlgn="t">
                        <a:buNone/>
                      </a:pPr>
                      <a:r>
                        <a:rPr lang="en-US" sz="1200" b="1" i="0" u="none" strike="noStrike">
                          <a:solidFill>
                            <a:srgbClr val="000000"/>
                          </a:solidFill>
                          <a:effectLst/>
                          <a:latin typeface="Arial" panose="020B0604020202020204" pitchFamily="34" charset="0"/>
                        </a:rPr>
                        <a:t>IDC</a:t>
                      </a:r>
                    </a:p>
                    <a:p>
                      <a:pPr marL="0" indent="0" algn="l" rtl="0" fontAlgn="t">
                        <a:buNone/>
                      </a:pPr>
                      <a:r>
                        <a:rPr lang="en-US" sz="1200" b="1" i="0" u="none" strike="noStrike">
                          <a:solidFill>
                            <a:srgbClr val="000000"/>
                          </a:solidFill>
                          <a:effectLst/>
                          <a:latin typeface="Arial" panose="020B0604020202020204" pitchFamily="34" charset="0"/>
                        </a:rPr>
                        <a:t>IEA</a:t>
                      </a:r>
                    </a:p>
                    <a:p>
                      <a:pPr marL="0" indent="0" algn="l" rtl="0" fontAlgn="t">
                        <a:buNone/>
                      </a:pPr>
                      <a:r>
                        <a:rPr lang="en-US" sz="1200" b="1" i="0" u="none" strike="noStrike">
                          <a:solidFill>
                            <a:srgbClr val="000000"/>
                          </a:solidFill>
                          <a:effectLst/>
                          <a:latin typeface="Arial" panose="020B0604020202020204" pitchFamily="34" charset="0"/>
                        </a:rPr>
                        <a:t>ILW</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Engineering, procurement, and construction</a:t>
                      </a:r>
                    </a:p>
                    <a:p>
                      <a:pPr marL="0" indent="0" algn="l" rtl="0" fontAlgn="t">
                        <a:buNone/>
                      </a:pPr>
                      <a:r>
                        <a:rPr lang="en-US" sz="1200" b="0" i="0" u="none" strike="noStrike">
                          <a:solidFill>
                            <a:srgbClr val="000000"/>
                          </a:solidFill>
                          <a:effectLst/>
                          <a:latin typeface="Arial" panose="020B0604020202020204" pitchFamily="34" charset="0"/>
                        </a:rPr>
                        <a:t>European pressurized reactor</a:t>
                      </a:r>
                    </a:p>
                    <a:p>
                      <a:pPr marL="0" indent="0" algn="l" rtl="0" fontAlgn="t">
                        <a:buNone/>
                      </a:pPr>
                      <a:r>
                        <a:rPr lang="en-US" sz="1200" b="0" i="0" u="none" strike="noStrike">
                          <a:solidFill>
                            <a:srgbClr val="000000"/>
                          </a:solidFill>
                          <a:effectLst/>
                          <a:latin typeface="Arial" panose="020B0604020202020204" pitchFamily="34" charset="0"/>
                        </a:rPr>
                        <a:t>European Union</a:t>
                      </a:r>
                    </a:p>
                    <a:p>
                      <a:pPr marL="0" indent="0" algn="l" rtl="0" fontAlgn="t">
                        <a:buNone/>
                      </a:pPr>
                      <a:r>
                        <a:rPr lang="en-US" sz="1200" b="0" i="0" u="none" strike="noStrike">
                          <a:solidFill>
                            <a:srgbClr val="000000"/>
                          </a:solidFill>
                          <a:effectLst/>
                          <a:latin typeface="Arial" panose="020B0604020202020204" pitchFamily="34" charset="0"/>
                        </a:rPr>
                        <a:t>Emissions Trading System</a:t>
                      </a:r>
                    </a:p>
                    <a:p>
                      <a:pPr marL="0" indent="0" algn="l" rtl="0" fontAlgn="t">
                        <a:buNone/>
                      </a:pPr>
                      <a:r>
                        <a:rPr lang="en-US" sz="1200" b="0" i="0" u="none" strike="noStrike">
                          <a:solidFill>
                            <a:srgbClr val="000000"/>
                          </a:solidFill>
                          <a:effectLst/>
                          <a:latin typeface="Arial" panose="020B0604020202020204" pitchFamily="34" charset="0"/>
                        </a:rPr>
                        <a:t>First of a kind</a:t>
                      </a:r>
                    </a:p>
                    <a:p>
                      <a:pPr marL="0" indent="0" algn="l" rtl="0" fontAlgn="t">
                        <a:buNone/>
                      </a:pPr>
                      <a:r>
                        <a:rPr lang="en-US" sz="1200" b="0" i="0" u="none" strike="noStrike">
                          <a:solidFill>
                            <a:srgbClr val="000000"/>
                          </a:solidFill>
                          <a:effectLst/>
                          <a:latin typeface="Arial" panose="020B0604020202020204" pitchFamily="34" charset="0"/>
                        </a:rPr>
                        <a:t>Greenhouse gas</a:t>
                      </a:r>
                    </a:p>
                    <a:p>
                      <a:pPr marL="0" indent="0" algn="l" rtl="0" fontAlgn="t">
                        <a:buNone/>
                      </a:pPr>
                      <a:r>
                        <a:rPr lang="en-US" sz="1200" b="0" i="0" u="none" strike="noStrike" err="1">
                          <a:solidFill>
                            <a:srgbClr val="000000"/>
                          </a:solidFill>
                          <a:effectLst/>
                          <a:latin typeface="Arial" panose="020B0604020202020204" pitchFamily="34" charset="0"/>
                        </a:rPr>
                        <a:t>Gigatonnes</a:t>
                      </a:r>
                      <a:endParaRPr lang="en-US" sz="1200" b="0" i="0" u="none" strike="noStrike">
                        <a:solidFill>
                          <a:srgbClr val="000000"/>
                        </a:solidFill>
                        <a:effectLst/>
                        <a:latin typeface="Arial" panose="020B0604020202020204" pitchFamily="34" charset="0"/>
                      </a:endParaRPr>
                    </a:p>
                    <a:p>
                      <a:pPr marL="0" indent="0" algn="l" rtl="0" fontAlgn="t">
                        <a:buNone/>
                      </a:pPr>
                      <a:r>
                        <a:rPr lang="en-US" sz="1200" b="0" i="0" u="none" strike="noStrike">
                          <a:solidFill>
                            <a:srgbClr val="000000"/>
                          </a:solidFill>
                          <a:effectLst/>
                          <a:latin typeface="Arial" panose="020B0604020202020204" pitchFamily="34" charset="0"/>
                        </a:rPr>
                        <a:t>High-assay low-enriched uranium</a:t>
                      </a:r>
                    </a:p>
                    <a:p>
                      <a:pPr marL="0" indent="0" algn="l" rtl="0" fontAlgn="t">
                        <a:buNone/>
                      </a:pPr>
                      <a:r>
                        <a:rPr lang="en-US" sz="1200" b="0" i="0" u="none" strike="noStrike">
                          <a:solidFill>
                            <a:srgbClr val="000000"/>
                          </a:solidFill>
                          <a:effectLst/>
                          <a:latin typeface="Arial" panose="020B0604020202020204" pitchFamily="34" charset="0"/>
                        </a:rPr>
                        <a:t>High-temperature gas-cooled reactor</a:t>
                      </a:r>
                    </a:p>
                    <a:p>
                      <a:pPr marL="0" indent="0" algn="l" rtl="0" fontAlgn="t">
                        <a:buNone/>
                      </a:pPr>
                      <a:r>
                        <a:rPr lang="en-US" sz="1200" b="0" i="0" u="none" strike="noStrike">
                          <a:solidFill>
                            <a:srgbClr val="000000"/>
                          </a:solidFill>
                          <a:effectLst/>
                          <a:latin typeface="Arial" panose="020B0604020202020204" pitchFamily="34" charset="0"/>
                        </a:rPr>
                        <a:t>High-level waste</a:t>
                      </a:r>
                    </a:p>
                    <a:p>
                      <a:pPr marL="0" indent="0" algn="l" rtl="0" fontAlgn="t">
                        <a:buNone/>
                      </a:pPr>
                      <a:r>
                        <a:rPr lang="en-US" sz="1200" b="0" i="0" u="none" strike="noStrike">
                          <a:solidFill>
                            <a:srgbClr val="000000"/>
                          </a:solidFill>
                          <a:effectLst/>
                          <a:latin typeface="Arial" panose="020B0604020202020204" pitchFamily="34" charset="0"/>
                        </a:rPr>
                        <a:t>International Atomic Energy Agency</a:t>
                      </a:r>
                    </a:p>
                    <a:p>
                      <a:pPr marL="0" indent="0" algn="l" rtl="0" fontAlgn="t">
                        <a:buNone/>
                      </a:pPr>
                      <a:r>
                        <a:rPr lang="en-US" sz="1200" b="0" i="0" u="none" strike="noStrike">
                          <a:solidFill>
                            <a:srgbClr val="000000"/>
                          </a:solidFill>
                          <a:effectLst/>
                          <a:latin typeface="Arial" panose="020B0604020202020204" pitchFamily="34" charset="0"/>
                        </a:rPr>
                        <a:t>Inertial confinement fusions</a:t>
                      </a:r>
                    </a:p>
                    <a:p>
                      <a:pPr marL="0" indent="0" algn="l" rtl="0" fontAlgn="t">
                        <a:buNone/>
                      </a:pPr>
                      <a:r>
                        <a:rPr lang="en-US" sz="1200" b="0" i="0" u="none" strike="noStrike">
                          <a:solidFill>
                            <a:srgbClr val="000000"/>
                          </a:solidFill>
                          <a:effectLst/>
                          <a:latin typeface="Arial" panose="020B0604020202020204" pitchFamily="34" charset="0"/>
                        </a:rPr>
                        <a:t>Interest during construction</a:t>
                      </a:r>
                    </a:p>
                    <a:p>
                      <a:pPr marL="0" indent="0" algn="l" rtl="0" fontAlgn="t">
                        <a:buNone/>
                      </a:pPr>
                      <a:r>
                        <a:rPr lang="en-US" sz="1200" b="0" i="0" u="none" strike="noStrike">
                          <a:solidFill>
                            <a:srgbClr val="000000"/>
                          </a:solidFill>
                          <a:effectLst/>
                          <a:latin typeface="Arial" panose="020B0604020202020204" pitchFamily="34" charset="0"/>
                        </a:rPr>
                        <a:t>International Energy Agency</a:t>
                      </a:r>
                    </a:p>
                    <a:p>
                      <a:pPr marL="0" indent="0" algn="l" rtl="0" fontAlgn="t">
                        <a:buNone/>
                      </a:pPr>
                      <a:r>
                        <a:rPr lang="en-US" sz="1200" b="0" i="0" u="none" strike="noStrike">
                          <a:solidFill>
                            <a:srgbClr val="000000"/>
                          </a:solidFill>
                          <a:effectLst/>
                          <a:latin typeface="Arial" panose="020B0604020202020204" pitchFamily="34" charset="0"/>
                        </a:rPr>
                        <a:t>Intermediate-level waste</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9" name="Table 8">
            <a:extLst>
              <a:ext uri="{FF2B5EF4-FFF2-40B4-BE49-F238E27FC236}">
                <a16:creationId xmlns:a16="http://schemas.microsoft.com/office/drawing/2014/main" id="{F119C1ED-8CAD-5A59-6DE2-AD19E21495AE}"/>
              </a:ext>
            </a:extLst>
          </p:cNvPr>
          <p:cNvGraphicFramePr>
            <a:graphicFrameLocks noGrp="1"/>
          </p:cNvGraphicFramePr>
          <p:nvPr>
            <p:extLst>
              <p:ext uri="{D42A27DB-BD31-4B8C-83A1-F6EECF244321}">
                <p14:modId xmlns:p14="http://schemas.microsoft.com/office/powerpoint/2010/main" val="204328281"/>
              </p:ext>
            </p:extLst>
          </p:nvPr>
        </p:nvGraphicFramePr>
        <p:xfrm>
          <a:off x="8260867" y="1231853"/>
          <a:ext cx="3783496" cy="4211413"/>
        </p:xfrm>
        <a:graphic>
          <a:graphicData uri="http://schemas.openxmlformats.org/drawingml/2006/table">
            <a:tbl>
              <a:tblPr firstRow="1" bandRow="1"/>
              <a:tblGrid>
                <a:gridCol w="709406">
                  <a:extLst>
                    <a:ext uri="{9D8B030D-6E8A-4147-A177-3AD203B41FA5}">
                      <a16:colId xmlns:a16="http://schemas.microsoft.com/office/drawing/2014/main" val="20000"/>
                    </a:ext>
                  </a:extLst>
                </a:gridCol>
                <a:gridCol w="3074090">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dirty="0">
                          <a:solidFill>
                            <a:srgbClr val="000000"/>
                          </a:solidFill>
                          <a:effectLst/>
                          <a:latin typeface="Arial" panose="020B0604020202020204" pitchFamily="34" charset="0"/>
                        </a:rPr>
                        <a:t>IRA</a:t>
                      </a:r>
                    </a:p>
                    <a:p>
                      <a:pPr marL="0" indent="0" algn="l" rtl="0" fontAlgn="t">
                        <a:buNone/>
                      </a:pPr>
                      <a:r>
                        <a:rPr lang="en-US" sz="1200" b="1" i="0" u="none" strike="noStrike" dirty="0">
                          <a:solidFill>
                            <a:srgbClr val="000000"/>
                          </a:solidFill>
                          <a:effectLst/>
                          <a:latin typeface="Arial" panose="020B0604020202020204" pitchFamily="34" charset="0"/>
                        </a:rPr>
                        <a:t>ITC</a:t>
                      </a:r>
                    </a:p>
                    <a:p>
                      <a:pPr marL="0" indent="0" algn="l" rtl="0" fontAlgn="t">
                        <a:buNone/>
                      </a:pPr>
                      <a:r>
                        <a:rPr lang="en-US" sz="1200" b="1" i="0" u="none" strike="noStrike" dirty="0">
                          <a:solidFill>
                            <a:srgbClr val="000000"/>
                          </a:solidFill>
                          <a:effectLst/>
                          <a:latin typeface="Arial" panose="020B0604020202020204" pitchFamily="34" charset="0"/>
                        </a:rPr>
                        <a:t>JAP</a:t>
                      </a:r>
                    </a:p>
                    <a:p>
                      <a:pPr marL="0" indent="0" algn="l" rtl="0" fontAlgn="t">
                        <a:buNone/>
                      </a:pPr>
                      <a:r>
                        <a:rPr lang="en-US" sz="1200" b="1" i="0" u="none" strike="noStrike" dirty="0">
                          <a:solidFill>
                            <a:srgbClr val="000000"/>
                          </a:solidFill>
                          <a:effectLst/>
                          <a:latin typeface="Arial" panose="020B0604020202020204" pitchFamily="34" charset="0"/>
                        </a:rPr>
                        <a:t>JET</a:t>
                      </a:r>
                    </a:p>
                    <a:p>
                      <a:pPr marL="0" indent="0" algn="l" rtl="0" fontAlgn="t">
                        <a:buNone/>
                      </a:pPr>
                      <a:r>
                        <a:rPr lang="en-US" sz="1200" b="1" i="0" u="none" strike="noStrike" dirty="0">
                          <a:solidFill>
                            <a:srgbClr val="000000"/>
                          </a:solidFill>
                          <a:effectLst/>
                          <a:latin typeface="Arial" panose="020B0604020202020204" pitchFamily="34" charset="0"/>
                        </a:rPr>
                        <a:t>kWh</a:t>
                      </a:r>
                    </a:p>
                    <a:p>
                      <a:pPr marL="0" indent="0" algn="l" rtl="0" fontAlgn="t">
                        <a:buNone/>
                      </a:pPr>
                      <a:r>
                        <a:rPr lang="en-US" sz="1200" b="1" i="0" u="none" strike="noStrike" dirty="0">
                          <a:solidFill>
                            <a:srgbClr val="000000"/>
                          </a:solidFill>
                          <a:effectLst/>
                          <a:latin typeface="Arial" panose="020B0604020202020204" pitchFamily="34" charset="0"/>
                        </a:rPr>
                        <a:t>LCOE</a:t>
                      </a:r>
                    </a:p>
                    <a:p>
                      <a:pPr marL="0" indent="0" algn="l" rtl="0" fontAlgn="t">
                        <a:buNone/>
                      </a:pPr>
                      <a:r>
                        <a:rPr lang="en-US" sz="1200" b="1" i="0" u="none" strike="noStrike" dirty="0">
                          <a:solidFill>
                            <a:srgbClr val="000000"/>
                          </a:solidFill>
                          <a:effectLst/>
                          <a:latin typeface="Arial" panose="020B0604020202020204" pitchFamily="34" charset="0"/>
                        </a:rPr>
                        <a:t>LCOH</a:t>
                      </a:r>
                    </a:p>
                    <a:p>
                      <a:pPr marL="0" marR="0" lvl="0" indent="0" algn="l" defTabSz="711200" rtl="0" eaLnBrk="1" fontAlgn="t" latinLnBrk="0" hangingPunct="1">
                        <a:lnSpc>
                          <a:spcPct val="100000"/>
                        </a:lnSpc>
                        <a:spcBef>
                          <a:spcPts val="1200"/>
                        </a:spcBef>
                        <a:spcAft>
                          <a:spcPts val="0"/>
                        </a:spcAft>
                        <a:buClrTx/>
                        <a:buSzTx/>
                        <a:buFontTx/>
                        <a:buNone/>
                        <a:tabLst/>
                        <a:defRPr/>
                      </a:pPr>
                      <a:r>
                        <a:rPr lang="en-US" sz="1200" b="1" i="0" u="none" strike="noStrike" dirty="0">
                          <a:solidFill>
                            <a:srgbClr val="000000"/>
                          </a:solidFill>
                          <a:effectLst/>
                          <a:latin typeface="Arial" panose="020B0604020202020204" pitchFamily="34" charset="0"/>
                        </a:rPr>
                        <a:t>LEU</a:t>
                      </a:r>
                    </a:p>
                    <a:p>
                      <a:pPr marL="0" marR="0" lvl="0" indent="0" algn="l" defTabSz="711200" rtl="0" eaLnBrk="1" fontAlgn="t" latinLnBrk="0" hangingPunct="1">
                        <a:lnSpc>
                          <a:spcPct val="100000"/>
                        </a:lnSpc>
                        <a:spcBef>
                          <a:spcPts val="1200"/>
                        </a:spcBef>
                        <a:spcAft>
                          <a:spcPts val="0"/>
                        </a:spcAft>
                        <a:buClrTx/>
                        <a:buSzTx/>
                        <a:buFontTx/>
                        <a:buNone/>
                        <a:tabLst/>
                        <a:defRPr/>
                      </a:pPr>
                      <a:r>
                        <a:rPr lang="en-US" sz="1200" b="1" i="0" u="none" strike="noStrike" dirty="0">
                          <a:solidFill>
                            <a:srgbClr val="000000"/>
                          </a:solidFill>
                          <a:effectLst/>
                          <a:latin typeface="Arial" panose="020B0604020202020204" pitchFamily="34" charset="0"/>
                        </a:rPr>
                        <a:t>LMR</a:t>
                      </a:r>
                    </a:p>
                    <a:p>
                      <a:pPr marL="0" marR="0" lvl="0" indent="0" algn="l" defTabSz="711200" rtl="0" eaLnBrk="1" fontAlgn="t" latinLnBrk="0" hangingPunct="1">
                        <a:lnSpc>
                          <a:spcPct val="100000"/>
                        </a:lnSpc>
                        <a:spcBef>
                          <a:spcPts val="1200"/>
                        </a:spcBef>
                        <a:spcAft>
                          <a:spcPts val="0"/>
                        </a:spcAft>
                        <a:buClrTx/>
                        <a:buSzTx/>
                        <a:buFontTx/>
                        <a:buNone/>
                        <a:tabLst/>
                        <a:defRPr/>
                      </a:pPr>
                      <a:r>
                        <a:rPr lang="en-US" sz="1200" b="1" i="0" u="none" strike="noStrike" dirty="0">
                          <a:solidFill>
                            <a:srgbClr val="000000"/>
                          </a:solidFill>
                          <a:effectLst/>
                          <a:latin typeface="Arial" panose="020B0604020202020204" pitchFamily="34" charset="0"/>
                        </a:rPr>
                        <a:t>LLW</a:t>
                      </a:r>
                    </a:p>
                    <a:p>
                      <a:pPr marL="0" indent="0" algn="l" rtl="0" fontAlgn="t">
                        <a:buNone/>
                      </a:pPr>
                      <a:r>
                        <a:rPr lang="en-US" sz="1200" b="1" i="0" u="none" strike="noStrike" dirty="0">
                          <a:solidFill>
                            <a:srgbClr val="000000"/>
                          </a:solidFill>
                          <a:effectLst/>
                          <a:latin typeface="Arial" panose="020B0604020202020204" pitchFamily="34" charset="0"/>
                        </a:rPr>
                        <a:t>LULCF</a:t>
                      </a:r>
                    </a:p>
                    <a:p>
                      <a:pPr marL="0" indent="0" algn="l" rtl="0" fontAlgn="t">
                        <a:buNone/>
                      </a:pPr>
                      <a:r>
                        <a:rPr lang="en-US" sz="1200" b="1" i="0" u="none" strike="noStrike" dirty="0">
                          <a:solidFill>
                            <a:srgbClr val="000000"/>
                          </a:solidFill>
                          <a:effectLst/>
                          <a:latin typeface="Arial" panose="020B0604020202020204" pitchFamily="34" charset="0"/>
                        </a:rPr>
                        <a:t>LWR</a:t>
                      </a:r>
                    </a:p>
                    <a:p>
                      <a:pPr marL="0" indent="0" algn="l" rtl="0" fontAlgn="t">
                        <a:buNone/>
                      </a:pPr>
                      <a:r>
                        <a:rPr lang="en-US" sz="1200" b="1" i="0" u="none" strike="noStrike" dirty="0">
                          <a:solidFill>
                            <a:srgbClr val="000000"/>
                          </a:solidFill>
                          <a:effectLst/>
                          <a:latin typeface="Arial" panose="020B0604020202020204" pitchFamily="34" charset="0"/>
                        </a:rPr>
                        <a:t>MCF</a:t>
                      </a:r>
                    </a:p>
                  </a:txBody>
                  <a:tcPr marL="5173" marR="5173" marT="5173" marB="0">
                    <a:lnL>
                      <a:noFill/>
                    </a:lnL>
                    <a:lnR>
                      <a:noFill/>
                    </a:lnR>
                    <a:lnT>
                      <a:noFill/>
                    </a:lnT>
                    <a:lnB>
                      <a:noFill/>
                    </a:lnB>
                  </a:tcPr>
                </a:tc>
                <a:tc>
                  <a:txBody>
                    <a:bodyPr/>
                    <a:lstStyle/>
                    <a:p>
                      <a:pPr marL="0" indent="0" algn="l" rtl="0" fontAlgn="t">
                        <a:buNone/>
                      </a:pPr>
                      <a:r>
                        <a:rPr lang="en-US" sz="1200" b="0" i="0" u="none" strike="noStrike" dirty="0">
                          <a:solidFill>
                            <a:srgbClr val="000000"/>
                          </a:solidFill>
                          <a:effectLst/>
                          <a:latin typeface="Arial" panose="020B0604020202020204" pitchFamily="34" charset="0"/>
                        </a:rPr>
                        <a:t>Inflation Reduction Act</a:t>
                      </a:r>
                    </a:p>
                    <a:p>
                      <a:pPr marL="0" indent="0" algn="l" rtl="0" fontAlgn="t">
                        <a:buNone/>
                      </a:pPr>
                      <a:r>
                        <a:rPr lang="en-US" sz="1200" b="0" i="0" u="none" strike="noStrike" dirty="0">
                          <a:solidFill>
                            <a:srgbClr val="000000"/>
                          </a:solidFill>
                          <a:effectLst/>
                          <a:latin typeface="Arial" panose="020B0604020202020204" pitchFamily="34" charset="0"/>
                        </a:rPr>
                        <a:t>Investment Tax Credit</a:t>
                      </a:r>
                    </a:p>
                    <a:p>
                      <a:pPr marL="0" indent="0" algn="l" rtl="0" fontAlgn="t">
                        <a:buNone/>
                      </a:pPr>
                      <a:r>
                        <a:rPr lang="en-US" sz="1200" b="0" i="0" u="none" strike="noStrike" dirty="0">
                          <a:solidFill>
                            <a:srgbClr val="000000"/>
                          </a:solidFill>
                          <a:effectLst/>
                          <a:latin typeface="Arial" panose="020B0604020202020204" pitchFamily="34" charset="0"/>
                        </a:rPr>
                        <a:t>Japan</a:t>
                      </a:r>
                    </a:p>
                    <a:p>
                      <a:pPr marL="0" indent="0" algn="l" rtl="0" fontAlgn="t">
                        <a:buNone/>
                      </a:pPr>
                      <a:r>
                        <a:rPr lang="en-US" sz="1200" b="0" i="0" u="none" strike="noStrike" dirty="0">
                          <a:solidFill>
                            <a:srgbClr val="000000"/>
                          </a:solidFill>
                          <a:effectLst/>
                          <a:latin typeface="Arial" panose="020B0604020202020204" pitchFamily="34" charset="0"/>
                        </a:rPr>
                        <a:t>Joint European Torus</a:t>
                      </a:r>
                    </a:p>
                    <a:p>
                      <a:pPr marL="0" indent="0" algn="l" rtl="0" fontAlgn="t">
                        <a:buNone/>
                      </a:pPr>
                      <a:r>
                        <a:rPr lang="en-US" sz="1200" b="0" i="0" u="none" strike="noStrike" dirty="0">
                          <a:solidFill>
                            <a:srgbClr val="000000"/>
                          </a:solidFill>
                          <a:effectLst/>
                          <a:latin typeface="Arial" panose="020B0604020202020204" pitchFamily="34" charset="0"/>
                        </a:rPr>
                        <a:t>Kilowatt-hour</a:t>
                      </a:r>
                    </a:p>
                    <a:p>
                      <a:pPr marL="0" indent="0" algn="l" rtl="0" fontAlgn="t">
                        <a:buNone/>
                      </a:pPr>
                      <a:r>
                        <a:rPr lang="en-US" sz="1200" b="0" i="0" u="none" strike="noStrike" dirty="0">
                          <a:solidFill>
                            <a:srgbClr val="000000"/>
                          </a:solidFill>
                          <a:effectLst/>
                          <a:latin typeface="Arial" panose="020B0604020202020204" pitchFamily="34" charset="0"/>
                        </a:rPr>
                        <a:t>Levelized cost of energy</a:t>
                      </a:r>
                    </a:p>
                    <a:p>
                      <a:pPr marL="0" indent="0" algn="l" rtl="0" fontAlgn="t">
                        <a:buNone/>
                      </a:pPr>
                      <a:r>
                        <a:rPr lang="en-US" sz="1200" b="0" i="0" u="none" strike="noStrike" dirty="0">
                          <a:solidFill>
                            <a:srgbClr val="000000"/>
                          </a:solidFill>
                          <a:effectLst/>
                          <a:latin typeface="Arial" panose="020B0604020202020204" pitchFamily="34" charset="0"/>
                        </a:rPr>
                        <a:t>Levelized cost of hydrogen</a:t>
                      </a:r>
                    </a:p>
                    <a:p>
                      <a:pPr marL="0" indent="0" algn="l" rtl="0" fontAlgn="t">
                        <a:buNone/>
                      </a:pPr>
                      <a:r>
                        <a:rPr lang="en-US" sz="1200" b="0" i="0" u="none" strike="noStrike" dirty="0">
                          <a:solidFill>
                            <a:srgbClr val="000000"/>
                          </a:solidFill>
                          <a:effectLst/>
                          <a:latin typeface="Arial" panose="020B0604020202020204" pitchFamily="34" charset="0"/>
                        </a:rPr>
                        <a:t>Low-enriched uranium</a:t>
                      </a:r>
                    </a:p>
                    <a:p>
                      <a:pPr marL="0" indent="0" algn="l" rtl="0" fontAlgn="t">
                        <a:buNone/>
                      </a:pPr>
                      <a:r>
                        <a:rPr lang="en-US" sz="1200" b="0" i="0" u="none" strike="noStrike" dirty="0">
                          <a:solidFill>
                            <a:srgbClr val="000000"/>
                          </a:solidFill>
                          <a:effectLst/>
                          <a:latin typeface="Arial" panose="020B0604020202020204" pitchFamily="34" charset="0"/>
                        </a:rPr>
                        <a:t>Liquid metal reactor</a:t>
                      </a:r>
                    </a:p>
                    <a:p>
                      <a:pPr marL="0" marR="0" lvl="0" indent="0" algn="l" defTabSz="711200" rtl="0" eaLnBrk="1" fontAlgn="t" latinLnBrk="0" hangingPunct="1">
                        <a:lnSpc>
                          <a:spcPct val="100000"/>
                        </a:lnSpc>
                        <a:spcBef>
                          <a:spcPts val="1200"/>
                        </a:spcBef>
                        <a:spcAft>
                          <a:spcPts val="0"/>
                        </a:spcAft>
                        <a:buClrTx/>
                        <a:buSzTx/>
                        <a:buFontTx/>
                        <a:buNone/>
                        <a:tabLst/>
                        <a:defRPr/>
                      </a:pPr>
                      <a:r>
                        <a:rPr lang="en-US" sz="1200" b="0" i="0" u="none" strike="noStrike" dirty="0">
                          <a:solidFill>
                            <a:srgbClr val="000000"/>
                          </a:solidFill>
                          <a:effectLst/>
                          <a:latin typeface="Arial" panose="020B0604020202020204" pitchFamily="34" charset="0"/>
                        </a:rPr>
                        <a:t>Low-level waste</a:t>
                      </a:r>
                    </a:p>
                    <a:p>
                      <a:pPr marL="0" indent="0" algn="l" rtl="0" fontAlgn="t">
                        <a:buNone/>
                      </a:pPr>
                      <a:r>
                        <a:rPr lang="en-US" sz="1200" b="0" i="0" u="none" strike="noStrike" dirty="0">
                          <a:solidFill>
                            <a:srgbClr val="000000"/>
                          </a:solidFill>
                          <a:effectLst/>
                          <a:latin typeface="Arial" panose="020B0604020202020204" pitchFamily="34" charset="0"/>
                        </a:rPr>
                        <a:t>Land use, land-use change, and forestry</a:t>
                      </a:r>
                    </a:p>
                    <a:p>
                      <a:pPr marL="0" indent="0" algn="l" rtl="0" fontAlgn="t">
                        <a:buNone/>
                      </a:pPr>
                      <a:r>
                        <a:rPr lang="en-US" sz="1200" b="0" i="0" u="none" strike="noStrike" dirty="0">
                          <a:solidFill>
                            <a:srgbClr val="000000"/>
                          </a:solidFill>
                          <a:effectLst/>
                          <a:latin typeface="Arial" panose="020B0604020202020204" pitchFamily="34" charset="0"/>
                        </a:rPr>
                        <a:t>Light water reactors</a:t>
                      </a:r>
                    </a:p>
                    <a:p>
                      <a:pPr marL="0" indent="0" algn="l" rtl="0" fontAlgn="t">
                        <a:buNone/>
                      </a:pPr>
                      <a:r>
                        <a:rPr lang="en-US" sz="1200" b="0" i="0" u="none" strike="noStrike" dirty="0">
                          <a:solidFill>
                            <a:srgbClr val="000000"/>
                          </a:solidFill>
                          <a:effectLst/>
                          <a:latin typeface="Arial" panose="020B0604020202020204" pitchFamily="34" charset="0"/>
                        </a:rPr>
                        <a:t>Magnetic confinement fusion</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72736404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68039F-240C-9A4A-4CBC-793EB339CB0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43C0236-2EEF-8F48-6BAE-D2765BB91E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A43C0236-2EEF-8F48-6BAE-D2765BB91E2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4D34EFF-ABD6-5264-DF37-5299EF004C64}"/>
              </a:ext>
            </a:extLst>
          </p:cNvPr>
          <p:cNvSpPr>
            <a:spLocks noGrp="1"/>
          </p:cNvSpPr>
          <p:nvPr>
            <p:ph type="title"/>
          </p:nvPr>
        </p:nvSpPr>
        <p:spPr>
          <a:xfrm>
            <a:off x="330200" y="523318"/>
            <a:ext cx="11531600" cy="882788"/>
          </a:xfrm>
        </p:spPr>
        <p:txBody>
          <a:bodyPr vert="horz">
            <a:noAutofit/>
          </a:bodyPr>
          <a:lstStyle/>
          <a:p>
            <a:r>
              <a:rPr lang="en-US"/>
              <a:t>Glossary (cont.)</a:t>
            </a:r>
          </a:p>
        </p:txBody>
      </p:sp>
      <p:sp>
        <p:nvSpPr>
          <p:cNvPr id="36" name="btfpNotesBox164659">
            <a:extLst>
              <a:ext uri="{FF2B5EF4-FFF2-40B4-BE49-F238E27FC236}">
                <a16:creationId xmlns:a16="http://schemas.microsoft.com/office/drawing/2014/main" id="{B79BF9F9-1EE5-F325-E6CE-8FDAECFAF936}"/>
              </a:ext>
            </a:extLst>
          </p:cNvPr>
          <p:cNvSpPr txBox="1"/>
          <p:nvPr>
            <p:custDataLst>
              <p:tags r:id="rId3"/>
            </p:custDataLst>
          </p:nvPr>
        </p:nvSpPr>
        <p:spPr bwMode="gray">
          <a:xfrm>
            <a:off x="330200" y="6680533"/>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graphicFrame>
        <p:nvGraphicFramePr>
          <p:cNvPr id="4" name="Table 3">
            <a:extLst>
              <a:ext uri="{FF2B5EF4-FFF2-40B4-BE49-F238E27FC236}">
                <a16:creationId xmlns:a16="http://schemas.microsoft.com/office/drawing/2014/main" id="{32DACB35-1903-8506-3E5A-1D1316B8C0B4}"/>
              </a:ext>
            </a:extLst>
          </p:cNvPr>
          <p:cNvGraphicFramePr>
            <a:graphicFrameLocks noGrp="1"/>
          </p:cNvGraphicFramePr>
          <p:nvPr>
            <p:extLst>
              <p:ext uri="{D42A27DB-BD31-4B8C-83A1-F6EECF244321}">
                <p14:modId xmlns:p14="http://schemas.microsoft.com/office/powerpoint/2010/main" val="2654418267"/>
              </p:ext>
            </p:extLst>
          </p:nvPr>
        </p:nvGraphicFramePr>
        <p:xfrm>
          <a:off x="565013" y="1208023"/>
          <a:ext cx="3600933" cy="521725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MeV</a:t>
                      </a:r>
                    </a:p>
                    <a:p>
                      <a:pPr marL="0" indent="0" algn="l" rtl="0" fontAlgn="t">
                        <a:buNone/>
                      </a:pPr>
                      <a:r>
                        <a:rPr lang="en-US" sz="1200" b="1" i="0" u="none" strike="noStrike">
                          <a:solidFill>
                            <a:srgbClr val="000000"/>
                          </a:solidFill>
                          <a:effectLst/>
                          <a:latin typeface="Arial" panose="020B0604020202020204" pitchFamily="34" charset="0"/>
                        </a:rPr>
                        <a:t>MJ</a:t>
                      </a:r>
                    </a:p>
                    <a:p>
                      <a:pPr marL="0" indent="0" algn="l" rtl="0" fontAlgn="t">
                        <a:buNone/>
                      </a:pPr>
                      <a:r>
                        <a:rPr lang="en-US" sz="1200" b="1" i="0" u="none" strike="noStrike">
                          <a:solidFill>
                            <a:srgbClr val="000000"/>
                          </a:solidFill>
                          <a:effectLst/>
                          <a:latin typeface="Arial" panose="020B0604020202020204" pitchFamily="34" charset="0"/>
                        </a:rPr>
                        <a:t>MSR</a:t>
                      </a:r>
                    </a:p>
                    <a:p>
                      <a:pPr marL="0" indent="0" algn="l" rtl="0" fontAlgn="t">
                        <a:buNone/>
                      </a:pPr>
                      <a:r>
                        <a:rPr lang="en-US" sz="1200" b="1" i="0" u="none" strike="noStrike">
                          <a:solidFill>
                            <a:srgbClr val="000000"/>
                          </a:solidFill>
                          <a:effectLst/>
                          <a:latin typeface="Arial" panose="020B0604020202020204" pitchFamily="34" charset="0"/>
                        </a:rPr>
                        <a:t>MOX</a:t>
                      </a:r>
                    </a:p>
                    <a:p>
                      <a:pPr marL="0" indent="0" algn="l" rtl="0" fontAlgn="t">
                        <a:buNone/>
                      </a:pPr>
                      <a:r>
                        <a:rPr lang="en-US" sz="1200" b="1" i="0" u="none" strike="noStrike">
                          <a:solidFill>
                            <a:srgbClr val="000000"/>
                          </a:solidFill>
                          <a:effectLst/>
                          <a:latin typeface="Arial" panose="020B0604020202020204" pitchFamily="34" charset="0"/>
                        </a:rPr>
                        <a:t>MWe</a:t>
                      </a:r>
                    </a:p>
                    <a:p>
                      <a:pPr marL="0" indent="0" algn="l" rtl="0" fontAlgn="t">
                        <a:buNone/>
                      </a:pPr>
                      <a:r>
                        <a:rPr lang="en-US" sz="1200" b="1" i="0" u="none" strike="noStrike">
                          <a:solidFill>
                            <a:srgbClr val="000000"/>
                          </a:solidFill>
                          <a:effectLst/>
                          <a:latin typeface="Arial" panose="020B0604020202020204" pitchFamily="34" charset="0"/>
                        </a:rPr>
                        <a:t>NIF</a:t>
                      </a:r>
                    </a:p>
                    <a:p>
                      <a:pPr marL="0" indent="0" algn="l" rtl="0" fontAlgn="t">
                        <a:buNone/>
                      </a:pPr>
                      <a:r>
                        <a:rPr lang="en-US" sz="1200" b="1" i="0" u="none" strike="noStrike">
                          <a:solidFill>
                            <a:srgbClr val="000000"/>
                          </a:solidFill>
                          <a:effectLst/>
                          <a:latin typeface="Arial" panose="020B0604020202020204" pitchFamily="34" charset="0"/>
                        </a:rPr>
                        <a:t>NRC</a:t>
                      </a:r>
                    </a:p>
                    <a:p>
                      <a:pPr marL="0" indent="0" algn="l" rtl="0" fontAlgn="t">
                        <a:buNone/>
                      </a:pPr>
                      <a:r>
                        <a:rPr lang="en-US" sz="1200" b="1" i="0" u="none" strike="noStrike">
                          <a:solidFill>
                            <a:srgbClr val="000000"/>
                          </a:solidFill>
                          <a:effectLst/>
                          <a:latin typeface="Arial" panose="020B0604020202020204" pitchFamily="34" charset="0"/>
                        </a:rPr>
                        <a:t>O&amp;M</a:t>
                      </a:r>
                    </a:p>
                    <a:p>
                      <a:pPr marL="0" indent="0" algn="l" rtl="0" fontAlgn="t">
                        <a:buNone/>
                      </a:pPr>
                      <a:r>
                        <a:rPr lang="en-US" sz="1200" b="1" i="0" u="none" strike="noStrike">
                          <a:solidFill>
                            <a:srgbClr val="000000"/>
                          </a:solidFill>
                          <a:effectLst/>
                          <a:latin typeface="Arial" panose="020B0604020202020204" pitchFamily="34" charset="0"/>
                        </a:rPr>
                        <a:t>OCC</a:t>
                      </a:r>
                    </a:p>
                    <a:p>
                      <a:pPr marL="0" indent="0" algn="l" rtl="0" fontAlgn="t">
                        <a:buNone/>
                      </a:pPr>
                      <a:r>
                        <a:rPr lang="en-US" sz="1200" b="1" i="0" u="none" strike="noStrike">
                          <a:solidFill>
                            <a:srgbClr val="000000"/>
                          </a:solidFill>
                          <a:effectLst/>
                          <a:latin typeface="Arial" panose="020B0604020202020204" pitchFamily="34" charset="0"/>
                        </a:rPr>
                        <a:t>OEM</a:t>
                      </a:r>
                    </a:p>
                    <a:p>
                      <a:pPr marL="0" indent="0" algn="l" rtl="0" fontAlgn="t">
                        <a:buNone/>
                      </a:pPr>
                      <a:r>
                        <a:rPr lang="en-US" sz="1200" b="1" i="0" u="none" strike="noStrike">
                          <a:solidFill>
                            <a:srgbClr val="000000"/>
                          </a:solidFill>
                          <a:effectLst/>
                          <a:latin typeface="Arial" panose="020B0604020202020204" pitchFamily="34" charset="0"/>
                        </a:rPr>
                        <a:t>PDP</a:t>
                      </a:r>
                      <a:endParaRPr lang="en-US" sz="1200" b="1" i="0" u="none" strike="noStrike" baseline="-25000">
                        <a:solidFill>
                          <a:srgbClr val="000000"/>
                        </a:solidFill>
                        <a:effectLst/>
                        <a:latin typeface="Arial" panose="020B0604020202020204" pitchFamily="34" charset="0"/>
                      </a:endParaRPr>
                    </a:p>
                    <a:p>
                      <a:pPr marL="0" indent="0" algn="l" rtl="0" fontAlgn="t">
                        <a:buNone/>
                      </a:pPr>
                      <a:r>
                        <a:rPr lang="en-US" sz="1200" b="1" i="0" u="none" strike="noStrike">
                          <a:solidFill>
                            <a:srgbClr val="000000"/>
                          </a:solidFill>
                          <a:effectLst/>
                          <a:latin typeface="Arial" panose="020B0604020202020204" pitchFamily="34" charset="0"/>
                        </a:rPr>
                        <a:t>PTC</a:t>
                      </a:r>
                    </a:p>
                    <a:p>
                      <a:pPr marL="0" indent="0" algn="l" rtl="0" fontAlgn="t">
                        <a:buNone/>
                      </a:pPr>
                      <a:r>
                        <a:rPr lang="en-US" sz="1200" b="1" i="0" u="none" strike="noStrike">
                          <a:solidFill>
                            <a:srgbClr val="000000"/>
                          </a:solidFill>
                          <a:effectLst/>
                          <a:latin typeface="Arial" panose="020B0604020202020204" pitchFamily="34" charset="0"/>
                        </a:rPr>
                        <a:t>PV </a:t>
                      </a:r>
                    </a:p>
                    <a:p>
                      <a:pPr marL="0" indent="0" algn="l" rtl="0" fontAlgn="t">
                        <a:buNone/>
                      </a:pPr>
                      <a:r>
                        <a:rPr lang="en-US" sz="1200" b="1" i="0" u="none" strike="noStrike">
                          <a:solidFill>
                            <a:srgbClr val="000000"/>
                          </a:solidFill>
                          <a:effectLst/>
                          <a:latin typeface="Arial" panose="020B0604020202020204" pitchFamily="34" charset="0"/>
                        </a:rPr>
                        <a:t>PWR</a:t>
                      </a:r>
                    </a:p>
                    <a:p>
                      <a:pPr marL="0" indent="0" algn="l" rtl="0" fontAlgn="t">
                        <a:buNone/>
                      </a:pPr>
                      <a:r>
                        <a:rPr lang="en-US" sz="1200" b="1" i="0" u="none" strike="noStrike">
                          <a:solidFill>
                            <a:srgbClr val="000000"/>
                          </a:solidFill>
                          <a:effectLst/>
                          <a:latin typeface="Arial" panose="020B0604020202020204" pitchFamily="34" charset="0"/>
                        </a:rPr>
                        <a:t>R&amp;D</a:t>
                      </a:r>
                    </a:p>
                    <a:p>
                      <a:pPr marL="0" indent="0" algn="l" rtl="0" fontAlgn="t">
                        <a:buNone/>
                      </a:pPr>
                      <a:r>
                        <a:rPr lang="en-US" sz="1200" b="1" i="0" u="none" strike="noStrike">
                          <a:solidFill>
                            <a:srgbClr val="000000"/>
                          </a:solidFill>
                          <a:effectLst/>
                          <a:latin typeface="Arial" panose="020B0604020202020204" pitchFamily="34" charset="0"/>
                        </a:rPr>
                        <a:t>ROK</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Megaelectron volts</a:t>
                      </a:r>
                    </a:p>
                    <a:p>
                      <a:pPr marL="0" indent="0" algn="l" rtl="0" fontAlgn="t">
                        <a:buNone/>
                      </a:pPr>
                      <a:r>
                        <a:rPr lang="en-US" sz="1200" b="0" i="0" u="none" strike="noStrike">
                          <a:solidFill>
                            <a:srgbClr val="000000"/>
                          </a:solidFill>
                          <a:effectLst/>
                          <a:latin typeface="Arial" panose="020B0604020202020204" pitchFamily="34" charset="0"/>
                        </a:rPr>
                        <a:t>Megajoules</a:t>
                      </a:r>
                    </a:p>
                    <a:p>
                      <a:pPr marL="0" indent="0" algn="l" rtl="0" fontAlgn="t">
                        <a:buNone/>
                      </a:pPr>
                      <a:r>
                        <a:rPr lang="en-US" sz="1200" b="0" i="0" u="none" strike="noStrike">
                          <a:solidFill>
                            <a:srgbClr val="000000"/>
                          </a:solidFill>
                          <a:effectLst/>
                          <a:latin typeface="Arial" panose="020B0604020202020204" pitchFamily="34" charset="0"/>
                        </a:rPr>
                        <a:t>Molten salt reactor</a:t>
                      </a:r>
                    </a:p>
                    <a:p>
                      <a:pPr marL="0" indent="0" algn="l" rtl="0" fontAlgn="t">
                        <a:buNone/>
                      </a:pPr>
                      <a:r>
                        <a:rPr lang="en-US" sz="1200" b="0" i="0" u="none" strike="noStrike">
                          <a:solidFill>
                            <a:srgbClr val="000000"/>
                          </a:solidFill>
                          <a:effectLst/>
                          <a:latin typeface="Arial" panose="020B0604020202020204" pitchFamily="34" charset="0"/>
                        </a:rPr>
                        <a:t>Mixed oxide fuel</a:t>
                      </a:r>
                    </a:p>
                    <a:p>
                      <a:pPr marL="0" indent="0" algn="l" rtl="0" fontAlgn="t">
                        <a:buNone/>
                      </a:pPr>
                      <a:r>
                        <a:rPr lang="en-US" sz="1200" b="0" i="0" u="none" strike="noStrike">
                          <a:solidFill>
                            <a:srgbClr val="000000"/>
                          </a:solidFill>
                          <a:effectLst/>
                          <a:latin typeface="Arial" panose="020B0604020202020204" pitchFamily="34" charset="0"/>
                        </a:rPr>
                        <a:t>Megawatt electrical</a:t>
                      </a:r>
                    </a:p>
                    <a:p>
                      <a:pPr marL="0" indent="0" algn="l" rtl="0" fontAlgn="t">
                        <a:buNone/>
                      </a:pPr>
                      <a:r>
                        <a:rPr lang="en-US" sz="1200" b="0" i="0" u="none" strike="noStrike">
                          <a:solidFill>
                            <a:srgbClr val="000000"/>
                          </a:solidFill>
                          <a:effectLst/>
                          <a:latin typeface="Arial" panose="020B0604020202020204" pitchFamily="34" charset="0"/>
                        </a:rPr>
                        <a:t>National Ignition Facility</a:t>
                      </a:r>
                    </a:p>
                    <a:p>
                      <a:pPr marL="0" indent="0" algn="l" rtl="0" fontAlgn="t">
                        <a:buNone/>
                      </a:pPr>
                      <a:r>
                        <a:rPr lang="en-US" sz="1200" b="0" i="0" u="none" strike="noStrike">
                          <a:solidFill>
                            <a:srgbClr val="000000"/>
                          </a:solidFill>
                          <a:effectLst/>
                          <a:latin typeface="Arial" panose="020B0604020202020204" pitchFamily="34" charset="0"/>
                        </a:rPr>
                        <a:t>National Regulatory Commission</a:t>
                      </a:r>
                    </a:p>
                    <a:p>
                      <a:pPr marL="0" indent="0" algn="l" rtl="0" fontAlgn="t">
                        <a:buNone/>
                      </a:pPr>
                      <a:r>
                        <a:rPr lang="en-US" sz="1200" b="0" i="0" u="none" strike="noStrike">
                          <a:solidFill>
                            <a:srgbClr val="000000"/>
                          </a:solidFill>
                          <a:effectLst/>
                          <a:latin typeface="Arial" panose="020B0604020202020204" pitchFamily="34" charset="0"/>
                        </a:rPr>
                        <a:t>Operations &amp; maintenance</a:t>
                      </a:r>
                    </a:p>
                    <a:p>
                      <a:pPr marL="0" indent="0" algn="l" rtl="0" fontAlgn="t">
                        <a:buNone/>
                      </a:pPr>
                      <a:r>
                        <a:rPr lang="en-US" sz="1200" b="0" i="0" u="none" strike="noStrike">
                          <a:solidFill>
                            <a:srgbClr val="000000"/>
                          </a:solidFill>
                          <a:effectLst/>
                          <a:latin typeface="Arial" panose="020B0604020202020204" pitchFamily="34" charset="0"/>
                        </a:rPr>
                        <a:t>Overnight capital costs</a:t>
                      </a:r>
                    </a:p>
                    <a:p>
                      <a:pPr marL="0" indent="0" algn="l" rtl="0" fontAlgn="t">
                        <a:buNone/>
                      </a:pPr>
                      <a:r>
                        <a:rPr lang="en-US" sz="1200" b="0" i="0" u="none" strike="noStrike">
                          <a:solidFill>
                            <a:srgbClr val="000000"/>
                          </a:solidFill>
                          <a:effectLst/>
                          <a:latin typeface="Arial" panose="020B0604020202020204" pitchFamily="34" charset="0"/>
                        </a:rPr>
                        <a:t>Original equipment manufacturer</a:t>
                      </a:r>
                    </a:p>
                    <a:p>
                      <a:pPr marL="0" indent="0" algn="l" rtl="0" fontAlgn="t">
                        <a:buNone/>
                      </a:pPr>
                      <a:r>
                        <a:rPr lang="en-US" sz="1200" b="0" i="0" u="none" strike="noStrike">
                          <a:solidFill>
                            <a:srgbClr val="000000"/>
                          </a:solidFill>
                          <a:effectLst/>
                          <a:latin typeface="Arial" panose="020B0604020202020204" pitchFamily="34" charset="0"/>
                        </a:rPr>
                        <a:t>Power Development Plan</a:t>
                      </a:r>
                    </a:p>
                    <a:p>
                      <a:pPr marL="0" indent="0" algn="l" rtl="0" fontAlgn="t">
                        <a:buNone/>
                      </a:pPr>
                      <a:r>
                        <a:rPr lang="en-US" sz="1200" b="0" i="0" u="none" strike="noStrike">
                          <a:solidFill>
                            <a:srgbClr val="000000"/>
                          </a:solidFill>
                          <a:effectLst/>
                          <a:latin typeface="Arial" panose="020B0604020202020204" pitchFamily="34" charset="0"/>
                        </a:rPr>
                        <a:t>Production Tax Credit </a:t>
                      </a:r>
                    </a:p>
                    <a:p>
                      <a:pPr marL="0" indent="0" algn="l" rtl="0" fontAlgn="t">
                        <a:buNone/>
                      </a:pPr>
                      <a:r>
                        <a:rPr lang="en-US" sz="1200" b="0" i="0" u="none" strike="noStrike">
                          <a:solidFill>
                            <a:srgbClr val="000000"/>
                          </a:solidFill>
                          <a:effectLst/>
                          <a:latin typeface="Arial" panose="020B0604020202020204" pitchFamily="34" charset="0"/>
                        </a:rPr>
                        <a:t>Photovoltaic</a:t>
                      </a:r>
                    </a:p>
                    <a:p>
                      <a:pPr marL="0" indent="0" algn="l" rtl="0" fontAlgn="t">
                        <a:buNone/>
                      </a:pPr>
                      <a:r>
                        <a:rPr lang="en-US" sz="1200" b="0" i="0" u="none" strike="noStrike">
                          <a:solidFill>
                            <a:srgbClr val="000000"/>
                          </a:solidFill>
                          <a:effectLst/>
                          <a:latin typeface="Arial" panose="020B0604020202020204" pitchFamily="34" charset="0"/>
                        </a:rPr>
                        <a:t>Pressurized water reactor</a:t>
                      </a:r>
                    </a:p>
                    <a:p>
                      <a:pPr marL="0" indent="0" algn="l" rtl="0" fontAlgn="t">
                        <a:buNone/>
                      </a:pPr>
                      <a:r>
                        <a:rPr lang="en-US" sz="1200" b="0" i="0" u="none" strike="noStrike">
                          <a:solidFill>
                            <a:srgbClr val="000000"/>
                          </a:solidFill>
                          <a:effectLst/>
                          <a:latin typeface="Arial" panose="020B0604020202020204" pitchFamily="34" charset="0"/>
                        </a:rPr>
                        <a:t>Research &amp; development</a:t>
                      </a:r>
                    </a:p>
                    <a:p>
                      <a:pPr marL="0" indent="0" algn="l" rtl="0" fontAlgn="t">
                        <a:buNone/>
                      </a:pPr>
                      <a:r>
                        <a:rPr lang="en-US" sz="1200" b="0" i="0" u="none" strike="noStrike">
                          <a:solidFill>
                            <a:srgbClr val="000000"/>
                          </a:solidFill>
                          <a:effectLst/>
                          <a:latin typeface="Arial" panose="020B0604020202020204" pitchFamily="34" charset="0"/>
                        </a:rPr>
                        <a:t>Republic of Korea</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5" name="Table 4">
            <a:extLst>
              <a:ext uri="{FF2B5EF4-FFF2-40B4-BE49-F238E27FC236}">
                <a16:creationId xmlns:a16="http://schemas.microsoft.com/office/drawing/2014/main" id="{8CC7FAD8-B261-B099-7132-BC7DD94E4B3F}"/>
              </a:ext>
            </a:extLst>
          </p:cNvPr>
          <p:cNvGraphicFramePr>
            <a:graphicFrameLocks noGrp="1"/>
          </p:cNvGraphicFramePr>
          <p:nvPr>
            <p:extLst>
              <p:ext uri="{D42A27DB-BD31-4B8C-83A1-F6EECF244321}">
                <p14:modId xmlns:p14="http://schemas.microsoft.com/office/powerpoint/2010/main" val="1843692229"/>
              </p:ext>
            </p:extLst>
          </p:nvPr>
        </p:nvGraphicFramePr>
        <p:xfrm>
          <a:off x="4348509" y="1208023"/>
          <a:ext cx="3912358" cy="2870293"/>
        </p:xfrm>
        <a:graphic>
          <a:graphicData uri="http://schemas.openxmlformats.org/drawingml/2006/table">
            <a:tbl>
              <a:tblPr firstRow="1" bandRow="1"/>
              <a:tblGrid>
                <a:gridCol w="733567">
                  <a:extLst>
                    <a:ext uri="{9D8B030D-6E8A-4147-A177-3AD203B41FA5}">
                      <a16:colId xmlns:a16="http://schemas.microsoft.com/office/drawing/2014/main" val="20000"/>
                    </a:ext>
                  </a:extLst>
                </a:gridCol>
                <a:gridCol w="3178791">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RUS</a:t>
                      </a:r>
                    </a:p>
                    <a:p>
                      <a:pPr marL="0" indent="0" algn="l" rtl="0" fontAlgn="t">
                        <a:buNone/>
                      </a:pPr>
                      <a:r>
                        <a:rPr lang="en-US" sz="1200" b="1" i="0" u="none" strike="noStrike">
                          <a:solidFill>
                            <a:srgbClr val="000000"/>
                          </a:solidFill>
                          <a:effectLst/>
                          <a:latin typeface="Arial" panose="020B0604020202020204" pitchFamily="34" charset="0"/>
                        </a:rPr>
                        <a:t>SMRs</a:t>
                      </a:r>
                    </a:p>
                    <a:p>
                      <a:pPr marL="0" indent="0" algn="l" rtl="0" fontAlgn="t">
                        <a:buNone/>
                      </a:pPr>
                      <a:r>
                        <a:rPr lang="en-US" sz="1200" b="1" i="0" u="none" strike="noStrike">
                          <a:solidFill>
                            <a:srgbClr val="000000"/>
                          </a:solidFill>
                          <a:effectLst/>
                          <a:latin typeface="Arial" panose="020B0604020202020204" pitchFamily="34" charset="0"/>
                        </a:rPr>
                        <a:t>STEPS</a:t>
                      </a:r>
                    </a:p>
                    <a:p>
                      <a:pPr marL="0" indent="0" algn="l" rtl="0" fontAlgn="t">
                        <a:buNone/>
                      </a:pPr>
                      <a:r>
                        <a:rPr lang="en-US" sz="1200" b="1" i="0" u="none" strike="noStrike">
                          <a:solidFill>
                            <a:srgbClr val="000000"/>
                          </a:solidFill>
                          <a:effectLst/>
                          <a:latin typeface="Arial" panose="020B0604020202020204" pitchFamily="34" charset="0"/>
                        </a:rPr>
                        <a:t>U-235</a:t>
                      </a:r>
                    </a:p>
                    <a:p>
                      <a:pPr marL="0" indent="0" algn="l" rtl="0" fontAlgn="t">
                        <a:buNone/>
                      </a:pPr>
                      <a:r>
                        <a:rPr lang="en-US" sz="1200" b="1" i="0" u="none" strike="noStrike">
                          <a:solidFill>
                            <a:srgbClr val="000000"/>
                          </a:solidFill>
                          <a:effectLst/>
                          <a:latin typeface="Arial" panose="020B0604020202020204" pitchFamily="34" charset="0"/>
                        </a:rPr>
                        <a:t>UKR</a:t>
                      </a:r>
                    </a:p>
                    <a:p>
                      <a:pPr marL="0" indent="0" algn="l" rtl="0" fontAlgn="t">
                        <a:buNone/>
                      </a:pPr>
                      <a:r>
                        <a:rPr lang="en-US" sz="1200" b="1" i="0" u="none" strike="noStrike">
                          <a:solidFill>
                            <a:srgbClr val="000000"/>
                          </a:solidFill>
                          <a:effectLst/>
                          <a:latin typeface="Arial" panose="020B0604020202020204" pitchFamily="34" charset="0"/>
                        </a:rPr>
                        <a:t>UO</a:t>
                      </a:r>
                      <a:r>
                        <a:rPr lang="en-US" sz="1200" b="1" i="0" u="none" strike="noStrike" baseline="-25000">
                          <a:solidFill>
                            <a:srgbClr val="000000"/>
                          </a:solidFill>
                          <a:effectLst/>
                          <a:latin typeface="Arial" panose="020B0604020202020204" pitchFamily="34" charset="0"/>
                        </a:rPr>
                        <a:t>2</a:t>
                      </a:r>
                      <a:endParaRPr lang="en-US" sz="1200" b="1" i="0" u="none" strike="noStrike">
                        <a:solidFill>
                          <a:srgbClr val="000000"/>
                        </a:solidFill>
                        <a:effectLst/>
                        <a:latin typeface="Arial" panose="020B0604020202020204" pitchFamily="34" charset="0"/>
                      </a:endParaRPr>
                    </a:p>
                    <a:p>
                      <a:pPr marL="0" marR="0" lvl="0" indent="0" algn="l" defTabSz="711200" rtl="0" eaLnBrk="1" fontAlgn="t" latinLnBrk="0" hangingPunct="1">
                        <a:lnSpc>
                          <a:spcPct val="100000"/>
                        </a:lnSpc>
                        <a:spcBef>
                          <a:spcPts val="1200"/>
                        </a:spcBef>
                        <a:spcAft>
                          <a:spcPts val="0"/>
                        </a:spcAft>
                        <a:buClrTx/>
                        <a:buSzTx/>
                        <a:buFontTx/>
                        <a:buNone/>
                        <a:tabLst/>
                        <a:defRPr/>
                      </a:pPr>
                      <a:r>
                        <a:rPr lang="en-US" sz="1200" b="1" i="0" u="none" strike="noStrike">
                          <a:solidFill>
                            <a:srgbClr val="000000"/>
                          </a:solidFill>
                          <a:effectLst/>
                          <a:latin typeface="Arial" panose="020B0604020202020204" pitchFamily="34" charset="0"/>
                        </a:rPr>
                        <a:t>VAT</a:t>
                      </a:r>
                    </a:p>
                    <a:p>
                      <a:pPr marL="0" marR="0" lvl="0" indent="0" algn="l" defTabSz="711200" rtl="0" eaLnBrk="1" fontAlgn="t" latinLnBrk="0" hangingPunct="1">
                        <a:lnSpc>
                          <a:spcPct val="100000"/>
                        </a:lnSpc>
                        <a:spcBef>
                          <a:spcPts val="1200"/>
                        </a:spcBef>
                        <a:spcAft>
                          <a:spcPts val="0"/>
                        </a:spcAft>
                        <a:buClrTx/>
                        <a:buSzTx/>
                        <a:buFontTx/>
                        <a:buNone/>
                        <a:tabLst/>
                        <a:defRPr/>
                      </a:pPr>
                      <a:r>
                        <a:rPr lang="en-US" sz="1200" b="1" i="0" u="none" strike="noStrike">
                          <a:solidFill>
                            <a:srgbClr val="000000"/>
                          </a:solidFill>
                          <a:effectLst/>
                          <a:latin typeface="Arial" panose="020B0604020202020204" pitchFamily="34" charset="0"/>
                        </a:rPr>
                        <a:t>VLLW</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Russia</a:t>
                      </a:r>
                    </a:p>
                    <a:p>
                      <a:pPr marL="0" indent="0" algn="l" rtl="0" fontAlgn="t">
                        <a:buNone/>
                      </a:pPr>
                      <a:r>
                        <a:rPr lang="en-US" sz="1200" b="0" i="0" u="none" strike="noStrike">
                          <a:solidFill>
                            <a:srgbClr val="000000"/>
                          </a:solidFill>
                          <a:effectLst/>
                          <a:latin typeface="Arial" panose="020B0604020202020204" pitchFamily="34" charset="0"/>
                        </a:rPr>
                        <a:t>Small modular reactors</a:t>
                      </a:r>
                    </a:p>
                    <a:p>
                      <a:pPr marL="0" indent="0" algn="l" rtl="0" fontAlgn="t">
                        <a:buNone/>
                      </a:pPr>
                      <a:r>
                        <a:rPr lang="en-US" sz="1200" b="0" i="0" u="none" strike="noStrike">
                          <a:solidFill>
                            <a:srgbClr val="000000"/>
                          </a:solidFill>
                          <a:effectLst/>
                          <a:latin typeface="Arial" panose="020B0604020202020204" pitchFamily="34" charset="0"/>
                        </a:rPr>
                        <a:t>Stated Policies Scenario (IEA)</a:t>
                      </a:r>
                    </a:p>
                    <a:p>
                      <a:pPr marL="0" indent="0" algn="l" rtl="0" fontAlgn="t">
                        <a:buNone/>
                      </a:pPr>
                      <a:r>
                        <a:rPr lang="en-US" sz="1200" b="0" i="0" u="none" strike="noStrike">
                          <a:solidFill>
                            <a:srgbClr val="000000"/>
                          </a:solidFill>
                          <a:effectLst/>
                          <a:latin typeface="Arial" panose="020B0604020202020204" pitchFamily="34" charset="0"/>
                        </a:rPr>
                        <a:t>Uranium-235</a:t>
                      </a:r>
                    </a:p>
                    <a:p>
                      <a:pPr marL="0" indent="0" algn="l" rtl="0" fontAlgn="t">
                        <a:buNone/>
                      </a:pPr>
                      <a:r>
                        <a:rPr lang="en-US" sz="1200" b="0" i="0" u="none" strike="noStrike">
                          <a:solidFill>
                            <a:srgbClr val="000000"/>
                          </a:solidFill>
                          <a:effectLst/>
                          <a:latin typeface="Arial" panose="020B0604020202020204" pitchFamily="34" charset="0"/>
                        </a:rPr>
                        <a:t>Ukraine</a:t>
                      </a:r>
                    </a:p>
                    <a:p>
                      <a:pPr marL="0" indent="0" algn="l" rtl="0" fontAlgn="t">
                        <a:buNone/>
                      </a:pPr>
                      <a:r>
                        <a:rPr lang="en-US" sz="1200" b="0" i="0" u="none" strike="noStrike">
                          <a:solidFill>
                            <a:srgbClr val="000000"/>
                          </a:solidFill>
                          <a:effectLst/>
                          <a:latin typeface="Arial" panose="020B0604020202020204" pitchFamily="34" charset="0"/>
                        </a:rPr>
                        <a:t>Greenhouse gas</a:t>
                      </a:r>
                    </a:p>
                    <a:p>
                      <a:pPr marL="0" indent="0" algn="l" rtl="0" fontAlgn="t">
                        <a:buNone/>
                      </a:pPr>
                      <a:r>
                        <a:rPr lang="en-US" sz="1200" b="0" i="0" u="none" strike="noStrike">
                          <a:solidFill>
                            <a:srgbClr val="000000"/>
                          </a:solidFill>
                          <a:effectLst/>
                          <a:latin typeface="Arial" panose="020B0604020202020204" pitchFamily="34" charset="0"/>
                        </a:rPr>
                        <a:t>Value-added tax</a:t>
                      </a:r>
                    </a:p>
                    <a:p>
                      <a:pPr marL="0" indent="0" algn="l" rtl="0" fontAlgn="t">
                        <a:buNone/>
                      </a:pPr>
                      <a:r>
                        <a:rPr lang="en-US" sz="1200" b="0" i="0" u="none" strike="noStrike">
                          <a:solidFill>
                            <a:srgbClr val="000000"/>
                          </a:solidFill>
                          <a:effectLst/>
                          <a:latin typeface="Arial" panose="020B0604020202020204" pitchFamily="34" charset="0"/>
                        </a:rPr>
                        <a:t>Very low-level waste</a:t>
                      </a:r>
                    </a:p>
                    <a:p>
                      <a:pPr marL="0" indent="0" algn="l" rtl="0" fontAlgn="t">
                        <a:buNone/>
                      </a:pPr>
                      <a:endParaRPr lang="en-US" sz="1200" b="0" i="0" u="none" strike="noStrike">
                        <a:solidFill>
                          <a:srgbClr val="000000"/>
                        </a:solidFill>
                        <a:effectLst/>
                        <a:latin typeface="Arial" panose="020B0604020202020204" pitchFamily="34" charset="0"/>
                      </a:endParaRP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8" name="Table 7">
            <a:extLst>
              <a:ext uri="{FF2B5EF4-FFF2-40B4-BE49-F238E27FC236}">
                <a16:creationId xmlns:a16="http://schemas.microsoft.com/office/drawing/2014/main" id="{E0BD877F-F397-FE3A-E528-B3574363CB4C}"/>
              </a:ext>
            </a:extLst>
          </p:cNvPr>
          <p:cNvGraphicFramePr>
            <a:graphicFrameLocks noGrp="1"/>
          </p:cNvGraphicFramePr>
          <p:nvPr/>
        </p:nvGraphicFramePr>
        <p:xfrm>
          <a:off x="487363" y="10462364"/>
          <a:ext cx="3600933" cy="488197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AD/CVD</a:t>
                      </a:r>
                    </a:p>
                    <a:p>
                      <a:pPr marL="0" indent="0" algn="l" rtl="0" fontAlgn="t">
                        <a:buNone/>
                      </a:pPr>
                      <a:r>
                        <a:rPr lang="en-US" sz="1200" b="1" i="0" u="none" strike="noStrike">
                          <a:solidFill>
                            <a:srgbClr val="000000"/>
                          </a:solidFill>
                          <a:effectLst/>
                          <a:latin typeface="Arial" panose="020B0604020202020204" pitchFamily="34" charset="0"/>
                        </a:rPr>
                        <a:t>APAC</a:t>
                      </a:r>
                    </a:p>
                    <a:p>
                      <a:pPr marL="0" indent="0" algn="l" rtl="0" fontAlgn="t">
                        <a:buNone/>
                      </a:pPr>
                      <a:r>
                        <a:rPr lang="en-US" sz="1200" b="1" i="0" u="none" strike="noStrike">
                          <a:solidFill>
                            <a:srgbClr val="000000"/>
                          </a:solidFill>
                          <a:effectLst/>
                          <a:latin typeface="Arial" panose="020B0604020202020204" pitchFamily="34" charset="0"/>
                        </a:rPr>
                        <a:t>ASEAN</a:t>
                      </a:r>
                    </a:p>
                    <a:p>
                      <a:pPr marL="0" indent="0" algn="l" rtl="0" fontAlgn="t">
                        <a:buNone/>
                      </a:pPr>
                      <a:r>
                        <a:rPr lang="en-US" sz="1200" b="1" i="0" u="none" strike="noStrike">
                          <a:solidFill>
                            <a:srgbClr val="000000"/>
                          </a:solidFill>
                          <a:effectLst/>
                          <a:latin typeface="Arial" panose="020B0604020202020204" pitchFamily="34" charset="0"/>
                        </a:rPr>
                        <a:t>BIPV</a:t>
                      </a:r>
                    </a:p>
                    <a:p>
                      <a:pPr marL="0" indent="0" algn="l" rtl="0" fontAlgn="t">
                        <a:buNone/>
                      </a:pPr>
                      <a:r>
                        <a:rPr lang="en-US" sz="1200" b="1" i="0" u="none" strike="noStrike">
                          <a:solidFill>
                            <a:srgbClr val="000000"/>
                          </a:solidFill>
                          <a:effectLst/>
                          <a:latin typeface="Arial" panose="020B0604020202020204" pitchFamily="34" charset="0"/>
                        </a:rPr>
                        <a:t>BoS</a:t>
                      </a:r>
                    </a:p>
                    <a:p>
                      <a:pPr marL="0" indent="0" algn="l" rtl="0" fontAlgn="t">
                        <a:buNone/>
                      </a:pPr>
                      <a:r>
                        <a:rPr lang="en-US" sz="1200" b="1" i="0" u="none" strike="noStrike">
                          <a:solidFill>
                            <a:srgbClr val="000000"/>
                          </a:solidFill>
                          <a:effectLst/>
                          <a:latin typeface="Arial" panose="020B0604020202020204" pitchFamily="34" charset="0"/>
                        </a:rPr>
                        <a:t>BSF</a:t>
                      </a:r>
                    </a:p>
                    <a:p>
                      <a:pPr marL="0" indent="0" algn="l" rtl="0" fontAlgn="t">
                        <a:buNone/>
                      </a:pPr>
                      <a:r>
                        <a:rPr lang="en-US" sz="1200" b="1" i="0" u="none" strike="noStrike">
                          <a:solidFill>
                            <a:srgbClr val="000000"/>
                          </a:solidFill>
                          <a:effectLst/>
                          <a:latin typeface="Arial" panose="020B0604020202020204" pitchFamily="34" charset="0"/>
                        </a:rPr>
                        <a:t>c-Si</a:t>
                      </a:r>
                    </a:p>
                    <a:p>
                      <a:pPr marL="0" indent="0" algn="l" rtl="0" fontAlgn="t">
                        <a:buNone/>
                      </a:pPr>
                      <a:r>
                        <a:rPr lang="en-US" sz="1200" b="1" i="0" u="none" strike="noStrike">
                          <a:solidFill>
                            <a:srgbClr val="000000"/>
                          </a:solidFill>
                          <a:effectLst/>
                          <a:latin typeface="Arial" panose="020B0604020202020204" pitchFamily="34" charset="0"/>
                        </a:rPr>
                        <a:t>C&amp;I</a:t>
                      </a:r>
                    </a:p>
                    <a:p>
                      <a:pPr marL="0" indent="0" algn="l" rtl="0" fontAlgn="t">
                        <a:buNone/>
                      </a:pPr>
                      <a:r>
                        <a:rPr lang="en-US" sz="1200" b="1" i="0" u="none" strike="noStrike">
                          <a:solidFill>
                            <a:srgbClr val="000000"/>
                          </a:solidFill>
                          <a:effectLst/>
                          <a:latin typeface="Arial" panose="020B0604020202020204" pitchFamily="34" charset="0"/>
                        </a:rPr>
                        <a:t>CAGR</a:t>
                      </a:r>
                    </a:p>
                    <a:p>
                      <a:pPr marL="0" indent="0" algn="l" rtl="0" fontAlgn="t">
                        <a:buNone/>
                      </a:pPr>
                      <a:r>
                        <a:rPr lang="en-US" sz="1200" b="1" i="0" u="none" strike="noStrike">
                          <a:solidFill>
                            <a:srgbClr val="000000"/>
                          </a:solidFill>
                          <a:effectLst/>
                          <a:latin typeface="Arial" panose="020B0604020202020204" pitchFamily="34" charset="0"/>
                        </a:rPr>
                        <a:t>CAPEX</a:t>
                      </a:r>
                    </a:p>
                    <a:p>
                      <a:pPr marL="0" indent="0" algn="l" rtl="0" fontAlgn="t">
                        <a:buNone/>
                      </a:pPr>
                      <a:r>
                        <a:rPr lang="en-US" sz="1200" b="1" i="0" u="none" strike="noStrike">
                          <a:solidFill>
                            <a:srgbClr val="000000"/>
                          </a:solidFill>
                          <a:effectLst/>
                          <a:latin typeface="Arial" panose="020B0604020202020204" pitchFamily="34" charset="0"/>
                        </a:rPr>
                        <a:t>CCS</a:t>
                      </a:r>
                    </a:p>
                    <a:p>
                      <a:pPr marL="0" indent="0" algn="l" rtl="0" fontAlgn="t">
                        <a:buNone/>
                      </a:pPr>
                      <a:r>
                        <a:rPr lang="en-US" sz="1200" b="1" i="0" u="none" strike="noStrike">
                          <a:solidFill>
                            <a:srgbClr val="000000"/>
                          </a:solidFill>
                          <a:effectLst/>
                          <a:latin typeface="Arial" panose="020B0604020202020204" pitchFamily="34" charset="0"/>
                        </a:rPr>
                        <a:t>CO2</a:t>
                      </a:r>
                    </a:p>
                    <a:p>
                      <a:pPr marL="0" indent="0" algn="l" rtl="0" fontAlgn="t">
                        <a:buNone/>
                      </a:pPr>
                      <a:r>
                        <a:rPr lang="en-US" sz="1200" b="1" i="0" u="none" strike="noStrike">
                          <a:solidFill>
                            <a:srgbClr val="000000"/>
                          </a:solidFill>
                          <a:effectLst/>
                          <a:latin typeface="Arial" panose="020B0604020202020204" pitchFamily="34" charset="0"/>
                        </a:rPr>
                        <a:t>CPV</a:t>
                      </a:r>
                    </a:p>
                    <a:p>
                      <a:pPr marL="0" indent="0" algn="l" rtl="0" fontAlgn="t">
                        <a:buNone/>
                      </a:pPr>
                      <a:r>
                        <a:rPr lang="en-US" sz="1200" b="1" i="0" u="none" strike="noStrike">
                          <a:solidFill>
                            <a:srgbClr val="000000"/>
                          </a:solidFill>
                          <a:effectLst/>
                          <a:latin typeface="Arial" panose="020B0604020202020204" pitchFamily="34" charset="0"/>
                        </a:rPr>
                        <a:t>CSP</a:t>
                      </a:r>
                    </a:p>
                    <a:p>
                      <a:pPr marL="0" indent="0" algn="l" rtl="0" fontAlgn="t">
                        <a:buNone/>
                      </a:pPr>
                      <a:r>
                        <a:rPr lang="en-US" sz="1200" b="1" i="0" u="none" strike="noStrike">
                          <a:solidFill>
                            <a:srgbClr val="000000"/>
                          </a:solidFill>
                          <a:effectLst/>
                          <a:latin typeface="Arial" panose="020B0604020202020204" pitchFamily="34" charset="0"/>
                        </a:rPr>
                        <a:t>EMEA</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Antidumping and countervailing duties</a:t>
                      </a:r>
                    </a:p>
                    <a:p>
                      <a:pPr marL="0" indent="0" algn="l" rtl="0" fontAlgn="t">
                        <a:buNone/>
                      </a:pPr>
                      <a:r>
                        <a:rPr lang="en-US" sz="1200" b="0" i="0" u="none" strike="noStrike">
                          <a:solidFill>
                            <a:srgbClr val="000000"/>
                          </a:solidFill>
                          <a:effectLst/>
                          <a:latin typeface="Arial" panose="020B0604020202020204" pitchFamily="34" charset="0"/>
                        </a:rPr>
                        <a:t>Asia </a:t>
                      </a:r>
                      <a:r>
                        <a:rPr lang="en-US" sz="1200" b="0" i="0" u="none" strike="noStrike" err="1">
                          <a:solidFill>
                            <a:srgbClr val="000000"/>
                          </a:solidFill>
                          <a:effectLst/>
                          <a:latin typeface="Arial" panose="020B0604020202020204" pitchFamily="34" charset="0"/>
                        </a:rPr>
                        <a:t>Pacifi</a:t>
                      </a:r>
                      <a:endParaRPr lang="en-US" sz="1200" b="0" i="0" u="none" strike="noStrike">
                        <a:solidFill>
                          <a:srgbClr val="000000"/>
                        </a:solidFill>
                        <a:effectLst/>
                        <a:latin typeface="Arial" panose="020B0604020202020204" pitchFamily="34" charset="0"/>
                      </a:endParaRPr>
                    </a:p>
                    <a:p>
                      <a:pPr marL="0" indent="0" algn="l" rtl="0" fontAlgn="t">
                        <a:buNone/>
                      </a:pPr>
                      <a:r>
                        <a:rPr lang="en-US" sz="1200" b="0" i="0" u="none" strike="noStrike">
                          <a:solidFill>
                            <a:srgbClr val="000000"/>
                          </a:solidFill>
                          <a:effectLst/>
                          <a:latin typeface="Arial" panose="020B0604020202020204" pitchFamily="34" charset="0"/>
                        </a:rPr>
                        <a:t>Association of Southeast Asian Nations</a:t>
                      </a:r>
                    </a:p>
                    <a:p>
                      <a:pPr marL="0" indent="0" algn="l" rtl="0" fontAlgn="t">
                        <a:buNone/>
                      </a:pPr>
                      <a:r>
                        <a:rPr lang="en-US" sz="1200" b="0" i="0" u="none" strike="noStrike">
                          <a:solidFill>
                            <a:srgbClr val="000000"/>
                          </a:solidFill>
                          <a:effectLst/>
                          <a:latin typeface="Arial" panose="020B0604020202020204" pitchFamily="34" charset="0"/>
                        </a:rPr>
                        <a:t>Building Integrated PV</a:t>
                      </a:r>
                    </a:p>
                    <a:p>
                      <a:pPr marL="0" indent="0" algn="l" rtl="0" fontAlgn="t">
                        <a:buNone/>
                      </a:pPr>
                      <a:r>
                        <a:rPr lang="en-US" sz="1200" b="0" i="0" u="none" strike="noStrike">
                          <a:solidFill>
                            <a:srgbClr val="000000"/>
                          </a:solidFill>
                          <a:effectLst/>
                          <a:latin typeface="Arial" panose="020B0604020202020204" pitchFamily="34" charset="0"/>
                        </a:rPr>
                        <a:t>Balance of System</a:t>
                      </a:r>
                    </a:p>
                    <a:p>
                      <a:pPr marL="0" indent="0" algn="l" rtl="0" fontAlgn="t">
                        <a:buNone/>
                      </a:pPr>
                      <a:r>
                        <a:rPr lang="en-US" sz="1200" b="0" i="0" u="none" strike="noStrike">
                          <a:solidFill>
                            <a:srgbClr val="000000"/>
                          </a:solidFill>
                          <a:effectLst/>
                          <a:latin typeface="Arial" panose="020B0604020202020204" pitchFamily="34" charset="0"/>
                        </a:rPr>
                        <a:t>Back Surface Field</a:t>
                      </a:r>
                    </a:p>
                    <a:p>
                      <a:pPr marL="0" indent="0" algn="l" rtl="0" fontAlgn="t">
                        <a:buNone/>
                      </a:pPr>
                      <a:r>
                        <a:rPr lang="en-US" sz="1200" b="0" i="0" u="none" strike="noStrike">
                          <a:solidFill>
                            <a:srgbClr val="000000"/>
                          </a:solidFill>
                          <a:effectLst/>
                          <a:latin typeface="Arial" panose="020B0604020202020204" pitchFamily="34" charset="0"/>
                        </a:rPr>
                        <a:t>Crystal silicone</a:t>
                      </a:r>
                    </a:p>
                    <a:p>
                      <a:pPr marL="0" indent="0" algn="l" rtl="0" fontAlgn="t">
                        <a:buNone/>
                      </a:pPr>
                      <a:r>
                        <a:rPr lang="en-US" sz="1200" b="0" i="0" u="none" strike="noStrike">
                          <a:solidFill>
                            <a:srgbClr val="000000"/>
                          </a:solidFill>
                          <a:effectLst/>
                          <a:latin typeface="Arial" panose="020B0604020202020204" pitchFamily="34" charset="0"/>
                        </a:rPr>
                        <a:t>Commercial &amp; Industrial</a:t>
                      </a:r>
                    </a:p>
                    <a:p>
                      <a:pPr marL="0" indent="0" algn="l" rtl="0" fontAlgn="t">
                        <a:buNone/>
                      </a:pPr>
                      <a:r>
                        <a:rPr lang="en-US" sz="1200" b="0" i="0" u="none" strike="noStrike">
                          <a:solidFill>
                            <a:srgbClr val="000000"/>
                          </a:solidFill>
                          <a:effectLst/>
                          <a:latin typeface="Arial" panose="020B0604020202020204" pitchFamily="34" charset="0"/>
                        </a:rPr>
                        <a:t>Compound annual growth rate</a:t>
                      </a:r>
                    </a:p>
                    <a:p>
                      <a:pPr marL="0" indent="0" algn="l" rtl="0" fontAlgn="t">
                        <a:buNone/>
                      </a:pPr>
                      <a:r>
                        <a:rPr lang="en-US" sz="1200" b="0" i="0" u="none" strike="noStrike">
                          <a:solidFill>
                            <a:srgbClr val="000000"/>
                          </a:solidFill>
                          <a:effectLst/>
                          <a:latin typeface="Arial" panose="020B0604020202020204" pitchFamily="34" charset="0"/>
                        </a:rPr>
                        <a:t>Capital expenditures</a:t>
                      </a:r>
                    </a:p>
                    <a:p>
                      <a:pPr marL="0" indent="0" algn="l" rtl="0" fontAlgn="t">
                        <a:buNone/>
                      </a:pPr>
                      <a:r>
                        <a:rPr lang="en-US" sz="1200" b="0" i="0" u="none" strike="noStrike">
                          <a:solidFill>
                            <a:srgbClr val="000000"/>
                          </a:solidFill>
                          <a:effectLst/>
                          <a:latin typeface="Arial" panose="020B0604020202020204" pitchFamily="34" charset="0"/>
                        </a:rPr>
                        <a:t>Carbon capture and storage</a:t>
                      </a:r>
                    </a:p>
                    <a:p>
                      <a:pPr marL="0" indent="0" algn="l" rtl="0" fontAlgn="t">
                        <a:buNone/>
                      </a:pPr>
                      <a:r>
                        <a:rPr lang="en-US" sz="1200" b="0" i="0" u="none" strike="noStrike">
                          <a:solidFill>
                            <a:srgbClr val="000000"/>
                          </a:solidFill>
                          <a:effectLst/>
                          <a:latin typeface="Arial" panose="020B0604020202020204" pitchFamily="34" charset="0"/>
                        </a:rPr>
                        <a:t>Carbon dioxide</a:t>
                      </a:r>
                    </a:p>
                    <a:p>
                      <a:pPr marL="0" indent="0" algn="l" rtl="0" fontAlgn="t">
                        <a:buNone/>
                      </a:pPr>
                      <a:r>
                        <a:rPr lang="en-US" sz="1200" b="0" i="0" u="none" strike="noStrike">
                          <a:solidFill>
                            <a:srgbClr val="000000"/>
                          </a:solidFill>
                          <a:effectLst/>
                          <a:latin typeface="Arial" panose="020B0604020202020204" pitchFamily="34" charset="0"/>
                        </a:rPr>
                        <a:t>Concentrator PV</a:t>
                      </a:r>
                    </a:p>
                    <a:p>
                      <a:pPr marL="0" indent="0" algn="l" rtl="0" fontAlgn="t">
                        <a:buNone/>
                      </a:pPr>
                      <a:r>
                        <a:rPr lang="en-US" sz="1200" b="0" i="0" u="none" strike="noStrike">
                          <a:solidFill>
                            <a:srgbClr val="000000"/>
                          </a:solidFill>
                          <a:effectLst/>
                          <a:latin typeface="Arial" panose="020B0604020202020204" pitchFamily="34" charset="0"/>
                        </a:rPr>
                        <a:t>Concentrated solar power</a:t>
                      </a:r>
                    </a:p>
                    <a:p>
                      <a:pPr marL="0" indent="0" algn="l" rtl="0" fontAlgn="t">
                        <a:buNone/>
                      </a:pPr>
                      <a:r>
                        <a:rPr lang="en-US" sz="1200" b="0" i="0" u="none" strike="noStrike">
                          <a:solidFill>
                            <a:srgbClr val="000000"/>
                          </a:solidFill>
                          <a:effectLst/>
                          <a:latin typeface="Arial" panose="020B0604020202020204" pitchFamily="34" charset="0"/>
                        </a:rPr>
                        <a:t>Europe, Middle East, and Africa</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60734229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3F3186C-8091-3315-6B32-D715343F5CE1}"/>
              </a:ext>
            </a:extLst>
          </p:cNvPr>
          <p:cNvGraphicFramePr>
            <a:graphicFrameLocks noChangeAspect="1"/>
          </p:cNvGraphicFramePr>
          <p:nvPr>
            <p:custDataLst>
              <p:tags r:id="rId1"/>
            </p:custDataLst>
            <p:extLst>
              <p:ext uri="{D42A27DB-BD31-4B8C-83A1-F6EECF244321}">
                <p14:modId xmlns:p14="http://schemas.microsoft.com/office/powerpoint/2010/main" val="27586242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13F3186C-8091-3315-6B32-D715343F5CE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06FB0F6-26C3-7C62-DBB2-1EE6C5D197B5}"/>
              </a:ext>
            </a:extLst>
          </p:cNvPr>
          <p:cNvSpPr>
            <a:spLocks noGrp="1"/>
          </p:cNvSpPr>
          <p:nvPr>
            <p:ph type="title"/>
          </p:nvPr>
        </p:nvSpPr>
        <p:spPr/>
        <p:txBody>
          <a:bodyPr vert="horz"/>
          <a:lstStyle/>
          <a:p>
            <a:r>
              <a:rPr lang="en-US"/>
              <a:t>Units, Calculations, and References</a:t>
            </a:r>
          </a:p>
        </p:txBody>
      </p:sp>
      <p:graphicFrame>
        <p:nvGraphicFramePr>
          <p:cNvPr id="7" name="Table 6">
            <a:extLst>
              <a:ext uri="{FF2B5EF4-FFF2-40B4-BE49-F238E27FC236}">
                <a16:creationId xmlns:a16="http://schemas.microsoft.com/office/drawing/2014/main" id="{5B5F40AF-B633-9106-C507-F8408EC3CDCD}"/>
              </a:ext>
            </a:extLst>
          </p:cNvPr>
          <p:cNvGraphicFramePr>
            <a:graphicFrameLocks noGrp="1"/>
          </p:cNvGraphicFramePr>
          <p:nvPr>
            <p:extLst>
              <p:ext uri="{D42A27DB-BD31-4B8C-83A1-F6EECF244321}">
                <p14:modId xmlns:p14="http://schemas.microsoft.com/office/powerpoint/2010/main" val="2619022676"/>
              </p:ext>
            </p:extLst>
          </p:nvPr>
        </p:nvGraphicFramePr>
        <p:xfrm>
          <a:off x="679302" y="2590801"/>
          <a:ext cx="6881001" cy="2861488"/>
        </p:xfrm>
        <a:graphic>
          <a:graphicData uri="http://schemas.openxmlformats.org/drawingml/2006/table">
            <a:tbl>
              <a:tblPr/>
              <a:tblGrid>
                <a:gridCol w="2253764">
                  <a:extLst>
                    <a:ext uri="{9D8B030D-6E8A-4147-A177-3AD203B41FA5}">
                      <a16:colId xmlns:a16="http://schemas.microsoft.com/office/drawing/2014/main" val="2438422095"/>
                    </a:ext>
                  </a:extLst>
                </a:gridCol>
                <a:gridCol w="4627237">
                  <a:extLst>
                    <a:ext uri="{9D8B030D-6E8A-4147-A177-3AD203B41FA5}">
                      <a16:colId xmlns:a16="http://schemas.microsoft.com/office/drawing/2014/main" val="1640766856"/>
                    </a:ext>
                  </a:extLst>
                </a:gridCol>
              </a:tblGrid>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Kilowatt (kW)</a:t>
                      </a:r>
                    </a:p>
                  </a:txBody>
                  <a:tcPr marL="228600" marR="228600" marT="228600" marB="228600" anchor="ctr">
                    <a:lnL>
                      <a:noFill/>
                    </a:lnL>
                    <a:lnR>
                      <a:noFill/>
                    </a:lnR>
                    <a:lnT>
                      <a:noFill/>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 (1 thousand) watts</a:t>
                      </a:r>
                    </a:p>
                  </a:txBody>
                  <a:tcPr marL="228600" marR="228600" marT="228600" marB="228600" anchor="ctr">
                    <a:lnL>
                      <a:noFill/>
                    </a:lnL>
                    <a:lnR>
                      <a:noFill/>
                    </a:lnR>
                    <a:lnT>
                      <a:noFill/>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305537691"/>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Megawatt (M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 (1 m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559052811"/>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Gigawatt (G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000 (1 b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872982376"/>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Terawatt (T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000,000 (1 tr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extLst>
                  <a:ext uri="{0D108BD9-81ED-4DB2-BD59-A6C34878D82A}">
                    <a16:rowId xmlns:a16="http://schemas.microsoft.com/office/drawing/2014/main" val="2158487527"/>
                  </a:ext>
                </a:extLst>
              </a:tr>
            </a:tbl>
          </a:graphicData>
        </a:graphic>
      </p:graphicFrame>
      <p:sp>
        <p:nvSpPr>
          <p:cNvPr id="10" name="TextBox 9">
            <a:extLst>
              <a:ext uri="{FF2B5EF4-FFF2-40B4-BE49-F238E27FC236}">
                <a16:creationId xmlns:a16="http://schemas.microsoft.com/office/drawing/2014/main" id="{45EFE509-3BBA-E025-72A3-C8F06084D169}"/>
              </a:ext>
            </a:extLst>
          </p:cNvPr>
          <p:cNvSpPr txBox="1"/>
          <p:nvPr/>
        </p:nvSpPr>
        <p:spPr bwMode="gray">
          <a:xfrm>
            <a:off x="679304" y="1405711"/>
            <a:ext cx="6881001" cy="923330"/>
          </a:xfrm>
          <a:prstGeom prst="rect">
            <a:avLst/>
          </a:prstGeom>
          <a:solidFill>
            <a:schemeClr val="tx1"/>
          </a:solidFill>
        </p:spPr>
        <p:txBody>
          <a:bodyPr wrap="square">
            <a:spAutoFit/>
          </a:bodyPr>
          <a:lstStyle/>
          <a:p>
            <a:r>
              <a:rPr lang="en-US">
                <a:solidFill>
                  <a:schemeClr val="bg1"/>
                </a:solidFill>
              </a:rPr>
              <a:t>One watt equates to one </a:t>
            </a:r>
            <a:r>
              <a:rPr lang="en-US" b="1">
                <a:solidFill>
                  <a:schemeClr val="bg1"/>
                </a:solidFill>
              </a:rPr>
              <a:t>joule</a:t>
            </a:r>
            <a:r>
              <a:rPr lang="en-US">
                <a:solidFill>
                  <a:schemeClr val="bg1"/>
                </a:solidFill>
              </a:rPr>
              <a:t> of energy per second. </a:t>
            </a:r>
          </a:p>
          <a:p>
            <a:r>
              <a:rPr lang="en-US">
                <a:solidFill>
                  <a:schemeClr val="bg1"/>
                </a:solidFill>
              </a:rPr>
              <a:t>In electrical systems, power (</a:t>
            </a:r>
            <a:r>
              <a:rPr lang="en-US" b="1">
                <a:solidFill>
                  <a:schemeClr val="bg1"/>
                </a:solidFill>
              </a:rPr>
              <a:t>watts</a:t>
            </a:r>
            <a:r>
              <a:rPr lang="en-US">
                <a:solidFill>
                  <a:schemeClr val="bg1"/>
                </a:solidFill>
              </a:rPr>
              <a:t>) is calculated by multiplying voltage (</a:t>
            </a:r>
            <a:r>
              <a:rPr lang="en-US" b="1">
                <a:solidFill>
                  <a:schemeClr val="bg1"/>
                </a:solidFill>
              </a:rPr>
              <a:t>volts</a:t>
            </a:r>
            <a:r>
              <a:rPr lang="en-US">
                <a:solidFill>
                  <a:schemeClr val="bg1"/>
                </a:solidFill>
              </a:rPr>
              <a:t>) by current (</a:t>
            </a:r>
            <a:r>
              <a:rPr lang="en-US" b="1">
                <a:solidFill>
                  <a:schemeClr val="bg1"/>
                </a:solidFill>
              </a:rPr>
              <a:t>amps</a:t>
            </a:r>
            <a:r>
              <a:rPr lang="en-US">
                <a:solidFill>
                  <a:schemeClr val="bg1"/>
                </a:solidFill>
              </a:rPr>
              <a:t>).</a:t>
            </a:r>
          </a:p>
        </p:txBody>
      </p:sp>
      <p:sp>
        <p:nvSpPr>
          <p:cNvPr id="17" name="btfpNotesBox164659">
            <a:extLst>
              <a:ext uri="{FF2B5EF4-FFF2-40B4-BE49-F238E27FC236}">
                <a16:creationId xmlns:a16="http://schemas.microsoft.com/office/drawing/2014/main" id="{F415DAA7-99A5-DDA2-4535-81528CBEAFB6}"/>
              </a:ext>
            </a:extLst>
          </p:cNvPr>
          <p:cNvSpPr txBox="1"/>
          <p:nvPr>
            <p:custDataLst>
              <p:tags r:id="rId2"/>
            </p:custDataLst>
          </p:nvPr>
        </p:nvSpPr>
        <p:spPr bwMode="gray">
          <a:xfrm>
            <a:off x="330200" y="6680533"/>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Tree>
    <p:extLst>
      <p:ext uri="{BB962C8B-B14F-4D97-AF65-F5344CB8AC3E}">
        <p14:creationId xmlns:p14="http://schemas.microsoft.com/office/powerpoint/2010/main" val="34350390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AF1638-A21E-EE04-5908-2C6DD247990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5BC22E-E6D2-DB6F-F4DE-21598F1B2C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285BC22E-E6D2-DB6F-F4DE-21598F1B2C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E69BB3-1AA7-E879-393C-D171CF8E3E04}"/>
              </a:ext>
            </a:extLst>
          </p:cNvPr>
          <p:cNvSpPr>
            <a:spLocks noGrp="1"/>
          </p:cNvSpPr>
          <p:nvPr>
            <p:ph type="title"/>
          </p:nvPr>
        </p:nvSpPr>
        <p:spPr>
          <a:xfrm>
            <a:off x="330200" y="523318"/>
            <a:ext cx="11861800" cy="659434"/>
          </a:xfrm>
        </p:spPr>
        <p:txBody>
          <a:bodyPr vert="horz">
            <a:normAutofit fontScale="90000"/>
          </a:bodyPr>
          <a:lstStyle/>
          <a:p>
            <a:r>
              <a:rPr lang="en-US"/>
              <a:t>Nuclear comparable to batteries and geothermal in baseload and </a:t>
            </a:r>
            <a:br>
              <a:rPr lang="en-US"/>
            </a:br>
            <a:r>
              <a:rPr lang="en-US"/>
              <a:t>grid-stability properties; outperforms in capacity and discharge duration</a:t>
            </a:r>
          </a:p>
        </p:txBody>
      </p:sp>
      <p:sp>
        <p:nvSpPr>
          <p:cNvPr id="5" name="btfpColumnHeaderBoxText223027">
            <a:extLst>
              <a:ext uri="{FF2B5EF4-FFF2-40B4-BE49-F238E27FC236}">
                <a16:creationId xmlns:a16="http://schemas.microsoft.com/office/drawing/2014/main" id="{21519C26-5FCA-3A58-72AB-487778342B89}"/>
              </a:ext>
            </a:extLst>
          </p:cNvPr>
          <p:cNvSpPr txBox="1"/>
          <p:nvPr/>
        </p:nvSpPr>
        <p:spPr bwMode="gray">
          <a:xfrm>
            <a:off x="329184" y="1554480"/>
            <a:ext cx="4559296" cy="277184"/>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r>
              <a:rPr lang="en-US" sz="1400" b="1">
                <a:solidFill>
                  <a:srgbClr val="000000"/>
                </a:solidFill>
              </a:rPr>
              <a:t>Nuclear vs. lithium-ion batteries for grid stability</a:t>
            </a:r>
            <a:endParaRPr lang="en-US" sz="1400">
              <a:solidFill>
                <a:srgbClr val="000000"/>
              </a:solidFill>
            </a:endParaRPr>
          </a:p>
        </p:txBody>
      </p:sp>
      <p:sp>
        <p:nvSpPr>
          <p:cNvPr id="6" name="btfpColumnHeaderBoxText223027">
            <a:extLst>
              <a:ext uri="{FF2B5EF4-FFF2-40B4-BE49-F238E27FC236}">
                <a16:creationId xmlns:a16="http://schemas.microsoft.com/office/drawing/2014/main" id="{898A4DC9-3EB5-C2AC-ECF0-2FF3754B8ABE}"/>
              </a:ext>
            </a:extLst>
          </p:cNvPr>
          <p:cNvSpPr txBox="1"/>
          <p:nvPr/>
        </p:nvSpPr>
        <p:spPr bwMode="gray">
          <a:xfrm>
            <a:off x="5391245" y="1554480"/>
            <a:ext cx="3938147" cy="276859"/>
          </a:xfrm>
          <a:prstGeom prst="rect">
            <a:avLst/>
          </a:prstGeom>
          <a:noFill/>
          <a:ln w="9525" cap="flat" cmpd="sng" algn="ctr">
            <a:noFill/>
            <a:prstDash val="solid"/>
            <a:round/>
            <a:headEnd type="none" w="med" len="med"/>
            <a:tailEnd type="none" w="med" len="med"/>
          </a:ln>
        </p:spPr>
        <p:txBody>
          <a:bodyPr vert="horz" wrap="square" lIns="36036" tIns="36036" rIns="36036" bIns="36036" rtlCol="0" anchor="b">
            <a:noAutofit/>
          </a:bodyPr>
          <a:lstStyle/>
          <a:p>
            <a:r>
              <a:rPr lang="en-US" sz="1400" b="1">
                <a:solidFill>
                  <a:srgbClr val="000000"/>
                </a:solidFill>
              </a:rPr>
              <a:t>Nuclear vs. geothermal for baseload energy</a:t>
            </a:r>
            <a:endParaRPr lang="en-US" sz="1400">
              <a:solidFill>
                <a:srgbClr val="000000"/>
              </a:solidFill>
            </a:endParaRPr>
          </a:p>
        </p:txBody>
      </p:sp>
      <p:graphicFrame>
        <p:nvGraphicFramePr>
          <p:cNvPr id="14" name="Diagramm 74">
            <a:extLst>
              <a:ext uri="{FF2B5EF4-FFF2-40B4-BE49-F238E27FC236}">
                <a16:creationId xmlns:a16="http://schemas.microsoft.com/office/drawing/2014/main" id="{2A35E1F1-A952-DDA7-C7E7-80EC8A3723FE}"/>
              </a:ext>
            </a:extLst>
          </p:cNvPr>
          <p:cNvGraphicFramePr>
            <a:graphicFrameLocks/>
          </p:cNvGraphicFramePr>
          <p:nvPr/>
        </p:nvGraphicFramePr>
        <p:xfrm>
          <a:off x="4213822" y="2585870"/>
          <a:ext cx="6074879" cy="2739401"/>
        </p:xfrm>
        <a:graphic>
          <a:graphicData uri="http://schemas.openxmlformats.org/drawingml/2006/chart">
            <c:chart xmlns:c="http://schemas.openxmlformats.org/drawingml/2006/chart" xmlns:r="http://schemas.openxmlformats.org/officeDocument/2006/relationships" r:id="rId6"/>
          </a:graphicData>
        </a:graphic>
      </p:graphicFrame>
      <p:sp>
        <p:nvSpPr>
          <p:cNvPr id="15" name="btfpNotesBox111697">
            <a:extLst>
              <a:ext uri="{FF2B5EF4-FFF2-40B4-BE49-F238E27FC236}">
                <a16:creationId xmlns:a16="http://schemas.microsoft.com/office/drawing/2014/main" id="{C75E2D24-B389-01E9-D963-455906946173}"/>
              </a:ext>
            </a:extLst>
          </p:cNvPr>
          <p:cNvSpPr txBox="1"/>
          <p:nvPr/>
        </p:nvSpPr>
        <p:spPr bwMode="gray">
          <a:xfrm>
            <a:off x="330201" y="6072576"/>
            <a:ext cx="9142984" cy="738664"/>
          </a:xfrm>
          <a:prstGeom prst="rect">
            <a:avLst/>
          </a:prstGeom>
          <a:noFill/>
        </p:spPr>
        <p:txBody>
          <a:bodyPr vert="horz" wrap="square" lIns="0" tIns="0" rIns="0" bIns="0"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l" defTabSz="711200" rtl="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Arial"/>
                <a:cs typeface="Arial"/>
              </a:rPr>
              <a:t>1</a:t>
            </a:r>
            <a:r>
              <a:rPr lang="en-US" sz="800" baseline="30000" dirty="0">
                <a:solidFill>
                  <a:srgbClr val="000000"/>
                </a:solidFill>
                <a:latin typeface="Arial"/>
                <a:cs typeface="Arial"/>
              </a:rPr>
              <a:t> </a:t>
            </a:r>
            <a:r>
              <a:rPr lang="en-US" sz="800" dirty="0">
                <a:solidFill>
                  <a:srgbClr val="000000"/>
                </a:solidFill>
                <a:latin typeface="Arial"/>
                <a:cs typeface="Arial"/>
              </a:rPr>
              <a:t>Points at the extremities of the r</a:t>
            </a:r>
            <a:r>
              <a:rPr kumimoji="0" lang="en-US" sz="800" b="0" i="0" u="none" strike="noStrike" kern="1200" cap="none" spc="0" normalizeH="0" noProof="0" dirty="0" err="1">
                <a:ln>
                  <a:noFill/>
                </a:ln>
                <a:solidFill>
                  <a:srgbClr val="000000"/>
                </a:solidFill>
                <a:effectLst/>
                <a:uLnTx/>
                <a:uFillTx/>
                <a:latin typeface="Arial"/>
                <a:cs typeface="Arial"/>
              </a:rPr>
              <a:t>adar</a:t>
            </a:r>
            <a:r>
              <a:rPr kumimoji="0" lang="en-US" sz="800" b="0" i="0" u="none" strike="noStrike" kern="1200" cap="none" spc="0" normalizeH="0" noProof="0" dirty="0">
                <a:ln>
                  <a:noFill/>
                </a:ln>
                <a:solidFill>
                  <a:srgbClr val="000000"/>
                </a:solidFill>
                <a:effectLst/>
                <a:uLnTx/>
                <a:uFillTx/>
                <a:latin typeface="Arial"/>
                <a:cs typeface="Arial"/>
              </a:rPr>
              <a:t> chart show the most desirable features (5=most desirable). See Appendix for reasoning behind scale. </a:t>
            </a:r>
            <a:endParaRPr kumimoji="0" lang="en-US" sz="800" b="0" i="0" u="none" strike="noStrike" kern="1200" cap="none" spc="0" normalizeH="0" baseline="0" noProof="0" dirty="0">
              <a:ln>
                <a:noFill/>
              </a:ln>
              <a:solidFill>
                <a:srgbClr val="000000"/>
              </a:solidFill>
              <a:effectLst/>
              <a:uLnTx/>
              <a:uFillTx/>
              <a:latin typeface="Arial"/>
              <a:cs typeface="Arial"/>
            </a:endParaRPr>
          </a:p>
          <a:p>
            <a:pPr marL="0" indent="0" fontAlgn="base">
              <a:spcBef>
                <a:spcPts val="0"/>
              </a:spcBef>
              <a:buNone/>
              <a:defRPr/>
            </a:pPr>
            <a:r>
              <a:rPr kumimoji="0" lang="en-US" sz="800" b="0" i="0" u="none" strike="noStrike" kern="1200" cap="none" spc="0" normalizeH="0" baseline="0" noProof="0" dirty="0">
                <a:ln>
                  <a:noFill/>
                </a:ln>
                <a:solidFill>
                  <a:srgbClr val="000000"/>
                </a:solidFill>
                <a:effectLst/>
                <a:uLnTx/>
                <a:uFillTx/>
                <a:latin typeface="Arial"/>
                <a:cs typeface="Arial"/>
              </a:rPr>
              <a:t>Sources</a:t>
            </a:r>
            <a:r>
              <a:rPr kumimoji="0" lang="en-US" sz="800" b="0" i="0" u="none" strike="noStrike" kern="1200" cap="none" spc="0" normalizeH="0" baseline="0" noProof="0" dirty="0">
                <a:ln>
                  <a:noFill/>
                </a:ln>
                <a:solidFill>
                  <a:srgbClr val="000000"/>
                </a:solidFill>
                <a:effectLst/>
                <a:uLnTx/>
                <a:uFillTx/>
                <a:latin typeface="Arial"/>
                <a:ea typeface="+mn-lt"/>
                <a:cs typeface="Arial"/>
              </a:rPr>
              <a:t>: Lazard, </a:t>
            </a:r>
            <a:r>
              <a:rPr lang="en-US" sz="800" dirty="0">
                <a:solidFill>
                  <a:srgbClr val="000000"/>
                </a:solidFill>
                <a:latin typeface="Arial"/>
                <a:cs typeface="Arial"/>
                <a:hlinkClick r:id="rId7"/>
              </a:rPr>
              <a:t>LCOE+</a:t>
            </a:r>
            <a:r>
              <a:rPr lang="en-US" sz="800" dirty="0">
                <a:solidFill>
                  <a:srgbClr val="000000"/>
                </a:solidFill>
                <a:latin typeface="Arial"/>
                <a:ea typeface="+mn-lt"/>
                <a:cs typeface="Arial"/>
              </a:rPr>
              <a:t> (2025); NREL, </a:t>
            </a:r>
            <a:r>
              <a:rPr lang="en-US" sz="800" dirty="0">
                <a:solidFill>
                  <a:srgbClr val="000000"/>
                </a:solidFill>
                <a:latin typeface="Arial"/>
                <a:ea typeface="+mn-lt"/>
                <a:cs typeface="Arial"/>
                <a:hlinkClick r:id="rId8"/>
              </a:rPr>
              <a:t>Annual Technology Baseline: Batteries </a:t>
            </a:r>
            <a:r>
              <a:rPr lang="en-US" sz="800" dirty="0">
                <a:solidFill>
                  <a:srgbClr val="000000"/>
                </a:solidFill>
                <a:latin typeface="Arial"/>
                <a:ea typeface="+mn-lt"/>
                <a:cs typeface="Arial"/>
              </a:rPr>
              <a:t>(2024); DOE, </a:t>
            </a:r>
            <a:r>
              <a:rPr lang="en-US" sz="800" dirty="0">
                <a:solidFill>
                  <a:srgbClr val="000000"/>
                </a:solidFill>
                <a:latin typeface="Arial"/>
                <a:ea typeface="+mn-lt"/>
                <a:cs typeface="Arial"/>
                <a:hlinkClick r:id="rId9"/>
              </a:rPr>
              <a:t>Grid Energy Storage Technology Cost and Performance Assessment </a:t>
            </a:r>
            <a:r>
              <a:rPr lang="en-US" sz="800" dirty="0">
                <a:solidFill>
                  <a:srgbClr val="000000"/>
                </a:solidFill>
                <a:latin typeface="Arial"/>
                <a:ea typeface="+mn-lt"/>
                <a:cs typeface="Arial"/>
              </a:rPr>
              <a:t>(2022); IAEA, </a:t>
            </a:r>
            <a:r>
              <a:rPr lang="en-US" sz="800" dirty="0">
                <a:solidFill>
                  <a:srgbClr val="000000"/>
                </a:solidFill>
                <a:latin typeface="Arial"/>
                <a:ea typeface="+mn-lt"/>
                <a:cs typeface="Arial"/>
                <a:hlinkClick r:id="rId10"/>
              </a:rPr>
              <a:t>Non-Baseload Operation in Nuclear Power Plants </a:t>
            </a:r>
            <a:r>
              <a:rPr lang="en-US" sz="800" dirty="0">
                <a:solidFill>
                  <a:srgbClr val="000000"/>
                </a:solidFill>
                <a:latin typeface="Arial"/>
                <a:ea typeface="+mn-lt"/>
                <a:cs typeface="Arial"/>
              </a:rPr>
              <a:t>(2023); </a:t>
            </a:r>
            <a:r>
              <a:rPr kumimoji="0" lang="en-US" sz="800" b="0" i="0" u="none" strike="noStrike" kern="1200" cap="none" spc="0" normalizeH="0" baseline="0" noProof="0" dirty="0">
                <a:ln>
                  <a:noFill/>
                </a:ln>
                <a:solidFill>
                  <a:srgbClr val="000000"/>
                </a:solidFill>
                <a:effectLst/>
                <a:uLnTx/>
                <a:uFillTx/>
                <a:latin typeface="Arial"/>
                <a:ea typeface="+mn-lt"/>
                <a:cs typeface="Arial"/>
              </a:rPr>
              <a:t>IAEA,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11"/>
              </a:rPr>
              <a:t>What are SMRs </a:t>
            </a:r>
            <a:r>
              <a:rPr kumimoji="0" lang="en-US" sz="800" b="0" i="0" u="none" strike="noStrike" kern="1200" cap="none" spc="0" normalizeH="0" baseline="0" noProof="0" dirty="0">
                <a:ln>
                  <a:noFill/>
                </a:ln>
                <a:solidFill>
                  <a:srgbClr val="000000"/>
                </a:solidFill>
                <a:effectLst/>
                <a:uLnTx/>
                <a:uFillTx/>
                <a:latin typeface="Arial"/>
                <a:ea typeface="+mn-lt"/>
                <a:cs typeface="Arial"/>
              </a:rPr>
              <a:t>(2023); DOE,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12"/>
              </a:rPr>
              <a:t>Benefits of SMRs</a:t>
            </a:r>
            <a:r>
              <a:rPr kumimoji="0" lang="en-US" sz="800" b="0" i="0" u="none" strike="noStrike" kern="1200" cap="none" spc="0" normalizeH="0" baseline="0" noProof="0" dirty="0">
                <a:ln>
                  <a:noFill/>
                </a:ln>
                <a:solidFill>
                  <a:srgbClr val="000000"/>
                </a:solidFill>
                <a:effectLst/>
                <a:uLnTx/>
                <a:uFillTx/>
                <a:latin typeface="Arial"/>
                <a:ea typeface="+mn-lt"/>
                <a:cs typeface="Arial"/>
              </a:rPr>
              <a:t> (2025); EIA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13"/>
              </a:rPr>
              <a:t>Nuclear FAQ </a:t>
            </a:r>
            <a:r>
              <a:rPr kumimoji="0" lang="en-US" sz="800" b="0" i="0" u="none" strike="noStrike" kern="1200" cap="none" spc="0" normalizeH="0" baseline="0" noProof="0" dirty="0">
                <a:ln>
                  <a:noFill/>
                </a:ln>
                <a:solidFill>
                  <a:srgbClr val="000000"/>
                </a:solidFill>
                <a:effectLst/>
                <a:uLnTx/>
                <a:uFillTx/>
                <a:latin typeface="Arial"/>
                <a:ea typeface="+mn-lt"/>
                <a:cs typeface="Arial"/>
              </a:rPr>
              <a:t>(2025); </a:t>
            </a:r>
            <a:r>
              <a:rPr kumimoji="0" lang="en-US" sz="800" b="0" i="0" u="none" strike="noStrike" kern="1200" cap="none" spc="0" normalizeH="0" baseline="0" noProof="0" dirty="0" err="1">
                <a:ln>
                  <a:noFill/>
                </a:ln>
                <a:solidFill>
                  <a:srgbClr val="000000"/>
                </a:solidFill>
                <a:effectLst/>
                <a:uLnTx/>
                <a:uFillTx/>
                <a:latin typeface="Arial"/>
                <a:ea typeface="+mn-lt"/>
                <a:cs typeface="Arial"/>
              </a:rPr>
              <a:t>Feutry</a:t>
            </a:r>
            <a:r>
              <a:rPr kumimoji="0" lang="en-US" sz="800" b="0" i="0" u="none" strike="noStrike" kern="1200" cap="none" spc="0" normalizeH="0" baseline="0" noProof="0" dirty="0">
                <a:ln>
                  <a:noFill/>
                </a:ln>
                <a:solidFill>
                  <a:srgbClr val="000000"/>
                </a:solidFill>
                <a:effectLst/>
                <a:uLnTx/>
                <a:uFillTx/>
                <a:latin typeface="Arial"/>
                <a:ea typeface="+mn-lt"/>
                <a:cs typeface="Arial"/>
              </a:rPr>
              <a:t> et al.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14"/>
              </a:rPr>
              <a:t>Nuclear Power Plant Flexibility at EDF</a:t>
            </a:r>
            <a:r>
              <a:rPr kumimoji="0" lang="en-US" sz="800" b="0" i="0" u="none" strike="noStrike" kern="1200" cap="none" spc="0" normalizeH="0" baseline="0" noProof="0" dirty="0">
                <a:ln>
                  <a:noFill/>
                </a:ln>
                <a:solidFill>
                  <a:srgbClr val="000000"/>
                </a:solidFill>
                <a:effectLst/>
                <a:uLnTx/>
                <a:uFillTx/>
                <a:latin typeface="Arial"/>
                <a:ea typeface="+mn-lt"/>
                <a:cs typeface="Arial"/>
              </a:rPr>
              <a:t> (2019); NREL,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15"/>
              </a:rPr>
              <a:t>Annual Technology Baseline: Nuclear</a:t>
            </a:r>
            <a:r>
              <a:rPr kumimoji="0" lang="en-US" sz="800" b="0" i="0" u="none" strike="noStrike" kern="1200" cap="none" spc="0" normalizeH="0" baseline="0" noProof="0" dirty="0">
                <a:ln>
                  <a:noFill/>
                </a:ln>
                <a:solidFill>
                  <a:srgbClr val="000000"/>
                </a:solidFill>
                <a:effectLst/>
                <a:uLnTx/>
                <a:uFillTx/>
                <a:latin typeface="Arial"/>
                <a:ea typeface="+mn-lt"/>
                <a:cs typeface="Arial"/>
              </a:rPr>
              <a:t> (2024); Detering,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16"/>
              </a:rPr>
              <a:t>Nuclear is a Dispatchable Energy Source </a:t>
            </a:r>
            <a:r>
              <a:rPr lang="en-US" sz="800" dirty="0">
                <a:solidFill>
                  <a:srgbClr val="000000"/>
                </a:solidFill>
                <a:latin typeface="Arial"/>
                <a:ea typeface="+mn-lt"/>
                <a:cs typeface="Arial"/>
              </a:rPr>
              <a:t> </a:t>
            </a:r>
            <a:r>
              <a:rPr kumimoji="0" lang="en-US" sz="800" b="0" i="0" u="none" strike="noStrike" kern="1200" cap="none" spc="0" normalizeH="0" baseline="0" noProof="0" dirty="0">
                <a:ln>
                  <a:noFill/>
                </a:ln>
                <a:solidFill>
                  <a:srgbClr val="000000"/>
                </a:solidFill>
                <a:effectLst/>
                <a:uLnTx/>
                <a:uFillTx/>
                <a:latin typeface="Arial"/>
                <a:ea typeface="+mn-lt"/>
                <a:cs typeface="Arial"/>
              </a:rPr>
              <a:t>(2023); Lovering et al.,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17"/>
              </a:rPr>
              <a:t>Land Use Intensity of Electricity Production </a:t>
            </a:r>
            <a:r>
              <a:rPr kumimoji="0" lang="en-US" sz="800" b="0" i="0" u="none" strike="noStrike" kern="1200" cap="none" spc="0" normalizeH="0" baseline="0" noProof="0" dirty="0">
                <a:ln>
                  <a:noFill/>
                </a:ln>
                <a:solidFill>
                  <a:srgbClr val="000000"/>
                </a:solidFill>
                <a:effectLst/>
                <a:uLnTx/>
                <a:uFillTx/>
                <a:latin typeface="Arial"/>
                <a:ea typeface="+mn-lt"/>
                <a:cs typeface="Arial"/>
              </a:rPr>
              <a:t>(</a:t>
            </a:r>
            <a:r>
              <a:rPr lang="en-US" sz="800" dirty="0">
                <a:solidFill>
                  <a:srgbClr val="000000"/>
                </a:solidFill>
                <a:latin typeface="Arial"/>
                <a:ea typeface="+mn-lt"/>
                <a:cs typeface="Arial"/>
              </a:rPr>
              <a:t>2022); IEA, </a:t>
            </a:r>
            <a:r>
              <a:rPr lang="en-US" sz="800" dirty="0">
                <a:solidFill>
                  <a:srgbClr val="000000"/>
                </a:solidFill>
                <a:latin typeface="Arial"/>
                <a:ea typeface="+mn-lt"/>
                <a:cs typeface="Arial"/>
                <a:hlinkClick r:id="rId18"/>
              </a:rPr>
              <a:t>The Future of Geothermal Energy </a:t>
            </a:r>
            <a:r>
              <a:rPr lang="en-US" sz="800" dirty="0">
                <a:solidFill>
                  <a:srgbClr val="000000"/>
                </a:solidFill>
                <a:latin typeface="Arial"/>
                <a:ea typeface="+mn-lt"/>
                <a:cs typeface="Arial"/>
              </a:rPr>
              <a:t>(2024); DOE, </a:t>
            </a:r>
            <a:r>
              <a:rPr lang="en-US" sz="800" dirty="0">
                <a:solidFill>
                  <a:srgbClr val="000000"/>
                </a:solidFill>
                <a:latin typeface="Arial"/>
                <a:ea typeface="+mn-lt"/>
                <a:cs typeface="Arial"/>
                <a:hlinkClick r:id="rId19"/>
              </a:rPr>
              <a:t>What is generation capacity </a:t>
            </a:r>
            <a:r>
              <a:rPr lang="en-US" sz="800" dirty="0">
                <a:solidFill>
                  <a:srgbClr val="000000"/>
                </a:solidFill>
                <a:latin typeface="Arial"/>
                <a:ea typeface="+mn-lt"/>
                <a:cs typeface="Arial"/>
              </a:rPr>
              <a:t>(2025); SLB, </a:t>
            </a:r>
            <a:r>
              <a:rPr lang="en-US" sz="800" dirty="0">
                <a:solidFill>
                  <a:srgbClr val="000000"/>
                </a:solidFill>
                <a:latin typeface="Arial"/>
                <a:ea typeface="+mn-lt"/>
                <a:cs typeface="Arial"/>
                <a:hlinkClick r:id="rId20"/>
              </a:rPr>
              <a:t>Beyond Levelized cost: What’s the true value of geothermal energy? </a:t>
            </a:r>
            <a:r>
              <a:rPr lang="en-US" sz="800" dirty="0">
                <a:solidFill>
                  <a:srgbClr val="000000"/>
                </a:solidFill>
                <a:latin typeface="Arial"/>
                <a:ea typeface="+mn-lt"/>
                <a:cs typeface="Arial"/>
              </a:rPr>
              <a:t>(2024).</a:t>
            </a:r>
            <a:br>
              <a:rPr lang="en-US" sz="80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800" b="0" i="0" u="none" strike="noStrike" kern="1200" cap="none" spc="0" normalizeH="0" baseline="0" noProof="0" dirty="0">
                <a:ln>
                  <a:noFill/>
                </a:ln>
                <a:solidFill>
                  <a:srgbClr val="000000"/>
                </a:solidFill>
                <a:effectLst/>
                <a:uLnTx/>
                <a:uFillTx/>
                <a:latin typeface="Arial"/>
                <a:cs typeface="Arial"/>
              </a:rPr>
              <a:t>Credit: </a:t>
            </a:r>
            <a:r>
              <a:rPr lang="en-US" sz="800" dirty="0">
                <a:solidFill>
                  <a:srgbClr val="000000"/>
                </a:solidFill>
              </a:rPr>
              <a:t>Clara Zibell, </a:t>
            </a:r>
            <a:r>
              <a:rPr lang="en-US" sz="800" dirty="0" err="1">
                <a:solidFill>
                  <a:srgbClr val="000000"/>
                </a:solidFill>
              </a:rPr>
              <a:t>Khande-Jaé</a:t>
            </a:r>
            <a:r>
              <a:rPr lang="en-US" sz="800" dirty="0">
                <a:solidFill>
                  <a:srgbClr val="000000"/>
                </a:solidFill>
              </a:rPr>
              <a:t> Fisher</a:t>
            </a:r>
            <a:r>
              <a:rPr kumimoji="0" lang="en-US" sz="800" b="0" i="0" u="none" strike="noStrike" kern="1200" cap="none" spc="0" normalizeH="0" baseline="0" noProof="0" dirty="0">
                <a:ln>
                  <a:noFill/>
                </a:ln>
                <a:solidFill>
                  <a:srgbClr val="000000"/>
                </a:solidFill>
                <a:effectLst/>
                <a:uLnTx/>
                <a:uFillTx/>
                <a:latin typeface="Arial"/>
                <a:cs typeface="Arial"/>
              </a:rPr>
              <a:t>, Isabel Hoyos, </a:t>
            </a:r>
            <a:r>
              <a:rPr lang="en-US" sz="800" dirty="0" err="1">
                <a:solidFill>
                  <a:srgbClr val="000000"/>
                </a:solidFill>
              </a:rPr>
              <a:t>Hyae</a:t>
            </a:r>
            <a:r>
              <a:rPr lang="en-US" sz="800" dirty="0">
                <a:solidFill>
                  <a:srgbClr val="000000"/>
                </a:solidFill>
              </a:rPr>
              <a:t> Ryung Kim, and</a:t>
            </a:r>
            <a:r>
              <a:rPr kumimoji="0" lang="en-US" sz="800" b="0" i="0" u="none" strike="noStrike" kern="1200" cap="none" spc="0" normalizeH="0" baseline="0" noProof="0" dirty="0">
                <a:ln>
                  <a:noFill/>
                </a:ln>
                <a:solidFill>
                  <a:srgbClr val="000000"/>
                </a:solidFill>
                <a:effectLst/>
                <a:uLnTx/>
                <a:uFillTx/>
                <a:latin typeface="Arial"/>
                <a:cs typeface="Arial"/>
              </a:rPr>
              <a:t> </a:t>
            </a:r>
            <a:r>
              <a:rPr kumimoji="0" lang="en-US" sz="800" b="0" i="0" u="sng" strike="noStrike" kern="1200" cap="none" spc="0" normalizeH="0" baseline="0" noProof="0" dirty="0">
                <a:ln>
                  <a:noFill/>
                </a:ln>
                <a:solidFill>
                  <a:srgbClr val="46647B"/>
                </a:solidFill>
                <a:effectLst/>
                <a:uLnTx/>
                <a:uFillTx/>
                <a:latin typeface="Arial"/>
                <a:cs typeface="Arial"/>
                <a:hlinkClick r:id="rId21"/>
              </a:rPr>
              <a:t>Gernot Wagner</a:t>
            </a:r>
            <a:r>
              <a:rPr kumimoji="0" lang="en-US" sz="800" b="0" i="0" u="none" strike="noStrike" kern="1200" cap="none" spc="0" normalizeH="0" baseline="0" noProof="0" dirty="0">
                <a:ln>
                  <a:noFill/>
                </a:ln>
                <a:solidFill>
                  <a:srgbClr val="000000"/>
                </a:solidFill>
                <a:effectLst/>
                <a:uLnTx/>
                <a:uFillTx/>
                <a:latin typeface="Arial"/>
                <a:cs typeface="Arial"/>
              </a:rPr>
              <a:t>. Share with </a:t>
            </a:r>
            <a:r>
              <a:rPr kumimoji="0" lang="en-US" sz="800" b="0" i="0" u="sng" strike="noStrike" kern="1200" cap="none" spc="0" normalizeH="0" baseline="0" noProof="0" dirty="0">
                <a:ln>
                  <a:noFill/>
                </a:ln>
                <a:solidFill>
                  <a:srgbClr val="46647B"/>
                </a:solidFill>
                <a:effectLst/>
                <a:uLnTx/>
                <a:uFillTx/>
                <a:latin typeface="Arial"/>
                <a:cs typeface="Arial"/>
                <a:hlinkClick r:id="rId22"/>
              </a:rPr>
              <a:t>attribution</a:t>
            </a:r>
            <a:r>
              <a:rPr kumimoji="0" lang="en-US" sz="800" b="0" i="0" u="none" strike="noStrike" kern="1200" cap="none" spc="0" normalizeH="0" baseline="0" noProof="0" dirty="0">
                <a:ln>
                  <a:noFill/>
                </a:ln>
                <a:solidFill>
                  <a:srgbClr val="000000"/>
                </a:solidFill>
                <a:effectLst/>
                <a:uLnTx/>
                <a:uFillTx/>
                <a:latin typeface="Arial"/>
                <a:cs typeface="Arial"/>
              </a:rPr>
              <a:t>: </a:t>
            </a:r>
            <a:r>
              <a:rPr kumimoji="0" lang="en-US" sz="800" b="0" i="0" u="none" strike="noStrike" kern="1200" cap="none" spc="0" normalizeH="0" baseline="0" noProof="0" dirty="0" err="1">
                <a:ln>
                  <a:noFill/>
                </a:ln>
                <a:solidFill>
                  <a:srgbClr val="000000"/>
                </a:solidFill>
                <a:effectLst/>
                <a:uLnTx/>
                <a:uFillTx/>
                <a:latin typeface="Arial"/>
                <a:cs typeface="Arial"/>
              </a:rPr>
              <a:t>Houwink</a:t>
            </a:r>
            <a:r>
              <a:rPr kumimoji="0" lang="en-US" sz="800" b="0" i="0" u="none" strike="noStrike" kern="1200" cap="none" spc="0" normalizeH="0" baseline="0" noProof="0" dirty="0">
                <a:ln>
                  <a:noFill/>
                </a:ln>
                <a:solidFill>
                  <a:srgbClr val="000000"/>
                </a:solidFill>
                <a:effectLst/>
                <a:uLnTx/>
                <a:uFillTx/>
                <a:latin typeface="Arial"/>
                <a:cs typeface="Arial"/>
              </a:rPr>
              <a:t> </a:t>
            </a:r>
            <a:r>
              <a:rPr kumimoji="0" lang="en-US" sz="800" b="0" u="none" strike="noStrike" kern="1200" cap="none" spc="0" normalizeH="0" baseline="0" noProof="0" dirty="0">
                <a:ln>
                  <a:noFill/>
                </a:ln>
                <a:solidFill>
                  <a:srgbClr val="000000"/>
                </a:solidFill>
                <a:effectLst/>
                <a:uLnTx/>
                <a:uFillTx/>
                <a:latin typeface="Arial"/>
                <a:cs typeface="Arial"/>
              </a:rPr>
              <a:t>et al., </a:t>
            </a:r>
            <a:r>
              <a:rPr kumimoji="0" lang="en-US" sz="800" b="0" i="0" u="none" strike="noStrike" kern="1200" cap="none" spc="0" normalizeH="0" baseline="0" noProof="0" dirty="0">
                <a:ln>
                  <a:noFill/>
                </a:ln>
                <a:solidFill>
                  <a:srgbClr val="000000"/>
                </a:solidFill>
                <a:effectLst/>
                <a:uLnTx/>
                <a:uFillTx/>
                <a:latin typeface="Arial"/>
                <a:cs typeface="Arial"/>
              </a:rPr>
              <a:t>"Reenergizing Nuclear" (</a:t>
            </a:r>
            <a:r>
              <a:rPr lang="en-US" sz="800" dirty="0">
                <a:solidFill>
                  <a:srgbClr val="000000"/>
                </a:solidFill>
                <a:latin typeface="Arial"/>
                <a:cs typeface="Arial"/>
              </a:rPr>
              <a:t>23 September </a:t>
            </a:r>
            <a:r>
              <a:rPr kumimoji="0" lang="en-US" sz="800" b="0" i="0" u="none" strike="noStrike" kern="1200" cap="none" spc="0" normalizeH="0" baseline="0" noProof="0" dirty="0">
                <a:ln>
                  <a:noFill/>
                </a:ln>
                <a:solidFill>
                  <a:srgbClr val="000000"/>
                </a:solidFill>
                <a:effectLst/>
                <a:uLnTx/>
                <a:uFillTx/>
                <a:latin typeface="Arial"/>
                <a:cs typeface="Arial"/>
              </a:rPr>
              <a:t>2025).​</a:t>
            </a:r>
            <a:endParaRPr lang="en-US" sz="800" b="0" i="0" u="none" strike="noStrike" kern="1200" cap="none" spc="0" normalizeH="0" baseline="0" noProof="0" dirty="0">
              <a:ln>
                <a:noFill/>
              </a:ln>
              <a:solidFill>
                <a:srgbClr val="000000"/>
              </a:solidFill>
              <a:effectLst/>
              <a:uLnTx/>
              <a:uFillTx/>
              <a:latin typeface="Arial"/>
              <a:cs typeface="Arial"/>
            </a:endParaRPr>
          </a:p>
        </p:txBody>
      </p:sp>
      <p:graphicFrame>
        <p:nvGraphicFramePr>
          <p:cNvPr id="21" name="Table 20">
            <a:extLst>
              <a:ext uri="{FF2B5EF4-FFF2-40B4-BE49-F238E27FC236}">
                <a16:creationId xmlns:a16="http://schemas.microsoft.com/office/drawing/2014/main" id="{A0D5F059-68E7-EE0B-56CC-A4FCE46B3F6A}"/>
              </a:ext>
            </a:extLst>
          </p:cNvPr>
          <p:cNvGraphicFramePr>
            <a:graphicFrameLocks noGrp="1"/>
          </p:cNvGraphicFramePr>
          <p:nvPr>
            <p:extLst>
              <p:ext uri="{D42A27DB-BD31-4B8C-83A1-F6EECF244321}">
                <p14:modId xmlns:p14="http://schemas.microsoft.com/office/powerpoint/2010/main" val="3384377231"/>
              </p:ext>
            </p:extLst>
          </p:nvPr>
        </p:nvGraphicFramePr>
        <p:xfrm>
          <a:off x="1062570" y="2902077"/>
          <a:ext cx="3892974" cy="1909661"/>
        </p:xfrm>
        <a:graphic>
          <a:graphicData uri="http://schemas.openxmlformats.org/drawingml/2006/table">
            <a:tbl>
              <a:tblPr firstRow="1" bandRow="1">
                <a:tableStyleId>{2D5ABB26-0587-4C30-8999-92F81FD0307C}</a:tableStyleId>
              </a:tblPr>
              <a:tblGrid>
                <a:gridCol w="1297658">
                  <a:extLst>
                    <a:ext uri="{9D8B030D-6E8A-4147-A177-3AD203B41FA5}">
                      <a16:colId xmlns:a16="http://schemas.microsoft.com/office/drawing/2014/main" val="1903206641"/>
                    </a:ext>
                  </a:extLst>
                </a:gridCol>
                <a:gridCol w="1168150">
                  <a:extLst>
                    <a:ext uri="{9D8B030D-6E8A-4147-A177-3AD203B41FA5}">
                      <a16:colId xmlns:a16="http://schemas.microsoft.com/office/drawing/2014/main" val="2647771764"/>
                    </a:ext>
                  </a:extLst>
                </a:gridCol>
                <a:gridCol w="1427166">
                  <a:extLst>
                    <a:ext uri="{9D8B030D-6E8A-4147-A177-3AD203B41FA5}">
                      <a16:colId xmlns:a16="http://schemas.microsoft.com/office/drawing/2014/main" val="1058297754"/>
                    </a:ext>
                  </a:extLst>
                </a:gridCol>
              </a:tblGrid>
              <a:tr h="283025">
                <a:tc>
                  <a:txBody>
                    <a:bodyPr/>
                    <a:lstStyle/>
                    <a:p>
                      <a:pPr marL="0" indent="0" algn="ctr">
                        <a:buNone/>
                      </a:pPr>
                      <a:r>
                        <a:rPr lang="en-US" sz="800">
                          <a:solidFill>
                            <a:schemeClr val="bg1"/>
                          </a:solidFill>
                        </a:rPr>
                        <a:t>24/7</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90000"/>
                        <a:lumOff val="10000"/>
                      </a:schemeClr>
                    </a:solidFill>
                  </a:tcPr>
                </a:tc>
                <a:tc>
                  <a:txBody>
                    <a:bodyPr/>
                    <a:lstStyle/>
                    <a:p>
                      <a:pPr marL="0" indent="0" algn="ctr">
                        <a:buNone/>
                      </a:pPr>
                      <a:r>
                        <a:rPr lang="en-US" sz="800">
                          <a:solidFill>
                            <a:schemeClr val="bg1"/>
                          </a:solidFill>
                        </a:rPr>
                        <a:t>24/7</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90000"/>
                        <a:lumOff val="10000"/>
                      </a:schemeClr>
                    </a:solidFill>
                  </a:tcPr>
                </a:tc>
                <a:tc>
                  <a:txBody>
                    <a:bodyPr/>
                    <a:lstStyle/>
                    <a:p>
                      <a:pPr marL="0" indent="0" algn="ctr">
                        <a:spcBef>
                          <a:spcPts val="0"/>
                        </a:spcBef>
                        <a:buNone/>
                      </a:pPr>
                      <a:r>
                        <a:rPr lang="en-US" sz="800">
                          <a:solidFill>
                            <a:schemeClr val="tx1"/>
                          </a:solidFill>
                        </a:rPr>
                        <a:t>2-10 hours </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72463238"/>
                  </a:ext>
                </a:extLst>
              </a:tr>
              <a:tr h="362429">
                <a:tc>
                  <a:txBody>
                    <a:bodyPr/>
                    <a:lstStyle/>
                    <a:p>
                      <a:pPr marL="0" indent="0" algn="ctr">
                        <a:buNone/>
                      </a:pPr>
                      <a:r>
                        <a:rPr lang="en-US" sz="800">
                          <a:solidFill>
                            <a:schemeClr val="bg1"/>
                          </a:solidFill>
                        </a:rPr>
                        <a:t>1,000 MWe+</a:t>
                      </a:r>
                      <a:br>
                        <a:rPr lang="en-US" sz="800">
                          <a:solidFill>
                            <a:schemeClr val="bg1"/>
                          </a:solidFill>
                        </a:rPr>
                      </a:br>
                      <a:r>
                        <a:rPr lang="en-US" sz="800">
                          <a:solidFill>
                            <a:schemeClr val="bg1"/>
                          </a:solidFill>
                        </a:rPr>
                        <a:t>(CF: 90%)</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90000"/>
                        <a:lumOff val="1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a:solidFill>
                            <a:schemeClr val="bg1"/>
                          </a:solidFill>
                        </a:rPr>
                        <a:t>Up to 300 MWe</a:t>
                      </a:r>
                      <a:br>
                        <a:rPr lang="en-US" sz="800">
                          <a:solidFill>
                            <a:schemeClr val="bg1"/>
                          </a:solidFill>
                        </a:rPr>
                      </a:br>
                      <a:r>
                        <a:rPr lang="en-US" sz="800">
                          <a:solidFill>
                            <a:schemeClr val="bg1"/>
                          </a:solidFill>
                        </a:rPr>
                        <a:t>(CF: 70-90%)</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indent="0" algn="ctr">
                        <a:buNone/>
                      </a:pPr>
                      <a:r>
                        <a:rPr lang="en-US" sz="800">
                          <a:solidFill>
                            <a:schemeClr val="tx1"/>
                          </a:solidFill>
                        </a:rPr>
                        <a:t>100+ MW (utility scale)</a:t>
                      </a:r>
                      <a:br>
                        <a:rPr lang="en-US" sz="800">
                          <a:solidFill>
                            <a:schemeClr val="tx1"/>
                          </a:solidFill>
                        </a:rPr>
                      </a:br>
                      <a:r>
                        <a:rPr lang="en-US" sz="800">
                          <a:solidFill>
                            <a:schemeClr val="tx1"/>
                          </a:solidFill>
                        </a:rPr>
                        <a:t>(CF: up to 20%)</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70911217"/>
                  </a:ext>
                </a:extLst>
              </a:tr>
              <a:tr h="236412">
                <a:tc>
                  <a:txBody>
                    <a:bodyPr/>
                    <a:lstStyle/>
                    <a:p>
                      <a:pPr marL="0" indent="0" algn="ctr">
                        <a:buNone/>
                      </a:pPr>
                      <a:r>
                        <a:rPr lang="en-US" sz="800">
                          <a:solidFill>
                            <a:schemeClr val="bg1"/>
                          </a:solidFill>
                        </a:rPr>
                        <a:t>Up to 12%/min</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indent="0" algn="ctr">
                        <a:buNone/>
                      </a:pPr>
                      <a:r>
                        <a:rPr lang="en-US" sz="800">
                          <a:solidFill>
                            <a:schemeClr val="bg1"/>
                          </a:solidFill>
                        </a:rPr>
                        <a:t>Up to 10%/min</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indent="0" algn="ctr">
                        <a:spcBef>
                          <a:spcPts val="0"/>
                        </a:spcBef>
                        <a:buNone/>
                      </a:pPr>
                      <a:r>
                        <a:rPr lang="en-US" sz="800">
                          <a:solidFill>
                            <a:schemeClr val="bg1"/>
                          </a:solidFill>
                        </a:rPr>
                        <a:t>Instantaneous</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90000"/>
                        <a:lumOff val="10000"/>
                      </a:schemeClr>
                    </a:solidFill>
                  </a:tcPr>
                </a:tc>
                <a:extLst>
                  <a:ext uri="{0D108BD9-81ED-4DB2-BD59-A6C34878D82A}">
                    <a16:rowId xmlns:a16="http://schemas.microsoft.com/office/drawing/2014/main" val="1888235495"/>
                  </a:ext>
                </a:extLst>
              </a:tr>
              <a:tr h="340879">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a:solidFill>
                            <a:schemeClr val="bg1"/>
                          </a:solidFill>
                        </a:rPr>
                        <a:t>40+ years</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90000"/>
                        <a:lumOff val="10000"/>
                      </a:schemeClr>
                    </a:solidFill>
                  </a:tcPr>
                </a:tc>
                <a:tc>
                  <a:txBody>
                    <a:bodyPr/>
                    <a:lstStyle/>
                    <a:p>
                      <a:pPr marL="0" indent="0" algn="ctr">
                        <a:buNone/>
                      </a:pPr>
                      <a:r>
                        <a:rPr lang="en-US" sz="800">
                          <a:solidFill>
                            <a:schemeClr val="bg1"/>
                          </a:solidFill>
                        </a:rPr>
                        <a:t>40-80 years (estimated)</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90000"/>
                        <a:lumOff val="10000"/>
                      </a:schemeClr>
                    </a:solidFill>
                  </a:tcPr>
                </a:tc>
                <a:tc>
                  <a:txBody>
                    <a:bodyPr/>
                    <a:lstStyle/>
                    <a:p>
                      <a:pPr marL="0" indent="0" algn="ctr">
                        <a:buNone/>
                      </a:pPr>
                      <a:r>
                        <a:rPr lang="en-US" sz="800">
                          <a:solidFill>
                            <a:schemeClr val="tx1"/>
                          </a:solidFill>
                        </a:rPr>
                        <a:t>10-15 years</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0937432"/>
                  </a:ext>
                </a:extLst>
              </a:tr>
              <a:tr h="348165">
                <a:tc>
                  <a:txBody>
                    <a:bodyPr/>
                    <a:lstStyle/>
                    <a:p>
                      <a:pPr marL="0" indent="0" algn="ctr">
                        <a:buNone/>
                      </a:pPr>
                      <a:r>
                        <a:rPr lang="en-US" sz="800">
                          <a:solidFill>
                            <a:schemeClr val="bg1"/>
                          </a:solidFill>
                        </a:rPr>
                        <a:t>High uncertainty</a:t>
                      </a:r>
                      <a:br>
                        <a:rPr lang="en-US" sz="800">
                          <a:solidFill>
                            <a:srgbClr val="FFFFFF"/>
                          </a:solidFill>
                        </a:rPr>
                      </a:br>
                      <a:r>
                        <a:rPr lang="en-US" sz="800">
                          <a:solidFill>
                            <a:schemeClr val="bg1"/>
                          </a:solidFill>
                        </a:rPr>
                        <a:t>(Pilot/demo stage)</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90000"/>
                        <a:lumOff val="10000"/>
                      </a:schemeClr>
                    </a:solidFill>
                  </a:tcPr>
                </a:tc>
                <a:tc>
                  <a:txBody>
                    <a:bodyPr/>
                    <a:lstStyle/>
                    <a:p>
                      <a:pPr marL="0" indent="0" algn="ctr">
                        <a:buNone/>
                      </a:pPr>
                      <a:r>
                        <a:rPr lang="en-US" sz="800">
                          <a:solidFill>
                            <a:schemeClr val="bg1"/>
                          </a:solidFill>
                        </a:rPr>
                        <a:t>$50-$120/MWh</a:t>
                      </a:r>
                      <a:br>
                        <a:rPr lang="en-US" sz="800">
                          <a:solidFill>
                            <a:schemeClr val="bg1"/>
                          </a:solidFill>
                        </a:rPr>
                      </a:br>
                      <a:r>
                        <a:rPr lang="en-US" sz="800">
                          <a:solidFill>
                            <a:schemeClr val="bg1"/>
                          </a:solidFill>
                        </a:rPr>
                        <a:t>(uncertain)</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indent="0" algn="ctr">
                        <a:buNone/>
                      </a:pPr>
                      <a:r>
                        <a:rPr lang="en-US" sz="800">
                          <a:solidFill>
                            <a:schemeClr val="tx1"/>
                          </a:solidFill>
                        </a:rPr>
                        <a:t>$44-$131/MWh</a:t>
                      </a:r>
                      <a:br>
                        <a:rPr lang="en-US" sz="800">
                          <a:solidFill>
                            <a:schemeClr val="tx1"/>
                          </a:solidFill>
                        </a:rPr>
                      </a:br>
                      <a:r>
                        <a:rPr lang="en-US" sz="800">
                          <a:solidFill>
                            <a:schemeClr val="tx1"/>
                          </a:solidFill>
                        </a:rPr>
                        <a:t>(Wind/solar plus storage)</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014853760"/>
                  </a:ext>
                </a:extLst>
              </a:tr>
              <a:tr h="338751">
                <a:tc>
                  <a:txBody>
                    <a:bodyPr/>
                    <a:lstStyle/>
                    <a:p>
                      <a:pPr marL="0" indent="0" algn="ctr">
                        <a:buNone/>
                      </a:pPr>
                      <a:r>
                        <a:rPr lang="en-US" sz="800">
                          <a:solidFill>
                            <a:schemeClr val="bg1"/>
                          </a:solidFill>
                        </a:rPr>
                        <a:t>Medium</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indent="0" algn="ctr">
                        <a:buNone/>
                      </a:pPr>
                      <a:r>
                        <a:rPr lang="en-US" sz="800">
                          <a:solidFill>
                            <a:schemeClr val="bg1"/>
                          </a:solidFill>
                        </a:rPr>
                        <a:t>Medium-High</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90000"/>
                        <a:lumOff val="10000"/>
                      </a:schemeClr>
                    </a:solidFill>
                  </a:tcPr>
                </a:tc>
                <a:tc>
                  <a:txBody>
                    <a:bodyPr/>
                    <a:lstStyle/>
                    <a:p>
                      <a:pPr marL="0" indent="0" algn="ctr">
                        <a:buNone/>
                      </a:pPr>
                      <a:r>
                        <a:rPr lang="en-US" sz="800">
                          <a:solidFill>
                            <a:schemeClr val="bg1"/>
                          </a:solidFill>
                        </a:rPr>
                        <a:t>High</a:t>
                      </a:r>
                    </a:p>
                  </a:txBody>
                  <a:tcPr marL="82308" marR="82308" marT="41154" marB="411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90000"/>
                        <a:lumOff val="10000"/>
                      </a:schemeClr>
                    </a:solidFill>
                  </a:tcPr>
                </a:tc>
                <a:extLst>
                  <a:ext uri="{0D108BD9-81ED-4DB2-BD59-A6C34878D82A}">
                    <a16:rowId xmlns:a16="http://schemas.microsoft.com/office/drawing/2014/main" val="2743065415"/>
                  </a:ext>
                </a:extLst>
              </a:tr>
            </a:tbl>
          </a:graphicData>
        </a:graphic>
      </p:graphicFrame>
      <p:sp>
        <p:nvSpPr>
          <p:cNvPr id="22" name="TextBox 21">
            <a:extLst>
              <a:ext uri="{FF2B5EF4-FFF2-40B4-BE49-F238E27FC236}">
                <a16:creationId xmlns:a16="http://schemas.microsoft.com/office/drawing/2014/main" id="{E5F79CDF-2A02-F1F1-9F74-FF246CFE6CAF}"/>
              </a:ext>
            </a:extLst>
          </p:cNvPr>
          <p:cNvSpPr txBox="1"/>
          <p:nvPr/>
        </p:nvSpPr>
        <p:spPr bwMode="gray">
          <a:xfrm>
            <a:off x="1037383" y="2433760"/>
            <a:ext cx="1320422"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Large-scale </a:t>
            </a:r>
            <a:r>
              <a:rPr lang="en-US" sz="1000">
                <a:solidFill>
                  <a:srgbClr val="000000"/>
                </a:solidFill>
                <a:latin typeface="Arial"/>
                <a:cs typeface="Arial"/>
              </a:rPr>
              <a:t>n</a:t>
            </a:r>
            <a:r>
              <a:rPr kumimoji="0" lang="en-US" sz="1000" b="0" i="0" u="none" strike="noStrike" kern="1200" cap="none" spc="0" normalizeH="0" baseline="0" noProof="0" err="1">
                <a:ln>
                  <a:noFill/>
                </a:ln>
                <a:solidFill>
                  <a:srgbClr val="000000"/>
                </a:solidFill>
                <a:effectLst/>
                <a:uLnTx/>
                <a:uFillTx/>
                <a:latin typeface="Arial"/>
                <a:ea typeface="+mn-ea"/>
                <a:cs typeface="Arial"/>
              </a:rPr>
              <a:t>uclear</a:t>
            </a:r>
            <a:r>
              <a:rPr kumimoji="0" lang="en-US" sz="1000" b="0" i="0" u="none" strike="noStrike" kern="1200" cap="none" spc="0" normalizeH="0" baseline="0" noProof="0">
                <a:ln>
                  <a:noFill/>
                </a:ln>
                <a:solidFill>
                  <a:srgbClr val="000000"/>
                </a:solidFill>
                <a:effectLst/>
                <a:uLnTx/>
                <a:uFillTx/>
                <a:latin typeface="Arial"/>
                <a:ea typeface="+mn-ea"/>
                <a:cs typeface="Arial"/>
              </a:rPr>
              <a:t> plus</a:t>
            </a:r>
            <a:r>
              <a:rPr lang="en-US" sz="1000">
                <a:solidFill>
                  <a:srgbClr val="000000"/>
                </a:solidFill>
                <a:latin typeface="Arial"/>
                <a:cs typeface="Arial"/>
              </a:rPr>
              <a:t> </a:t>
            </a:r>
            <a:r>
              <a:rPr kumimoji="0" lang="en-US" sz="1000" b="0" i="0" u="none" strike="noStrike" kern="1200" cap="none" spc="0" normalizeH="0" baseline="0" noProof="0">
                <a:ln>
                  <a:noFill/>
                </a:ln>
                <a:solidFill>
                  <a:srgbClr val="000000"/>
                </a:solidFill>
                <a:effectLst/>
                <a:uLnTx/>
                <a:uFillTx/>
                <a:latin typeface="Arial"/>
                <a:ea typeface="+mn-ea"/>
                <a:cs typeface="Arial"/>
              </a:rPr>
              <a:t>storage</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 name="TextBox 22">
            <a:extLst>
              <a:ext uri="{FF2B5EF4-FFF2-40B4-BE49-F238E27FC236}">
                <a16:creationId xmlns:a16="http://schemas.microsoft.com/office/drawing/2014/main" id="{D2A3E0FD-951E-EFA1-F9FC-089F9CAEFF40}"/>
              </a:ext>
            </a:extLst>
          </p:cNvPr>
          <p:cNvSpPr txBox="1"/>
          <p:nvPr/>
        </p:nvSpPr>
        <p:spPr bwMode="gray">
          <a:xfrm>
            <a:off x="2622857" y="2599669"/>
            <a:ext cx="560782"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SMR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4" name="TextBox 23">
            <a:extLst>
              <a:ext uri="{FF2B5EF4-FFF2-40B4-BE49-F238E27FC236}">
                <a16:creationId xmlns:a16="http://schemas.microsoft.com/office/drawing/2014/main" id="{EB54C67E-6AA0-468D-F475-329AB7691B73}"/>
              </a:ext>
            </a:extLst>
          </p:cNvPr>
          <p:cNvSpPr txBox="1"/>
          <p:nvPr/>
        </p:nvSpPr>
        <p:spPr bwMode="gray">
          <a:xfrm>
            <a:off x="3812902" y="2587649"/>
            <a:ext cx="98071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Li-ion battery</a:t>
            </a:r>
          </a:p>
        </p:txBody>
      </p:sp>
      <p:sp>
        <p:nvSpPr>
          <p:cNvPr id="25" name="TextBox 24">
            <a:extLst>
              <a:ext uri="{FF2B5EF4-FFF2-40B4-BE49-F238E27FC236}">
                <a16:creationId xmlns:a16="http://schemas.microsoft.com/office/drawing/2014/main" id="{1B2FA57B-E029-FFCB-D1A6-67DC60D2AF8F}"/>
              </a:ext>
            </a:extLst>
          </p:cNvPr>
          <p:cNvSpPr txBox="1"/>
          <p:nvPr/>
        </p:nvSpPr>
        <p:spPr bwMode="gray">
          <a:xfrm>
            <a:off x="167947" y="2885646"/>
            <a:ext cx="787603" cy="400110"/>
          </a:xfrm>
          <a:prstGeom prst="rect">
            <a:avLst/>
          </a:prstGeom>
          <a:noFill/>
        </p:spPr>
        <p:txBody>
          <a:bodyPr wrap="square" lIns="91440" tIns="45720" rIns="91440" bIns="45720" anchor="t">
            <a:spAutoFit/>
          </a:bodyPr>
          <a:lstStyle/>
          <a:p>
            <a:pPr>
              <a:defRPr/>
            </a:pPr>
            <a:r>
              <a:rPr lang="en-US" sz="1000">
                <a:solidFill>
                  <a:srgbClr val="000000"/>
                </a:solidFill>
                <a:latin typeface="Arial"/>
                <a:cs typeface="Arial"/>
              </a:rPr>
              <a:t>Discharge duration</a:t>
            </a:r>
            <a:endParaRPr lang="en-US" sz="1000" b="0" i="0" u="none" strike="noStrike" kern="1200" cap="none" spc="0" normalizeH="0" baseline="0" noProof="0">
              <a:ln>
                <a:noFill/>
              </a:ln>
              <a:solidFill>
                <a:srgbClr val="000000"/>
              </a:solidFill>
              <a:effectLst/>
              <a:uLnTx/>
              <a:uFillTx/>
              <a:latin typeface="Arial"/>
              <a:cs typeface="Arial"/>
            </a:endParaRPr>
          </a:p>
        </p:txBody>
      </p:sp>
      <p:sp>
        <p:nvSpPr>
          <p:cNvPr id="29" name="TextBox 28">
            <a:extLst>
              <a:ext uri="{FF2B5EF4-FFF2-40B4-BE49-F238E27FC236}">
                <a16:creationId xmlns:a16="http://schemas.microsoft.com/office/drawing/2014/main" id="{C80A3F98-FC17-DF9C-4F62-AA8768206AA8}"/>
              </a:ext>
            </a:extLst>
          </p:cNvPr>
          <p:cNvSpPr txBox="1"/>
          <p:nvPr/>
        </p:nvSpPr>
        <p:spPr bwMode="gray">
          <a:xfrm>
            <a:off x="167947" y="3284028"/>
            <a:ext cx="81564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Capacity</a:t>
            </a:r>
            <a:endParaRPr kumimoji="0" lang="en-US" sz="1000" b="0" i="0" u="none" strike="noStrike" kern="1200" cap="none" spc="0" normalizeH="0" baseline="30000" noProof="0">
              <a:ln>
                <a:noFill/>
              </a:ln>
              <a:solidFill>
                <a:srgbClr val="000000"/>
              </a:solidFill>
              <a:effectLst/>
              <a:uLnTx/>
              <a:uFillTx/>
              <a:latin typeface="Arial"/>
              <a:ea typeface="+mn-ea"/>
              <a:cs typeface="+mn-cs"/>
            </a:endParaRPr>
          </a:p>
        </p:txBody>
      </p:sp>
      <p:sp>
        <p:nvSpPr>
          <p:cNvPr id="30" name="TextBox 29">
            <a:extLst>
              <a:ext uri="{FF2B5EF4-FFF2-40B4-BE49-F238E27FC236}">
                <a16:creationId xmlns:a16="http://schemas.microsoft.com/office/drawing/2014/main" id="{2458AEA4-0D8A-8DC5-AC8E-27579EE1C39C}"/>
              </a:ext>
            </a:extLst>
          </p:cNvPr>
          <p:cNvSpPr txBox="1"/>
          <p:nvPr/>
        </p:nvSpPr>
        <p:spPr bwMode="gray">
          <a:xfrm>
            <a:off x="167947" y="3943737"/>
            <a:ext cx="81564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Lifespan</a:t>
            </a:r>
          </a:p>
        </p:txBody>
      </p:sp>
      <p:sp>
        <p:nvSpPr>
          <p:cNvPr id="31" name="TextBox 30">
            <a:extLst>
              <a:ext uri="{FF2B5EF4-FFF2-40B4-BE49-F238E27FC236}">
                <a16:creationId xmlns:a16="http://schemas.microsoft.com/office/drawing/2014/main" id="{4B168259-2B2F-C465-3272-EFDA3DAB5D3B}"/>
              </a:ext>
            </a:extLst>
          </p:cNvPr>
          <p:cNvSpPr txBox="1"/>
          <p:nvPr/>
        </p:nvSpPr>
        <p:spPr bwMode="gray">
          <a:xfrm>
            <a:off x="167947" y="3590175"/>
            <a:ext cx="815640" cy="34881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Ramp rate</a:t>
            </a:r>
            <a:br>
              <a:rPr kumimoji="0" lang="en-US" sz="1000" b="0" i="0" u="none" strike="noStrike" kern="1200" cap="none" spc="0" normalizeH="0" baseline="0" noProof="0">
                <a:ln>
                  <a:noFill/>
                </a:ln>
                <a:solidFill>
                  <a:srgbClr val="000000"/>
                </a:solidFill>
                <a:effectLst/>
                <a:uLnTx/>
                <a:uFillTx/>
                <a:latin typeface="Arial"/>
                <a:ea typeface="+mn-ea"/>
                <a:cs typeface="Arial"/>
              </a:rPr>
            </a:br>
            <a:endParaRPr kumimoji="0" lang="en-US" sz="1000" b="0" i="0" u="none" strike="noStrike" kern="1200" cap="none" spc="0" normalizeH="0" baseline="30000" noProof="0">
              <a:ln>
                <a:noFill/>
              </a:ln>
              <a:solidFill>
                <a:srgbClr val="000000"/>
              </a:solidFill>
              <a:effectLst/>
              <a:uLnTx/>
              <a:uFillTx/>
              <a:latin typeface="Arial"/>
              <a:ea typeface="+mn-ea"/>
              <a:cs typeface="+mn-cs"/>
            </a:endParaRPr>
          </a:p>
        </p:txBody>
      </p:sp>
      <p:sp>
        <p:nvSpPr>
          <p:cNvPr id="32" name="Rectangular Callout 31">
            <a:extLst>
              <a:ext uri="{FF2B5EF4-FFF2-40B4-BE49-F238E27FC236}">
                <a16:creationId xmlns:a16="http://schemas.microsoft.com/office/drawing/2014/main" id="{764F9AB8-64E6-A7A4-2613-70B7C9F6AD32}"/>
              </a:ext>
            </a:extLst>
          </p:cNvPr>
          <p:cNvSpPr/>
          <p:nvPr/>
        </p:nvSpPr>
        <p:spPr>
          <a:xfrm flipH="1">
            <a:off x="1062570" y="5048210"/>
            <a:ext cx="3359356" cy="853052"/>
          </a:xfrm>
          <a:prstGeom prst="wedgeRectCallout">
            <a:avLst>
              <a:gd name="adj1" fmla="val 23449"/>
              <a:gd name="adj2" fmla="val -68668"/>
            </a:avLst>
          </a:prstGeom>
          <a:solidFill>
            <a:schemeClr val="tx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lang="en-US" sz="900" dirty="0">
                <a:solidFill>
                  <a:schemeClr val="tx1"/>
                </a:solidFill>
              </a:rPr>
              <a:t>Coupling nuclear with thermal storage enhances maneuverability and allows for quicker response to fluctuating demand; standalone nuclear load following is not economically efficient though currently employed in France. </a:t>
            </a:r>
          </a:p>
        </p:txBody>
      </p:sp>
      <p:grpSp>
        <p:nvGrpSpPr>
          <p:cNvPr id="33" name="Group 32">
            <a:extLst>
              <a:ext uri="{FF2B5EF4-FFF2-40B4-BE49-F238E27FC236}">
                <a16:creationId xmlns:a16="http://schemas.microsoft.com/office/drawing/2014/main" id="{0381A8AF-EDE8-3994-009D-D8805247C80B}"/>
              </a:ext>
            </a:extLst>
          </p:cNvPr>
          <p:cNvGrpSpPr/>
          <p:nvPr/>
        </p:nvGrpSpPr>
        <p:grpSpPr>
          <a:xfrm>
            <a:off x="3126917" y="1882909"/>
            <a:ext cx="1740867" cy="640882"/>
            <a:chOff x="4057588" y="5207707"/>
            <a:chExt cx="1835802" cy="528450"/>
          </a:xfrm>
        </p:grpSpPr>
        <p:sp>
          <p:nvSpPr>
            <p:cNvPr id="34" name="Rectangle 33">
              <a:extLst>
                <a:ext uri="{FF2B5EF4-FFF2-40B4-BE49-F238E27FC236}">
                  <a16:creationId xmlns:a16="http://schemas.microsoft.com/office/drawing/2014/main" id="{48DA35CF-C355-4494-8727-CBF8F916B9DE}"/>
                </a:ext>
              </a:extLst>
            </p:cNvPr>
            <p:cNvSpPr/>
            <p:nvPr/>
          </p:nvSpPr>
          <p:spPr bwMode="gray">
            <a:xfrm>
              <a:off x="4057588" y="5445667"/>
              <a:ext cx="602902" cy="9043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68F600E0-B955-8507-235E-7D25F682D71E}"/>
                </a:ext>
              </a:extLst>
            </p:cNvPr>
            <p:cNvSpPr/>
            <p:nvPr/>
          </p:nvSpPr>
          <p:spPr bwMode="gray">
            <a:xfrm>
              <a:off x="4674038" y="5447300"/>
              <a:ext cx="602902" cy="9043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E5A2BF49-3301-1B0E-CF30-6734DD7F0FF3}"/>
                </a:ext>
              </a:extLst>
            </p:cNvPr>
            <p:cNvSpPr/>
            <p:nvPr/>
          </p:nvSpPr>
          <p:spPr bwMode="gray">
            <a:xfrm>
              <a:off x="5290488" y="5445667"/>
              <a:ext cx="602902" cy="90435"/>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7" name="TextBox 36">
              <a:extLst>
                <a:ext uri="{FF2B5EF4-FFF2-40B4-BE49-F238E27FC236}">
                  <a16:creationId xmlns:a16="http://schemas.microsoft.com/office/drawing/2014/main" id="{42A31524-8F1B-6319-241A-E0A9000E92A9}"/>
                </a:ext>
              </a:extLst>
            </p:cNvPr>
            <p:cNvSpPr txBox="1"/>
            <p:nvPr/>
          </p:nvSpPr>
          <p:spPr bwMode="gray">
            <a:xfrm>
              <a:off x="4093587" y="5521477"/>
              <a:ext cx="530904" cy="20005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a:ea typeface="+mn-ea"/>
                  <a:cs typeface="Arial"/>
                </a:rPr>
                <a:t>Low</a:t>
              </a:r>
              <a:endParaRPr kumimoji="0" lang="en-US" sz="700" b="0" i="0" u="none" strike="noStrike" kern="1200" cap="none" spc="0" normalizeH="0" baseline="0" noProof="0">
                <a:ln>
                  <a:noFill/>
                </a:ln>
                <a:solidFill>
                  <a:srgbClr val="000000"/>
                </a:solidFill>
                <a:effectLst/>
                <a:uLnTx/>
                <a:uFillTx/>
                <a:latin typeface="Arial"/>
                <a:ea typeface="+mn-ea"/>
                <a:cs typeface="+mn-cs"/>
              </a:endParaRPr>
            </a:p>
          </p:txBody>
        </p:sp>
        <p:sp>
          <p:nvSpPr>
            <p:cNvPr id="38" name="TextBox 37">
              <a:extLst>
                <a:ext uri="{FF2B5EF4-FFF2-40B4-BE49-F238E27FC236}">
                  <a16:creationId xmlns:a16="http://schemas.microsoft.com/office/drawing/2014/main" id="{E7CC4CAC-7376-F32D-3DDE-2DB04D8D3D7C}"/>
                </a:ext>
              </a:extLst>
            </p:cNvPr>
            <p:cNvSpPr txBox="1"/>
            <p:nvPr/>
          </p:nvSpPr>
          <p:spPr bwMode="gray">
            <a:xfrm>
              <a:off x="4643362" y="5526577"/>
              <a:ext cx="645204" cy="20005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a:ea typeface="+mn-ea"/>
                  <a:cs typeface="Arial"/>
                </a:rPr>
                <a:t>Moderate</a:t>
              </a:r>
              <a:endParaRPr kumimoji="0" lang="en-US" sz="700" b="0" i="0" u="none" strike="noStrike" kern="1200" cap="none" spc="0" normalizeH="0" baseline="0" noProof="0">
                <a:ln>
                  <a:noFill/>
                </a:ln>
                <a:solidFill>
                  <a:srgbClr val="000000"/>
                </a:solidFill>
                <a:effectLst/>
                <a:uLnTx/>
                <a:uFillTx/>
                <a:latin typeface="Arial"/>
                <a:ea typeface="+mn-ea"/>
                <a:cs typeface="+mn-cs"/>
              </a:endParaRPr>
            </a:p>
          </p:txBody>
        </p:sp>
        <p:sp>
          <p:nvSpPr>
            <p:cNvPr id="39" name="TextBox 38">
              <a:extLst>
                <a:ext uri="{FF2B5EF4-FFF2-40B4-BE49-F238E27FC236}">
                  <a16:creationId xmlns:a16="http://schemas.microsoft.com/office/drawing/2014/main" id="{48E76A19-0A24-CC88-E84C-D15C12FC1B92}"/>
                </a:ext>
              </a:extLst>
            </p:cNvPr>
            <p:cNvSpPr txBox="1"/>
            <p:nvPr/>
          </p:nvSpPr>
          <p:spPr bwMode="gray">
            <a:xfrm>
              <a:off x="5326487" y="5536102"/>
              <a:ext cx="530904" cy="20005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a:ea typeface="+mn-ea"/>
                  <a:cs typeface="Arial"/>
                </a:rPr>
                <a:t>High</a:t>
              </a:r>
              <a:endParaRPr kumimoji="0" lang="en-US" sz="700" b="0" i="0" u="none" strike="noStrike" kern="1200" cap="none" spc="0" normalizeH="0" baseline="0" noProof="0">
                <a:ln>
                  <a:noFill/>
                </a:ln>
                <a:solidFill>
                  <a:srgbClr val="000000"/>
                </a:solidFill>
                <a:effectLst/>
                <a:uLnTx/>
                <a:uFillTx/>
                <a:latin typeface="Arial"/>
                <a:ea typeface="+mn-ea"/>
                <a:cs typeface="+mn-cs"/>
              </a:endParaRPr>
            </a:p>
          </p:txBody>
        </p:sp>
        <p:sp>
          <p:nvSpPr>
            <p:cNvPr id="40" name="TextBox 39">
              <a:extLst>
                <a:ext uri="{FF2B5EF4-FFF2-40B4-BE49-F238E27FC236}">
                  <a16:creationId xmlns:a16="http://schemas.microsoft.com/office/drawing/2014/main" id="{3CABA52F-854E-E7E9-220A-9FEF904C10E5}"/>
                </a:ext>
              </a:extLst>
            </p:cNvPr>
            <p:cNvSpPr txBox="1"/>
            <p:nvPr/>
          </p:nvSpPr>
          <p:spPr bwMode="gray">
            <a:xfrm>
              <a:off x="4561167" y="5207707"/>
              <a:ext cx="828643" cy="20005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a:ea typeface="+mn-ea"/>
                  <a:cs typeface="Arial"/>
                </a:rPr>
                <a:t>Performance</a:t>
              </a:r>
              <a:endParaRPr kumimoji="0" lang="en-US" sz="700" b="0" i="0" u="none" strike="noStrike" kern="1200" cap="none" spc="0" normalizeH="0" baseline="0" noProof="0">
                <a:ln>
                  <a:noFill/>
                </a:ln>
                <a:solidFill>
                  <a:srgbClr val="000000"/>
                </a:solidFill>
                <a:effectLst/>
                <a:uLnTx/>
                <a:uFillTx/>
                <a:latin typeface="Arial"/>
                <a:ea typeface="+mn-ea"/>
                <a:cs typeface="+mn-cs"/>
              </a:endParaRPr>
            </a:p>
          </p:txBody>
        </p:sp>
      </p:grpSp>
      <p:sp>
        <p:nvSpPr>
          <p:cNvPr id="41" name="TextBox 40">
            <a:extLst>
              <a:ext uri="{FF2B5EF4-FFF2-40B4-BE49-F238E27FC236}">
                <a16:creationId xmlns:a16="http://schemas.microsoft.com/office/drawing/2014/main" id="{10A50537-C0D6-E3B8-0FC1-9D8096C34AB2}"/>
              </a:ext>
            </a:extLst>
          </p:cNvPr>
          <p:cNvSpPr txBox="1"/>
          <p:nvPr/>
        </p:nvSpPr>
        <p:spPr bwMode="gray">
          <a:xfrm>
            <a:off x="167947" y="4227480"/>
            <a:ext cx="93249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LCOE/LCO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 name="TextBox 41">
            <a:extLst>
              <a:ext uri="{FF2B5EF4-FFF2-40B4-BE49-F238E27FC236}">
                <a16:creationId xmlns:a16="http://schemas.microsoft.com/office/drawing/2014/main" id="{F0310E4A-66B8-D558-8965-56C0EE393B74}"/>
              </a:ext>
            </a:extLst>
          </p:cNvPr>
          <p:cNvSpPr txBox="1"/>
          <p:nvPr/>
        </p:nvSpPr>
        <p:spPr bwMode="gray">
          <a:xfrm>
            <a:off x="166698" y="4476787"/>
            <a:ext cx="89587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Load following</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4" name="TextBox 8">
            <a:extLst>
              <a:ext uri="{FF2B5EF4-FFF2-40B4-BE49-F238E27FC236}">
                <a16:creationId xmlns:a16="http://schemas.microsoft.com/office/drawing/2014/main" id="{F5C2E10D-4C20-7E11-C4C6-CFAE40EA9AFF}"/>
              </a:ext>
            </a:extLst>
          </p:cNvPr>
          <p:cNvSpPr txBox="1"/>
          <p:nvPr/>
        </p:nvSpPr>
        <p:spPr bwMode="gray">
          <a:xfrm>
            <a:off x="9270142" y="1554480"/>
            <a:ext cx="2714526" cy="4480560"/>
          </a:xfrm>
          <a:prstGeom prst="rect">
            <a:avLst/>
          </a:prstGeom>
          <a:solidFill>
            <a:srgbClr val="E3E8EE"/>
          </a:solidFill>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Observations</a:t>
            </a:r>
          </a:p>
          <a:p>
            <a:pPr marL="171450" indent="-171450">
              <a:spcAft>
                <a:spcPts val="600"/>
              </a:spcAft>
              <a:buFont typeface="Arial" panose="020B0604020202020204" pitchFamily="34" charset="0"/>
              <a:buChar char="•"/>
              <a:defRPr/>
            </a:pPr>
            <a:r>
              <a:rPr lang="en-US" sz="1000">
                <a:solidFill>
                  <a:srgbClr val="000000"/>
                </a:solidFill>
                <a:latin typeface="Arial"/>
              </a:rPr>
              <a:t>SMRs with superior ramping capabilities can provide </a:t>
            </a:r>
            <a:r>
              <a:rPr lang="en-US" sz="1000" b="1">
                <a:solidFill>
                  <a:srgbClr val="000000"/>
                </a:solidFill>
                <a:latin typeface="Arial"/>
              </a:rPr>
              <a:t>longer duration energy support </a:t>
            </a:r>
            <a:r>
              <a:rPr lang="en-US" sz="1000">
                <a:solidFill>
                  <a:srgbClr val="000000"/>
                </a:solidFill>
                <a:latin typeface="Arial"/>
              </a:rPr>
              <a:t>for intermittency than batteri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b="1">
                <a:solidFill>
                  <a:srgbClr val="000000"/>
                </a:solidFill>
                <a:latin typeface="Arial"/>
              </a:rPr>
              <a:t>Staggering SMRs could surpass the capacity factor of large-scale nuclear</a:t>
            </a:r>
            <a:r>
              <a:rPr lang="en-US" sz="1000">
                <a:solidFill>
                  <a:srgbClr val="000000"/>
                </a:solidFill>
                <a:latin typeface="Arial"/>
              </a:rPr>
              <a:t> (&gt;90%), although this has not yet been prove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a:solidFill>
                  <a:srgbClr val="000000"/>
                </a:solidFill>
                <a:latin typeface="Arial"/>
              </a:rPr>
              <a:t>Large-scale nuclear and SMRs stand out against geothermal for their </a:t>
            </a:r>
            <a:r>
              <a:rPr lang="en-US" sz="1000" b="1">
                <a:solidFill>
                  <a:srgbClr val="000000"/>
                </a:solidFill>
                <a:latin typeface="Arial"/>
              </a:rPr>
              <a:t>higher capacity, longer lifespan, and lower land-use intensity.</a:t>
            </a:r>
            <a:r>
              <a:rPr lang="en-US" sz="1000">
                <a:solidFill>
                  <a:srgbClr val="000000"/>
                </a:solidFill>
                <a:latin typeface="Arial"/>
              </a:rPr>
              <a:t>  </a:t>
            </a:r>
          </a:p>
          <a:p>
            <a:pPr marL="171450" indent="-171450">
              <a:spcAft>
                <a:spcPts val="600"/>
              </a:spcAft>
              <a:buFont typeface="Arial" panose="020B0604020202020204" pitchFamily="34" charset="0"/>
              <a:buChar char="•"/>
              <a:defRPr/>
            </a:pPr>
            <a:r>
              <a:rPr lang="en-US" sz="1000">
                <a:solidFill>
                  <a:srgbClr val="000000"/>
                </a:solidFill>
                <a:latin typeface="Arial"/>
              </a:rPr>
              <a:t>In the United States, large-scale nuclear plants typically provide baseload power, but France’s nuclear fleet is designed to meet grid demand (load following). </a:t>
            </a:r>
            <a:r>
              <a:rPr lang="en-US" sz="1000" b="1">
                <a:solidFill>
                  <a:srgbClr val="000000"/>
                </a:solidFill>
                <a:latin typeface="Arial"/>
              </a:rPr>
              <a:t>New reactor designs improve ramp rates:</a:t>
            </a:r>
            <a:endParaRPr lang="en-US" sz="1000">
              <a:solidFill>
                <a:srgbClr val="000000"/>
              </a:solidFill>
              <a:latin typeface="Arial"/>
            </a:endParaRPr>
          </a:p>
          <a:p>
            <a:pPr marL="356616" lvl="1" indent="-173736">
              <a:spcAft>
                <a:spcPts val="600"/>
              </a:spcAft>
              <a:buFontTx/>
              <a:buChar char="-"/>
              <a:defRPr/>
            </a:pPr>
            <a:r>
              <a:rPr lang="en-US" sz="900"/>
              <a:t>EPR: +/- 5% of total power per minute between 60% and 100% of total reactor power.</a:t>
            </a:r>
          </a:p>
          <a:p>
            <a:pPr marL="356616" lvl="1" indent="-173736">
              <a:spcAft>
                <a:spcPts val="600"/>
              </a:spcAft>
              <a:buFontTx/>
              <a:buChar char="-"/>
              <a:defRPr/>
            </a:pPr>
            <a:r>
              <a:rPr lang="en-US" sz="900"/>
              <a:t>AP1000: +/- 10% step load changes between 25% and 100% of full power.</a:t>
            </a:r>
          </a:p>
        </p:txBody>
      </p:sp>
      <p:grpSp>
        <p:nvGrpSpPr>
          <p:cNvPr id="55" name="Group 54">
            <a:extLst>
              <a:ext uri="{FF2B5EF4-FFF2-40B4-BE49-F238E27FC236}">
                <a16:creationId xmlns:a16="http://schemas.microsoft.com/office/drawing/2014/main" id="{026C5A09-22BD-B972-0007-3782F9E8B38E}"/>
              </a:ext>
            </a:extLst>
          </p:cNvPr>
          <p:cNvGrpSpPr/>
          <p:nvPr/>
        </p:nvGrpSpPr>
        <p:grpSpPr>
          <a:xfrm>
            <a:off x="6108915" y="1786829"/>
            <a:ext cx="3626035" cy="951388"/>
            <a:chOff x="5685972" y="1904013"/>
            <a:chExt cx="3626035" cy="951388"/>
          </a:xfrm>
        </p:grpSpPr>
        <p:cxnSp>
          <p:nvCxnSpPr>
            <p:cNvPr id="7" name="Straight Connector 6">
              <a:extLst>
                <a:ext uri="{FF2B5EF4-FFF2-40B4-BE49-F238E27FC236}">
                  <a16:creationId xmlns:a16="http://schemas.microsoft.com/office/drawing/2014/main" id="{0A47786B-4484-59CD-1C0A-C79C0690F5D3}"/>
                </a:ext>
              </a:extLst>
            </p:cNvPr>
            <p:cNvCxnSpPr>
              <a:cxnSpLocks/>
            </p:cNvCxnSpPr>
            <p:nvPr/>
          </p:nvCxnSpPr>
          <p:spPr bwMode="gray">
            <a:xfrm>
              <a:off x="7275165" y="2173317"/>
              <a:ext cx="443106" cy="0"/>
            </a:xfrm>
            <a:prstGeom prst="line">
              <a:avLst/>
            </a:prstGeom>
            <a:ln>
              <a:solidFill>
                <a:schemeClr val="accent3"/>
              </a:solidFill>
              <a:tailEnd type="none" w="med" len="lg"/>
            </a:ln>
          </p:spPr>
          <p:style>
            <a:lnRef idx="3">
              <a:schemeClr val="dk1"/>
            </a:lnRef>
            <a:fillRef idx="0">
              <a:schemeClr val="dk1"/>
            </a:fillRef>
            <a:effectRef idx="2">
              <a:schemeClr val="dk1"/>
            </a:effectRef>
            <a:fontRef idx="minor">
              <a:schemeClr val="tx1"/>
            </a:fontRef>
          </p:style>
        </p:cxnSp>
        <p:sp>
          <p:nvSpPr>
            <p:cNvPr id="28" name="Rectangle 27">
              <a:extLst>
                <a:ext uri="{FF2B5EF4-FFF2-40B4-BE49-F238E27FC236}">
                  <a16:creationId xmlns:a16="http://schemas.microsoft.com/office/drawing/2014/main" id="{6F169BEC-093D-AD0B-9A33-935E5A797772}"/>
                </a:ext>
              </a:extLst>
            </p:cNvPr>
            <p:cNvSpPr/>
            <p:nvPr/>
          </p:nvSpPr>
          <p:spPr bwMode="gray">
            <a:xfrm>
              <a:off x="5755495" y="1976522"/>
              <a:ext cx="2971574" cy="77389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7" name="Straight Connector 16">
              <a:extLst>
                <a:ext uri="{FF2B5EF4-FFF2-40B4-BE49-F238E27FC236}">
                  <a16:creationId xmlns:a16="http://schemas.microsoft.com/office/drawing/2014/main" id="{85FE5F6E-2BF3-5004-AA36-125995D04633}"/>
                </a:ext>
              </a:extLst>
            </p:cNvPr>
            <p:cNvCxnSpPr>
              <a:cxnSpLocks/>
            </p:cNvCxnSpPr>
            <p:nvPr/>
          </p:nvCxnSpPr>
          <p:spPr bwMode="gray">
            <a:xfrm>
              <a:off x="5842400" y="2173317"/>
              <a:ext cx="443106" cy="0"/>
            </a:xfrm>
            <a:prstGeom prst="line">
              <a:avLst/>
            </a:prstGeom>
            <a:ln>
              <a:tailEnd type="none" w="med" len="lg"/>
            </a:ln>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EFF7A85A-EA36-9F95-D998-37608F083F2A}"/>
                </a:ext>
              </a:extLst>
            </p:cNvPr>
            <p:cNvCxnSpPr>
              <a:cxnSpLocks/>
            </p:cNvCxnSpPr>
            <p:nvPr/>
          </p:nvCxnSpPr>
          <p:spPr bwMode="gray">
            <a:xfrm>
              <a:off x="7275165" y="2628416"/>
              <a:ext cx="443106" cy="0"/>
            </a:xfrm>
            <a:prstGeom prst="line">
              <a:avLst/>
            </a:prstGeom>
            <a:ln>
              <a:solidFill>
                <a:schemeClr val="accent3">
                  <a:lumMod val="60000"/>
                  <a:lumOff val="40000"/>
                </a:schemeClr>
              </a:solidFill>
              <a:prstDash val="dash"/>
              <a:tailEnd type="none" w="med" len="lg"/>
            </a:ln>
          </p:spPr>
          <p:style>
            <a:lnRef idx="3">
              <a:schemeClr val="dk1"/>
            </a:lnRef>
            <a:fillRef idx="0">
              <a:schemeClr val="dk1"/>
            </a:fillRef>
            <a:effectRef idx="2">
              <a:schemeClr val="dk1"/>
            </a:effectRef>
            <a:fontRef idx="minor">
              <a:schemeClr val="tx1"/>
            </a:fontRef>
          </p:style>
        </p:cxnSp>
        <p:sp>
          <p:nvSpPr>
            <p:cNvPr id="26" name="TextBox 25">
              <a:extLst>
                <a:ext uri="{FF2B5EF4-FFF2-40B4-BE49-F238E27FC236}">
                  <a16:creationId xmlns:a16="http://schemas.microsoft.com/office/drawing/2014/main" id="{7442768F-BF69-95DD-B603-ED9572A6D5DB}"/>
                </a:ext>
              </a:extLst>
            </p:cNvPr>
            <p:cNvSpPr txBox="1"/>
            <p:nvPr/>
          </p:nvSpPr>
          <p:spPr bwMode="gray">
            <a:xfrm>
              <a:off x="6263607" y="1904013"/>
              <a:ext cx="1310941" cy="584775"/>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00"/>
                <a:t>Large-scale nuclear</a:t>
              </a:r>
            </a:p>
          </p:txBody>
        </p:sp>
        <p:sp>
          <p:nvSpPr>
            <p:cNvPr id="27" name="TextBox 26">
              <a:extLst>
                <a:ext uri="{FF2B5EF4-FFF2-40B4-BE49-F238E27FC236}">
                  <a16:creationId xmlns:a16="http://schemas.microsoft.com/office/drawing/2014/main" id="{70D70532-1B8D-9231-CA45-5CEF372F3A4F}"/>
                </a:ext>
              </a:extLst>
            </p:cNvPr>
            <p:cNvSpPr txBox="1"/>
            <p:nvPr/>
          </p:nvSpPr>
          <p:spPr bwMode="gray">
            <a:xfrm>
              <a:off x="7747015" y="2424514"/>
              <a:ext cx="835132"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00"/>
                <a:t>EGS</a:t>
              </a:r>
            </a:p>
          </p:txBody>
        </p:sp>
        <p:sp>
          <p:nvSpPr>
            <p:cNvPr id="11" name="TextBox 10">
              <a:extLst>
                <a:ext uri="{FF2B5EF4-FFF2-40B4-BE49-F238E27FC236}">
                  <a16:creationId xmlns:a16="http://schemas.microsoft.com/office/drawing/2014/main" id="{3EC4A0A8-B07E-6794-40C8-9C5444876613}"/>
                </a:ext>
              </a:extLst>
            </p:cNvPr>
            <p:cNvSpPr txBox="1"/>
            <p:nvPr/>
          </p:nvSpPr>
          <p:spPr bwMode="gray">
            <a:xfrm>
              <a:off x="7747014" y="1904013"/>
              <a:ext cx="1564993" cy="584775"/>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00"/>
                <a:t>Conventional geothermal</a:t>
              </a:r>
            </a:p>
          </p:txBody>
        </p:sp>
        <p:cxnSp>
          <p:nvCxnSpPr>
            <p:cNvPr id="12" name="Straight Connector 11">
              <a:extLst>
                <a:ext uri="{FF2B5EF4-FFF2-40B4-BE49-F238E27FC236}">
                  <a16:creationId xmlns:a16="http://schemas.microsoft.com/office/drawing/2014/main" id="{A6ED9F5B-99C0-B8F2-CE0F-AD60C1C7B461}"/>
                </a:ext>
              </a:extLst>
            </p:cNvPr>
            <p:cNvCxnSpPr>
              <a:cxnSpLocks/>
            </p:cNvCxnSpPr>
            <p:nvPr/>
          </p:nvCxnSpPr>
          <p:spPr bwMode="gray">
            <a:xfrm>
              <a:off x="5842400" y="2628416"/>
              <a:ext cx="443106" cy="0"/>
            </a:xfrm>
            <a:prstGeom prst="line">
              <a:avLst/>
            </a:prstGeom>
            <a:ln>
              <a:solidFill>
                <a:schemeClr val="accent1">
                  <a:lumMod val="60000"/>
                  <a:lumOff val="40000"/>
                </a:schemeClr>
              </a:solidFill>
              <a:prstDash val="dash"/>
              <a:tailEnd type="none" w="med" len="lg"/>
            </a:ln>
          </p:spPr>
          <p:style>
            <a:lnRef idx="3">
              <a:schemeClr val="accent1"/>
            </a:lnRef>
            <a:fillRef idx="0">
              <a:schemeClr val="accent1"/>
            </a:fillRef>
            <a:effectRef idx="2">
              <a:schemeClr val="accent1"/>
            </a:effectRef>
            <a:fontRef idx="minor">
              <a:schemeClr val="tx1"/>
            </a:fontRef>
          </p:style>
        </p:cxnSp>
        <p:sp>
          <p:nvSpPr>
            <p:cNvPr id="13" name="TextBox 12">
              <a:extLst>
                <a:ext uri="{FF2B5EF4-FFF2-40B4-BE49-F238E27FC236}">
                  <a16:creationId xmlns:a16="http://schemas.microsoft.com/office/drawing/2014/main" id="{1C9C6DA2-2EB2-B28E-3D86-07B368ADEEE9}"/>
                </a:ext>
              </a:extLst>
            </p:cNvPr>
            <p:cNvSpPr txBox="1"/>
            <p:nvPr/>
          </p:nvSpPr>
          <p:spPr bwMode="gray">
            <a:xfrm>
              <a:off x="6263607" y="2424514"/>
              <a:ext cx="897997"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00"/>
                <a:t>SMR</a:t>
              </a:r>
            </a:p>
          </p:txBody>
        </p:sp>
        <p:sp>
          <p:nvSpPr>
            <p:cNvPr id="19" name="TextBox 18">
              <a:extLst>
                <a:ext uri="{FF2B5EF4-FFF2-40B4-BE49-F238E27FC236}">
                  <a16:creationId xmlns:a16="http://schemas.microsoft.com/office/drawing/2014/main" id="{CB8024F9-BCE0-21C2-867B-23EE5BC15DAB}"/>
                </a:ext>
              </a:extLst>
            </p:cNvPr>
            <p:cNvSpPr txBox="1"/>
            <p:nvPr/>
          </p:nvSpPr>
          <p:spPr bwMode="gray">
            <a:xfrm>
              <a:off x="5685972" y="2220510"/>
              <a:ext cx="2294421"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1000" b="1" dirty="0"/>
                <a:t>Not yet commercialized:</a:t>
              </a:r>
            </a:p>
          </p:txBody>
        </p:sp>
      </p:grpSp>
      <p:cxnSp>
        <p:nvCxnSpPr>
          <p:cNvPr id="48" name="btfpColumnHeaderBoxLine223027">
            <a:extLst>
              <a:ext uri="{FF2B5EF4-FFF2-40B4-BE49-F238E27FC236}">
                <a16:creationId xmlns:a16="http://schemas.microsoft.com/office/drawing/2014/main" id="{FDFEEDB0-6408-344B-A0B3-B7F2B138EC37}"/>
              </a:ext>
            </a:extLst>
          </p:cNvPr>
          <p:cNvCxnSpPr>
            <a:cxnSpLocks/>
          </p:cNvCxnSpPr>
          <p:nvPr/>
        </p:nvCxnSpPr>
        <p:spPr bwMode="gray">
          <a:xfrm>
            <a:off x="329184" y="1807932"/>
            <a:ext cx="484632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9" name="btfpColumnHeaderBoxLine223027">
            <a:extLst>
              <a:ext uri="{FF2B5EF4-FFF2-40B4-BE49-F238E27FC236}">
                <a16:creationId xmlns:a16="http://schemas.microsoft.com/office/drawing/2014/main" id="{68FD3DB6-D88E-CC65-EBD9-6208583589DA}"/>
              </a:ext>
            </a:extLst>
          </p:cNvPr>
          <p:cNvCxnSpPr>
            <a:cxnSpLocks/>
          </p:cNvCxnSpPr>
          <p:nvPr/>
        </p:nvCxnSpPr>
        <p:spPr bwMode="gray">
          <a:xfrm>
            <a:off x="5411780" y="1807932"/>
            <a:ext cx="374904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83168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B0778B-3EB7-DB5A-BE2B-A836F5A9874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42B8AC8-6193-4CC3-8B66-36798A64E2F2}"/>
              </a:ext>
            </a:extLst>
          </p:cNvPr>
          <p:cNvGraphicFramePr>
            <a:graphicFrameLocks noChangeAspect="1"/>
          </p:cNvGraphicFramePr>
          <p:nvPr>
            <p:custDataLst>
              <p:tags r:id="rId2"/>
            </p:custDataLst>
            <p:extLst>
              <p:ext uri="{D42A27DB-BD31-4B8C-83A1-F6EECF244321}">
                <p14:modId xmlns:p14="http://schemas.microsoft.com/office/powerpoint/2010/main" val="4112187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592" imgH="591" progId="TCLayout.ActiveDocument.1">
                  <p:embed/>
                </p:oleObj>
              </mc:Choice>
              <mc:Fallback>
                <p:oleObj name="think-cell Slide" r:id="rId51" imgW="592" imgH="591" progId="TCLayout.ActiveDocument.1">
                  <p:embed/>
                  <p:pic>
                    <p:nvPicPr>
                      <p:cNvPr id="7" name="think-cell data - do not delete" hidden="1">
                        <a:extLst>
                          <a:ext uri="{FF2B5EF4-FFF2-40B4-BE49-F238E27FC236}">
                            <a16:creationId xmlns:a16="http://schemas.microsoft.com/office/drawing/2014/main" id="{742B8AC8-6193-4CC3-8B66-36798A64E2F2}"/>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FF84A88E-1DD9-9A6E-103E-12190B149273}"/>
              </a:ext>
            </a:extLst>
          </p:cNvPr>
          <p:cNvGraphicFramePr/>
          <p:nvPr>
            <p:custDataLst>
              <p:tags r:id="rId3"/>
            </p:custDataLst>
            <p:extLst>
              <p:ext uri="{D42A27DB-BD31-4B8C-83A1-F6EECF244321}">
                <p14:modId xmlns:p14="http://schemas.microsoft.com/office/powerpoint/2010/main" val="1946505138"/>
              </p:ext>
            </p:extLst>
          </p:nvPr>
        </p:nvGraphicFramePr>
        <p:xfrm>
          <a:off x="341313" y="2597150"/>
          <a:ext cx="8026400" cy="3221038"/>
        </p:xfrm>
        <a:graphic>
          <a:graphicData uri="http://schemas.openxmlformats.org/drawingml/2006/chart">
            <c:chart xmlns:c="http://schemas.openxmlformats.org/drawingml/2006/chart" xmlns:r="http://schemas.openxmlformats.org/officeDocument/2006/relationships" r:id="rId53"/>
          </a:graphicData>
        </a:graphic>
      </p:graphicFrame>
      <p:sp>
        <p:nvSpPr>
          <p:cNvPr id="349"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auto">
          <a:xfrm>
            <a:off x="8545513" y="5545139"/>
            <a:ext cx="306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effectLst/>
              </a:rPr>
              <a:t>Year</a:t>
            </a:r>
            <a:endParaRPr lang="en-US" sz="1200"/>
          </a:p>
        </p:txBody>
      </p:sp>
      <p:sp>
        <p:nvSpPr>
          <p:cNvPr id="354"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455613" y="2382838"/>
            <a:ext cx="3222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1200"/>
              <a:t>TWh</a:t>
            </a:r>
          </a:p>
        </p:txBody>
      </p:sp>
      <p:sp>
        <p:nvSpPr>
          <p:cNvPr id="4"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896938"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A78E8F0-DB21-44B1-B68E-DAE69BA204A0}" type="datetime'''''''''''''''7''''''''''''''''''''''''''1'''">
              <a:rPr lang="en-US" altLang="en-US" sz="1200" smtClean="0"/>
              <a:pPr marL="0" lvl="0" indent="0" algn="ctr">
                <a:spcBef>
                  <a:spcPct val="0"/>
                </a:spcBef>
                <a:spcAft>
                  <a:spcPct val="0"/>
                </a:spcAft>
                <a:buNone/>
              </a:pPr>
              <a:t>71</a:t>
            </a:fld>
            <a:endParaRPr lang="en-US" sz="1200"/>
          </a:p>
        </p:txBody>
      </p:sp>
      <p:sp>
        <p:nvSpPr>
          <p:cNvPr id="8"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1166813"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7293DF8-4F1F-44BE-9364-D2A026559B45}" type="datetime'''''''''''''''''''''''''7''''''''3'''''">
              <a:rPr lang="en-US" altLang="en-US" sz="1200" smtClean="0"/>
              <a:pPr marL="0" lvl="0" indent="0" algn="ctr">
                <a:spcBef>
                  <a:spcPct val="0"/>
                </a:spcBef>
                <a:spcAft>
                  <a:spcPct val="0"/>
                </a:spcAft>
                <a:buNone/>
              </a:pPr>
              <a:t>73</a:t>
            </a:fld>
            <a:endParaRPr lang="en-US" sz="1200"/>
          </a:p>
        </p:txBody>
      </p:sp>
      <p:sp>
        <p:nvSpPr>
          <p:cNvPr id="165" name="Text Placeholder 10">
            <a:extLst>
              <a:ext uri="{FF2B5EF4-FFF2-40B4-BE49-F238E27FC236}">
                <a16:creationId xmlns:a16="http://schemas.microsoft.com/office/drawing/2014/main" id="{319DFB73-9B9C-EC35-675F-21C576BBED56}"/>
              </a:ext>
            </a:extLst>
          </p:cNvPr>
          <p:cNvSpPr>
            <a:spLocks noGrp="1"/>
          </p:cNvSpPr>
          <p:nvPr>
            <p:custDataLst>
              <p:tags r:id="rId8"/>
            </p:custDataLst>
          </p:nvPr>
        </p:nvSpPr>
        <p:spPr bwMode="auto">
          <a:xfrm>
            <a:off x="1438275"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8616A0-BB27-451A-975F-33A23958E673}" type="datetime'''''7''''''''''''''5'''''''''''''">
              <a:rPr lang="en-US" altLang="en-US" sz="1200" smtClean="0"/>
              <a:pPr marL="0" lvl="0" indent="0" algn="ctr">
                <a:spcBef>
                  <a:spcPct val="0"/>
                </a:spcBef>
                <a:spcAft>
                  <a:spcPct val="0"/>
                </a:spcAft>
                <a:buNone/>
              </a:pPr>
              <a:t>75</a:t>
            </a:fld>
            <a:endParaRPr lang="en-US" sz="1200"/>
          </a:p>
        </p:txBody>
      </p:sp>
      <p:sp>
        <p:nvSpPr>
          <p:cNvPr id="167" name="Text Placeholder 10">
            <a:extLst>
              <a:ext uri="{FF2B5EF4-FFF2-40B4-BE49-F238E27FC236}">
                <a16:creationId xmlns:a16="http://schemas.microsoft.com/office/drawing/2014/main" id="{5C8120EA-81A9-B22F-6238-15AE4550BEFD}"/>
              </a:ext>
            </a:extLst>
          </p:cNvPr>
          <p:cNvSpPr>
            <a:spLocks noGrp="1"/>
          </p:cNvSpPr>
          <p:nvPr>
            <p:custDataLst>
              <p:tags r:id="rId9"/>
            </p:custDataLst>
          </p:nvPr>
        </p:nvSpPr>
        <p:spPr bwMode="auto">
          <a:xfrm>
            <a:off x="1708150"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1FBA43-ECCD-46F8-8142-B0C3399954C9}" type="datetime'''''''''''''''''''''''''''''''7''7'''''''''''''''''''">
              <a:rPr lang="en-US" altLang="en-US" sz="1200" smtClean="0"/>
              <a:pPr marL="0" lvl="0" indent="0" algn="ctr">
                <a:spcBef>
                  <a:spcPct val="0"/>
                </a:spcBef>
                <a:spcAft>
                  <a:spcPct val="0"/>
                </a:spcAft>
                <a:buNone/>
              </a:pPr>
              <a:t>77</a:t>
            </a:fld>
            <a:endParaRPr lang="en-US" sz="1200"/>
          </a:p>
        </p:txBody>
      </p:sp>
      <p:sp>
        <p:nvSpPr>
          <p:cNvPr id="169" name="Text Placeholder 10">
            <a:extLst>
              <a:ext uri="{FF2B5EF4-FFF2-40B4-BE49-F238E27FC236}">
                <a16:creationId xmlns:a16="http://schemas.microsoft.com/office/drawing/2014/main" id="{944E4F41-C847-308E-DD11-E32A60D6412D}"/>
              </a:ext>
            </a:extLst>
          </p:cNvPr>
          <p:cNvSpPr>
            <a:spLocks noGrp="1"/>
          </p:cNvSpPr>
          <p:nvPr>
            <p:custDataLst>
              <p:tags r:id="rId10"/>
            </p:custDataLst>
          </p:nvPr>
        </p:nvSpPr>
        <p:spPr bwMode="auto">
          <a:xfrm>
            <a:off x="1978025"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012E955-56D8-44A6-B327-E42CBD955A81}" type="datetime'''''''''''''''7''''''''''9'''''''''''''''''''''">
              <a:rPr lang="en-US" altLang="en-US" sz="1200" smtClean="0"/>
              <a:pPr marL="0" lvl="0" indent="0" algn="ctr">
                <a:spcBef>
                  <a:spcPct val="0"/>
                </a:spcBef>
                <a:spcAft>
                  <a:spcPct val="0"/>
                </a:spcAft>
                <a:buNone/>
              </a:pPr>
              <a:t>79</a:t>
            </a:fld>
            <a:endParaRPr lang="en-US" sz="1200"/>
          </a:p>
        </p:txBody>
      </p:sp>
      <p:sp>
        <p:nvSpPr>
          <p:cNvPr id="171" name="Text Placeholder 10">
            <a:extLst>
              <a:ext uri="{FF2B5EF4-FFF2-40B4-BE49-F238E27FC236}">
                <a16:creationId xmlns:a16="http://schemas.microsoft.com/office/drawing/2014/main" id="{3FE76B3F-166E-ABD6-69F0-FF0528433179}"/>
              </a:ext>
            </a:extLst>
          </p:cNvPr>
          <p:cNvSpPr>
            <a:spLocks noGrp="1"/>
          </p:cNvSpPr>
          <p:nvPr>
            <p:custDataLst>
              <p:tags r:id="rId11"/>
            </p:custDataLst>
          </p:nvPr>
        </p:nvSpPr>
        <p:spPr bwMode="auto">
          <a:xfrm>
            <a:off x="2247900"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BE9929-08A2-4608-B771-5BD7EA137757}" type="datetime'''''''8''''1'''''''''''''''''''''''">
              <a:rPr lang="en-US" altLang="en-US" sz="1200" smtClean="0"/>
              <a:pPr marL="0" lvl="0" indent="0" algn="ctr">
                <a:spcBef>
                  <a:spcPct val="0"/>
                </a:spcBef>
                <a:spcAft>
                  <a:spcPct val="0"/>
                </a:spcAft>
                <a:buNone/>
              </a:pPr>
              <a:t>81</a:t>
            </a:fld>
            <a:endParaRPr lang="en-US" sz="1200"/>
          </a:p>
        </p:txBody>
      </p:sp>
      <p:sp>
        <p:nvSpPr>
          <p:cNvPr id="264" name="Text Placeholder 10">
            <a:extLst>
              <a:ext uri="{FF2B5EF4-FFF2-40B4-BE49-F238E27FC236}">
                <a16:creationId xmlns:a16="http://schemas.microsoft.com/office/drawing/2014/main" id="{B00CBF9B-E73A-4433-A528-A47DEC9EC3A3}"/>
              </a:ext>
            </a:extLst>
          </p:cNvPr>
          <p:cNvSpPr>
            <a:spLocks noGrp="1"/>
          </p:cNvSpPr>
          <p:nvPr>
            <p:custDataLst>
              <p:tags r:id="rId12"/>
            </p:custDataLst>
          </p:nvPr>
        </p:nvSpPr>
        <p:spPr bwMode="auto">
          <a:xfrm>
            <a:off x="2519363"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86882F0-5584-4C30-BDBC-0761505F11EE}" type="datetime'''''''''8''''''''''''''''''''3'''''''''''''''''''''">
              <a:rPr lang="en-US" altLang="en-US" sz="1200" smtClean="0"/>
              <a:pPr marL="0" lvl="0" indent="0" algn="ctr">
                <a:spcBef>
                  <a:spcPct val="0"/>
                </a:spcBef>
                <a:spcAft>
                  <a:spcPct val="0"/>
                </a:spcAft>
                <a:buNone/>
              </a:pPr>
              <a:t>83</a:t>
            </a:fld>
            <a:endParaRPr lang="en-US" sz="1200"/>
          </a:p>
        </p:txBody>
      </p:sp>
      <p:sp>
        <p:nvSpPr>
          <p:cNvPr id="267" name="Text Placeholder 10">
            <a:extLst>
              <a:ext uri="{FF2B5EF4-FFF2-40B4-BE49-F238E27FC236}">
                <a16:creationId xmlns:a16="http://schemas.microsoft.com/office/drawing/2014/main" id="{AFB506FA-B142-FC0D-3C36-3A2D85C8674B}"/>
              </a:ext>
            </a:extLst>
          </p:cNvPr>
          <p:cNvSpPr>
            <a:spLocks noGrp="1"/>
          </p:cNvSpPr>
          <p:nvPr>
            <p:custDataLst>
              <p:tags r:id="rId13"/>
            </p:custDataLst>
          </p:nvPr>
        </p:nvSpPr>
        <p:spPr bwMode="auto">
          <a:xfrm>
            <a:off x="2789238"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707919-89E3-434B-AF62-FC6F6D5C16F8}" type="datetime'''8''''''''''''''''''5'''''''''''''''">
              <a:rPr lang="en-US" altLang="en-US" sz="1200" smtClean="0"/>
              <a:pPr marL="0" lvl="0" indent="0" algn="ctr">
                <a:spcBef>
                  <a:spcPct val="0"/>
                </a:spcBef>
                <a:spcAft>
                  <a:spcPct val="0"/>
                </a:spcAft>
                <a:buNone/>
              </a:pPr>
              <a:t>85</a:t>
            </a:fld>
            <a:endParaRPr lang="en-US" sz="1200"/>
          </a:p>
        </p:txBody>
      </p:sp>
      <p:sp>
        <p:nvSpPr>
          <p:cNvPr id="270" name="Text Placeholder 10">
            <a:extLst>
              <a:ext uri="{FF2B5EF4-FFF2-40B4-BE49-F238E27FC236}">
                <a16:creationId xmlns:a16="http://schemas.microsoft.com/office/drawing/2014/main" id="{11D306C6-EDA2-A2F8-3910-AEF918893916}"/>
              </a:ext>
            </a:extLst>
          </p:cNvPr>
          <p:cNvSpPr>
            <a:spLocks noGrp="1"/>
          </p:cNvSpPr>
          <p:nvPr>
            <p:custDataLst>
              <p:tags r:id="rId14"/>
            </p:custDataLst>
          </p:nvPr>
        </p:nvSpPr>
        <p:spPr bwMode="auto">
          <a:xfrm>
            <a:off x="3059113"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B83AFB-4051-48F3-B331-F5D6A5F572F7}" type="datetime'''''''''''''8''''''7'''''''''''''''''''''''''''''''">
              <a:rPr lang="en-US" altLang="en-US" sz="1200" smtClean="0"/>
              <a:pPr marL="0" lvl="0" indent="0" algn="ctr">
                <a:spcBef>
                  <a:spcPct val="0"/>
                </a:spcBef>
                <a:spcAft>
                  <a:spcPct val="0"/>
                </a:spcAft>
                <a:buNone/>
              </a:pPr>
              <a:t>87</a:t>
            </a:fld>
            <a:endParaRPr lang="en-US" sz="1200"/>
          </a:p>
        </p:txBody>
      </p:sp>
      <p:sp>
        <p:nvSpPr>
          <p:cNvPr id="273" name="Text Placeholder 10">
            <a:extLst>
              <a:ext uri="{FF2B5EF4-FFF2-40B4-BE49-F238E27FC236}">
                <a16:creationId xmlns:a16="http://schemas.microsoft.com/office/drawing/2014/main" id="{E08EA0F6-B1F2-A75E-3008-193057B8808A}"/>
              </a:ext>
            </a:extLst>
          </p:cNvPr>
          <p:cNvSpPr>
            <a:spLocks noGrp="1"/>
          </p:cNvSpPr>
          <p:nvPr>
            <p:custDataLst>
              <p:tags r:id="rId15"/>
            </p:custDataLst>
          </p:nvPr>
        </p:nvSpPr>
        <p:spPr bwMode="auto">
          <a:xfrm>
            <a:off x="3328988"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B6ACF2-75DF-4EDC-AD89-451808E4BF25}" type="datetime'''''''''''''''''''''''''''''''''''8''''''''''''''9'''''''''">
              <a:rPr lang="en-US" altLang="en-US" sz="1200" smtClean="0"/>
              <a:pPr marL="0" lvl="0" indent="0" algn="ctr">
                <a:spcBef>
                  <a:spcPct val="0"/>
                </a:spcBef>
                <a:spcAft>
                  <a:spcPct val="0"/>
                </a:spcAft>
                <a:buNone/>
              </a:pPr>
              <a:t>89</a:t>
            </a:fld>
            <a:endParaRPr lang="en-US" sz="1200"/>
          </a:p>
        </p:txBody>
      </p:sp>
      <p:sp>
        <p:nvSpPr>
          <p:cNvPr id="276" name="Text Placeholder 10">
            <a:extLst>
              <a:ext uri="{FF2B5EF4-FFF2-40B4-BE49-F238E27FC236}">
                <a16:creationId xmlns:a16="http://schemas.microsoft.com/office/drawing/2014/main" id="{47AEAE5B-2785-5AFE-B139-A0F189C59FE0}"/>
              </a:ext>
            </a:extLst>
          </p:cNvPr>
          <p:cNvSpPr>
            <a:spLocks noGrp="1"/>
          </p:cNvSpPr>
          <p:nvPr>
            <p:custDataLst>
              <p:tags r:id="rId16"/>
            </p:custDataLst>
          </p:nvPr>
        </p:nvSpPr>
        <p:spPr bwMode="auto">
          <a:xfrm>
            <a:off x="3600450"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0A74F9-9796-47E3-902D-808A5E076C79}" type="datetime'''''''''''''9''''''''''''1'''''''">
              <a:rPr lang="en-US" altLang="en-US" sz="1200" smtClean="0"/>
              <a:pPr marL="0" lvl="0" indent="0" algn="ctr">
                <a:spcBef>
                  <a:spcPct val="0"/>
                </a:spcBef>
                <a:spcAft>
                  <a:spcPct val="0"/>
                </a:spcAft>
                <a:buNone/>
              </a:pPr>
              <a:t>91</a:t>
            </a:fld>
            <a:endParaRPr lang="en-US" sz="1200"/>
          </a:p>
        </p:txBody>
      </p:sp>
      <p:sp>
        <p:nvSpPr>
          <p:cNvPr id="279" name="Text Placeholder 10">
            <a:extLst>
              <a:ext uri="{FF2B5EF4-FFF2-40B4-BE49-F238E27FC236}">
                <a16:creationId xmlns:a16="http://schemas.microsoft.com/office/drawing/2014/main" id="{6E73EE0D-9F3D-FF2B-5C6F-BD9D74478FEF}"/>
              </a:ext>
            </a:extLst>
          </p:cNvPr>
          <p:cNvSpPr>
            <a:spLocks noGrp="1"/>
          </p:cNvSpPr>
          <p:nvPr>
            <p:custDataLst>
              <p:tags r:id="rId17"/>
            </p:custDataLst>
          </p:nvPr>
        </p:nvSpPr>
        <p:spPr bwMode="auto">
          <a:xfrm>
            <a:off x="3870325"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3C5BD0-663C-407F-9A41-089FA934A8DF}" type="datetime'''''''''''''''''''''''''''''9''''''''''''3'''''''''''">
              <a:rPr lang="en-US" altLang="en-US" sz="1200" smtClean="0"/>
              <a:pPr marL="0" lvl="0" indent="0" algn="ctr">
                <a:spcBef>
                  <a:spcPct val="0"/>
                </a:spcBef>
                <a:spcAft>
                  <a:spcPct val="0"/>
                </a:spcAft>
                <a:buNone/>
              </a:pPr>
              <a:t>93</a:t>
            </a:fld>
            <a:endParaRPr lang="en-US" sz="1200"/>
          </a:p>
        </p:txBody>
      </p:sp>
      <p:sp>
        <p:nvSpPr>
          <p:cNvPr id="282" name="Text Placeholder 10">
            <a:extLst>
              <a:ext uri="{FF2B5EF4-FFF2-40B4-BE49-F238E27FC236}">
                <a16:creationId xmlns:a16="http://schemas.microsoft.com/office/drawing/2014/main" id="{9E83BE5A-5A47-0397-B238-0E95332A8133}"/>
              </a:ext>
            </a:extLst>
          </p:cNvPr>
          <p:cNvSpPr>
            <a:spLocks noGrp="1"/>
          </p:cNvSpPr>
          <p:nvPr>
            <p:custDataLst>
              <p:tags r:id="rId18"/>
            </p:custDataLst>
          </p:nvPr>
        </p:nvSpPr>
        <p:spPr bwMode="auto">
          <a:xfrm>
            <a:off x="4140200"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D71E28F-18AB-4766-B902-BC8C209A5EA6}" type="datetime'''''''9''''''''''''''''''''''5'''''''''''''''''''''">
              <a:rPr lang="en-US" altLang="en-US" sz="1200" smtClean="0"/>
              <a:pPr marL="0" lvl="0" indent="0" algn="ctr">
                <a:spcBef>
                  <a:spcPct val="0"/>
                </a:spcBef>
                <a:spcAft>
                  <a:spcPct val="0"/>
                </a:spcAft>
                <a:buNone/>
              </a:pPr>
              <a:t>95</a:t>
            </a:fld>
            <a:endParaRPr lang="en-US" sz="1200"/>
          </a:p>
        </p:txBody>
      </p:sp>
      <p:sp>
        <p:nvSpPr>
          <p:cNvPr id="285" name="Text Placeholder 10">
            <a:extLst>
              <a:ext uri="{FF2B5EF4-FFF2-40B4-BE49-F238E27FC236}">
                <a16:creationId xmlns:a16="http://schemas.microsoft.com/office/drawing/2014/main" id="{5569405C-4C0C-35CB-3A71-919EBE6638C2}"/>
              </a:ext>
            </a:extLst>
          </p:cNvPr>
          <p:cNvSpPr>
            <a:spLocks noGrp="1"/>
          </p:cNvSpPr>
          <p:nvPr>
            <p:custDataLst>
              <p:tags r:id="rId19"/>
            </p:custDataLst>
          </p:nvPr>
        </p:nvSpPr>
        <p:spPr bwMode="auto">
          <a:xfrm>
            <a:off x="4410075"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975B88A-6778-43A0-B6EF-C99691DD62C9}" type="datetime'''''''''9''''''''''''''''''''''''''''''''''''''7'''''''''''">
              <a:rPr lang="en-US" altLang="en-US" sz="1200" smtClean="0"/>
              <a:pPr marL="0" lvl="0" indent="0" algn="ctr">
                <a:spcBef>
                  <a:spcPct val="0"/>
                </a:spcBef>
                <a:spcAft>
                  <a:spcPct val="0"/>
                </a:spcAft>
                <a:buNone/>
              </a:pPr>
              <a:t>97</a:t>
            </a:fld>
            <a:endParaRPr lang="en-US" sz="1200"/>
          </a:p>
        </p:txBody>
      </p:sp>
      <p:sp>
        <p:nvSpPr>
          <p:cNvPr id="288" name="Text Placeholder 10">
            <a:extLst>
              <a:ext uri="{FF2B5EF4-FFF2-40B4-BE49-F238E27FC236}">
                <a16:creationId xmlns:a16="http://schemas.microsoft.com/office/drawing/2014/main" id="{B0EB671E-36DF-B5A5-E129-3E2D9F77A8F2}"/>
              </a:ext>
            </a:extLst>
          </p:cNvPr>
          <p:cNvSpPr>
            <a:spLocks noGrp="1"/>
          </p:cNvSpPr>
          <p:nvPr>
            <p:custDataLst>
              <p:tags r:id="rId20"/>
            </p:custDataLst>
          </p:nvPr>
        </p:nvSpPr>
        <p:spPr bwMode="auto">
          <a:xfrm>
            <a:off x="4681538"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C6CDC0-E631-40E2-B094-0CB16AAECDD4}" type="datetime'''''''''''''9''''''''''''''''''9'''''''''">
              <a:rPr lang="en-US" altLang="en-US" sz="1200" smtClean="0"/>
              <a:pPr marL="0" lvl="0" indent="0" algn="ctr">
                <a:spcBef>
                  <a:spcPct val="0"/>
                </a:spcBef>
                <a:spcAft>
                  <a:spcPct val="0"/>
                </a:spcAft>
                <a:buNone/>
              </a:pPr>
              <a:t>99</a:t>
            </a:fld>
            <a:endParaRPr lang="en-US" sz="1200"/>
          </a:p>
        </p:txBody>
      </p:sp>
      <p:sp>
        <p:nvSpPr>
          <p:cNvPr id="291" name="Text Placeholder 10">
            <a:extLst>
              <a:ext uri="{FF2B5EF4-FFF2-40B4-BE49-F238E27FC236}">
                <a16:creationId xmlns:a16="http://schemas.microsoft.com/office/drawing/2014/main" id="{60B3B5D5-157C-8405-EB15-C23F6F524A4E}"/>
              </a:ext>
            </a:extLst>
          </p:cNvPr>
          <p:cNvSpPr>
            <a:spLocks noGrp="1"/>
          </p:cNvSpPr>
          <p:nvPr>
            <p:custDataLst>
              <p:tags r:id="rId21"/>
            </p:custDataLst>
          </p:nvPr>
        </p:nvSpPr>
        <p:spPr bwMode="auto">
          <a:xfrm>
            <a:off x="4951413"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t>0</a:t>
            </a:r>
            <a:fld id="{DA92EA73-A875-4B9C-BA57-A78F50DE6578}" type="datetime'''''''1'''''''''''''''''''''''''''''">
              <a:rPr lang="en-US" altLang="en-US" sz="1200" smtClean="0"/>
              <a:pPr marL="0" lvl="0" indent="0" algn="ctr">
                <a:spcBef>
                  <a:spcPct val="0"/>
                </a:spcBef>
                <a:spcAft>
                  <a:spcPct val="0"/>
                </a:spcAft>
                <a:buNone/>
              </a:pPr>
              <a:t>1</a:t>
            </a:fld>
            <a:endParaRPr lang="en-US" sz="1200"/>
          </a:p>
        </p:txBody>
      </p:sp>
      <p:sp>
        <p:nvSpPr>
          <p:cNvPr id="298" name="Text Placeholder 10">
            <a:extLst>
              <a:ext uri="{FF2B5EF4-FFF2-40B4-BE49-F238E27FC236}">
                <a16:creationId xmlns:a16="http://schemas.microsoft.com/office/drawing/2014/main" id="{4926A478-FC0F-4258-A34F-FFEC15F60FA2}"/>
              </a:ext>
            </a:extLst>
          </p:cNvPr>
          <p:cNvSpPr>
            <a:spLocks noGrp="1"/>
          </p:cNvSpPr>
          <p:nvPr>
            <p:custDataLst>
              <p:tags r:id="rId22"/>
            </p:custDataLst>
          </p:nvPr>
        </p:nvSpPr>
        <p:spPr bwMode="auto">
          <a:xfrm>
            <a:off x="5221288"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t>0</a:t>
            </a:r>
            <a:fld id="{893E13B2-6E50-4842-A725-D575012D8A2F}" type="datetime'''3'''''''">
              <a:rPr lang="en-US" altLang="en-US" sz="1200" smtClean="0"/>
              <a:pPr marL="0" lvl="0" indent="0" algn="ctr">
                <a:spcBef>
                  <a:spcPct val="0"/>
                </a:spcBef>
                <a:spcAft>
                  <a:spcPct val="0"/>
                </a:spcAft>
                <a:buNone/>
              </a:pPr>
              <a:t>3</a:t>
            </a:fld>
            <a:endParaRPr lang="en-US" sz="1200"/>
          </a:p>
        </p:txBody>
      </p:sp>
      <p:sp>
        <p:nvSpPr>
          <p:cNvPr id="301" name="Text Placeholder 10">
            <a:extLst>
              <a:ext uri="{FF2B5EF4-FFF2-40B4-BE49-F238E27FC236}">
                <a16:creationId xmlns:a16="http://schemas.microsoft.com/office/drawing/2014/main" id="{90AEC405-7515-0880-A058-7F5E992F5C8B}"/>
              </a:ext>
            </a:extLst>
          </p:cNvPr>
          <p:cNvSpPr>
            <a:spLocks noGrp="1"/>
          </p:cNvSpPr>
          <p:nvPr>
            <p:custDataLst>
              <p:tags r:id="rId23"/>
            </p:custDataLst>
          </p:nvPr>
        </p:nvSpPr>
        <p:spPr bwMode="auto">
          <a:xfrm>
            <a:off x="5491163"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t>0</a:t>
            </a:r>
            <a:fld id="{6092AEBA-411C-4233-9F1D-4009AA86A017}" type="datetime'''''''5'''''''''''''''''''''''''''''''''''''''''''">
              <a:rPr lang="en-US" altLang="en-US" sz="1200" smtClean="0"/>
              <a:pPr marL="0" lvl="0" indent="0" algn="ctr">
                <a:spcBef>
                  <a:spcPct val="0"/>
                </a:spcBef>
                <a:spcAft>
                  <a:spcPct val="0"/>
                </a:spcAft>
                <a:buNone/>
              </a:pPr>
              <a:t>5</a:t>
            </a:fld>
            <a:endParaRPr lang="en-US" sz="1200"/>
          </a:p>
        </p:txBody>
      </p:sp>
      <p:sp>
        <p:nvSpPr>
          <p:cNvPr id="304" name="Text Placeholder 10">
            <a:extLst>
              <a:ext uri="{FF2B5EF4-FFF2-40B4-BE49-F238E27FC236}">
                <a16:creationId xmlns:a16="http://schemas.microsoft.com/office/drawing/2014/main" id="{9DEB5A95-207A-4BB5-78DC-150AF1AE610E}"/>
              </a:ext>
            </a:extLst>
          </p:cNvPr>
          <p:cNvSpPr>
            <a:spLocks noGrp="1"/>
          </p:cNvSpPr>
          <p:nvPr>
            <p:custDataLst>
              <p:tags r:id="rId24"/>
            </p:custDataLst>
          </p:nvPr>
        </p:nvSpPr>
        <p:spPr bwMode="auto">
          <a:xfrm>
            <a:off x="5762625"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t>0</a:t>
            </a:r>
            <a:fld id="{A81F8FEE-EEFD-4561-8431-AB0793EF5EA3}" type="datetime'''''''''''''''''7'''''''">
              <a:rPr lang="en-US" altLang="en-US" sz="1200" smtClean="0"/>
              <a:pPr marL="0" lvl="0" indent="0" algn="ctr">
                <a:spcBef>
                  <a:spcPct val="0"/>
                </a:spcBef>
                <a:spcAft>
                  <a:spcPct val="0"/>
                </a:spcAft>
                <a:buNone/>
              </a:pPr>
              <a:t>7</a:t>
            </a:fld>
            <a:endParaRPr lang="en-US" sz="1200"/>
          </a:p>
        </p:txBody>
      </p:sp>
      <p:sp>
        <p:nvSpPr>
          <p:cNvPr id="307" name="Text Placeholder 10">
            <a:extLst>
              <a:ext uri="{FF2B5EF4-FFF2-40B4-BE49-F238E27FC236}">
                <a16:creationId xmlns:a16="http://schemas.microsoft.com/office/drawing/2014/main" id="{E0297962-802A-BC52-EED2-69168B6C8C7E}"/>
              </a:ext>
            </a:extLst>
          </p:cNvPr>
          <p:cNvSpPr>
            <a:spLocks noGrp="1"/>
          </p:cNvSpPr>
          <p:nvPr>
            <p:custDataLst>
              <p:tags r:id="rId25"/>
            </p:custDataLst>
          </p:nvPr>
        </p:nvSpPr>
        <p:spPr bwMode="auto">
          <a:xfrm>
            <a:off x="6032500"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t>0</a:t>
            </a:r>
            <a:fld id="{DE47A3C1-6C72-46DA-A6F2-85D4B3BDBF4D}" type="datetime'''''''9'''''''''''''''''''''''''''''''''''''''''''">
              <a:rPr lang="en-US" altLang="en-US" sz="1200" smtClean="0"/>
              <a:pPr marL="0" lvl="0" indent="0" algn="ctr">
                <a:spcBef>
                  <a:spcPct val="0"/>
                </a:spcBef>
                <a:spcAft>
                  <a:spcPct val="0"/>
                </a:spcAft>
                <a:buNone/>
              </a:pPr>
              <a:t>9</a:t>
            </a:fld>
            <a:endParaRPr lang="en-US" sz="1200"/>
          </a:p>
        </p:txBody>
      </p:sp>
      <p:sp>
        <p:nvSpPr>
          <p:cNvPr id="310" name="Text Placeholder 10">
            <a:extLst>
              <a:ext uri="{FF2B5EF4-FFF2-40B4-BE49-F238E27FC236}">
                <a16:creationId xmlns:a16="http://schemas.microsoft.com/office/drawing/2014/main" id="{854D85C0-9DA6-DAD2-5DB3-BF98C0C59490}"/>
              </a:ext>
            </a:extLst>
          </p:cNvPr>
          <p:cNvSpPr>
            <a:spLocks noGrp="1"/>
          </p:cNvSpPr>
          <p:nvPr>
            <p:custDataLst>
              <p:tags r:id="rId26"/>
            </p:custDataLst>
          </p:nvPr>
        </p:nvSpPr>
        <p:spPr bwMode="auto">
          <a:xfrm>
            <a:off x="6308725" y="5686425"/>
            <a:ext cx="169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FC14B06-4CC3-4A35-948C-7B0C7F9062FC}" type="datetime'''''''1''''''''''''''''''''''''''''''''''''''''''''''''1'''">
              <a:rPr lang="en-US" altLang="en-US" sz="1200" smtClean="0"/>
              <a:pPr marL="0" lvl="0" indent="0" algn="ctr">
                <a:spcBef>
                  <a:spcPct val="0"/>
                </a:spcBef>
                <a:spcAft>
                  <a:spcPct val="0"/>
                </a:spcAft>
                <a:buNone/>
              </a:pPr>
              <a:t>11</a:t>
            </a:fld>
            <a:endParaRPr lang="en-US" sz="1200"/>
          </a:p>
        </p:txBody>
      </p:sp>
      <p:sp>
        <p:nvSpPr>
          <p:cNvPr id="313" name="Text Placeholder 10">
            <a:extLst>
              <a:ext uri="{FF2B5EF4-FFF2-40B4-BE49-F238E27FC236}">
                <a16:creationId xmlns:a16="http://schemas.microsoft.com/office/drawing/2014/main" id="{BF9171CF-7E74-D681-07CF-6C686E696018}"/>
              </a:ext>
            </a:extLst>
          </p:cNvPr>
          <p:cNvSpPr>
            <a:spLocks noGrp="1"/>
          </p:cNvSpPr>
          <p:nvPr>
            <p:custDataLst>
              <p:tags r:id="rId27"/>
            </p:custDataLst>
          </p:nvPr>
        </p:nvSpPr>
        <p:spPr bwMode="auto">
          <a:xfrm>
            <a:off x="6572250"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1C4C175-9144-4BC0-954B-07510F62E39F}" type="datetime'''''''''''''''''''''''''''''''''''''1''3'''''''''">
              <a:rPr lang="en-US" altLang="en-US" sz="1200" smtClean="0"/>
              <a:pPr marL="0" lvl="0" indent="0" algn="ctr">
                <a:spcBef>
                  <a:spcPct val="0"/>
                </a:spcBef>
                <a:spcAft>
                  <a:spcPct val="0"/>
                </a:spcAft>
                <a:buNone/>
              </a:pPr>
              <a:t>13</a:t>
            </a:fld>
            <a:endParaRPr lang="en-US" sz="1200"/>
          </a:p>
        </p:txBody>
      </p:sp>
      <p:sp>
        <p:nvSpPr>
          <p:cNvPr id="316" name="Text Placeholder 10">
            <a:extLst>
              <a:ext uri="{FF2B5EF4-FFF2-40B4-BE49-F238E27FC236}">
                <a16:creationId xmlns:a16="http://schemas.microsoft.com/office/drawing/2014/main" id="{19D20D7E-7846-4BB2-0227-EBCC69C3E666}"/>
              </a:ext>
            </a:extLst>
          </p:cNvPr>
          <p:cNvSpPr>
            <a:spLocks noGrp="1"/>
          </p:cNvSpPr>
          <p:nvPr>
            <p:custDataLst>
              <p:tags r:id="rId28"/>
            </p:custDataLst>
          </p:nvPr>
        </p:nvSpPr>
        <p:spPr bwMode="auto">
          <a:xfrm>
            <a:off x="6843713"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0266DED-6703-4A72-A9B8-4C63572CB4A3}" type="datetime'''''''''1''''''''''''''''''''''''''''''''''''''''''''''''5'">
              <a:rPr lang="en-US" altLang="en-US" sz="1200" smtClean="0"/>
              <a:pPr marL="0" lvl="0" indent="0" algn="ctr">
                <a:spcBef>
                  <a:spcPct val="0"/>
                </a:spcBef>
                <a:spcAft>
                  <a:spcPct val="0"/>
                </a:spcAft>
                <a:buNone/>
              </a:pPr>
              <a:t>15</a:t>
            </a:fld>
            <a:endParaRPr lang="en-US" sz="1200"/>
          </a:p>
        </p:txBody>
      </p:sp>
      <p:sp>
        <p:nvSpPr>
          <p:cNvPr id="319" name="Text Placeholder 10">
            <a:extLst>
              <a:ext uri="{FF2B5EF4-FFF2-40B4-BE49-F238E27FC236}">
                <a16:creationId xmlns:a16="http://schemas.microsoft.com/office/drawing/2014/main" id="{FA0624FC-925F-BCD6-CC40-AD71F8DC90E7}"/>
              </a:ext>
            </a:extLst>
          </p:cNvPr>
          <p:cNvSpPr>
            <a:spLocks noGrp="1"/>
          </p:cNvSpPr>
          <p:nvPr>
            <p:custDataLst>
              <p:tags r:id="rId29"/>
            </p:custDataLst>
          </p:nvPr>
        </p:nvSpPr>
        <p:spPr bwMode="auto">
          <a:xfrm>
            <a:off x="7113588"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215AA8A-80FC-4718-9202-9FC707429D86}" type="datetime'''17'''''''''">
              <a:rPr lang="en-US" altLang="en-US" sz="1200" smtClean="0"/>
              <a:pPr marL="0" lvl="0" indent="0" algn="ctr">
                <a:spcBef>
                  <a:spcPct val="0"/>
                </a:spcBef>
                <a:spcAft>
                  <a:spcPct val="0"/>
                </a:spcAft>
                <a:buNone/>
              </a:pPr>
              <a:t>17</a:t>
            </a:fld>
            <a:endParaRPr lang="en-US" sz="1200"/>
          </a:p>
        </p:txBody>
      </p:sp>
      <p:sp>
        <p:nvSpPr>
          <p:cNvPr id="322" name="Text Placeholder 10">
            <a:extLst>
              <a:ext uri="{FF2B5EF4-FFF2-40B4-BE49-F238E27FC236}">
                <a16:creationId xmlns:a16="http://schemas.microsoft.com/office/drawing/2014/main" id="{113D85AE-0D35-B18C-E786-EDE15FA0B166}"/>
              </a:ext>
            </a:extLst>
          </p:cNvPr>
          <p:cNvSpPr>
            <a:spLocks noGrp="1"/>
          </p:cNvSpPr>
          <p:nvPr>
            <p:custDataLst>
              <p:tags r:id="rId30"/>
            </p:custDataLst>
          </p:nvPr>
        </p:nvSpPr>
        <p:spPr bwMode="auto">
          <a:xfrm>
            <a:off x="7383463"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465D076-CCA6-4854-80DE-3EAA82053E41}" type="datetime'''''''''''''''''''1''''''9'''''">
              <a:rPr lang="en-US" altLang="en-US" sz="1200" smtClean="0"/>
              <a:pPr marL="0" lvl="0" indent="0" algn="ctr">
                <a:spcBef>
                  <a:spcPct val="0"/>
                </a:spcBef>
                <a:spcAft>
                  <a:spcPct val="0"/>
                </a:spcAft>
                <a:buNone/>
              </a:pPr>
              <a:t>19</a:t>
            </a:fld>
            <a:endParaRPr lang="en-US" sz="1200"/>
          </a:p>
        </p:txBody>
      </p:sp>
      <p:sp>
        <p:nvSpPr>
          <p:cNvPr id="325" name="Text Placeholder 10">
            <a:extLst>
              <a:ext uri="{FF2B5EF4-FFF2-40B4-BE49-F238E27FC236}">
                <a16:creationId xmlns:a16="http://schemas.microsoft.com/office/drawing/2014/main" id="{AD59C139-C720-8899-C814-504A2601A6F4}"/>
              </a:ext>
            </a:extLst>
          </p:cNvPr>
          <p:cNvSpPr>
            <a:spLocks noGrp="1"/>
          </p:cNvSpPr>
          <p:nvPr>
            <p:custDataLst>
              <p:tags r:id="rId31"/>
            </p:custDataLst>
          </p:nvPr>
        </p:nvSpPr>
        <p:spPr bwMode="auto">
          <a:xfrm>
            <a:off x="7653338"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697959-21D7-48A2-B2C9-0498EDE56417}" type="datetime'''''''''2''''1'''''">
              <a:rPr lang="en-US" altLang="en-US" sz="1200" smtClean="0"/>
              <a:pPr marL="0" lvl="0" indent="0" algn="ctr">
                <a:spcBef>
                  <a:spcPct val="0"/>
                </a:spcBef>
                <a:spcAft>
                  <a:spcPct val="0"/>
                </a:spcAft>
                <a:buNone/>
              </a:pPr>
              <a:t>21</a:t>
            </a:fld>
            <a:endParaRPr lang="en-US" sz="1200"/>
          </a:p>
        </p:txBody>
      </p:sp>
      <p:sp>
        <p:nvSpPr>
          <p:cNvPr id="328" name="Text Placeholder 10">
            <a:extLst>
              <a:ext uri="{FF2B5EF4-FFF2-40B4-BE49-F238E27FC236}">
                <a16:creationId xmlns:a16="http://schemas.microsoft.com/office/drawing/2014/main" id="{01E6E957-2BA3-3109-BF20-D504637158D6}"/>
              </a:ext>
            </a:extLst>
          </p:cNvPr>
          <p:cNvSpPr>
            <a:spLocks noGrp="1"/>
          </p:cNvSpPr>
          <p:nvPr>
            <p:custDataLst>
              <p:tags r:id="rId32"/>
            </p:custDataLst>
          </p:nvPr>
        </p:nvSpPr>
        <p:spPr bwMode="auto">
          <a:xfrm>
            <a:off x="7924800" y="5686425"/>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6DA88A-48EC-4D52-9C35-F79DE6FFC031}" type="datetime'2''''''''''''''3'''''''''''''''''''''''''''''''''''''">
              <a:rPr lang="en-US" altLang="en-US" sz="1200" smtClean="0"/>
              <a:pPr marL="0" lvl="0" indent="0" algn="ctr">
                <a:spcBef>
                  <a:spcPct val="0"/>
                </a:spcBef>
                <a:spcAft>
                  <a:spcPct val="0"/>
                </a:spcAft>
                <a:buNone/>
              </a:pPr>
              <a:t>23</a:t>
            </a:fld>
            <a:endParaRPr lang="en-US" sz="1200"/>
          </a:p>
        </p:txBody>
      </p:sp>
      <p:sp>
        <p:nvSpPr>
          <p:cNvPr id="331" name="Text Placeholder 10">
            <a:extLst>
              <a:ext uri="{FF2B5EF4-FFF2-40B4-BE49-F238E27FC236}">
                <a16:creationId xmlns:a16="http://schemas.microsoft.com/office/drawing/2014/main" id="{683A5DB0-97EE-A37B-9348-F8F69C70A92D}"/>
              </a:ext>
            </a:extLst>
          </p:cNvPr>
          <p:cNvSpPr>
            <a:spLocks noGrp="1"/>
          </p:cNvSpPr>
          <p:nvPr>
            <p:custDataLst>
              <p:tags r:id="rId33"/>
            </p:custDataLst>
          </p:nvPr>
        </p:nvSpPr>
        <p:spPr bwMode="auto">
          <a:xfrm>
            <a:off x="8148637" y="5686425"/>
            <a:ext cx="2746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66BBB82-DD74-453C-90FA-CAE4B7438CF1}" type="datetime'''''''2''''''''''5'''''''''''''">
              <a:rPr lang="en-US" altLang="en-US" sz="1200" smtClean="0"/>
              <a:pPr marL="0" lvl="0" indent="0" algn="ctr">
                <a:spcBef>
                  <a:spcPct val="0"/>
                </a:spcBef>
                <a:spcAft>
                  <a:spcPct val="0"/>
                </a:spcAft>
                <a:buNone/>
              </a:pPr>
              <a:t>25</a:t>
            </a:fld>
            <a:r>
              <a:rPr lang="en-US" altLang="en-US" sz="1200"/>
              <a:t>F</a:t>
            </a:r>
            <a:endParaRPr lang="en-US" sz="1200"/>
          </a:p>
        </p:txBody>
      </p:sp>
      <p:sp>
        <p:nvSpPr>
          <p:cNvPr id="398" name="Rectangle 397">
            <a:extLst>
              <a:ext uri="{FF2B5EF4-FFF2-40B4-BE49-F238E27FC236}">
                <a16:creationId xmlns:a16="http://schemas.microsoft.com/office/drawing/2014/main" id="{5BC5D4A5-4C13-B560-7E6E-E34E3E2F7D06}"/>
              </a:ext>
            </a:extLst>
          </p:cNvPr>
          <p:cNvSpPr/>
          <p:nvPr/>
        </p:nvSpPr>
        <p:spPr bwMode="gray">
          <a:xfrm>
            <a:off x="1021969" y="2778125"/>
            <a:ext cx="1687513" cy="147002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 name="Title 5">
            <a:extLst>
              <a:ext uri="{FF2B5EF4-FFF2-40B4-BE49-F238E27FC236}">
                <a16:creationId xmlns:a16="http://schemas.microsoft.com/office/drawing/2014/main" id="{99CEA09A-A8A6-822A-3C02-74F98A5BCE86}"/>
              </a:ext>
            </a:extLst>
          </p:cNvPr>
          <p:cNvSpPr>
            <a:spLocks noGrp="1"/>
          </p:cNvSpPr>
          <p:nvPr>
            <p:ph type="title"/>
          </p:nvPr>
        </p:nvSpPr>
        <p:spPr/>
        <p:txBody>
          <a:bodyPr vert="horz">
            <a:noAutofit/>
          </a:bodyPr>
          <a:lstStyle/>
          <a:p>
            <a:r>
              <a:rPr lang="en-US"/>
              <a:t>Nuclear energy has decreased from its peak of 17% of global power to 9% today as supply moves from the West to APAC</a:t>
            </a:r>
          </a:p>
        </p:txBody>
      </p:sp>
      <p:sp>
        <p:nvSpPr>
          <p:cNvPr id="32" name="btfpNotesBox368131">
            <a:hlinkClick r:id="rId54"/>
            <a:extLst>
              <a:ext uri="{FF2B5EF4-FFF2-40B4-BE49-F238E27FC236}">
                <a16:creationId xmlns:a16="http://schemas.microsoft.com/office/drawing/2014/main" id="{86343EE6-979B-0F41-0FFB-154A79C6920D}"/>
              </a:ext>
            </a:extLst>
          </p:cNvPr>
          <p:cNvSpPr txBox="1"/>
          <p:nvPr>
            <p:custDataLst>
              <p:tags r:id="rId34"/>
            </p:custDataLst>
          </p:nvPr>
        </p:nvSpPr>
        <p:spPr bwMode="gray">
          <a:xfrm>
            <a:off x="330199" y="6309360"/>
            <a:ext cx="115316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endParaRPr lang="en-US" sz="800" dirty="0">
              <a:solidFill>
                <a:srgbClr val="000000"/>
              </a:solidFill>
              <a:latin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rPr>
              <a:t>WN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5"/>
              </a:rPr>
              <a:t>World Nuclear Performance Report</a:t>
            </a:r>
            <a:r>
              <a:rPr kumimoji="0" lang="en-US" sz="800" b="0" i="0" u="none" strike="noStrike" kern="1200" cap="none" spc="0" normalizeH="0" baseline="0" noProof="0" dirty="0">
                <a:ln>
                  <a:noFill/>
                </a:ln>
                <a:solidFill>
                  <a:srgbClr val="000000"/>
                </a:solidFill>
                <a:effectLst/>
                <a:uLnTx/>
                <a:uFillTx/>
                <a:latin typeface="Arial"/>
                <a:ea typeface="+mn-ea"/>
                <a:cs typeface="+mn-cs"/>
              </a:rPr>
              <a:t> (2024);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6"/>
              </a:rPr>
              <a:t>Evolution of nuclear power generation by region, 1972-2026</a:t>
            </a:r>
            <a:r>
              <a:rPr kumimoji="0" lang="en-US" sz="800" b="0" i="0" u="none" strike="noStrike" kern="1200" cap="none" spc="0" normalizeH="0" baseline="0" noProof="0" dirty="0">
                <a:ln>
                  <a:noFill/>
                </a:ln>
                <a:solidFill>
                  <a:srgbClr val="000000"/>
                </a:solidFill>
                <a:effectLst/>
                <a:uLnTx/>
                <a:uFillTx/>
                <a:latin typeface="Arial"/>
                <a:ea typeface="+mn-ea"/>
                <a:cs typeface="+mn-cs"/>
              </a:rPr>
              <a:t> (2024); IA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7"/>
              </a:rPr>
              <a:t>A Pioneer in Nuclear Power</a:t>
            </a:r>
            <a:r>
              <a:rPr kumimoji="0" lang="en-US" sz="800" b="0" i="0" u="none" strike="noStrike" kern="1200" cap="none" spc="0" normalizeH="0" baseline="0" noProof="0" dirty="0">
                <a:ln>
                  <a:noFill/>
                </a:ln>
                <a:solidFill>
                  <a:srgbClr val="000000"/>
                </a:solidFill>
                <a:effectLst/>
                <a:uLnTx/>
                <a:uFillTx/>
                <a:latin typeface="Arial"/>
                <a:ea typeface="+mn-ea"/>
                <a:cs typeface="+mn-cs"/>
              </a:rPr>
              <a:t> (1984).</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Quin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Share wit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9"/>
              </a:rPr>
              <a:t>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uwin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Reenergizing Nuclear" (23 September 2025).</a:t>
            </a:r>
          </a:p>
        </p:txBody>
      </p:sp>
      <p:sp>
        <p:nvSpPr>
          <p:cNvPr id="29" name="Oval 28">
            <a:extLst>
              <a:ext uri="{FF2B5EF4-FFF2-40B4-BE49-F238E27FC236}">
                <a16:creationId xmlns:a16="http://schemas.microsoft.com/office/drawing/2014/main" id="{778AEA6A-04B3-9290-E74D-685AD1798236}"/>
              </a:ext>
            </a:extLst>
          </p:cNvPr>
          <p:cNvSpPr/>
          <p:nvPr/>
        </p:nvSpPr>
        <p:spPr bwMode="gray">
          <a:xfrm>
            <a:off x="1084361" y="2079204"/>
            <a:ext cx="516155" cy="29135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3%</a:t>
            </a:r>
          </a:p>
        </p:txBody>
      </p:sp>
      <p:sp>
        <p:nvSpPr>
          <p:cNvPr id="30" name="Oval 29">
            <a:extLst>
              <a:ext uri="{FF2B5EF4-FFF2-40B4-BE49-F238E27FC236}">
                <a16:creationId xmlns:a16="http://schemas.microsoft.com/office/drawing/2014/main" id="{96D8587E-FBD5-D5F6-57EE-F7F9F31837DB}"/>
              </a:ext>
            </a:extLst>
          </p:cNvPr>
          <p:cNvSpPr/>
          <p:nvPr/>
        </p:nvSpPr>
        <p:spPr bwMode="gray">
          <a:xfrm>
            <a:off x="3758221" y="2079204"/>
            <a:ext cx="516155" cy="29135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17%</a:t>
            </a:r>
          </a:p>
        </p:txBody>
      </p:sp>
      <p:sp>
        <p:nvSpPr>
          <p:cNvPr id="31" name="Oval 30">
            <a:extLst>
              <a:ext uri="{FF2B5EF4-FFF2-40B4-BE49-F238E27FC236}">
                <a16:creationId xmlns:a16="http://schemas.microsoft.com/office/drawing/2014/main" id="{5C2C5C6D-4EAF-4B6D-8258-9174C287CE73}"/>
              </a:ext>
            </a:extLst>
          </p:cNvPr>
          <p:cNvSpPr/>
          <p:nvPr/>
        </p:nvSpPr>
        <p:spPr bwMode="gray">
          <a:xfrm>
            <a:off x="5095151" y="2079204"/>
            <a:ext cx="516155" cy="29135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16%</a:t>
            </a:r>
          </a:p>
        </p:txBody>
      </p:sp>
      <p:sp>
        <p:nvSpPr>
          <p:cNvPr id="33" name="Oval 32">
            <a:extLst>
              <a:ext uri="{FF2B5EF4-FFF2-40B4-BE49-F238E27FC236}">
                <a16:creationId xmlns:a16="http://schemas.microsoft.com/office/drawing/2014/main" id="{228382B4-FA31-585B-495E-B1886DACC7D0}"/>
              </a:ext>
            </a:extLst>
          </p:cNvPr>
          <p:cNvSpPr/>
          <p:nvPr/>
        </p:nvSpPr>
        <p:spPr bwMode="gray">
          <a:xfrm>
            <a:off x="6432081" y="2079204"/>
            <a:ext cx="516155" cy="29135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11%</a:t>
            </a:r>
          </a:p>
        </p:txBody>
      </p:sp>
      <p:sp>
        <p:nvSpPr>
          <p:cNvPr id="34" name="Oval 33">
            <a:extLst>
              <a:ext uri="{FF2B5EF4-FFF2-40B4-BE49-F238E27FC236}">
                <a16:creationId xmlns:a16="http://schemas.microsoft.com/office/drawing/2014/main" id="{7C08C49D-F3B3-960F-E139-1E6BD690CF92}"/>
              </a:ext>
            </a:extLst>
          </p:cNvPr>
          <p:cNvSpPr/>
          <p:nvPr/>
        </p:nvSpPr>
        <p:spPr bwMode="gray">
          <a:xfrm>
            <a:off x="7769008" y="2079204"/>
            <a:ext cx="516155" cy="29135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9%</a:t>
            </a:r>
          </a:p>
        </p:txBody>
      </p:sp>
      <p:sp>
        <p:nvSpPr>
          <p:cNvPr id="44" name="TextBox 8">
            <a:extLst>
              <a:ext uri="{FF2B5EF4-FFF2-40B4-BE49-F238E27FC236}">
                <a16:creationId xmlns:a16="http://schemas.microsoft.com/office/drawing/2014/main" id="{301B0CE4-4471-6447-C24E-89C922DA2D4F}"/>
              </a:ext>
            </a:extLst>
          </p:cNvPr>
          <p:cNvSpPr txBox="1"/>
          <p:nvPr/>
        </p:nvSpPr>
        <p:spPr bwMode="gray">
          <a:xfrm>
            <a:off x="9262703" y="1554480"/>
            <a:ext cx="2599096" cy="3711272"/>
          </a:xfrm>
          <a:prstGeom prst="rect">
            <a:avLst/>
          </a:prstGeom>
          <a:solidFill>
            <a:srgbClr val="E3E8EE"/>
          </a:solidFill>
        </p:spPr>
        <p:txBody>
          <a:bodyPr wrap="square" lIns="137160" tIns="137160" rIns="274320" bIns="137160" rtlCol="0" anchor="t">
            <a:spAutoFit/>
          </a:bodyPr>
          <a:lstStyle/>
          <a:p>
            <a:pPr marL="0" indent="0">
              <a:spcAft>
                <a:spcPts val="600"/>
              </a:spcAft>
              <a:buNone/>
            </a:pPr>
            <a:r>
              <a:rPr lang="en-US" sz="1200" b="1"/>
              <a:t>Observations   </a:t>
            </a:r>
            <a:endParaRPr kumimoji="0" lang="en-US" sz="1200" i="0" u="none" strike="noStrike" kern="1200" cap="none" spc="0" normalizeH="0" baseline="0" noProof="0">
              <a:ln>
                <a:noFill/>
              </a:ln>
              <a:solidFill>
                <a:srgbClr val="000000"/>
              </a:solidFill>
              <a:effectLst/>
              <a:uLnTx/>
              <a:uFillTx/>
              <a:latin typeface="Arial"/>
            </a:endParaRPr>
          </a:p>
          <a:p>
            <a:pPr marL="171450" indent="-171450">
              <a:spcBef>
                <a:spcPts val="0"/>
              </a:spcBef>
              <a:spcAft>
                <a:spcPts val="400"/>
              </a:spcAft>
              <a:buFont typeface="Arial" panose="020B0604020202020204" pitchFamily="34" charset="0"/>
              <a:buChar char="•"/>
            </a:pPr>
            <a:r>
              <a:rPr lang="en-US" sz="1050"/>
              <a:t>Very early after the first power plant was connected to the grid in 1954, </a:t>
            </a:r>
            <a:r>
              <a:rPr lang="en-US" sz="1050" b="1"/>
              <a:t>nuclear power became a significant fraction of global power generation, producing 10% to 20% of the total.</a:t>
            </a:r>
          </a:p>
          <a:p>
            <a:pPr marL="171450" indent="-171450">
              <a:spcBef>
                <a:spcPts val="0"/>
              </a:spcBef>
              <a:spcAft>
                <a:spcPts val="400"/>
              </a:spcAft>
              <a:buFont typeface="Arial" panose="020B0604020202020204" pitchFamily="34" charset="0"/>
              <a:buChar char="•"/>
            </a:pPr>
            <a:r>
              <a:rPr lang="en-US" sz="1050"/>
              <a:t>Where growth was driven by Europe and the United States during the first 30 years, </a:t>
            </a:r>
            <a:br>
              <a:rPr lang="en-US" sz="1050"/>
            </a:br>
            <a:r>
              <a:rPr lang="en-US" sz="1050" b="1"/>
              <a:t>China and India have been responsible for the most growth in nuclear over the past 20 years.</a:t>
            </a:r>
          </a:p>
          <a:p>
            <a:pPr marL="171450" indent="-171450">
              <a:spcBef>
                <a:spcPts val="0"/>
              </a:spcBef>
              <a:spcAft>
                <a:spcPts val="400"/>
              </a:spcAft>
              <a:buFont typeface="Arial" panose="020B0604020202020204" pitchFamily="34" charset="0"/>
              <a:buChar char="•"/>
            </a:pPr>
            <a:r>
              <a:rPr lang="en-US" sz="1050" b="1"/>
              <a:t>Despite having historic nuclear power production in 2025 at 2,915 </a:t>
            </a:r>
            <a:r>
              <a:rPr lang="en-US" sz="1050" b="1" err="1"/>
              <a:t>TWh</a:t>
            </a:r>
            <a:r>
              <a:rPr lang="en-US" sz="1050" b="1"/>
              <a:t>, </a:t>
            </a:r>
            <a:r>
              <a:rPr lang="en-US" sz="1050"/>
              <a:t>the share of nuclear is decreasing due to the exponential growth in global power demand</a:t>
            </a:r>
            <a:r>
              <a:rPr lang="en-US" sz="1050" b="1"/>
              <a:t>.</a:t>
            </a:r>
          </a:p>
        </p:txBody>
      </p:sp>
      <p:grpSp>
        <p:nvGrpSpPr>
          <p:cNvPr id="362" name="btfpColumnHeaderBox223027">
            <a:extLst>
              <a:ext uri="{FF2B5EF4-FFF2-40B4-BE49-F238E27FC236}">
                <a16:creationId xmlns:a16="http://schemas.microsoft.com/office/drawing/2014/main" id="{C5F7E865-814E-11AE-C0DE-415D651059FF}"/>
              </a:ext>
            </a:extLst>
          </p:cNvPr>
          <p:cNvGrpSpPr/>
          <p:nvPr>
            <p:custDataLst>
              <p:tags r:id="rId35"/>
            </p:custDataLst>
          </p:nvPr>
        </p:nvGrpSpPr>
        <p:grpSpPr>
          <a:xfrm>
            <a:off x="329207" y="1554480"/>
            <a:ext cx="8513167" cy="291303"/>
            <a:chOff x="6366272" y="1297694"/>
            <a:chExt cx="2477492" cy="291303"/>
          </a:xfrm>
        </p:grpSpPr>
        <p:sp>
          <p:nvSpPr>
            <p:cNvPr id="363" name="btfpColumnHeaderBoxText223027">
              <a:extLst>
                <a:ext uri="{FF2B5EF4-FFF2-40B4-BE49-F238E27FC236}">
                  <a16:creationId xmlns:a16="http://schemas.microsoft.com/office/drawing/2014/main" id="{62F1FDF1-F563-E683-6564-84D65EBF6C2D}"/>
                </a:ext>
              </a:extLst>
            </p:cNvPr>
            <p:cNvSpPr txBox="1"/>
            <p:nvPr/>
          </p:nvSpPr>
          <p:spPr bwMode="gray">
            <a:xfrm>
              <a:off x="6366272" y="1297694"/>
              <a:ext cx="2477492"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Nuclear power generation</a:t>
              </a:r>
              <a:r>
                <a:rPr lang="en-US" sz="1400">
                  <a:solidFill>
                    <a:srgbClr val="000000"/>
                  </a:solidFill>
                </a:rPr>
                <a:t>, 1971-2025, </a:t>
              </a:r>
              <a:r>
                <a:rPr lang="en-US" sz="1400" err="1">
                  <a:solidFill>
                    <a:srgbClr val="000000"/>
                  </a:solidFill>
                </a:rPr>
                <a:t>TWh</a:t>
              </a:r>
              <a:endParaRPr lang="en-US" sz="1400">
                <a:solidFill>
                  <a:srgbClr val="000000"/>
                </a:solidFill>
              </a:endParaRPr>
            </a:p>
          </p:txBody>
        </p:sp>
        <p:cxnSp>
          <p:nvCxnSpPr>
            <p:cNvPr id="364" name="btfpColumnHeaderBoxLine223027">
              <a:extLst>
                <a:ext uri="{FF2B5EF4-FFF2-40B4-BE49-F238E27FC236}">
                  <a16:creationId xmlns:a16="http://schemas.microsoft.com/office/drawing/2014/main" id="{34588427-8F6D-53BC-F862-5FDF103B1183}"/>
                </a:ext>
              </a:extLst>
            </p:cNvPr>
            <p:cNvCxnSpPr/>
            <p:nvPr/>
          </p:nvCxnSpPr>
          <p:spPr bwMode="gray">
            <a:xfrm>
              <a:off x="6366272"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74" name="Rectangle 373">
            <a:extLst>
              <a:ext uri="{FF2B5EF4-FFF2-40B4-BE49-F238E27FC236}">
                <a16:creationId xmlns:a16="http://schemas.microsoft.com/office/drawing/2014/main" id="{4B8B8A2D-8A2B-E16B-8BAE-83A575902170}"/>
              </a:ext>
            </a:extLst>
          </p:cNvPr>
          <p:cNvSpPr/>
          <p:nvPr>
            <p:custDataLst>
              <p:tags r:id="rId36"/>
            </p:custDataLst>
          </p:nvPr>
        </p:nvSpPr>
        <p:spPr bwMode="auto">
          <a:xfrm>
            <a:off x="1020763" y="2778125"/>
            <a:ext cx="1687513" cy="147002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7" name="Rectangle 366">
            <a:extLst>
              <a:ext uri="{FF2B5EF4-FFF2-40B4-BE49-F238E27FC236}">
                <a16:creationId xmlns:a16="http://schemas.microsoft.com/office/drawing/2014/main" id="{76772BC0-6B9B-ECBD-AA05-CA54BB2DB89B}"/>
              </a:ext>
            </a:extLst>
          </p:cNvPr>
          <p:cNvSpPr/>
          <p:nvPr>
            <p:custDataLst>
              <p:tags r:id="rId37"/>
            </p:custDataLst>
          </p:nvPr>
        </p:nvSpPr>
        <p:spPr bwMode="auto">
          <a:xfrm>
            <a:off x="1081088" y="2843213"/>
            <a:ext cx="214313" cy="160337"/>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8" name="Rectangle 367">
            <a:extLst>
              <a:ext uri="{FF2B5EF4-FFF2-40B4-BE49-F238E27FC236}">
                <a16:creationId xmlns:a16="http://schemas.microsoft.com/office/drawing/2014/main" id="{175D67D4-2FD5-2C33-63F4-5AEFEE1F1D32}"/>
              </a:ext>
            </a:extLst>
          </p:cNvPr>
          <p:cNvSpPr/>
          <p:nvPr>
            <p:custDataLst>
              <p:tags r:id="rId38"/>
            </p:custDataLst>
          </p:nvPr>
        </p:nvSpPr>
        <p:spPr bwMode="auto">
          <a:xfrm>
            <a:off x="1081088" y="3076575"/>
            <a:ext cx="214313" cy="160338"/>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9" name="Rectangle 368">
            <a:extLst>
              <a:ext uri="{FF2B5EF4-FFF2-40B4-BE49-F238E27FC236}">
                <a16:creationId xmlns:a16="http://schemas.microsoft.com/office/drawing/2014/main" id="{F78A82FA-116F-C34F-1149-9D2BC8B0F8C8}"/>
              </a:ext>
            </a:extLst>
          </p:cNvPr>
          <p:cNvSpPr/>
          <p:nvPr>
            <p:custDataLst>
              <p:tags r:id="rId39"/>
            </p:custDataLst>
          </p:nvPr>
        </p:nvSpPr>
        <p:spPr bwMode="auto">
          <a:xfrm>
            <a:off x="1081088" y="3309938"/>
            <a:ext cx="214313" cy="160337"/>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70" name="Rectangle 369">
            <a:extLst>
              <a:ext uri="{FF2B5EF4-FFF2-40B4-BE49-F238E27FC236}">
                <a16:creationId xmlns:a16="http://schemas.microsoft.com/office/drawing/2014/main" id="{05A7E31A-52EB-9F00-C240-AD8234F4419C}"/>
              </a:ext>
            </a:extLst>
          </p:cNvPr>
          <p:cNvSpPr/>
          <p:nvPr>
            <p:custDataLst>
              <p:tags r:id="rId40"/>
            </p:custDataLst>
          </p:nvPr>
        </p:nvSpPr>
        <p:spPr bwMode="auto">
          <a:xfrm>
            <a:off x="1081088" y="3543300"/>
            <a:ext cx="214313" cy="160338"/>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71" name="Rectangle 370">
            <a:extLst>
              <a:ext uri="{FF2B5EF4-FFF2-40B4-BE49-F238E27FC236}">
                <a16:creationId xmlns:a16="http://schemas.microsoft.com/office/drawing/2014/main" id="{E9AAAAD9-CF17-BCC8-DE41-6E0797CA4CF5}"/>
              </a:ext>
            </a:extLst>
          </p:cNvPr>
          <p:cNvSpPr/>
          <p:nvPr>
            <p:custDataLst>
              <p:tags r:id="rId41"/>
            </p:custDataLst>
          </p:nvPr>
        </p:nvSpPr>
        <p:spPr bwMode="auto">
          <a:xfrm>
            <a:off x="1081088" y="3776663"/>
            <a:ext cx="214313" cy="160337"/>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86" name="Rectangle 385">
            <a:extLst>
              <a:ext uri="{FF2B5EF4-FFF2-40B4-BE49-F238E27FC236}">
                <a16:creationId xmlns:a16="http://schemas.microsoft.com/office/drawing/2014/main" id="{72CCA22B-C950-852A-95BC-D4009B103DFB}"/>
              </a:ext>
            </a:extLst>
          </p:cNvPr>
          <p:cNvSpPr/>
          <p:nvPr>
            <p:custDataLst>
              <p:tags r:id="rId42"/>
            </p:custDataLst>
          </p:nvPr>
        </p:nvSpPr>
        <p:spPr bwMode="auto">
          <a:xfrm>
            <a:off x="1081088" y="4010025"/>
            <a:ext cx="214313" cy="160338"/>
          </a:xfrm>
          <a:prstGeom prst="rect">
            <a:avLst/>
          </a:prstGeom>
          <a:solidFill>
            <a:srgbClr val="C3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5"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1346200" y="2838450"/>
            <a:ext cx="1095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68006EC-4B5E-402A-9563-3723422DF52B}" type="datetime'''E''''''u''r''''o''p''''ea''n'''''' Un''''''''''''''i''on'''">
              <a:rPr lang="en-US" altLang="en-US" sz="1200" smtClean="0">
                <a:effectLst/>
              </a:rPr>
              <a:pPr marL="0" lvl="0" indent="0">
                <a:spcBef>
                  <a:spcPct val="0"/>
                </a:spcBef>
                <a:spcAft>
                  <a:spcPct val="0"/>
                </a:spcAft>
                <a:buNone/>
              </a:pPr>
              <a:t>European Union</a:t>
            </a:fld>
            <a:endParaRPr lang="en-US" sz="1200"/>
          </a:p>
        </p:txBody>
      </p:sp>
      <p:sp>
        <p:nvSpPr>
          <p:cNvPr id="224"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1346200" y="3071813"/>
            <a:ext cx="912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effectLst/>
              </a:rPr>
              <a:t>U.S.</a:t>
            </a:r>
            <a:endParaRPr lang="en-US" sz="1200"/>
          </a:p>
        </p:txBody>
      </p:sp>
      <p:sp>
        <p:nvSpPr>
          <p:cNvPr id="223"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1346200" y="3305175"/>
            <a:ext cx="1301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4A54E06-30A9-4FD5-AF58-996250172027}" type="datetime'''''''''''O''''''''th''''''''''er'''''''''''''''''">
              <a:rPr lang="en-US" altLang="en-US" sz="1200" smtClean="0">
                <a:effectLst/>
              </a:rPr>
              <a:pPr marL="0" lvl="0" indent="0">
                <a:spcBef>
                  <a:spcPct val="0"/>
                </a:spcBef>
                <a:spcAft>
                  <a:spcPct val="0"/>
                </a:spcAft>
                <a:buNone/>
              </a:pPr>
              <a:t>Other</a:t>
            </a:fld>
            <a:r>
              <a:rPr lang="en-US" altLang="en-US" sz="1200">
                <a:effectLst/>
              </a:rPr>
              <a:t> (incl. Russia)</a:t>
            </a:r>
            <a:endParaRPr lang="en-US" sz="1200"/>
          </a:p>
        </p:txBody>
      </p:sp>
      <p:sp>
        <p:nvSpPr>
          <p:cNvPr id="222"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1346200" y="3538538"/>
            <a:ext cx="328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16F3355-4471-48FF-B9EF-F774FB0D0524}" type="datetime'''In''''d''i''a'''''''''''''''''">
              <a:rPr lang="en-US" altLang="en-US" sz="1200" smtClean="0">
                <a:effectLst/>
              </a:rPr>
              <a:pPr marL="0" lvl="0" indent="0">
                <a:spcBef>
                  <a:spcPct val="0"/>
                </a:spcBef>
                <a:spcAft>
                  <a:spcPct val="0"/>
                </a:spcAft>
                <a:buNone/>
              </a:pPr>
              <a:t>India</a:t>
            </a:fld>
            <a:endParaRPr lang="en-US" sz="1200"/>
          </a:p>
        </p:txBody>
      </p:sp>
      <p:sp>
        <p:nvSpPr>
          <p:cNvPr id="221"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1346200" y="3771900"/>
            <a:ext cx="711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4700DDA-90FF-4C3A-B385-D86142DD0801}" type="datetime'''Ot''h''''''''e''''''''''r'''' A''''s''''''''i''''a'''''''''">
              <a:rPr lang="en-US" altLang="en-US" sz="1200" smtClean="0">
                <a:effectLst/>
              </a:rPr>
              <a:pPr marL="0" lvl="0" indent="0">
                <a:spcBef>
                  <a:spcPct val="0"/>
                </a:spcBef>
                <a:spcAft>
                  <a:spcPct val="0"/>
                </a:spcAft>
                <a:buNone/>
              </a:pPr>
              <a:t>Other Asia</a:t>
            </a:fld>
            <a:endParaRPr lang="en-US" sz="1200"/>
          </a:p>
        </p:txBody>
      </p:sp>
      <p:sp>
        <p:nvSpPr>
          <p:cNvPr id="383" name="Text Placeholder 10">
            <a:extLst>
              <a:ext uri="{FF2B5EF4-FFF2-40B4-BE49-F238E27FC236}">
                <a16:creationId xmlns:a16="http://schemas.microsoft.com/office/drawing/2014/main" id="{B876C8BC-223B-B019-97F5-8231FE0C8262}"/>
              </a:ext>
            </a:extLst>
          </p:cNvPr>
          <p:cNvSpPr>
            <a:spLocks noGrp="1"/>
          </p:cNvSpPr>
          <p:nvPr>
            <p:custDataLst>
              <p:tags r:id="rId48"/>
            </p:custDataLst>
          </p:nvPr>
        </p:nvSpPr>
        <p:spPr bwMode="auto">
          <a:xfrm>
            <a:off x="1346200" y="4005263"/>
            <a:ext cx="395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B2DC8A4-E300-416D-8172-98B5BDECF3D5}" type="datetime'C''''''''''''h''''''i''''n''''a'''''">
              <a:rPr lang="en-US" altLang="en-US" sz="1200" smtClean="0"/>
              <a:pPr marL="0" lvl="0" indent="0">
                <a:spcBef>
                  <a:spcPct val="0"/>
                </a:spcBef>
                <a:spcAft>
                  <a:spcPct val="0"/>
                </a:spcAft>
                <a:buNone/>
              </a:pPr>
              <a:t>China</a:t>
            </a:fld>
            <a:endParaRPr lang="en-US" sz="1200"/>
          </a:p>
        </p:txBody>
      </p:sp>
      <p:sp>
        <p:nvSpPr>
          <p:cNvPr id="401" name="Oval 400">
            <a:extLst>
              <a:ext uri="{FF2B5EF4-FFF2-40B4-BE49-F238E27FC236}">
                <a16:creationId xmlns:a16="http://schemas.microsoft.com/office/drawing/2014/main" id="{5BD728EE-F88B-58E8-5067-7917904E7333}"/>
              </a:ext>
            </a:extLst>
          </p:cNvPr>
          <p:cNvSpPr/>
          <p:nvPr/>
        </p:nvSpPr>
        <p:spPr bwMode="gray">
          <a:xfrm>
            <a:off x="2421291" y="2079204"/>
            <a:ext cx="516155" cy="29135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12%</a:t>
            </a:r>
          </a:p>
        </p:txBody>
      </p:sp>
      <p:sp>
        <p:nvSpPr>
          <p:cNvPr id="403" name="Oval 402">
            <a:extLst>
              <a:ext uri="{FF2B5EF4-FFF2-40B4-BE49-F238E27FC236}">
                <a16:creationId xmlns:a16="http://schemas.microsoft.com/office/drawing/2014/main" id="{3BF6F4AE-2886-F743-75E3-53E9AEB59619}"/>
              </a:ext>
            </a:extLst>
          </p:cNvPr>
          <p:cNvSpPr/>
          <p:nvPr/>
        </p:nvSpPr>
        <p:spPr bwMode="gray">
          <a:xfrm>
            <a:off x="3089756" y="2079204"/>
            <a:ext cx="516155" cy="29135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17%</a:t>
            </a:r>
          </a:p>
        </p:txBody>
      </p:sp>
      <p:sp>
        <p:nvSpPr>
          <p:cNvPr id="404" name="Oval 403">
            <a:extLst>
              <a:ext uri="{FF2B5EF4-FFF2-40B4-BE49-F238E27FC236}">
                <a16:creationId xmlns:a16="http://schemas.microsoft.com/office/drawing/2014/main" id="{BFC64C69-D3A4-0886-A378-465FEF64A373}"/>
              </a:ext>
            </a:extLst>
          </p:cNvPr>
          <p:cNvSpPr/>
          <p:nvPr/>
        </p:nvSpPr>
        <p:spPr bwMode="gray">
          <a:xfrm>
            <a:off x="4426686" y="2079204"/>
            <a:ext cx="516155" cy="29135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17%</a:t>
            </a:r>
          </a:p>
        </p:txBody>
      </p:sp>
      <p:sp>
        <p:nvSpPr>
          <p:cNvPr id="405" name="Oval 404">
            <a:extLst>
              <a:ext uri="{FF2B5EF4-FFF2-40B4-BE49-F238E27FC236}">
                <a16:creationId xmlns:a16="http://schemas.microsoft.com/office/drawing/2014/main" id="{ECE90DEC-5C7D-FD1D-B131-7B15A99C89CB}"/>
              </a:ext>
            </a:extLst>
          </p:cNvPr>
          <p:cNvSpPr/>
          <p:nvPr/>
        </p:nvSpPr>
        <p:spPr bwMode="gray">
          <a:xfrm>
            <a:off x="5763616" y="2079204"/>
            <a:ext cx="516155" cy="29135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14%</a:t>
            </a:r>
          </a:p>
        </p:txBody>
      </p:sp>
      <p:sp>
        <p:nvSpPr>
          <p:cNvPr id="406" name="Oval 405">
            <a:extLst>
              <a:ext uri="{FF2B5EF4-FFF2-40B4-BE49-F238E27FC236}">
                <a16:creationId xmlns:a16="http://schemas.microsoft.com/office/drawing/2014/main" id="{77CDF4ED-B969-C570-16CC-CDB0D9FD6DC0}"/>
              </a:ext>
            </a:extLst>
          </p:cNvPr>
          <p:cNvSpPr/>
          <p:nvPr/>
        </p:nvSpPr>
        <p:spPr bwMode="gray">
          <a:xfrm>
            <a:off x="7100546" y="2079204"/>
            <a:ext cx="516155" cy="29135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10%</a:t>
            </a:r>
          </a:p>
        </p:txBody>
      </p:sp>
      <p:sp>
        <p:nvSpPr>
          <p:cNvPr id="407" name="Oval 406">
            <a:extLst>
              <a:ext uri="{FF2B5EF4-FFF2-40B4-BE49-F238E27FC236}">
                <a16:creationId xmlns:a16="http://schemas.microsoft.com/office/drawing/2014/main" id="{12744112-B32F-7ED4-3E3B-3CC14F9F7662}"/>
              </a:ext>
            </a:extLst>
          </p:cNvPr>
          <p:cNvSpPr/>
          <p:nvPr/>
        </p:nvSpPr>
        <p:spPr bwMode="gray">
          <a:xfrm>
            <a:off x="1752826" y="2079204"/>
            <a:ext cx="516155" cy="29135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8%</a:t>
            </a:r>
          </a:p>
        </p:txBody>
      </p:sp>
      <p:sp>
        <p:nvSpPr>
          <p:cNvPr id="3" name="TextBox 2">
            <a:extLst>
              <a:ext uri="{FF2B5EF4-FFF2-40B4-BE49-F238E27FC236}">
                <a16:creationId xmlns:a16="http://schemas.microsoft.com/office/drawing/2014/main" id="{C12F961F-D056-D7B1-DA2D-0DA07B945F22}"/>
              </a:ext>
            </a:extLst>
          </p:cNvPr>
          <p:cNvSpPr txBox="1"/>
          <p:nvPr/>
        </p:nvSpPr>
        <p:spPr bwMode="gray">
          <a:xfrm>
            <a:off x="6435282" y="1620566"/>
            <a:ext cx="2416619" cy="153888"/>
          </a:xfrm>
          <a:prstGeom prst="rect">
            <a:avLst/>
          </a:prstGeom>
          <a:noFill/>
        </p:spPr>
        <p:txBody>
          <a:bodyPr wrap="square" lIns="36576" tIns="0" rIns="0" bIns="0" rtlCol="0">
            <a:spAutoFit/>
          </a:bodyPr>
          <a:lstStyle/>
          <a:p>
            <a:pPr marL="0" indent="0" algn="l">
              <a:spcBef>
                <a:spcPts val="600"/>
              </a:spcBef>
              <a:spcAft>
                <a:spcPts val="600"/>
              </a:spcAft>
              <a:buNone/>
            </a:pPr>
            <a:r>
              <a:rPr lang="en-US" sz="1000" b="1"/>
              <a:t>Fraction of global power demand</a:t>
            </a:r>
            <a:r>
              <a:rPr lang="en-US" sz="1000"/>
              <a:t>, %</a:t>
            </a:r>
            <a:endParaRPr lang="en-US" sz="1000" b="1"/>
          </a:p>
        </p:txBody>
      </p:sp>
      <p:sp>
        <p:nvSpPr>
          <p:cNvPr id="5" name="Oval 4">
            <a:extLst>
              <a:ext uri="{FF2B5EF4-FFF2-40B4-BE49-F238E27FC236}">
                <a16:creationId xmlns:a16="http://schemas.microsoft.com/office/drawing/2014/main" id="{91308530-CC60-010E-AD1A-3384122E6E72}"/>
              </a:ext>
            </a:extLst>
          </p:cNvPr>
          <p:cNvSpPr/>
          <p:nvPr/>
        </p:nvSpPr>
        <p:spPr bwMode="gray">
          <a:xfrm>
            <a:off x="6018088" y="1592331"/>
            <a:ext cx="387350" cy="199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000">
                <a:solidFill>
                  <a:schemeClr val="tx1"/>
                </a:solidFill>
              </a:rPr>
              <a:t>x%</a:t>
            </a:r>
          </a:p>
        </p:txBody>
      </p:sp>
    </p:spTree>
    <p:custDataLst>
      <p:tags r:id="rId1"/>
    </p:custDataLst>
    <p:extLst>
      <p:ext uri="{BB962C8B-B14F-4D97-AF65-F5344CB8AC3E}">
        <p14:creationId xmlns:p14="http://schemas.microsoft.com/office/powerpoint/2010/main" val="23544902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CE" val="Boston"/>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 name="THINKCELLUNDODONOTDELETE" val="0"/>
  <p:tag name="EE4P_STYLE_ID" val="9245cb48-36f6-4855-a0c3-19564cc8b6bc"/>
  <p:tag name="THINKCELLPRESENTATIONDONOTDELETE" val="&lt;?xml version=&quot;1.0&quot; encoding=&quot;UTF-16&quot; standalone=&quot;yes&quot;?&gt;&lt;root reqver=&quot;32687&quot;&gt;&lt;version val=&quot;38669&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9&quot;&gt;&lt;elem m_fUsage=&quot;2.49049000000000031463E+00&quot;&gt;&lt;m_msothmcolidx val=&quot;0&quot;/&gt;&lt;m_rgb r=&quot;FF&quot; g=&quot;C0&quot; b=&quot;02&quot;/&gt;&lt;/elem&gt;&lt;elem m_fUsage=&quot;2.07044099999999975381E+00&quot;&gt;&lt;m_msothmcolidx val=&quot;0&quot;/&gt;&lt;m_rgb r=&quot;D1&quot; g=&quot;22&quot; b=&quot;7D&quot;/&gt;&lt;/elem&gt;&lt;elem m_fUsage=&quot;1.24540820995675360905E+00&quot;&gt;&lt;m_msothmcolidx val=&quot;0&quot;/&gt;&lt;m_rgb r=&quot;FF&quot; g=&quot;5E&quot; b=&quot;62&quot;/&gt;&lt;/elem&gt;&lt;elem m_fUsage=&quot;1.19634792512104448647E+00&quot;&gt;&lt;m_msothmcolidx val=&quot;0&quot;/&gt;&lt;m_rgb r=&quot;00&quot; g=&quot;4F&quot; b=&quot;DD&quot;/&gt;&lt;/elem&gt;&lt;elem m_fUsage=&quot;8.17887699000000023553E-01&quot;&gt;&lt;m_msothmcolidx val=&quot;0&quot;/&gt;&lt;m_rgb r=&quot;D2&quot; g=&quot;F1&quot; b=&quot;EE&quot;/&gt;&lt;/elem&gt;&lt;elem m_fUsage=&quot;7.96976573460200565791E-01&quot;&gt;&lt;m_msothmcolidx val=&quot;0&quot;/&gt;&lt;m_rgb r=&quot;DE&quot; g=&quot;C0&quot; b=&quot;00&quot;/&gt;&lt;/elem&gt;&lt;elem m_fUsage=&quot;3.48678440100000153201E-01&quot;&gt;&lt;m_msothmcolidx val=&quot;0&quot;/&gt;&lt;m_rgb r=&quot;6A&quot; g=&quot;CC&quot; b=&quot;F5&quot;/&gt;&lt;/elem&gt;&lt;elem m_fUsage=&quot;3.13810596090000115677E-01&quot;&gt;&lt;m_msothmcolidx val=&quot;0&quot;/&gt;&lt;m_rgb r=&quot;D2&quot; g=&quot;D9&quot; b=&quot;E1&quot;/&gt;&lt;/elem&gt;&lt;elem m_fUsage=&quot;2.10272813758849486110E-01&quot;&gt;&lt;m_msothmcolidx val=&quot;0&quot;/&gt;&lt;m_rgb r=&quot;6B&quot; g=&quot;CC&quot; b=&quot;F5&quot;/&gt;&lt;/elem&gt;&lt;elem m_fUsage=&quot;1.36400617661452033813E-01&quot;&gt;&lt;m_msothmcolidx val=&quot;0&quot;/&gt;&lt;m_rgb r=&quot;F4&quot; g=&quot;F6&quot; b=&quot;FA&quot;/&gt;&lt;/elem&gt;&lt;elem m_fUsage=&quot;1.35085171767299283552E-01&quot;&gt;&lt;m_msothmcolidx val=&quot;0&quot;/&gt;&lt;m_rgb r=&quot;86&quot; g=&quot;EE&quot; b=&quot;C6&quot;/&gt;&lt;/elem&gt;&lt;elem m_fUsage=&quot;8.86293811965250810658E-02&quot;&gt;&lt;m_msothmcolidx val=&quot;0&quot;/&gt;&lt;m_rgb r=&quot;EC&quot; g=&quot;F0&quot; b=&quot;F6&quot;/&gt;&lt;/elem&gt;&lt;elem m_fUsage=&quot;7.97664430768725840615E-02&quot;&gt;&lt;m_msothmcolidx val=&quot;0&quot;/&gt;&lt;m_rgb r=&quot;E8&quot; g=&quot;EC&quot; b=&quot;F3&quot;/&gt;&lt;/elem&gt;&lt;elem m_fUsage=&quot;3.96088171042084866147E-02&quot;&gt;&lt;m_msothmcolidx val=&quot;0&quot;/&gt;&lt;m_rgb r=&quot;FD&quot; g=&quot;DB&quot; b=&quot;0D&quot;/&gt;&lt;/elem&gt;&lt;elem m_fUsage=&quot;1.33453917323101620140E-02&quot;&gt;&lt;m_msothmcolidx val=&quot;0&quot;/&gt;&lt;m_rgb r=&quot;4D&quot; g=&quot;23&quot; b=&quot;A0&quot;/&gt;&lt;/elem&gt;&lt;elem m_fUsage=&quot;8.44877479599395568577E-03&quot;&gt;&lt;m_msothmcolidx val=&quot;0&quot;/&gt;&lt;m_rgb r=&quot;D8&quot; g=&quot;6D&quot; b=&quot;0A&quot;/&gt;&lt;/elem&gt;&lt;elem m_fUsage=&quot;3.41431956983742406972E-03&quot;&gt;&lt;m_msothmcolidx val=&quot;0&quot;/&gt;&lt;m_rgb r=&quot;FF&quot; g=&quot;82&quot; b=&quot;00&quot;/&gt;&lt;/elem&gt;&lt;elem m_fUsage=&quot;1.92062106771361765928E-03&quot;&gt;&lt;m_msothmcolidx val=&quot;0&quot;/&gt;&lt;m_rgb r=&quot;FD&quot; g=&quot;D7&quot; b=&quot;00&quot;/&gt;&lt;/elem&gt;&lt;elem m_fUsage=&quot;3.69988485035127590266E-04&quot;&gt;&lt;m_msothmcolidx val=&quot;0&quot;/&gt;&lt;m_rgb r=&quot;D8&quot; g=&quot;D9&quot; b=&quot;15&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0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PdJRAu0UNcOllZMpAYtoyA"/>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94BdTQnBz5vKS2gEuad8P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1lbqUkxTyXA2z0gAbBS4U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n6jlPvvncRTaLzGmj1FTK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FSSy2tvUpjGD9ThDAIXWH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0Ea0WRSi3W9rsxj3lyAoT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8XV6Bb28NaBX7_SNPaRpe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WU0BugIzXZCg.zcI9ixi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4QfacGSVrjbvBfk1MoA4f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yfGBT1Jp_qBUTFPbyRrP7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RgjeM4strEFv6IjeCqjl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1Bct7lDXWb2IKS_FDZeKC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6rja4Q503Ktg6n2MzE8D.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lSf3jh63sLNuzOsrB5Y7Y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oc1f.NKAn2.5g8aB3aD1j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ulwSt.XiRcOeTWJBMcm4t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3WdtzgvGDmmsSejnSJgy7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DqTe1c.Two1_ria.Fu1Ab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CuHSnhtw.1OZUvxobexM1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sOpJMbRWRzBzuATj7_qDDw"/>
</p:tagLst>
</file>

<file path=ppt/tags/tag1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mf.7TzSwD0nwtk_eSBfrv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f9g7FXuZgnp8XGvcL9.8g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2gn63_36FPwhIRi8zLAld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wVLqIhyA7J3mW1F0QHixg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5XTgu36t2RMC0JFVH9nRk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v93mr2YNmGezxttDPs5yL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_HQbgCe.daP5i9_DnwCD_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NW1bvaE10Y7wx.2Z3q.ry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8SJchJufd17kZiY0T60AK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XBo5vGfkekqDWGrJdnxBG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p68zz.n9z6eX_9FFLGcn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ZGVOtuZE02vsgwBNjhsKh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xl_SykQf79IZwbYUlDNC_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8j75hLd0TKhwrJDJfamglg"/>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mE_1YiE5OsxTg2MTpEmvY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n8dMA4_iBivlc8PSvqyvF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U5TBbharlF.zi8HeSGPqe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HjohchdICcKmPxQvuA4Tw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85ozGd.hVOjSxVxvpMzkZQ"/>
</p:tagLst>
</file>

<file path=ppt/tags/tag103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jJkphsWQJ5vFSid98QTCg"/>
</p:tagLst>
</file>

<file path=ppt/tags/tag1040.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BTFPLAYOUTENABLED" val="1"/>
</p:tagLst>
</file>

<file path=ppt/tags/tag1043.xml><?xml version="1.0" encoding="utf-8"?>
<p:tagLst xmlns:a="http://schemas.openxmlformats.org/drawingml/2006/main" xmlns:r="http://schemas.openxmlformats.org/officeDocument/2006/relationships" xmlns:p="http://schemas.openxmlformats.org/presentationml/2006/main">
  <p:tag name="BTFPLAYOUTENABLED" val="1"/>
</p:tagLst>
</file>

<file path=ppt/tags/tag1044.xml><?xml version="1.0" encoding="utf-8"?>
<p:tagLst xmlns:a="http://schemas.openxmlformats.org/drawingml/2006/main" xmlns:r="http://schemas.openxmlformats.org/officeDocument/2006/relationships" xmlns:p="http://schemas.openxmlformats.org/presentationml/2006/main">
  <p:tag name="BTFPLAYOUTENABLED" val="1"/>
</p:tagLst>
</file>

<file path=ppt/tags/tag1045.xml><?xml version="1.0" encoding="utf-8"?>
<p:tagLst xmlns:a="http://schemas.openxmlformats.org/drawingml/2006/main" xmlns:r="http://schemas.openxmlformats.org/officeDocument/2006/relationships" xmlns:p="http://schemas.openxmlformats.org/presentationml/2006/main">
  <p:tag name="BTFPLAYOUTENABLED" val="1"/>
</p:tagLst>
</file>

<file path=ppt/tags/tag1046.xml><?xml version="1.0" encoding="utf-8"?>
<p:tagLst xmlns:a="http://schemas.openxmlformats.org/drawingml/2006/main" xmlns:r="http://schemas.openxmlformats.org/officeDocument/2006/relationships" xmlns:p="http://schemas.openxmlformats.org/presentationml/2006/main">
  <p:tag name="BTFPLAYOUTENABLED" val="1"/>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BTFPLAYOUTENABLED" val="1"/>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E75V411TPnRxPxCfcFpDc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kB.Ynd0evXZ7cHhawlBY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QV8ykku_Qco6DJPaMhIOf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7eT55pdGYBN242S_nQHGLw"/>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8OWCZhogNyvxA3vUwZ2pV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sNl220FsNFYSkz5oP64zuA"/>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XPsPlQK8VTmx5qNYY80n2Q"/>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XggmsULGDObQRrHJGldqI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_KdfZKeFB8QcqhEXH8GOE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qSr1aWc0O2QOKqnC8rjWu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4KotMGoIeT9A7Xxp7x6g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TLdIBxAPIGkt1_tsVvAoa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otI6mNuSG7O9fSsZqbrfP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odYJdHJDGYjwDDoX616TT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imA1kXAVORpF36jWJNZBZA"/>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zRGeN5aZSz25sWWGHokGo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YS9IHC3OATmiItmtwclj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oPm7nE5X3s4rSR.xfr1ac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SO01BomE3AwFOgcXUMrrl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dw16J91o8BXU1Sn1CueeKw"/>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k9zwoCcEp64rvL2DNHKDc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y0wTgLkdKF4cGPkbMGnBOA"/>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xPq3SVnhCXTqUIOiY7L1y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4Mm1ORb03sa7oIEkobbHf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6rbrIDlNdA.ZzEkMbO92a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NKgB9BOnZS1nRyktekq15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uo0nNRaoHvRLUFgmzs_aBg"/>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1w1maAXmYGn9z1fQlrWk5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B05QUxrKk6sn6qAOFg_.r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32jYljytUlsxc02XhbYbEg"/>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nQx0lg_7O2aEb2oSgQpr0g"/>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Gm.lcJOA4Cxg7uL6Nss9o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JPTJdV7ydCmSVmniwONBi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IESh7VF5fVEvmtUEyZW24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AMl7bwt_yX2IRgF2Ntaz3g"/>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tNQhXFhI8CknZXVt.90hc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rMnSmYLPDerz60NumdtQM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TL.dYRJL5WKomppQmHOBI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huZR2fs0m8Ol1P6mERxIy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t8Y5tz4KOmqclWIJWIM9i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47_t3KX3givdhpsneHAif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JGsEvjump3UUFjhmTQgCh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Aqv2QDMS64NZeWkZM6m5A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9CPVUtReNQT.5XnkzL3nA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BfIu_8vnRLI0plOIohBDfg"/>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VSqqv9i0GRXeQCzvuBlMt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GanfU0aNr1IPk7YafnlglA"/>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Ofwf_5FgBWPGBgyPxbc5S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_Alu56PFLM3vN7tmfh7FNg"/>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90kREFaVuCVZ7eJ5u0AvP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dwg3xwJjFMxSLY4YJ5K3AA"/>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sY.9oR_88Qfl96.0vd4ym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oh0Z5X3eyjRdii9WQdTph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uFqUe2lE.8zsFUzwfsG6MQ"/>
</p:tagLst>
</file>

<file path=ppt/tags/tag11.xml><?xml version="1.0" encoding="utf-8"?>
<p:tagLst xmlns:a="http://schemas.openxmlformats.org/drawingml/2006/main" xmlns:r="http://schemas.openxmlformats.org/officeDocument/2006/relationships" xmlns:p="http://schemas.openxmlformats.org/presentationml/2006/main">
  <p:tag name="MM_SLIDE_TYPE" val="6"/>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2aCKUchrmjCmiiwrAb7.Q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ak1xCfkO4CRvqA181C0FA"/>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qVsKpC3aPZ1Nk3RyiVOV8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iuR6hhwkaISOVkuBwFT2B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roxsAtZKsbVzgzrgigOra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U8_DDnocQvM.OStUAB8xhA"/>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P0CnMOYNQzTdNG0A7W0qk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QwzKx1VDHXAC2SaUku7cK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al5RmRIRdKaA3eGacgA1sQ"/>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L96oosD41SnFPpxV4HJZbw"/>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6bLMkdMK2.LiZu8HiDmEF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VeJ9.DoD.ePufhmNI5o2g"/>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10w9QxURM0OGM6xmDk62w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xNU8Jlounf3khcNicwxIfQ"/>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2LSz4pUKVLTZxpTqqTJuyw"/>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907YSyZ9xn9yEGt49Gm16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JWbZdZ.pKcSZgz6YMstiW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8g7bdkLRSuGKVJiHCehUN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eUpJVbHkUZdJe5xtcTuS8A"/>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sLRynUiSyB3r0X1VbUUyv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YmudOfmkHDFSK65rYzaOeQ"/>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X11zfd.LkAxtd2yCGQ6R9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y0apt3Ll.NyT4YTfOAd8I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smhE7ZFS6l9yN1dXUyOVFg"/>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uRlZ3giKPY1q5Mc70yjZhg"/>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B59qQ43ynC6P89FZX.6i5w"/>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F2wOBF_0qkTBDhCKq_DzJ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PggtP5bYPF1kovIHBDgBgw"/>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IBXLrdrDdUVohEtZIvGdF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DEJP7wP9wRUIA99d3Z6JfA"/>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Fzfv8a4ILHOeiU40mjbiX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taRkchIypvjNXR6Fj2F4Cg"/>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rgotgH3qz1xomrd8lrAjLg"/>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Vhkxmpsu4No1XBscTm0nHQ"/>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e2b7FJXJHAE1DBHShec0b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u903EzzMk6aQKz7whZut3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VQd3wqGAEYVj3NKWfK4wN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jIizTpPSHMtjZ0dyxK9CT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GIGUdLktFbnIVqA8al1Pn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ncgJ8D3.YHP0h3OZq7gSd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KU9Msz_Se9bJW.4IPaLVY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7TXWIbgX8_LZH9u0yrbp2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1jmNUXPsdCZr7CH20diyUw"/>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nrfYJgkeeckfmcYVhUwWdQ"/>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Q737.U4ofH2pEqzJlG5rEg"/>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TRo2JLUtn9norFMGuC4wwg"/>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dh8fmqxsH.am9Ys5kconNQ"/>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LCMjfiSE6PmIRj_1j9EbR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8Juy7OcQiPemBPRMydr4p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8U53iSvm__PojPWr3UYMx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ocbKFFoWGg4uUV_Flv0xmw"/>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L9irobpkk.zbfp5yANpzzg"/>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Qqtxh9sJhbi99S4QQJMRr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2ElwK.2Syg6m1hHJW0V2w"/>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zAPI8X0JlAi8bTFosuSaY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Sh0cz62zzoCSx15xrLlgrA"/>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8TW6pHXHrKKGmLwlBgrIN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6sSnJ5V.xNeg77TxRulflA"/>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d7naCAkcQriI1kur.Twd9g"/>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QLAL1UUTNlOTvxNgaaIeJ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f3miJ8Ze.QjA_3O3FPF10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ZFXHn.Cnxix0WJRkTxcug"/>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jg0bg07MFCfzQS9.G9T9J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W_DgFjf72yj.Cwj4KSidx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l.QTttZuko2bS2jDKQSpCQ"/>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D3jwxbKLD52n4oUQmTqox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cknIbzlELAa7vw_qFu24Vg"/>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Il_bC0NCuU9dSln2ohKY4g"/>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ogHbPG8s4Y.QQZb6HFYaZw"/>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40kZpjiaKBdTSZFGud0Jeg"/>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Ym.hHLeNhNQdLk.Ssx6IOQ"/>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_aBpwnJGGEXv4Cpyc8oBRw"/>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oScKZEvPJG3hsrTI1A4GA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aLl8CI5Hjfz4vzubnYmCw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RNWvY5ad2jxt2yBHUj6x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UeCOr7W5Y5wH3USTcqb37w"/>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W_4ho1bqpaNnN.hVkoPUK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eI2YnzitRu9XvCMiKkf2F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FkgsxvDTbjsaI9A2Q0ggEw"/>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ADh8X9mjW9JdGGVeXFbIuQ"/>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HgFh82leE6qMKKWu_laFOA"/>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ZU3465vFWuOesWlaGqt8rw"/>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_0HdOXslFA91h0qpheeSR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rbdSWbgpk5s8IVg4hvLdNg"/>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9TIOp_Xi3Sq1Boal54IjW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Te7SG57m6Zq8v4vA1elj5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PEEtV5HCE3zyzNx7Q_D1LA"/>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1jKmjTwU2t8AChhiRyK3OQ"/>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4TsLX_P91jre7oPRaA55qw"/>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wHEUOiiesXsJESCplrmul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EYANp3qxI1NpSdMTm6cEWw"/>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l5HBud7kD4JByn..bCrpV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S9TyZQCiK.UiZ3y4D1O8_Q"/>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wlnqkidJGGlANxXrJfLI2Q"/>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EDX5HT0WDRtL31vmfcfYp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t9Di0lE2gM7LUac1j2SfCQ"/>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4Bw6eDmYneph2j.woWYsk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yxuvGbZr9OyCMD5gXNlhT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V3uIgxhPOMXDLCOwMSrUDg"/>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7D8JlqkOS21ZwkzCiP9zIQ"/>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5cBUhKYFBXoxt4tbN68j2Q"/>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vaE1M.Bnhg_VlYMmvBPT0Q"/>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v7FWqJ3sS.aghcV2H1ZGjg"/>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MfmWAPudnn2ErYQyS5bx0w"/>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NAcqRR0p7yXq4u5.so.D3g"/>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7rrpA4l9MLDD8zv0pMrYNg"/>
</p:tagLst>
</file>

<file path=ppt/tags/tag1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lCsCcqTjdRx8tMRIdzEBSA"/>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jqbVic5RpCkf6lbaiaPTvQ"/>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sVZGzbf.MI9smzXDyhxdA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D5SRRLqxKyBRKVBiN8PaNw"/>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iHRJ4xnRIu5Dhcu219oLtA"/>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dlJOE4bRgPc2JdWIj_Xm6w"/>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EgG5N3_IMFBn13XSDLt_cg"/>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WxIc9koVx49fCtF7SE7WLA"/>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pB7bKpuuPAoGSd6mdLCCZQ"/>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DCg50sD3BltBcDT_Xynq.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CSWKPvz3b6WDF2cChUA0p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QwxPX9ThN8t9ISgIEGQKMg"/>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tcqObQCtodIuIucOrft0X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nHfWXnRyElAi6lxxNk1pN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1FNmQDvyWBL1fc94x63Wz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JoymEQTdiyKP85_kS4gNkw"/>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ygbtlphVol8pj.LPXvPT0w"/>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ClgH3tgwdzsxeM_VvgYFR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P9S0Ylmzjj3sStSSALGcuw"/>
</p:tagLst>
</file>

<file path=ppt/tags/tag121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9.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wFJm8r9ITdrqVpkkBfLU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6.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9V1dIj2S2_G8e6yDlyXU2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SoQTfiJ30wMv3ZJLzGLkFQ"/>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xNjaPBJRH9hifb2H1Gpi4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DiDwG7gN.Z3LTlhg4gKJrg"/>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HoBmiqeRAjWnJgcz7fbMDg"/>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yYoxEP9CV2tR3uAX5uF2Cg"/>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5yt6Jn44UDwdmKBUniiu3g"/>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MsLZtbo1x80ghURxCj_L9Q"/>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Y9bhGAN5r.5wvZM1f7qOw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NYco9_jtUhZsydb.qwnoKA"/>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qVGvzNhZNqtDX4nTMj5lRg"/>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dpMm2bxBYt9WBHqgxhw8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7UHFZxQ6sa0XQ0yUblF0U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Hyg.Pctpzg0pjU9mNWG79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Ruf_nlMBjXGUbdwKaN.7zQ"/>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6w0WiuIOY0N28dZIy1edGg"/>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fC_M6P7vaXt4Qgqqw61Utw"/>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WhSe1.ye6KGAdImVerQF9w"/>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EhD__CBDnqsJxWSx6RN0rA"/>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wOIL7UsKzGCTtRbiIXrw9w"/>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Zg0I6NU94Juwf_iE_h9UVw"/>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aNmP88.NxqJiB9QCSQYONg"/>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aP5LyB2kRI5htpJbVnnOW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39V80PfON.3pS6BbHIEH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3.2mJDM.torILZoGEuxtxg"/>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MQFvpS3LLdCCvqYZa3Up7Q"/>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AOre__4vEamKxiEbhTk.w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kppDi4OcQMK25wp9p7Btfw"/>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vslxqSOl1GiTbg4rhBF0wg"/>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SJKPksvaIAOzm0EuNfhnRQ"/>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orfBXcTlGmlfMdC1mB6wiA"/>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4fmirAZQDeGqbvhrNeyEtQ"/>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T520rXVYdqR_rEWsF_Z6Fw"/>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y4dbOrQeb6E6Qlh_7aCsJ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Z4kgtJN2BwkQ0yODiduq8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B2dydu_gjS.HF4cxw6dPrw"/>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7DTg_1HL4gYiedqyP5Ze8w"/>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fMZzeZ7cEpXLJ3Lpt5V12Q"/>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mX3uAd3ZmCCzMLsORWYNNg"/>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HDlVswV25.9UkKYeMClVNQ"/>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JGnErAClK6wemOHh55WBSw"/>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XeLgIyrsLCU5I09xfWPf9Q"/>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VRS4E3O8QvBnN0NXWBXzmQ"/>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j.xrO3ju8Z.3zjx1_zDXrw"/>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BRE6DLB3xzc5GthNk4v4v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vTDDtAwx05lkenZQkuAvkA"/>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asJxqFPpgaYcLVB6eV1ME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2xftLgHrV0GQQ678wbt5ZA"/>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o5IuyeZFIBmIxs7Rov_Bgg"/>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XmIXm3J1E7dKs2klcmUFwQ"/>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s1Vpw5S8OknuuIP2TDyx9Q"/>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LQdM8E5d8PcSpgl8AhaRxQ"/>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LIMU7.lnagzRYr_X2cqJVA"/>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8dM8Ue0BU_4QcHxolcJj0A"/>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wjiUo7ic0.TDp3vUWKRFk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oy.Fso0TvR5D3g3R7e_C7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DqC2HuFTTWH9WFUC0hIDQ"/>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g1BmvhDsb765Vq.ZAq0g3A"/>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YfG5mtiNFpfF2q2cS.BOg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YwEnU444P21uvrcmeAk.Wg"/>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AFSPANMODE" val="span"/>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28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7.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0fJXSc8L9tuPhsu5ZJQUz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qLKBBbwBFesxR.5tAgJh3g"/>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YhDz6TrJpOyqcak0gOhUSQ"/>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1J3_4nbdToATHxEuMZbBAg"/>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PDaamSVXMqGueRHr_8iaEw"/>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_1vjVh38j0sF4Z_Sht3gWg"/>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_1vjVh38j0sF4Z_Sht3gWg"/>
</p:tagLst>
</file>

<file path=ppt/tags/tag12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GrpCck5D69fU9Jhyu_lxMA"/>
</p:tagLst>
</file>

<file path=ppt/tags/tag1297.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9.xml><?xml version="1.0" encoding="utf-8"?>
<p:tagLst xmlns:a="http://schemas.openxmlformats.org/drawingml/2006/main" xmlns:r="http://schemas.openxmlformats.org/officeDocument/2006/relationships" xmlns:p="http://schemas.openxmlformats.org/presentationml/2006/main">
  <p:tag name="BTFPLAYOUTENABLED" val="1"/>
</p:tagLst>
</file>

<file path=ppt/tags/tag1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7r_HNZ9HIAJ9xSvPsNYlPg"/>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q8PA3RGPAEuPje10HizswA"/>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302.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GbrvkHkLHly29bJSHiipJQ"/>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tkaI7QgRaOyXGPsChyYn8g"/>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YgHnzij_9L1y1e4Z_e5EIw"/>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gVBOi3KioW_dEbR3gcqUSQ"/>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5LrkMXoQuDVNkAuclEtEE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xO0iTSljhCxF3sY7IMS2w"/>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5mh1FzfCWcf5iK1x5s22vg"/>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TpWUgJ.3afRVuS87QjQjUw"/>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0inC2_z8uOi2Pd8k5mdepw"/>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ZpoiReRlYqLObjTvHlwZXA"/>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BZC82kn9wD2TPFBLvKrAdg"/>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wgbDpimQMUQsjBQNqryoDQ"/>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ryBmEiSiAlqAhTjGnHFT1w"/>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ab2rvXUBvlzg8LeHS7M8jg"/>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0Db_UKIuyb67maXdlwvBpw"/>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_FtL1rq2xgb0ykcpw6uhM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9FQ5HMdwMXA22nhB0wV1OA"/>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uznunQlmaZ5WfnMBDvE_OQ"/>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C5IZWDQRR7xqmJIhcBz2zw"/>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xosB2LgoyJVRPKvCILEPtg"/>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pW496yJ26auB5Np99y_c5g"/>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c7CMH15CNBN5qFby.TSIaQ"/>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DJa0nLXlSsYqfWRaMxrfKw"/>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1MRey1068IrAuTVNq1dM4w"/>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nmNzVyFJJu7kCwM32RNAc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8HFIqdYwRuvePJkvY24qpg"/>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KaKY.B2c8QnY6HuSRTe5k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lU3YdE9scd73jn_BOHHJRg"/>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olBgH.A1PkMTk8X2JJadMA"/>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gNMVQWRTac11NdtySBVZEA"/>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jGKs7JnSly2Qkpnc1hc4LA"/>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qVV3I2jlXysEaKwm.aPxV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rYPby_yZCgkDfwYzhK1tMw"/>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u2vRbIDLFHkGBPVylmHXIQ"/>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owWsssIiPnmmQrjt0dgsX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X4Xo46.esJLG0mYkJE1ZjA"/>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IoWJ0aMvgvG1jcQdOlUJng"/>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ifvXJqNJQXFPDWSMK9tZV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DOTeMFygD2sCHBrrkofOiw"/>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Ztt1_zPpj13SAn0LJdKn2g"/>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xf8C0j082SKRFuYhE.o6Kw"/>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boaRp35r374sq.10RNCBVQ"/>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e9kBouOPAym09tWatlUsjA"/>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V.BwKAWVY9coOr.02gzbdw"/>
</p:tagLst>
</file>

<file path=ppt/tags/tag134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lIm_Hw.948SCyRUC.hkCJQ"/>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MDvA7QSaq23bJNbLBJeWD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fGO42AMXRtDFrr3FNaMsfA"/>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nvTTUFeSYLuKwED3fr8mvA"/>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4n8wQEiTZO1M90FWExNkfg"/>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x8x65m7n0Wiaza547WO4pQ"/>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sneUmkwoZzAPqJDKN91Wxg"/>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ygMb2i0igGmN.yyxCvbGow"/>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TusZRyj8vqVZEKmZe0lTLA"/>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DCKhp2znK747qkoKMrgLwA"/>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HQIHv0X0FEWkq1xIE7UWEw"/>
</p:tagLst>
</file>

<file path=ppt/tags/tag1358.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_dJdvWvnDB7d87jSiwk_Qw"/>
</p:tagLst>
</file>

<file path=ppt/tags/tag13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3O1kRuaiQNn795kYqs15ow"/>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9iE49uN1np75tzs6VZFLc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HVcobvohczGTk21OBKUbO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0UB87C.VDanjb8qVwTM.0Q"/>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Gpr4d29mn_eOUmt5xfYXpg"/>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sdEbsjUGgLMuXvLQ6hW_CA"/>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IIh9eJ7tUO0SwPTTCHum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gdU.8sNzndzAdWEd7ke7GQ"/>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88clouxAJBHWX72OR_PFV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vkrqq0pMRo.X6MVGI3PjPg"/>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OlJkA5thAEPxBpIiCojGhQ"/>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cL6nbW5utm1o_Yvkz1Ydsw"/>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oVcVxOtqZSVHhkE.Q_.r1A"/>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ID4R7FffqrEhj6OF6uRMWg"/>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o.sbxt6W0BHuoq9.qKHRh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Smr5wcvpgU6D9S3cTKy52g"/>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ai49Xw3rmQ13XgO40QaDmg"/>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suyr.Ff76r_.F1F3xDS8tA"/>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aTgvVVYBIPaoB_W0HvX7Q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8dM2ZrdMF5ibu2.B14iH5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DzrqXo.gPuPyRbetCVu5rw"/>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q.uyAG23OEnST3Xz.H_Rn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R22NZkDbCaGcZWYAGJrzg"/>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IKtk.YmyOGtIeTShf_IRMQ"/>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AuXXBaUPAlaJc5ay0znlrA"/>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tXvYeC1l9.IYTPvLZuJs_A"/>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QRykdhXzT71zF02QWZhwlA"/>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CYnc2TLVEvWBqPocBKTSJg"/>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2fHPn6yFjPmnyG9R434EoQ"/>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iJ.7hi_e04cMIsNbbas4vg"/>
</p:tagLst>
</file>

<file path=ppt/tags/tag1389.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TzL65DKgdwXN6wbxYrod0A"/>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f2Wc5UWKkySp9AoQ8FTwsw"/>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BcCmU0_WlOGb.iY.PNj.9A"/>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dSs6BBOn.63Rl1_jSpUlRQ"/>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T2OLFakk64.F0ggrPNq9_w"/>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16RearNBg8.NHgIrFWZg6Q"/>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b3bTs61rAnpCmthOG3w1UA"/>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_nGEY39oRw86TLH4zSXhKQ"/>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TpxxTnimC6aPz7Ew8CEH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Ljq2jabgtjUmI.QOCGZcHw"/>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MSydVY105puBGwMcA.B2sQ"/>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FJcBaj97yE2Wsy0nkpzX6A"/>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GKQAGaFZcY.iUxWu.XU_Og"/>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skqQUoTkBXgWVIHZy2pvTQ"/>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DrEqEkpBjZfYwu9q3CZtAA"/>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5udvGkHMKAy50oL2NF8ElQ"/>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npVWPnObU1vkqkoycpF06w"/>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gTf6MiX.VaA3aNBLZJsyUA"/>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BVBzJZ3tM4JJWpirVsHxpw"/>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16oNzBelPfFfAewKs3HM_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qYrWJxAcmkvqMUTHSLWItA"/>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Y1t7uUFlF4zOryUFXdOyOQ"/>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qPxnefU6Dpw89ncVQyUFRQ"/>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RitNc55FtTvJj9KK.Zj5og"/>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zP4nUnGeNbx8B_Ix_0TR2Q"/>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JRisp0Xl9vWi3gVh38m6GQ"/>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RegBI3bsh9iaUTaClnDRz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pMV2uMbZKmTCFooRhOvb3w"/>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8oupAK2UpjXsjmPOK6HTAw"/>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R2C732M055zciA_GJ5BOBQ"/>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nz0vhv.p9B_GBYAdE0a1N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2dK8HS06hQ4r9wNNWQ4tRA"/>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ShTOKrjyxkCSP4jv2kd56w"/>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1xoIHW0JbasdpwWdSUADzg"/>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C07QC3J6_4b315xl7KKBxQ"/>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M6LpLoUX1S1VaWGcHAy.H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UvlFWfHZlyDGIxzUt9VtWw"/>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5wodHIJQNjT2CQFLmCUh7w"/>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CTpCESfqcwgxGVA8egrhvQ"/>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SlwJKzdniOq40YhjD8EG5g"/>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1lDOpvbtYXFZaZfEWUFjqA"/>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Lfl8PMAoBOguFptYBVOKw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W4up_2ySMryQddUD7WgdlA"/>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971o0PVuExu8MXNVVJIhmg"/>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CI1xayw.iksO5PU23xmBog"/>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5Bg4v0oeVhQmebiDQUUZQ"/>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i._wpFed99H7xerfdulsLA"/>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wLoQnpF6EU8oiHccKmpvpg"/>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P9PMuyJHg.jBg9YvhUzdOQ"/>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yJwcWbGkb_qrr9O5TCsiNA"/>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atsYTeHW0PMPvo0pDu2SBA"/>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gJ1bunQKKrv5iM3dBoKnlA"/>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9j_694aJNCPv_Z0BQpBNH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GJlfOKT.LHZEHGEuRvPxIA"/>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kDPeQDIGugmGmpX0YG2OzQ"/>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wmQs.YD324FOzB7WLxYJ9Q"/>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L8qyUGgPebcbAAAArmDQvA"/>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zH80EHrw5aHZOFwLNJH0cw"/>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6HzuOuFPGDDSl_JlVyoSOw"/>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TwbWkS1SSZbuQB.y2JYkrg"/>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O84TqSi9RPt1exdK3nvWlw"/>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iPFiZwQwuRaUoQ0UXZQGzw"/>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hhfMfrvdl1TCCJYrGs5Odg"/>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HAOADkwn0uWOHggPy2gkE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aK6WHxYSuFXQRcprqUVU7Q"/>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ExDUV.FoDQ1aqUDF7s_UEA"/>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nnASWZEVXdaqRooRvNvDuQ"/>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IxfBhRUcYRzClMJ6ieNmtg"/>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RBgyrQn2s_mvEBWPoGRzWw"/>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c35E0.45pyA8kX.7O8D5cQ"/>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wuW0ax.6iMFMgLmaAxhU7A"/>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TAM0Ji9zB9NPm1gIJMIxUQ"/>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DQUNm1hLaYB.8.8chCix8g"/>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tDoQfdjjn50UI_0MGuRiy9w"/>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HpeGbprGnZGs9zkqPq0I9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nOlTNkA4Eum0YQrhGHSKKw"/>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8bHo83IxG2zY3luiyAE0Qg"/>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teDRSbm7qJVXMF1_eX3HR9Q"/>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t5GP1CH.Hju6CaV.nnbdnkw"/>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xODbDzuIkhR5rkkrGDHXIA"/>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1UuqsyHWMMhV6L8rGALVAQ"/>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klNvSTPTYBAKrrVHaERnxg"/>
</p:tagLst>
</file>

<file path=ppt/tags/tag1466.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9.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2X2ku9MlUhvglJ3H51O0ng"/>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6.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S1txJRNLEyxwbZUB9ugXA"/>
</p:tagLst>
</file>

<file path=ppt/tags/tag148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OZYDlhynC.xkhFYnwzX5Lw"/>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vUfhW8vp9xNUZvaTcduFpQ"/>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F_kUzV7cGJ7PiN5GLJB77A"/>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A6hTEZj4EJFskb3yc5nlyw"/>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hby35sfUhEUwF3u7_udRsQ"/>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AMY3P7GEfz2Fg4s0wfzK.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Gy7bD.4cSZY84HgwXINTO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tR5ZhW7ONK40zehkIdVpg"/>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2gq3X.LGMcTtX_8MR_73Ew"/>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rlE2UJRbkkY8gDi3wm86og"/>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8aEpsxZcEgVXQXfLV7rcx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9K.H5hLPe5Jq2QjYS84weQ"/>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368CiZopgLZ5cgsrut5xng"/>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wu6X_envQ5xsXBT6fvoEw"/>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wESiVIloYluooE5I3sH2wQ"/>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KI4YMJCdp70X2GdNSXxYwA"/>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VB8wOqIloYnT9UbkYGS9IA"/>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Xe.R_JksHqdy_Khys6FKi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iKaTqswo85QZSQ3Q.LPmbA"/>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4AkUHVy_xApIurQbcPjFfw"/>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lpaxfD8oofom7wM9H5e4Kg"/>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KC6TIKF2r2YrnXTL1fKO_Q"/>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3UBtn_HjT587NBXyWB019w"/>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6J1Fs360MCbIyg2_Whnh4Q"/>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0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lAdXC15gLMxucgk_1I0Eg"/>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82_MLc8H_XGs9nwEyqC1PQ"/>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_OE0PSYJqKfHVDmWlJtIQ"/>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5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3T7U.PkeUNhZ2wNmB.c69g"/>
</p:tagLst>
</file>

<file path=ppt/tags/tag153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3T7U.PkeUNhZ2wNmB.c69g"/>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QQ7kriCSv36_tJw8uzPcWw"/>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yxM5AO0ZyoWnfBzkYofIx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owMzGFvnRBu4sonPZz0StQ"/>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7kRVKupSKvI70qZpHeWzPQ"/>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SxXnkE6sfJj1oLqftmrfwQ"/>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tku9jDpfeLmyqhLGPiOKWZQ"/>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0o3yQQGz9PFn_C0lU7xqMg"/>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HJQ5HX7yopdq5.QmIgeEeA"/>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OvgY.ZzN4X_8j8UVJDkwbA"/>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thXlXrVVXav4isc6OiULfu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QjPxigJgT5T6WDHrDFhafA"/>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thriaSOY5fUxdfIzZMr3Qp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tqV5yggotmzgv6TlwUh8MW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3PZjo0cYuj2iZeD3r8AaQ"/>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tx6gCKjz8M2XuqVO7953v8w"/>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sMTmZLFpsMDHCV.2zayMZQ"/>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W6ktAC7aTEgoy_NhSzlAAA"/>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GTCiMcoHSPsneEA5gX27HA"/>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gslixQCsajfEZhRBMap79w"/>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tXN8X0KKS6rJaP5StezFrQg"/>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tDL76I_Zi3Hc70yTBVoe.Kw"/>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togR0W7T2C6n2E9M.ltb4.Q"/>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xRWUuNstm8pyGYMool3GYw"/>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GxNTbebVDtWQQN6_Y4DYp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6sVbKNpedu3IRg9zJtfaHQ"/>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tJ73IlSD7y1ZWRftPhmKaDg"/>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tYbW_juZX6SzzqAizwMiuoA"/>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tc7lWSj_c14vMqiHsoWhLQ"/>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teo5QbjkgMc9a8KPcoNNY5Q"/>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AtJRjzSPqEjAPwL9MCollw"/>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xP._dGqGfE98oh03Uth.YA"/>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7LUjXf5qZ8H8YteXVyZa5Q"/>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m_X.sq02ZvgyhkVdqlMkfg"/>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tc7qdFlveQGpiETDaTh2I_g"/>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tuMUQ5F3TfEoCi793mJaw9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4GWdjqhhPhGOqYiasH8L_g"/>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tT7Dp2H_A5pkVr5rv4nJ42A"/>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tXc8V.XFc.qUTn.QGWoAYEQ"/>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ticDZTnNZIkYOftEBZpLIZw"/>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agECNV7l254gDVyxzo_aNQ"/>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tumdm1aIn77cWSc90jwxo8w"/>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tBd_CNLS2Tp9l6OrEiZ9_Iw"/>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NPytWJuFQ3fYM5OaI.1hOg"/>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rFrdSk.WaxnjZ5V2.i5YaA"/>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tA1ip4mfchcM6h1Ndtuhqq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ULWhG.IUB28bTtjU6qLd1Q"/>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tEWzZKHMdxekPfbXH2m3irw"/>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tWiC1hP87CivP8HWJmUFwNA"/>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SaCXGSGOsX_qYn7wEmqQ2Q"/>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Xhzf16F16cKPJscCzjwqEQ"/>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wQ7HBjNXBJ8WhxGWiXt69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ZOlAFox8PW2ognOdjxi_5A"/>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oKqkd4Os2WWQDDawVkNZYQ"/>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N1GIV2C2dI07JTJyoeyUrw"/>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1yHSGACg7RLAh_g.x54vsg"/>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ASO0L_x7HmnE3rz3tu1Gy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gTk_MfSfMqNqEkl7vtajgw"/>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t_vkfMs2fnsQMVtG1zFVlAA"/>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MM3_77G7bWxMgtfyCGbubQ"/>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LCdJ6DsEGYbBOStfgafz7w"/>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9l6rX4R4T9CjUTwJ.6FnR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JMn2qzNmkyPkSbQFmd9Vmg"/>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tUYLqkpPlcpcs4MGj6b5wAA"/>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kFieQuGyPU68myQYr8h8QQ"/>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eKLAmhgVtCAhmAO5pwSWog"/>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t.eM.DdC72WGlxRmMSvBZ0g"/>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8pKb8KaNcjDhH0DqWa7d6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qerjo2SaEUx5UhtIvhxdJA"/>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tSWrgpDJ_AuIJMRBznuKy_w"/>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8b5ltt5pvNEF940MwMNbCA"/>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OaBse0_cbEQBc3iUx4bT.w"/>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4pdhi3EuvjlEyjg_CVTnBg"/>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9TJKxK7kFeaFReMR3PC3NA"/>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9xC4_NtjyMNergMeraZH0A"/>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tk8B3WHI4Rf1C1lSshbFLyA"/>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VkWUsEE4Gw4P4Q9ZDWO2JA"/>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IIW_k7R0tuT82.RmL_B6f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j3WmZfr0_b4fEWPOPnB6g"/>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6wOyPxl6u_EiEEKeDUy.nQ"/>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vXZUFZDS0cnms6O.7r2alw"/>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D7N83Pgl8pC8CvHyOBNeNA"/>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Bs.2ANu33ZSu9G5fxez7FQ"/>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XZF5PT07LJZYG.g544qOfg"/>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ordols3F08WVXpcO9S6v0A"/>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sjgK3yDWZ0WVA7wwSJ16Aw"/>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AMdHDcv3zAycZJvc_d.XPg"/>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CgscOeNcJ1E_2TIR1738Pw"/>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xgiyeOesw4iUzIBUxASTH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qVYJfkWW9FiKHLDktz_bQ"/>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wlLE66IZyNKep_f7pbMIsg"/>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t92npRLrS0D4xIw42yzu8g"/>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6uCNICjmkQw3znuYJMR4fg"/>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tLv_QgVyCoaQnlKTuPEx7qw"/>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trM7dP2BZegeqIGbLwW8mNA"/>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ta4IczUnXtXGNGqMzyrcjtA"/>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BFkRG6siJfQ_EN5yzHr53Q"/>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c7TGTy0ZlPZQGYyoaX42.w"/>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7u4uEHcZw9x6cknGW6vdrw"/>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8uu1oAfNR.8EJ5UUEqdUU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Paqsd89By8jVibUy7gdhzQ"/>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D5AVc0aVcujiX0_FrBAfWQ"/>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il5VA5q8g5r_7L9G6QHDPA"/>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t_VOMU6a1qutJ5.3esygzjA"/>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3HQytX_dTco97GJQLLAY6A"/>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Vgq9hCahhvSIL7B.3wfIQ"/>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tos3QdkSN8XaR5jjRveWaqg"/>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tNcYQkhvkVrvep4oLymByKQ"/>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qSgp9jsRh59Xq.i3BoOIdw"/>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tVsV2YlLrJzv1bsT0.DmUdA"/>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lMRsHkRwy7GeSDZ4shHL6A"/>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IicdWNLLkkCsyHoaeDFtIg"/>
</p:tagLst>
</file>

<file path=ppt/tags/tag1643.xml><?xml version="1.0" encoding="utf-8"?>
<p:tagLst xmlns:a="http://schemas.openxmlformats.org/drawingml/2006/main" xmlns:r="http://schemas.openxmlformats.org/officeDocument/2006/relationships" xmlns:p="http://schemas.openxmlformats.org/presentationml/2006/main">
  <p:tag name="BTFPLAYOUTENABLED" val="1"/>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7.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9.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iF0glxIudyoaaIjMkOMZwA"/>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1.xml><?xml version="1.0" encoding="utf-8"?>
<p:tagLst xmlns:a="http://schemas.openxmlformats.org/drawingml/2006/main" xmlns:r="http://schemas.openxmlformats.org/officeDocument/2006/relationships" xmlns:p="http://schemas.openxmlformats.org/presentationml/2006/main">
  <p:tag name="BTFPLAYOUTENABLED" val="1"/>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3k87ZUVXCIuH4Z.uYPNLUw"/>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CIQ8Yu3E04g9VT.RT3flrQ"/>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gw6gkcIAk1PRYf1G2ceuzQ"/>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jrJFsp.z8JZBQR6N1TWFrw"/>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n6X1z2CgqOkpnDA3MY._vg"/>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tGPRIZMuAbZUCN1CZJMkog"/>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tM6lkZfsZgc6uTtLf2KbkBw"/>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tFsY8045_1fOIjiV6v_.7f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UwyVyD1WSfvyDnK1FZtqA"/>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EyqY3Ue4iz1IYaSGfdpj8g"/>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tV3TJq8_CqDWEY54H4Y8_sA"/>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1M6FftOUVfbxCRXHYMgbsg"/>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t.S34oUE7ONUWvrts0ZN3sA"/>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tDLqB.nrvv75S.K.R7.Phpg"/>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tVYJ8cL0r1vz4ALomiSa8rw"/>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tgCTD520EBIDXLp7Oeynraw"/>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wHXnpdaeraDjmVblC.O1pQ"/>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f83Y.iXr6WxaH14bcXe7y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nzWgvfkbKDTJ3E6J13hXA"/>
</p:tagLst>
</file>

<file path=ppt/tags/tag1670.xml><?xml version="1.0" encoding="utf-8"?>
<p:tagLst xmlns:a="http://schemas.openxmlformats.org/drawingml/2006/main" xmlns:r="http://schemas.openxmlformats.org/officeDocument/2006/relationships" xmlns:p="http://schemas.openxmlformats.org/presentationml/2006/main">
  <p:tag name="BTFPLAYOUTENABLED" val="1"/>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t91bfLqZaqWDrF1_8HfoieQ"/>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6NXZtWi4rttXrdiDFx56Hw"/>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tNVNTG59khyjjoqwQQ1xR9Q"/>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f9SkQ4Kx.f4yGcRxXLM.9w"/>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dnwwuPsTagUgsuukQ9gtQw"/>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kJNqzQ7HTjsOl.IaX2dFpA"/>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tatMnhR9h.3rLVxMKy4M8TA"/>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Xtiz9RH7D4QvmcHwywZUCQ"/>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tYIwjsGaYIP4WTcFPZOpNc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Bk0UbrhUtap2X9joUm_SRw"/>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X9Yq1QgFXD_k0A.RQWOhUA"/>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KLHlA2Nmr39ug44UagwLfA"/>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2vIFJrkfiAcxAEnSezpj8A"/>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t6cXs18Vv78piiz..m2LlxA"/>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SbJqBHk2R6TrL1eronrzrA"/>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tHJP3.KgDv0h2zPq9TVuBcQ"/>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tfOUvDC6Crh4nGEOXtz7WZQ"/>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tyJ5t2Pu6eUvtQDcra5B4YA"/>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5Ww_mP1MlRRbMYrrxBF0aA"/>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t5hxY4URHVmP0FaOAmHGBV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32D9cmXkpRsSa1XiL5JbQ"/>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tiKmCHhnJ_Cs.KQdR_VgPOQ"/>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4f4gMJLMcjqXiksDKa.u7w"/>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suQ3.G05ipH.YnAq4TWVoQ"/>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ssxOCnAFhnnqC8gOVr.Tg"/>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cY6rydBYhvNOG_ywg9eohQ"/>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ti3owhVwpBF.i5wJllNiKKA"/>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tLeJlE._djC538Ho8P_bF0Q"/>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twmrK_80Bx52CO4_z0aabCQ"/>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t4mHUipi4q2qCAg3gZtDicw"/>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BCD4_9MFBsgnnTuNLvgw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9gIqzaaMmOGHzTx73GKAIg"/>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tqoQM6AD0wUF387lRVjhK3g"/>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t5H5MI1FOSkQDxNHfnzWiUg"/>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tMOC888C0x0LFj99bADKchQ"/>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t_raZTBHmn_o4.CRJcetjYA"/>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tc.JW12x7oeYyo5eqCUelkg"/>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tY6fawIWXJFSnR5lMbktLrg"/>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tGNMeMrNjeOM9EVOf_SzgjA"/>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tnmkdcnpdjC8qlDBc8meSDg"/>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tOsol.xk_JiBeXoQHErxJvQ"/>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tabqQ8CeM33A2ZtWEQb_in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awI5AgzIixj8IgAjS9qxw"/>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taZapvhXqRrZvKkmRZXK0ow"/>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t4g9vTxKEmuIdW1gzQYRU6g"/>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tdZw8YnNZ.LTCde7GjJU3zw"/>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5xQd5g271oQEa2SrJpj7ag"/>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twMOBlZMyttTHXre.I.aQBA"/>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ti9LTJ1vUpBfBBuFhvNJqkg"/>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tO8es.RZitcff0YDrSv0.Zw"/>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t8sgAkkvFm0niwP4B3vdseQ"/>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tLcH1SqcOlG11BvsRT9ZwGw"/>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tXrJ1FJm0Ggh3OD97xNjTG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Zp44VTYKTjn2vZPUclzGaw"/>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tSnp1AEewYLhRMDYCb6ldcA"/>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ua4z3oshygzCeqNNsSnuUA"/>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5QWdICNPNnmkoDpWLuUfEA"/>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tw4vvzxxoy8pbD4TFmpRocw"/>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tyrDPdMRWWx1TPhgrjY2H3g"/>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tgehu1lxwiEEoLChOZuxHCw"/>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tvoYCN9CTjX0gSd2Ijs.SQA"/>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tb5ibF8uFEZ58mT0i4QiuuA"/>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t8erM6aK9n83ux6EA6WS7Pw"/>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tBfV8P_FRaL3yPl0DA2nzk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S9kaOeO5jmU0b.MwTL9vuQ"/>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tNFwPS2sjXqkVRJOQ.Rfd4w"/>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txKNZcppGp9s2xFKvFkyKHA"/>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i_qidjadKx0rtmxeIIOWFg"/>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tv4uoyo6PAPBjCcKwdj186g"/>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GNh66DXo3yK23uFx7PO7ww"/>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t3yBMHikClKqZpDN7LP7L_w"/>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t3IQoHyW8Zi.binCQTSugJA"/>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ZYnQJP_AtAUAMFX28X3hAA"/>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UG0O77FSRzSh_TqU9N1Mjg"/>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thI1GCGhZGpca.S2._yYEJ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oemvO2fvXWJisovS2ivF5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tbag86Bxnb6fP_pU.M4lKJg"/>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t6RLjeZ1N05Uvje9.PibYWg"/>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pQOWYmC20vPrKjxb98rZTA"/>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1VenHEJ9dAZuGtGpCiH9Jg"/>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tvqHgrfYqX2hgUiiFTTTKDQ"/>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p9knjxwO2VKWikSRaXbxAw"/>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t12rO4WANO_kDoOm4gIUUwg"/>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t00AQJS7O5InLHlLl7MDWxg"/>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Wttrgz4XBaqlPzFyykqKZw"/>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TFz5x3rYee4JYIaOlk7zz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U4RouT17kBY3de2fiM7Mwg"/>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1.xml><?xml version="1.0" encoding="utf-8"?>
<p:tagLst xmlns:a="http://schemas.openxmlformats.org/drawingml/2006/main" xmlns:r="http://schemas.openxmlformats.org/officeDocument/2006/relationships" xmlns:p="http://schemas.openxmlformats.org/presentationml/2006/main">
  <p:tag name="BTFPLAYOUTENABLED" val="1"/>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3.xml><?xml version="1.0" encoding="utf-8"?>
<p:tagLst xmlns:a="http://schemas.openxmlformats.org/drawingml/2006/main" xmlns:r="http://schemas.openxmlformats.org/officeDocument/2006/relationships" xmlns:p="http://schemas.openxmlformats.org/presentationml/2006/main">
  <p:tag name="BTFPLAYOUTENABLED" val="1"/>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ZaSCPO7UdUkF57mcwwtESg"/>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tJhMEOnskvF45ou3AHHgvQg"/>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t.0NoU5d.N5nYaX9rAVsROA"/>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tlOkbjb26MIqibTX6LOS6Lg"/>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tAVfRnPHaYLJeO1zMZChVvQ"/>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t_hNXewPayyNsiqJGxhx.l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nkdzJrMh54ZWsiDIJxEZfA"/>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gxDt3DtdmtH2pKDOYsRA0Q"/>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lQzXYEdnIdkR5TOJRGXrhQ"/>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tXdLWgkARPOsrfUP2iBZZqw"/>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tJYf2hv1.YYO6qKwrSSsihA"/>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taA1NOzgemNeeBpQ1o08ipQ"/>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Q44YPe0LX81wTfForkglXQ"/>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tVwSlYhrg773yD9thesn10Q"/>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tr2RFVHmHUyYsQBNAdFBdv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t53t6Mg2YDvWJ_4Q6XF1yBw"/>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tI9ZsS3wRUnCdmkFiG7vaT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G9_GGFuBcKeT93HOAfU5Cg"/>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tiwNamFvWlzLKuZFgWnT.Tw"/>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t2C0LNSlqsyAQM5XwJNPxH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sY6qkQxPH5qLIfZn0vq_og"/>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tNx1F65fV4qY5.4hgRF8tMA"/>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t.1zwUPkfStsdiN.ZbOinxw"/>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tjQSkj9KUpBoqa9gE1mEpCw"/>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t0ZiWZNgB9ZX9DpfKC5IqeA"/>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tZbR13rjTqHL1pJSL56.OeA"/>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tW5lToEqA.QuPqzRlqKa2nQ"/>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tg1tS6r7cIi9xbHQemGXYC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zoW51oS2sLvfLTo8HkNIMw"/>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tX98tJE__FS.uWyyPN7EZGA"/>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3PttnQagWJ8FGaVyg5yZKQ"/>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tAgImlNF7053BYL9Qn7vVww"/>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tMQeRtvuSlxL13hGLaEbAhA"/>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taZATSEC.iK73eflUL5_HZw"/>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trI4BWLgpZqj_4pq6MEz0qw"/>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tlInXrdznMhdbYKprrgKVEw"/>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tiDbBeTdTDK6dk5bPfIhzqQ"/>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tcXabluwHtx54qTQD1vlRHA"/>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tjT8kumyYOHCiRN4wZw5Aq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zjaWsYE9.hNY63z5wTKssQ"/>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tlWIH3Y34etw7.Z83Vt84Rg"/>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tbm.q7GemP1aQI1NA2VCuVw"/>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tg2n7EDqwyxNOb0ZEqM12lQ"/>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AfXCIyf.19W11te0WcD96w"/>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tp6HnwXUl_KSpMdznlDPZAA"/>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tplaBtInTT13lRc39KtiKaw"/>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tEceo83t.OPdhoj4azbVsWw"/>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tFzOAHnyjUuQllEQRp6QuDQ"/>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vzoCzZlGQyoNpkUnLTgcTg"/>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t6213.IBtzGghewrm8Gb97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Bn6F5_OA.hBNY1hhYw5erg"/>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tV3hKT0IXtnYJk2PfppJWqQ"/>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tNQzon1JXa6VH.MGEl1VV7Q"/>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aktjsfYXF1xu7uOYqEeVYg"/>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dGi4U.DmcE9Z4ZZGVSXEeA"/>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tfFJ7iAlOiQVunxX_9EocjA"/>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ttxSD4KaForWCss7KpIz19A"/>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tOgzziSkiHphFKtNLlDBzHg"/>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tV474NN9rtGi362WrrN2Z6Q"/>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tpyHy11_KceMaUwGwWH1bpg"/>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tMqNeKYx4.4sWkqxnZ1Awl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IkojN97L3m5_z8rvInxZ3A"/>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tL.W6.2bSIujjQOAGJcOnlA"/>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tOgNPZgN.JDtOY3BdcOB53g"/>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tbZ_91oUA7SV40sZIKbmlxw"/>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t2aQgrNtCvbrYs0xTJk3Gug"/>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tckYA9t7vU6363W9BGqK_9w"/>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teNGgGQW.VtZULyROWoZT5A"/>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tGrvyRZUtXZtsI2q714tJQA"/>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tnL.Xc78XoYCYsRNS1DoApg"/>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tqCiDxqJh0rg7dmBe0DjkMw"/>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tSapX3GdMIVdnbEpKUYU74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v_2gpVBskO.twAMafHll7w"/>
</p:tagLst>
</file>

<file path=ppt/tags/tag1820.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tcwhhJQOG3XMaKB9RlMKuQQ"/>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tX96e3DE_daHxIAL3R4mNOQ"/>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sNHFpeY5RHGGolMgqQz8EA"/>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9m8oyjX9h6NNh.cBv3Hvaw"/>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ti.JzauuC5U7pkmAaxk9PZg"/>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tgy8v7ePvhtOO6_p8QdFszg"/>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tPoGWGwNxpoY1YWk4GXqYE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RYhLULpiE70jljwhygrqTw"/>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tGypRt5U0AeQS97mLw4.osQ"/>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tGArOGVflSkrIvwiKkMTthQ"/>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tTDpmwehqRbc.X.iH1kq9dg"/>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tM9Cd4a316i3cD9T6zDiyGg"/>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tNK2KHIKXHgoAyuUb3TNOcg"/>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tR7vdIPe2C9pks5cqkk6c3w"/>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tDr4eSSzjvRfOg8QZi_ZueQ"/>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tm3rgLTlzkmqM3GpS0fpndA"/>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mqDrWFQ2AeB.xCHotXBtg"/>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tGAk8H87Kx83VdPymP5HL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pGFyM5KlJSBGf168H_TJbw"/>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tE6dRQgTorvjKuMncwpn5yw"/>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t4RPdiAXFVknkiwmm.Mg4bw"/>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tPwRl.2RLvYL6QXvXSY6J2Q"/>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tYAQ0doy_O3XzpH55eR7M.Q"/>
</p:tagLst>
</file>

<file path=ppt/tags/tag1844.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6.xml><?xml version="1.0" encoding="utf-8"?>
<p:tagLst xmlns:a="http://schemas.openxmlformats.org/drawingml/2006/main" xmlns:r="http://schemas.openxmlformats.org/officeDocument/2006/relationships" xmlns:p="http://schemas.openxmlformats.org/presentationml/2006/main">
  <p:tag name="BTFPLAYOUTENABLED" val="1"/>
</p:tagLst>
</file>

<file path=ppt/tags/tag1847.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9.xml><?xml version="1.0" encoding="utf-8"?>
<p:tagLst xmlns:a="http://schemas.openxmlformats.org/drawingml/2006/main" xmlns:r="http://schemas.openxmlformats.org/officeDocument/2006/relationships" xmlns:p="http://schemas.openxmlformats.org/presentationml/2006/main">
  <p:tag name="BTFPLAYOUTENABLED" val="1"/>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DiGDay76eNNQM7V7jOenSA"/>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1.xml><?xml version="1.0" encoding="utf-8"?>
<p:tagLst xmlns:a="http://schemas.openxmlformats.org/drawingml/2006/main" xmlns:r="http://schemas.openxmlformats.org/officeDocument/2006/relationships" xmlns:p="http://schemas.openxmlformats.org/presentationml/2006/main">
  <p:tag name="BTFPLAYOUTENABLED" val="1"/>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W62FUj7JGwTmWulVVhPpl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WjjA0CPIEw3s2bydRJXGD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tNHIVbtF7GXVHmTjpWme.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xNGGgv9346xvKowz1HS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J9M6864HmN0Ss8qGkT_pu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1dud7Rqzd_LqAs1wbMvRo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rzkz.ezfQ0fzxOWEuuZa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GREp2PpN8sDCd_PcRwBq5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thp7bXD4uIw81IAYoMht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3JDcaIW65P2a5o8YUdcZO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oUr1m232dLeehyyecNARaw"/>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k.OBW6uxdTht3WH6gf52B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wIj6ujz_NItMxn0Mlz3YH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G2Cx73MszUtOJ_DuCJYzT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IbxiDKG6mWfO_0xrFjVPX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k745TPA5cVnP68lBSZQE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xJMKflb7ymaaVwjMZU97s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yDg9zKs2lOWhjxIW57kiQ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8lkADNm1LWhT..TFPLA.o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jlUNk5Hj_ULHSTLHH5dVF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jzbcByWMamCmQPiopnGRKw"/>
</p:tagLst>
</file>

<file path=ppt/tags/tag2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8pwjeWEDV5qWqeq5TXU4Y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migcq1wCxTvcqQHBYLbG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uosR7MAB3._dqdxL07tLv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sym9ihDWBq3u1UWSTC536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mEd87Wy5rEehS0CT_cVhx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_n5t4TFML9rnKGBKLEEnU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Y9BpMQxq7KYJ_.2pqijBZ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kDmEQ0rUxfbV_7YJZMbpZ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gBtkrt4Ifj8dfrsMrC7Pq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xxlefzWuKpIixB8FTxqU6g"/>
</p:tagLst>
</file>

<file path=ppt/tags/tag2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OmKJKfqF7pSyqEjEZN0ss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gHXbno5xWFaD..BfiIzd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2lmksc0iO51VujexE8bU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7ApDXoyWqAL8kRnBoaXQu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2Tu2fT5auCvCfE1d8bDy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BJpEbTuOCYtpYDszhwOsf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TC87t2ZSWs93vEnN6vSiL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yfNAfbYef8iiz5JWuKukA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225HuKD0dTXrS9Ew7wOfB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9H9ssUoOMAnMc22NGYar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BTFPLAYOUTENABLED" val="1"/>
</p:tagLst>
</file>

<file path=ppt/tags/tag231.xml><?xml version="1.0" encoding="utf-8"?>
<p:tagLst xmlns:a="http://schemas.openxmlformats.org/drawingml/2006/main" xmlns:r="http://schemas.openxmlformats.org/officeDocument/2006/relationships" xmlns:p="http://schemas.openxmlformats.org/presentationml/2006/main">
  <p:tag name="BTFPLAYOUTENABLED" val="1"/>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XqD5VfU_Ezo.EaR3iCzH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ymgab.DarjsVcoWkjXDs6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1LCfc_pmkgR2r4aI6Lp0q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eJkZNVZaacEtGSUMKwtd.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XjKrgvl92tTIg.0lUn6GO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gQR9BI6tspe7dzKsN5Gw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b0DdIWLg.3u.ZzzkZ.if8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yDX.0TQ2DHBbeJLX2OKS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Wx6aUsHgNQlXpDhiuifLR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vdD7XWEgmVAcRq1uoknWj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2.Iv6w_IhHw2hAB65k2Eq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YVaH6a67pNoBJ63TCww3m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FqhMXnPlZaYHVKR1QGKZ3A"/>
</p:tagLst>
</file>

<file path=ppt/tags/tag24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BTFPLAYOUTENABLED" val="1"/>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03cnmv5EBOgntJiKhb6qM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wQ9YfVdalVKvSifVgAXx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VW9CjRGDG95gvzlAnoM.Q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vCCYK7qpNFEZl.qYmLUKh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zPK1S03DGeYd2bgy3DBJV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w093e9OFGoIFi7syYkbAv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cfAounHMsi8i70dAURYu9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nG6tsn3Kz4dIr.ayJh8Zq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IZ.lykuOkg1NeZhlLujym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nEMijHdo_U7R9STcQwBL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ub0Lzpg01roOa4bq_9zat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yhHu.r43893_jQtuthgZ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52.SnqfSGbHlV4Iaaw_wK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IJ_Gs4QsB1xyJBNDQyGDI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5O98g0vSdKT8kLIzmEuP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G9af4J.e7__2Mu6mlUwaW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faqxG.U9q.JEl127d.UvH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ldRERGy003Q6cSS59RkFJ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nvjN7cr7CaYDo3WpqUzb1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spjt7eleguiNzxCt3NfyJ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eKPuUjVyJWEPimheD3LD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kyZh9uCusMzygf2G5non5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mq570KsSzLuVd2ZupQ6j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5MVssVGPT3q6l.EVDtLtn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4G.oFYX55XmkuaU0mIC6r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wumMunKZTlkVed5LhEd9H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2C1cKUGp1NhwUMwDCcvT3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ebO4UKHADngKFtBS4ctL9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RcaXQsLYNh39mVswSg.ra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XGu9xjrZU6b5Fj.zEMEcC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RlD2RHgsGYyIBlTwMiXW.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DB7lJFqhDR9G.fmhh3tR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fDZtNBUYaAidK.Ne1tvJS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MgOdnerHiHObOCSUVcf1K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tZjPFej_.ILA63jJQH8qj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4T5lnqtt3peC2bqWhOR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fsJUgMyAadA49PrebLNhN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BFAJVG8TzrGvZ6A8Ge3yk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cn5l30_LWx7xjgI3.x84u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5qCimkhcL5z7raFnlYbst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1AYGTypr72xTeot1h_xN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lw.BvoS6jPaO1frbjgsiag"/>
</p:tagLst>
</file>

<file path=ppt/tags/tag2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6Fjy5kqtpM4DYv7IXovb_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LupxFwA6XBVnUyLC20HG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EW.OORTx.EDpxjl9KoHEI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K9MXpt7Wos8tRj_O10Hzo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d3JuYqICI8XGkl_Qm7bqP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0o5axc7tvPyp0yL8ttHYl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TMUSReld3X7KU5B6FqLN9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daY32KwoXICnZVxfqa79T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e1yBrWA6RQwEP.W0F7DV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kjNIAYNONgN0oyjF6g_U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iDSe9tXpg4Z1T9jBfeUYn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OXk_RKWAcdFG266z1wjgo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GJ4OV6oSl2V.caMQDEW1T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jj8hjaqKQ1jLnOQoBWAVT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5Gd0iVZGVbxoCfZWyZK1Z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ZqMFXa8zrAnKxgAZjH4up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aPy36yEqbmt6swmkcw7Ii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Bbot92wfiJmN1ZYdAEBfd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mdO0RKFitB4PtZPJgHtQM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EIZjV9se.jLbvDtrPzAXsQ"/>
</p:tagLst>
</file>

<file path=ppt/tags/tag31.xml><?xml version="1.0" encoding="utf-8"?>
<p:tagLst xmlns:a="http://schemas.openxmlformats.org/drawingml/2006/main" xmlns:r="http://schemas.openxmlformats.org/officeDocument/2006/relationships" xmlns:p="http://schemas.openxmlformats.org/presentationml/2006/main">
  <p:tag name="MM_SLIDE_TYPE" val="6"/>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9_Wxgjo2iXI_cb93V4QqA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R4h37w_dam0tjvO7xqm8x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riYuWfqqMrkC2V36B32T9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KQMDQzqSYLWUDRtQ.L_wl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Z0AmWQc8yVG2c5phMKrYO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MR9vKxrYjs.O__IWmxrPJ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oXZlvhHA2JSO3lEqvXFkr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tXKIvcvPI2ne3vicrQMcW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GhZ8ZEXfXpCxB5UnSmay6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7xErUAQECTwi1s1u4knWXw"/>
</p:tagLst>
</file>

<file path=ppt/tags/tag3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09YWkBxdNE6TgA8V.TF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5CSqns4hq61zHLPtfKFPh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FtjwKiuHPPthmwkihN4T9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afHKKqzcMYsabkIJZwR3i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Kwh.qKMChp0urfce4Z9qe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yP1oOtZHi_Eypl2S2p7IQ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EfPHJTgX9epsENVJ8DylH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oyeNS59NI4lOLEeCMzU4b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XemW2plMWgN3UbfY90oLk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uefP0Czk_m.CyU7xyf5XL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FPwuCmBDZ0ck9Nw0asqqG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6p9kgcmJ7nz_IvpCXwIf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LWii2qIfi.r8HE2pbbn7Q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PfoUUuPyVXxt9it6_PJAAA"/>
</p:tagLst>
</file>

<file path=ppt/tags/tag33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BTFPLAYOUTENABLED" val="1"/>
</p:tagLst>
</file>

<file path=ppt/tags/tag337.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BTFPLAYOUTENABLED" val="1"/>
</p:tagLst>
</file>

<file path=ppt/tags/tag3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kihALMW6LJAZ3bjP.8wCm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E_bdx73DPskH2_dvXwpp8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1Ch6mbsreEmuEUEcVdaMA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kJu1EEXNJLtNKAIGmH6on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JFk3Bc_SDrL_71Sd1Jte8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cx7ypBXulJDgY73Yp9b4B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jCpY8xL89tPJCk5mYFomv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ybVlGfvw8PxsLdkedjznr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jUs2jSIcghmNZ_t9LlOSk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Une9Dn7.wPkyE.0C7P7H7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WmwEQYbyMk8cacotNnBNA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0LY1QMbeGEllkMjA13RmQ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6qSRoVuUcI7Z11bz1KUhH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qdiw.3928hiaIzub9HqvH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s3gjtamE1EgFIZVnXYb0B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7UvyApLvT4icUjp_0LSC.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Wt1xUBUS6krPcvCbLs5Y1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O0ccrB5YD2PEA_JdjwT_2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b1b2T5z.5QxRIyYP92l_f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AZUoHnhDKCrQPV5a1yyX3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o6EuslZPwCw1nc4t8aL3.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smYsVC_2WZHtiXbBdhpbY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f09uk93.hTImMSGzs76zh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MHz6qfTeE.C0ggDmo3feH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OezBmNz397AC7pEGnljZq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iSXnNUwLiLi.ZTiaKVB1d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obN36KqOhWQe7GWSHC0Ky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WqqTwOloJexfo.K0EFCy8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90jbQ9zt7S_FZgBnfGDAx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Pgec50VuEZZ9zQIepxpvp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oM1.iaSs21J6l1UO8uf9c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lrMkZiP6A8XLKNYfKbPAz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Oe0MjRqxQCtAIoyAdfR1H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MZmxVt7oCFighduwYpn9o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FK98BM0LRMwGFJ_9aIAS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CByDkjqZU6lMYTTL5VCRu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pcUcGZqrR1eMJSJer8ci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d32GBixCGIO37CEfxrTLd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RAx4hFROdwKuEyorPYIMM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Xx3u9ptxBWCTY0BIsWw5y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u0JT700d1JAHlrbps46G_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SBo3Rj.y.8cVOQLEnxpMq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sCHdQazcyEUzKrilI6_Or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aNVUyErvBmzFif4egyIv0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Zc.Y2UNKrGPXyex4P.4Ih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cD9zpCCJKszDGu4zPuud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82Tamj2Ej9qqCnikzQchv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lHKFtp2fC3JVHY4bkVQGK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DqKEvr8t908mykW0FMke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7jXUXHIXB.4jliobQbJoo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kDXH8JfDfk6HFlBWbNLxX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gaQp2CrZ3Sme1j_ovit_e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eiR7eELMJsT557PUfLeSsQ"/>
</p:tagLst>
</file>

<file path=ppt/tags/tag394.xml><?xml version="1.0" encoding="utf-8"?>
<p:tagLst xmlns:a="http://schemas.openxmlformats.org/drawingml/2006/main" xmlns:r="http://schemas.openxmlformats.org/officeDocument/2006/relationships" xmlns:p="http://schemas.openxmlformats.org/presentationml/2006/main">
  <p:tag name="BTFPLAYOUTENABLED" val="1"/>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uChIQTXeM0xnWhQq44voZ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1waVLfVzMq8nmw3HjBbxq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Es64HCpqtLkS3WH53SZO3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gzM519hyn8aPqZOhdf0RK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or52yNyuhDjjtfBHHzhG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8YNh2wOFeAU9yPbkGRWr9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6hXtKyUvSbTB23lLgc4PT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Sebo7Lep1VDZwJTGlKnpc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I_bH5EEnX490K.vCF.lk9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d8zW6xccBFJYdtThH4P70Q"/>
</p:tagLst>
</file>

<file path=ppt/tags/tag40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gdi0qfJydLEkOWWaeW8gd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aadf7qekiEEa34C53Dl7Cw"/>
</p:tagLst>
</file>

<file path=ppt/tags/tag409.xml><?xml version="1.0" encoding="utf-8"?>
<p:tagLst xmlns:a="http://schemas.openxmlformats.org/drawingml/2006/main" xmlns:r="http://schemas.openxmlformats.org/officeDocument/2006/relationships" xmlns:p="http://schemas.openxmlformats.org/presentationml/2006/main">
  <p:tag name="BTFPLAYOUTENABLED" val="1"/>
</p:tagLst>
</file>

<file path=ppt/tags/tag4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zttyrb_rQKvtLiF.2nR9o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_oCrMZM8dqaSsOd27cMji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SG58gARLEWjI5LfVI9h7O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H9C3UYF8AxjtkA3Adu3O2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q5_XEwU4StMy9rTfmjEN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YbW9TTflrZd..o8XFVBKT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PCkXurCNdF8k9o0euziZG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h.qIijqMdwOUmxgNsmUh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yDIW3SR2vjUudq3yzaEQo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rZFHQIFoWbL7NHVBN3O0Ig"/>
</p:tagLst>
</file>

<file path=ppt/tags/tag4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O0sbE4vbyYsrFrGvVQfpz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SBDxGsEeLMa_54gPt0rpv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0H8RaOv1JbOKZaA4NNuqa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qxzV775crBHgLnaYUdYhc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W6u1Y1cVtcX53A8zaVDi4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FndK0Jypli00.pZxypyrK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19Ph3Paj53wzzVH_t2Thb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OtnQGGrRoAqDbSJPHh8FQ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vi2XFWc50IJwK6KG1Wb3i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47BAANlmZ6N10tcH1AHF.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N20y8b7x_sAGGwwIFSEEy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XLlRKvI8OWBgWEiNPCfmF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M.8_JQbtrMivN5OA.iD89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wSQceK.TgdKF.0LvNISj6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YPgq7gXvtbTfNWEa2CXfU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2hz_bmepelQXWSw1ohY19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_jCgFCYrx9hRp5NiP2i.b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2pmwmN4Hk0AmJGW2TVRAF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Vyl_M0h5jcq.JOjPT_pdN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HO5GSG0H.IRdeZprsO6sk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yx6FVs.n6j3G8moEpW0Qr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I8CnRu2jvBwGTTbolRKww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WH5TzDQ2ECcmvj9bDUWH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cPlLhxYzk8xE50B7TcWv9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jiXmVBzW05XdhhC10Y_FI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K_EPT7YNoMPM0lojl4w9_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y1AXTtFlzsXj7oe8ZjGAt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x28jnLw94GOqX1PULxdhX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OVt2FohDK1WIlpVTg_xfa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50.xml><?xml version="1.0" encoding="utf-8"?>
<p:tagLst xmlns:a="http://schemas.openxmlformats.org/drawingml/2006/main" xmlns:r="http://schemas.openxmlformats.org/officeDocument/2006/relationships" xmlns:p="http://schemas.openxmlformats.org/presentationml/2006/main">
  <p:tag name="BTFPLAYOUTENABLED" val="1"/>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8XL2SEi6BGVPY59CCsvYb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1VYeyNwKO1n9Dl7IdYQpY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tn.dPwez83bDKWlK6QSqu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zXx8MEvkUmu.xY7QD597y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3DjpLficmqpkcTdXcbUZ2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GyvhL_Cx9MdxtH_ULgSHC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ck.n80.ikO8p8yr1Gh2QL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1lRQ1n3Fn6cS25uGT1dyv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pJqcsB2lQg5CD_.nuqIyW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5ccGb.cJRwfbELajQlft6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AvjuPNdYtdg3dk79D4WwV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CGHKpiLuNHT3G0qWCueID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M_efFYCHrhSNGJctbv66b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ux7.HMZRtnhqUSyAXNpp6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M7LPi_SJYfktHfnANh04b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5jn5nDIVaqtsRtN_0YeN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0f2Hc.VGiriNKBCJ.C5py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rizg4CjfIsNaoXPqxKSWo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QAR.c63D3Ddta73HnoS1c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qJEduPWBYu.Lv8KH7SH.q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CGHKpiLuNHT3G0qWCueID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M_efFYCHrhSNGJctbv66b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e7vuiGFfqNE48Ui1jaJ8u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qhINEQ_rD27y6Ltpu4uLw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8TLJHzJEB6IMF7OhEhDX.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BoY3NA8mFumcutgT0XpU4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Yi1QUyXhq38vADEeM2NWr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ytthrtyUc2t8NB7yV8bDf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5YAPwJTBJXg0lE5HMK9ns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DNmh6YZYadH8vwbdsLLuc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IaI2jMB8PPm6gndBZnZgO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fAYoaMYaoaIfdfEPXxy6W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CwkhIOqzcnXqJBnZPr1n7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IaI2jMB8PPm6gndBZnZgO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AYoaMYaoaIfdfEPXxy6W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CwkhIOqzcnXqJBnZPr1n7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CGHKpiLuNHT3G0qWCueID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M_efFYCHrhSNGJctbv66b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lxgK6D92OxZ3d7oOzbsmR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MNnwzFxEQn81kLfDQ4VEu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PyGrMddtD0yMBmeAswBlL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cL8otXf87fKYEdLG4f4Vq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SwsZATLVodmnWhBBtoAIC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0HstjcmTVpugbn2cjOxc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izVR8r78eqLDnEInirjty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IaI2jMB8PPm6gndBZnZgO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fAYoaMYaoaIfdfEPXxy6W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CwkhIOqzcnXqJBnZPr1n7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CGHKpiLuNHT3G0qWCueI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M_efFYCHrhSNGJctbv66b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G9PEskbdMsiBtVxSu0xIE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gGvU25RGSZxNrZlGQcsrm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mj4jFNiTYbQ.LQOwl9L.H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gKEFjAW0CHGbSl8x49Kzo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n4.22f7fBQ0uA2XXRS7bo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0g2bkTNk6qFlj8VLZ1PHy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umz34V9W4oNm8LmZTl.U3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IaI2jMB8PPm6gndBZnZgO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fAYoaMYaoaIfdfEPXxy6W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CwkhIOqzcnXqJBnZPr1n7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CGHKpiLuNHT3G0qWCueID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M_efFYCHrhSNGJctbv66b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_6FuvRfh0saghNC7uO3Oo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p35NXQ6anVznlV5Rby30f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WKPE7zWbwY4gTYr0KMxr6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c0C6Rg.Wy1X6uqYOfaL6q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dx7U61ULYQ0m7m5nkPyAH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YZPOmrQNldcsW1vHXDrj0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zJhpRtEPt4Ruf.GVyXyztQ"/>
</p:tagLst>
</file>

<file path=ppt/tags/tag5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IaI2jMB8PPm6gndBZnZgO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fAYoaMYaoaIfdfEPXxy6W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CwkhIOqzcnXqJBnZPr1n7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GHKpiLuNHT3G0qWCueID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M_efFYCHrhSNGJctbv66b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ks0ftXtys6Ytw4kq2lH7C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PBctvvZaoP9Rdz8nfK3Te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3Z4BIIznpq_75J3e.jt6V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r_YDWWBME1SFQrlxIpGyn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MfwgFGJeL0gCn3eP2aKa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kq4JuAZ.luPM4IkRy9STy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zruHUZQjoBpvsIW1xpWsA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IaI2jMB8PPm6gndBZnZgO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AYoaMYaoaIfdfEPXxy6W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CwkhIOqzcnXqJBnZPr1n7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CGHKpiLuNHT3G0qWCueID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M_efFYCHrhSNGJctbv66b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BxavbSgggfEZyuca0baHO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p0KOgELLCU3Dsp48_RxcA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j4H02_RKRUo2W8PVBvuMl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gVQ77xO9hQ2oel3fnB0iu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SmIiZhUEIWwmdnVGmVzUY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66H9Wx4up_RJid6tw6TIF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AjgcD5dzwI2pBonv23B1r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IaI2jMB8PPm6gndBZnZgO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fAYoaMYaoaIfdfEPXxy6W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CwkhIOqzcnXqJBnZPr1n7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CGHKpiLuNHT3G0qWCueID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M_efFYCHrhSNGJctbv66b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35STl89plQTryBldJnUC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u6IQQInXZ8C4F01egM80C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kTdgt4BLbLrdyHh3UEtvp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1iRKb2lsncWYVOXtH1BYO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QT259jtDb_SQOz761qv4Z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7KAg48IgXgPY2OEpdPvQi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z227FWdTo8VeujGlGsZtY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6t_Q7oaXQGOxBURcEciqD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aI2jMB8PPm6gndBZnZgO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fAYoaMYaoaIfdfEPXxy6W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CwkhIOqzcnXqJBnZPr1n7A"/>
</p:tagLst>
</file>

<file path=ppt/tags/tag56.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CGHKpiLuNHT3G0qWCueID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M_efFYCHrhSNGJctbv66b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YiVX08wEWVdVeZmhoN5O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tDmwVsakcAEeosYFL.FiP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BlUiI2G.swPipT199HRI9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8sg65HO7f8Tbq9wxJReX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IaI2jMB8PPm6gndBZnZgO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fAYoaMYaoaIfdfEPXxy6W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CwkhIOqzcnXqJBnZPr1n7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RSCiH8eNyAKlnX7hHWPUr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btu6i4gYmmv5AxoyOouKe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twCxUCges7dumgelDMGMW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bk.33ciz7T5jT1SqyRMJB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9sKg_bo28GnUQmYG.M86t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LKzrUFaqtpJjiW2.vhJBE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50IOEUjYzNgSy26rQbAYE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2bKU_KM14tRsDz.f3zsZM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Sk_zh3Q2FJoB26997t4I5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Lo5hQJQy3EX64w.YyLkB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Ajr5B8iHoKnHNVlGDBHNXg"/>
</p:tagLst>
</file>

<file path=ppt/tags/tag58.xml><?xml version="1.0" encoding="utf-8"?>
<p:tagLst xmlns:a="http://schemas.openxmlformats.org/drawingml/2006/main" xmlns:r="http://schemas.openxmlformats.org/officeDocument/2006/relationships" xmlns:p="http://schemas.openxmlformats.org/presentationml/2006/main">
  <p:tag name="BTFPLAYOUTENABLED" val="1"/>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AvjuPNdYtdg3dk79D4WwV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f2WRrwqD0hH91pbux.GYz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k.zvMaVelRq7Kq048c5oh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PezN8ioaH4B_0634.3UTI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e3tWkfFKS4pMnBG.Rmr8l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jbEhlo2WrrLVfyGNx_6sk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Iws8wjW7GWRmv7A_Kqp.7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RSCiH8eNyAKlnX7hHWPUr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Ajr5B8iHoKnHNVlGDBHNX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CGHKpiLuNHT3G0qWCueIDg"/>
</p:tagLst>
</file>

<file path=ppt/tags/tag59.xml><?xml version="1.0" encoding="utf-8"?>
<p:tagLst xmlns:a="http://schemas.openxmlformats.org/drawingml/2006/main" xmlns:r="http://schemas.openxmlformats.org/officeDocument/2006/relationships" xmlns:p="http://schemas.openxmlformats.org/presentationml/2006/main">
  <p:tag name="BTFPLAYOUTENABLED" val="1"/>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3oCmYW1o1SboPaXUh9aO6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P3vImaUJT6HSZKS57rcMs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bGhPUIxnq6s061zn4zSw2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jCul1QRJxR3oKGtGc7wh8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HsWAUxUkbYEkImvysEy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ZGDxZaM6kKHo2r9UtypXZ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DbegVXSJgvA9O3rWFaEZh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8TJvNhyzj0fFh9efTHT8I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IaI2jMB8PPm6gndBZnZgO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CwkhIOqzcnXqJBnZPr1n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BTFPLAYOUTENABLED" val="1"/>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CGHKpiLuNHT3G0qWCueID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tR6QLr9vkhc_Zrj3n25B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xOGItCS4DF8YQ9Envx0i7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D_OHVXTCsO1hinhwXhfvz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tqeXQqTh0cW9jDL.sS0PU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6X6CS4ue_pzyhJDjonXLo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74eQBulPdZ91HOEAdo149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B2et7gyxqfD9AwsAOzI4q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IaI2jMB8PPm6gndBZnZgO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CwkhIOqzcnXqJBnZPr1n7A"/>
</p:tagLst>
</file>

<file path=ppt/tags/tag61.xml><?xml version="1.0" encoding="utf-8"?>
<p:tagLst xmlns:a="http://schemas.openxmlformats.org/drawingml/2006/main" xmlns:r="http://schemas.openxmlformats.org/officeDocument/2006/relationships" xmlns:p="http://schemas.openxmlformats.org/presentationml/2006/main">
  <p:tag name="BTFPLAYOUTENABLED" val="1"/>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M_efFYCHrhSNGJctbv66b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fAYoaMYaoaIfdfEPXxy6W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AYoaMYaoaIfdfEPXxy6W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M_efFYCHrhSNGJctbv66bQ"/>
</p:tagLst>
</file>

<file path=ppt/tags/tag61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fR1d4H.yACd3JVyx3Iz57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xsWiZlu55FvaFPb4kDLXn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9qW9V.WdYOXWi6jH09nCB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8PDuW3VKPjB0wm.vVg3BnA"/>
</p:tagLst>
</file>

<file path=ppt/tags/tag62.xml><?xml version="1.0" encoding="utf-8"?>
<p:tagLst xmlns:a="http://schemas.openxmlformats.org/drawingml/2006/main" xmlns:r="http://schemas.openxmlformats.org/officeDocument/2006/relationships" xmlns:p="http://schemas.openxmlformats.org/presentationml/2006/main">
  <p:tag name="BTFPLAYOUTENABLED" val="1"/>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joxXBmPncj3x062MYL1.X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SiL9f580PNBjZsJNtS9Md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tFvSZYHxVhzMZg1Z5wEz6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9tc1qY6JI4mnX2zigSq75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K9ebh.kPPrsDSYRVHi_sh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BDJBu3Ngjh4JYPzneg_gJ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Wy9r2exF_8Kg56oFWYvgt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k.RZYOtcqD3ceGflF6FDV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vB5QHNaaGV3XLwXZnzyLT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M6grEJkSz1d1G8Qp9LAIjA"/>
</p:tagLst>
</file>

<file path=ppt/tags/tag63.xml><?xml version="1.0" encoding="utf-8"?>
<p:tagLst xmlns:a="http://schemas.openxmlformats.org/drawingml/2006/main" xmlns:r="http://schemas.openxmlformats.org/officeDocument/2006/relationships" xmlns:p="http://schemas.openxmlformats.org/presentationml/2006/main">
  <p:tag name="BTFPLAYOUTENABLED" val="1"/>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vD96XpQXDOPY.HmX1R_Bd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wsONG2Tw32mHLyAh8TMr8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e9VN6XCC7kruQOCLmT1KA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4_5wok.fPBXtc8pv5MZJv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Iu1os13t3ZX5APdHLgWno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DatURkGx5Lla4p34PeUcaw"/>
</p:tagLst>
</file>

<file path=ppt/tags/tag636.xml><?xml version="1.0" encoding="utf-8"?>
<p:tagLst xmlns:a="http://schemas.openxmlformats.org/drawingml/2006/main" xmlns:r="http://schemas.openxmlformats.org/officeDocument/2006/relationships" xmlns:p="http://schemas.openxmlformats.org/presentationml/2006/main">
  <p:tag name="BTFPLAYOUTENABLED" val="1"/>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liQVjubzx8Ip3Z2lBd3_X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wY6qBeQDpCYzh3AFS5Dsz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YIKnrFj4GUVTw09VAM74IA"/>
</p:tagLst>
</file>

<file path=ppt/tags/tag64.xml><?xml version="1.0" encoding="utf-8"?>
<p:tagLst xmlns:a="http://schemas.openxmlformats.org/drawingml/2006/main" xmlns:r="http://schemas.openxmlformats.org/officeDocument/2006/relationships" xmlns:p="http://schemas.openxmlformats.org/presentationml/2006/main">
  <p:tag name="BTFPLAYOUTENABLED" val="1"/>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IXYNr6kSDwFhAIvtQ_V.H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l9RJFW.ESPeSD01KtjOPg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7tyxXaB8amWRAvimglgFB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geUI_3AYm1i_PkH6gY3m1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VzcghXFV8Q2UcsL88kmog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uSoqEzaRymntX1sDYWKnA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PCtc2cj1UU.8l6rA08FLT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eMT4nleaoxtVU5Ty0_fjX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qE7xvQm7H39jJ8qbVpMyz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WWPpF_FrLb.fvlXRku_HNg"/>
</p:tagLst>
</file>

<file path=ppt/tags/tag65.xml><?xml version="1.0" encoding="utf-8"?>
<p:tagLst xmlns:a="http://schemas.openxmlformats.org/drawingml/2006/main" xmlns:r="http://schemas.openxmlformats.org/officeDocument/2006/relationships" xmlns:p="http://schemas.openxmlformats.org/presentationml/2006/main">
  <p:tag name="BTFPLAYOUTENABLED" val="1"/>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2xlxLNHbuVLurNkdrC35A"/>
</p:tagLst>
</file>

<file path=ppt/tags/tag65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BTFPLAYOUTENABLED" val="1"/>
</p:tagLst>
</file>

<file path=ppt/tags/tag656.xml><?xml version="1.0" encoding="utf-8"?>
<p:tagLst xmlns:a="http://schemas.openxmlformats.org/drawingml/2006/main" xmlns:r="http://schemas.openxmlformats.org/officeDocument/2006/relationships" xmlns:p="http://schemas.openxmlformats.org/presentationml/2006/main">
  <p:tag name="BTFPLAYOUTENABLED" val="1"/>
</p:tagLst>
</file>

<file path=ppt/tags/tag657.xml><?xml version="1.0" encoding="utf-8"?>
<p:tagLst xmlns:a="http://schemas.openxmlformats.org/drawingml/2006/main" xmlns:r="http://schemas.openxmlformats.org/officeDocument/2006/relationships" xmlns:p="http://schemas.openxmlformats.org/presentationml/2006/main">
  <p:tag name="BTFPLAYOUTENABLED" val="1"/>
</p:tagLst>
</file>

<file path=ppt/tags/tag658.xml><?xml version="1.0" encoding="utf-8"?>
<p:tagLst xmlns:a="http://schemas.openxmlformats.org/drawingml/2006/main" xmlns:r="http://schemas.openxmlformats.org/officeDocument/2006/relationships" xmlns:p="http://schemas.openxmlformats.org/presentationml/2006/main">
  <p:tag name="BTFPLAYOUTENABLED" val="1"/>
</p:tagLst>
</file>

<file path=ppt/tags/tag659.xml><?xml version="1.0" encoding="utf-8"?>
<p:tagLst xmlns:a="http://schemas.openxmlformats.org/drawingml/2006/main" xmlns:r="http://schemas.openxmlformats.org/officeDocument/2006/relationships" xmlns:p="http://schemas.openxmlformats.org/presentationml/2006/main">
  <p:tag name="BTFPLAYOUTENABLED" val="1"/>
</p:tagLst>
</file>

<file path=ppt/tags/tag66.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AFSPANMODE" val="span"/>
</p:tagLst>
</file>

<file path=ppt/tags/tag662.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BTFPLAYOUTENABLED" val="1"/>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BTFPLAYOUTENABLED" val="1"/>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BTFPLAYOUTENABLED" val="1"/>
</p:tagLst>
</file>

<file path=ppt/tags/tag669.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BTFPLAYOUTENABLED" val="1"/>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i8RpDyit2vVDiVMwLw6KI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AqXNSxAM0Pix2fF4CdO99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VEqXYy1FYqS.m8fWHfqO8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mI0YhmmQGfFy6c80Fm9Sp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dra2zXed0t2bx74bE0Hzf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3RTTmcCCDj6flT0a3F_Wf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PblaRnV4oTioIphzYSduo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LmgJC4SF47vJ2cgoVG_H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ergWfcydEx.0S4mLGD2C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8a0ANcPZtU0zMnk.PBkjC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l2eCJKrreCWBSg0k.A4Fl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vAAJaP4rj8EYGDPqfX.Ov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G_Fl4NkGoLhcp7nJYzyQ3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bvoV6_dY2DzE_nESOU0EK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YzCRe7ENRkXKsaQmcXdr4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kypZ1p9bVKVgPr.qA62cM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_nHh77qPJLwzwkXhnfkJk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3T7U.PkeUNhZ2wNmB.c69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xFoXIU8ReY5W2f24rsi1J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jM4CIBEQciIUKDmP3lXZ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Yvs4dQPYwUiKKoCCaAodL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CMpWDUrsfbfcSXyTa__Gs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bk3d3Yce8WSf_bnVBk68d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3T7U.PkeUNhZ2wNmB.c69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YzCRe7ENRkXKsaQmcXdr4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BTFPLAYOUTENABLED" val="1"/>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ngWnewqU0H_voeFIzp3y.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DRF7puulXI2MWZD4MkX8U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QulnBJ.beOKw9ETnNOLN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aVuyYJ5gJEkGmiNCMWy7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tipuG78YT8zzWAQHFvupa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z3HEP880zQ4Zu1O82dQxb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sTcVZWKiJ4WIuU2HDZro2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BGTHpw3Rmn2rM5R6c3pFM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tuK3h8JevAYVglEJ1_pd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Bla_du07k2G7Hov0tJB8w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n_E8yDSN_Zd5P9M33dEAn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IdF2.3CIfV0rWhXpWu.Zn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q_sqkVc0Z1_nX8v8q9d.7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ttnt1_frhzQhCmPespZ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KqEjuiKPt9JgfEDW_1AC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60DUq9PzQBbtMZXlXjaFg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daEkep_AVAqV3vdZAllC2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Q3BnKMAf8GVoDMnoIJBR9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W1kr.gUB9L7obD2dqMvx1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rhWtGolXPe.spu0xBrH2N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zrg7msBVN9EQzwQexYxsF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6nrmIUdwDcCI8THqXFosa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6bFRIS1nfBIWvP9OzdPOC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Gvd_mbm4mzP1TrUpcoGjH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gxjVt1WV2DCe_3wFiBHig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QDNCMu56p2GLMGlYqzZN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VUcRX0.yaUbRrXOA2Qn1a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uX.kNZqKPPh6DDtlZ8Lp8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SFDYqSZnNHYzpkYAtx_I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xMdRMef8coGmneJf2ner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oIytkqTMw.G4.rxmLpXi7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ugr6ugqOj9hl.pvUy7RBQ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eCdpK_GgDLdFzjuBxnL2h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Yz3eot6Q2_gImFhjbg6jg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F6gBa5u8Pd6i58FJo.YvA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FTozkNWgFocgTue0j5qoc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fow5UoiJ4NBYz18iUupL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euhVHe7yXj7TI7DX3CanG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UETKZPZnkPm5IFShIbPEl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C7mQtqPLySDWI_aSsZSg0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ZQ2ro3R6l9v_1dkEvuPPh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9l5ns7N656MKHK1MzSy2f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6CdCWUi.AwOvcqtUuUJf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TZOeGjY.57xkcKV8i4j8uQ"/>
</p:tagLst>
</file>

<file path=ppt/tags/tag73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xSvU5cTRphiaRTIE1Yehg"/>
</p:tagLst>
</file>

<file path=ppt/tags/tag740.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BTFPLAYOUTENABLED" val="1"/>
</p:tagLst>
</file>

<file path=ppt/tags/tag743.xml><?xml version="1.0" encoding="utf-8"?>
<p:tagLst xmlns:a="http://schemas.openxmlformats.org/drawingml/2006/main" xmlns:r="http://schemas.openxmlformats.org/officeDocument/2006/relationships" xmlns:p="http://schemas.openxmlformats.org/presentationml/2006/main">
  <p:tag name="BTFPLAYOUTENABLED" val="1"/>
</p:tagLst>
</file>

<file path=ppt/tags/tag744.xml><?xml version="1.0" encoding="utf-8"?>
<p:tagLst xmlns:a="http://schemas.openxmlformats.org/drawingml/2006/main" xmlns:r="http://schemas.openxmlformats.org/officeDocument/2006/relationships" xmlns:p="http://schemas.openxmlformats.org/presentationml/2006/main">
  <p:tag name="BTFPLAYOUTENABLED" val="1"/>
</p:tagLst>
</file>

<file path=ppt/tags/tag745.xml><?xml version="1.0" encoding="utf-8"?>
<p:tagLst xmlns:a="http://schemas.openxmlformats.org/drawingml/2006/main" xmlns:r="http://schemas.openxmlformats.org/officeDocument/2006/relationships" xmlns:p="http://schemas.openxmlformats.org/presentationml/2006/main">
  <p:tag name="BTFPLAYOUTENABLED" val="1"/>
</p:tagLst>
</file>

<file path=ppt/tags/tag746.xml><?xml version="1.0" encoding="utf-8"?>
<p:tagLst xmlns:a="http://schemas.openxmlformats.org/drawingml/2006/main" xmlns:r="http://schemas.openxmlformats.org/officeDocument/2006/relationships" xmlns:p="http://schemas.openxmlformats.org/presentationml/2006/main">
  <p:tag name="BTFPLAYOUTENABLED" val="1"/>
</p:tagLst>
</file>

<file path=ppt/tags/tag747.xml><?xml version="1.0" encoding="utf-8"?>
<p:tagLst xmlns:a="http://schemas.openxmlformats.org/drawingml/2006/main" xmlns:r="http://schemas.openxmlformats.org/officeDocument/2006/relationships" xmlns:p="http://schemas.openxmlformats.org/presentationml/2006/main">
  <p:tag name="BTFPLAYOUTENABLED" val="1"/>
</p:tagLst>
</file>

<file path=ppt/tags/tag748.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Oa57s0kdke.qDBIorPaB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3CpTXg_S4tBuDW3wTGNOy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lwJ1JqejzHOqNViZ8vZvI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EEuILiTuzA_kx4PlQ0DK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PdhBHf7viiNYyPZxPytqr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flSmxFoNw6KfHjrHu4A8m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C3Jp.cKjwV6B3A.UM8B.z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ePS3E_4_i6rd_cIJJZIQs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9J5NMJv_49FaFyZu3vHUM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lXV4wdT9x5imD.PohxktQ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gOipbbIHuGLdetjbMm15p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J2DglrWZgtgwLWoUMvIbD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5KU8C3YU1lxMlpMsS5nnk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61OcxThmCPj0w5mEu6PEc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Et.FrgmvWMHnPyPOBfXZA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CTMcHzN9jv8oykpl4eWwI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0yN63EsDt6QSmnivw0Y8a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VrFx_NIBz5i5DmylTFPM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TE68gaho4KIzBGqLf3uKA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SZf_N8vAG5h3dJc63MBXR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LrXQEXyIcM5cLxBKwAra9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ARSAPoYWQj3jBJZ_HSNZ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DdvpusCuL47iNgyCHj91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VJF7vvPqltEJ.GYYYc0H7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4u9cy40E4J9I16ZnQCr4Y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An.KREZQ7iEw8AZ5xGqmn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zmYHti53ecMvjHt5sjuz4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IfpN6jSPIGFSm8XFu2qX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nEtDOp5uDhwF1Ss5oaLug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3er.kTVldVibZ7CmAor27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7l3Or7uX2FlhIrPHxxZtr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s.JqLUd57G8LS9_J8SEA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RMC_bI2SGymrImy9nxXj0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zTJgVbFAuMFvOFP9kizT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_MHHyGcv1478wEg5HPHQ5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ymBht6nSQzEgZ5LadS7n8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oN.n48RqFRuwJZL2YbNHg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LvLVQIrDs7czj9z8Jb65z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NleM03fo4F3R19RHv0kQ8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jLUD4azW2gQ7YvhtahvoW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jrPa9GJxEqUWoGNXRGySB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tMTe_VOPCsNCgefYRlVmW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7G71r2Aj5ZN0Q4ykzFgku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M6aW5oxI.nKwyy1thxN6V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bTSkMF1I5b4amnqeQ6Mz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AU8t3xWAIlddzrMHExlbT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eehgyeaUtp.MvsXxoV2Tl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dnsy.dc6RSRtFa2BoFAJ2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J4HeQZ0WiEj5iuHGkOeg2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0Jthz31mzEII0cwBAc6Nk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eJoRZ8DglOxWztjL4Ax9p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KFqajW1AIp.cfx49fxJhM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ClAhNDb3Tk0t5rJkmwzXb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Rvh3C5dCvkzKMLLVlmD8z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fwKXvuqhry2fKLRewsYr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_0tzXEZF8csuDa6GEvaw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RFC8A95oijQei6haYgv27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XoiGHFi2gX8NTFIHphDm8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DxYOb6DAq5yMajQLn1euG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DNbj7L4ROql89Kergk0Ne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MetbOYhvKj4g2LMsVZJea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LAV4y2O7I3j6wTVNrng3s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WYxjQpTUGydJ_FEYyAFhn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uafGHVoT44Ze4G0psI2q7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1gh1c3zZivFvSn.RrLFaw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etzhqP0XpE1Q2zXSNU4SS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ibs7oU4ziVXC8cWxAdHkS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OpOHaj4vyKLJIo8G3ZehQ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cnm.CsVvPKhmH0au_mRNY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e2Zo3hPnyquEIzlzO9v4v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ueKG2o68qq.OguDAthi1l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RUfPZ_FNPI7GRt08raJ7P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5Xa_blh9ziXraIFHsyM1Q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QHqA9LS9i4klJxTnSpL1g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eW0qURTdwoS3CxggcrtSv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Q604ydILZypnP1POx0Ybl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ppbQaKkeWv5m0a6BWGaA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j2H5WdfJ1yP04qeMBY5K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Jl6aYlvqJSnh7oz7Seej4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RHK710BpTWHQGCqVxnYCx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OJNkiT44r5IUWPhxYnLi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PbLj.b_chTf.XlFd6RzB9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y01gl3BTPHLfI20KaWDPz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wxqTWtQaHxKENFovOEZSd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E5NJ7Kb63kX65MF0Q5KmK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pNTVkYKBkLadDHMu72CfJg"/>
</p:tagLst>
</file>

<file path=ppt/tags/tag828.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098cszP2u9LXDips4_17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ldj9y9.O5M80tmrFQf_ai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gDcaID1OoqmNYU89X3SSk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NLUJn73y0ibjRuyya1d4j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0oo.xSvRdyFz9s3VPbZFx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OkZ.AbZflO7HF7_p0X0if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1qY6BPgegYK2YDCLAqryv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6.0slelkHdN6ueAgSoaN5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DqY4XrLhMM7I_tVFrTTmZ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pU0.X37OyokiVaVSq6s7R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Lcprl4E0wllpsTjb4Moi0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yjj9swqLgzimgdUBYiK65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GNWrxclDkVYJAYjWUHlel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BX8w64FJm1eLN1vKgXRAv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tdaXYHARICw.1w5Rme9vH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RIE2q0XACHqxerdLRFVEv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Ac7KX8UGHfkM.ls1KzvWv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Bn0KMZiikNP49eRCGISyg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zevys1_JPV.9vPUWcwizn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R50_cwMvZCrR7IzX9T9jW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2MEGqfICmzGDDE_lX7pKt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kzcALucrd17wKGJZTLj14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hbm2MqCRqUigxd2P0noK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lMMdsoNc7um.CMn0H1la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3nlhekZyZBGZ3N8xhc2Kz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7RF1_W_mGkUqoABhyQSb2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6I2XnTVISEh.EeoIxcNDM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rlYhbByrGjzuwJXJs9sv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wP53ib9kuX_QGyDt7_Gmn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uJuf5sYeLsSQRVBLLiYIL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Y1oWN77lZiqdVYOQUcpla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hxl4G.1we9TZQK.bIzRU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i9dB3LTnl5sfrlwzyssNR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PxN9mvOxbYPFVT1c0ngB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Jbg1Ek8tP6MayDnP7zLUR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7SMKZdiMalvpFb6yMd_K9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dyXYF4P1Rp1b_d1YNRJpl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YXnFHykpawHX9y8lXKMNP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oX7xTVWfGwGZb7FJCKSY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wcn16ZGSygJflT1iOZItu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K4GvQi9pvyf0c624Ykjmz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0q800kMFNZUDqjzYIYiwA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RMznGzvVPUCuw.182AD_o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NtVanRnT7mY5EfKax6QEx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z2YNQ0sqEJ5m8nRk_Qu0u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A7ZrTbJxNNaZTJP1Oahnx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nkRKy2w.lRIHUo8hkDJ7w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0ldYv1dDYevtzhLTYWGxg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9UJH6h4jjKq9vZYwcw_uH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Sjotm2o5.t2Kay.MMi0_7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sEmqxRw3hNwgebrQPvNR5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1Yd9KdINfQstT2.ykA_ph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XX5ct2.gBZPQwWR_YDPJm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AZvGuEpE7eilaQ_vtMTi5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f1JS.7YCIXTggaXv7o.NQ"/>
</p:tagLst>
</file>

<file path=ppt/tags/tag880.xml><?xml version="1.0" encoding="utf-8"?>
<p:tagLst xmlns:a="http://schemas.openxmlformats.org/drawingml/2006/main" xmlns:r="http://schemas.openxmlformats.org/officeDocument/2006/relationships" xmlns:p="http://schemas.openxmlformats.org/presentationml/2006/main">
  <p:tag name="BTFPLAYOUTENABLED" val="1"/>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bMvU38YbOQDQsa5lh9IN0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_.O_DwGlOQQWxCFW7AMoX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xb86ZS4JWSt1U_vprcCF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UCVMZnC3Agm8QKAdkceQM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fuwaHr.L4fpPXdgqp3OVU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8I1uzY5AQ181DpX7zldmj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PhuHIPNZU0LY24vIbV.C0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IH78rGkIHXmIJSAr2tGZM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rvfZjrz3WxxicmQF4rSiQ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H02Kz5rp3tLCIDBRaAK_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QHvlwLeyr.j8qEis6.Iem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u_IEvur1MpVTD1paQVpzQ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pnJypLgcmLfrJxBa3EFwS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uVm2xorj64N270iCcYwFY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gT977SrRI.ZI77wVtvJsa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NsqJRoQCbHTbSp9H94PRq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62P4QudctiOgAlVsDHOtU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6UnyeIJ_KQq3AzCbHUgTT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0OSwI6sZartA2.dtjKaXT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p3S.BX_sTZiU4ohbGR8bzg"/>
</p:tagLst>
</file>

<file path=ppt/tags/tag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fepkJn._2FGIEYbOsOLw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_Wj.F9qOUxWFkrAB9k_cP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Wyz02pI8oZB9TOi9hEvHc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EqBgJ5vtgnCeczcRvwQmtg"/>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JzuP7EA7xitm4Yi.9B7aC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yu.ltUSBYqb5m5wUXh3dr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tjm9.S.15Hb3Y3k5KMIce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eD4HGPn2ZR80GG_hWkUYL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MVu7hSyRFoFFkol5IpYgV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C9RbCWc8f9lvBDPU_OVC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6vZgEHwy4FpU3IRjjbORr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XkhTSk6f1gcFsPzosN9J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zRmrd.ErOOxd5fOlq4KEg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4RipiNbM9nljNcNPQ7iGs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IZuMoxEyhBUQjyTL9x5YP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O77_TxPmCE5UYMfJfvJD9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lMuIHicrtX.UYP577ZL6X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e0NE2d.hZjzldHfrrkny2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CeFDK3FDkjZhYprMhfiKJ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1eV2I1EzLLDiNoMh4TNql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71Qapuo4UqbaidT0JFZSZ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TaEt.n0qlGYvpMCMAUawz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rnDrtXkqLy0bWs7qvMXYG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KIgkhycbaEjvlRJ_9ukz.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2UjY119gw_LpHDPxiXsXG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LhBinIHx_F.dN4JQgF6TF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lrG7y0c4GNI9MQDQM73xO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gR1GM897LtY0c0ssrcgu9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npxKq7cZu4ox.VmO2_bJW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BlaKtObLSaGiVx8R56Tmy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TfKISbDIfrxpiTMzVdK1a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RBCvZTO_s1VezkQzbV4a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qngu0vGpjod2a8GlWRhJR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XnrNm5271ISQyFrFi2hA2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mkjEJvbXA3Q.m62rpaZyO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jHvYuG2_gDgDIpeMm3D76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7RLfYbz9hVUGukKnTnPDb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1SdLuBkIg9V8fwyOFSw3q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hX6Xl4qPWbY8B3OvD.2y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EMLzj2ViWOfG21INCZXJH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vh3hujx4JOjM2Cd0y_.OA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rOpHeUdmz5CVS6wXgnAE5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92gdP_WwaY9gfi7AiqaOa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z1xI.3hEMYDj7DX93GRac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7SXBAgIhrXb.hIH0jDR5b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djr.h7fvEQ7s7XmwzCzRv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RskrP8oPDnevZBEciY8H0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YKOAy1AQ.4oXf6pts4b3k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ljz_tVpfRp5YAK2UMODru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eO52W2076KKnUHgXQZYaF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XcJFrNOLGIxWjOH6c51oc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nBeQDIlnBMCZexWUqnZ6M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6ZoOeo2iHzbCil7c_z7DG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3GGo8d9IW.LSpsDOW.9C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YSms_RbDMqe_l7fhfCyE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T90yVKC9snF5u6a65LKQx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jsVbsEpHLg3ydDVoztFVz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WvYRWTgcu7qdXikpP_Hx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NdNHuHL7NdUzMRmBPXwZvQ"/>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e8nocJGY14PLtLXkYPe84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LuZp.dtbR.0cH4pc9jBp1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YuPuTqE4VY0YH3UXj_EEt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nZtit9HiHO99wiCkb1n4pg"/>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cvihLdb0aJrRC2VqzeyI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JMTo7WdZy.xArQIHnUI.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FD6crqv1osv9P2IRNbWfh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VVStMM.W6PgNh82pvdBQMQ"/>
</p:tagLst>
</file>

<file path=ppt/tags/tag962.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NPUD.D.2wDo.oi6bF9lKE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pmzlE9AopP1hLR69oESNz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GZTpDiX80bzcpuTGObCw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wy6.cXYZ_gMFgTBGhH27d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Z3gJBJXuGAeRkL2UK6wvx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vHOgBRQiqBCiDH8lbj12K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jRamZOFd8WFNcT3luc2_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9nzxJ239AS8zp1xmfXO6C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zwQtiXm3dEFzsl0.TJhon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jmlakrjU_0a60sDCFkbqc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DqBbaXF9MatWIGdpU7vb3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ojcR_qkfZGro82NofJwnL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MrnD1kfCSf.UTps6J5Ma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ZID5Nz.nCKdCjAN62hntQ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f03d5dNuEwvl5BUxvq4B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_qjgPnPPHka9wjilLG34a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dCZ6qJ8kMTYd1DVdRkI2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Xb5tIJIcKvJyrVnm_PRk0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8ga4BnEcwWHwevXm7YCJO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qsD5TrwXSGsHa6IqygqvO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DiH.7aggccWF5XSZpzU7m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KEXCUC5uaMwXAzT7SzFDd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10YvwlInHn686rfin.B8U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0tm4a1Enevi386yjoHL1V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cxyXnUgshw4sPLkwVNl74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iZ0ntAHwGMhqyvW7c2uZC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M5sH4P0LByyF0d.WfDGIj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AzYVKM6hJ0aPBokj7ef6F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YC6xar4fa38_gjhm.Un6m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IUAjSwAKnuubvs060RUh.A"/>
</p:tagLst>
</file>

<file path=ppt/tags/tag991.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BTFPLAYOUTENABLED" val="1"/>
</p:tagLst>
</file>

<file path=ppt/tags/tag99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6.xml><?xml version="1.0" encoding="utf-8"?>
<p:tagLst xmlns:a="http://schemas.openxmlformats.org/drawingml/2006/main" xmlns:r="http://schemas.openxmlformats.org/officeDocument/2006/relationships" xmlns:p="http://schemas.openxmlformats.org/presentationml/2006/main">
  <p:tag name="BTFPLAYOUTENABLED" val="1"/>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SZ00OaXj5UmtFsz7wEP9W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vkj5gwIRo3J8us.QVo5aCw"/>
</p:tagLst>
</file>

<file path=ppt/theme/theme1.xml><?xml version="1.0" encoding="utf-8"?>
<a:theme xmlns:a="http://schemas.openxmlformats.org/drawingml/2006/main" name="CKI Titles and Divider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CKI Slide Master Template_v240821" id="{5441F7CD-3EBD-46CC-84C8-9A9AA09CF33A}" vid="{BAFBFF8F-7B68-46E9-8069-05F5494C91A8}"/>
    </a:ext>
  </a:extLst>
</a:theme>
</file>

<file path=ppt/theme/theme2.xml><?xml version="1.0" encoding="utf-8"?>
<a:theme xmlns:a="http://schemas.openxmlformats.org/drawingml/2006/main" name="CKI Content Slide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CKI Slide Master Template_v240821" id="{5441F7CD-3EBD-46CC-84C8-9A9AA09CF33A}" vid="{6F2B0BE4-4633-494A-849A-9EBA289E22DD}"/>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1_CKI Titles and Divider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CKI Slide Master Template_v240821" id="{5441F7CD-3EBD-46CC-84C8-9A9AA09CF33A}" vid="{BAFBFF8F-7B68-46E9-8069-05F5494C91A8}"/>
    </a:ext>
  </a:extLst>
</a:theme>
</file>

<file path=ppt/theme/theme5.xml><?xml version="1.0" encoding="utf-8"?>
<a:theme xmlns:a="http://schemas.openxmlformats.org/drawingml/2006/main" name="2_CKI Titles and Divider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CKI Slide Master Template_v240821" id="{5441F7CD-3EBD-46CC-84C8-9A9AA09CF33A}" vid="{BAFBFF8F-7B68-46E9-8069-05F5494C91A8}"/>
    </a:ext>
  </a:extLst>
</a:theme>
</file>

<file path=ppt/theme/theme6.xml><?xml version="1.0" encoding="utf-8"?>
<a:theme xmlns:a="http://schemas.openxmlformats.org/drawingml/2006/main" name="1_CKI Content Slides">
  <a:themeElements>
    <a:clrScheme name="CKI Colors">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CKI Slide Master Template_v240821" id="{5441F7CD-3EBD-46CC-84C8-9A9AA09CF33A}" vid="{6F2B0BE4-4633-494A-849A-9EBA289E22DD}"/>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cb154fc1-b295-40d1-b506-aa171264887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A21AA9D6497144788A110546513D1DD" ma:contentTypeVersion="9" ma:contentTypeDescription="Create a new document." ma:contentTypeScope="" ma:versionID="3fee99725a2be6b53f37107b9f7630ff">
  <xsd:schema xmlns:xsd="http://www.w3.org/2001/XMLSchema" xmlns:xs="http://www.w3.org/2001/XMLSchema" xmlns:p="http://schemas.microsoft.com/office/2006/metadata/properties" xmlns:ns3="cb154fc1-b295-40d1-b506-aa171264887b" xmlns:ns4="6cb8d265-54c7-4eee-bec8-8e18ca05f269" targetNamespace="http://schemas.microsoft.com/office/2006/metadata/properties" ma:root="true" ma:fieldsID="3fc4326bbccfdb753d01d342054c7938" ns3:_="" ns4:_="">
    <xsd:import namespace="cb154fc1-b295-40d1-b506-aa171264887b"/>
    <xsd:import namespace="6cb8d265-54c7-4eee-bec8-8e18ca05f269"/>
    <xsd:element name="properties">
      <xsd:complexType>
        <xsd:sequence>
          <xsd:element name="documentManagement">
            <xsd:complexType>
              <xsd:all>
                <xsd:element ref="ns3:MediaServiceMetadata" minOccurs="0"/>
                <xsd:element ref="ns3:MediaServiceFastMetadata" minOccurs="0"/>
                <xsd:element ref="ns3:MediaServiceSearchProperties" minOccurs="0"/>
                <xsd:element ref="ns3:MediaServiceObjectDetectorVersions" minOccurs="0"/>
                <xsd:element ref="ns3:_activity" minOccurs="0"/>
                <xsd:element ref="ns4:SharedWithUsers" minOccurs="0"/>
                <xsd:element ref="ns4:SharedWithDetails" minOccurs="0"/>
                <xsd:element ref="ns4:SharingHintHash"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154fc1-b295-40d1-b506-aa17126488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_activity" ma:index="12" nillable="true" ma:displayName="_activity" ma:hidden="true" ma:internalName="_activity">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b8d265-54c7-4eee-bec8-8e18ca05f26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06D2378-DA2B-4464-B45B-BD3A1AB3E07A}">
  <ds:schemaRefs>
    <ds:schemaRef ds:uri="http://schemas.microsoft.com/office/2006/documentManagement/types"/>
    <ds:schemaRef ds:uri="http://purl.org/dc/terms/"/>
    <ds:schemaRef ds:uri="http://purl.org/dc/elements/1.1/"/>
    <ds:schemaRef ds:uri="http://www.w3.org/XML/1998/namespace"/>
    <ds:schemaRef ds:uri="http://purl.org/dc/dcmitype/"/>
    <ds:schemaRef ds:uri="http://schemas.microsoft.com/office/infopath/2007/PartnerControls"/>
    <ds:schemaRef ds:uri="http://schemas.openxmlformats.org/package/2006/metadata/core-properties"/>
    <ds:schemaRef ds:uri="6cb8d265-54c7-4eee-bec8-8e18ca05f269"/>
    <ds:schemaRef ds:uri="cb154fc1-b295-40d1-b506-aa171264887b"/>
    <ds:schemaRef ds:uri="http://schemas.microsoft.com/office/2006/metadata/properties"/>
  </ds:schemaRefs>
</ds:datastoreItem>
</file>

<file path=customXml/itemProps2.xml><?xml version="1.0" encoding="utf-8"?>
<ds:datastoreItem xmlns:ds="http://schemas.openxmlformats.org/officeDocument/2006/customXml" ds:itemID="{A8D85148-56AC-405D-8212-C7F59681ACD8}">
  <ds:schemaRefs>
    <ds:schemaRef ds:uri="6cb8d265-54c7-4eee-bec8-8e18ca05f269"/>
    <ds:schemaRef ds:uri="cb154fc1-b295-40d1-b506-aa171264887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62A8141-6A0E-4048-B13F-3D308D21CFF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KI Slide Master Template_v240821</Template>
  <TotalTime>4558</TotalTime>
  <Words>23206</Words>
  <Application>Microsoft Macintosh PowerPoint</Application>
  <PresentationFormat>Widescreen</PresentationFormat>
  <Paragraphs>3264</Paragraphs>
  <Slides>73</Slides>
  <Notes>60</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73</vt:i4>
      </vt:variant>
    </vt:vector>
  </HeadingPairs>
  <TitlesOfParts>
    <vt:vector size="89" baseType="lpstr">
      <vt:lpstr>Aptos</vt:lpstr>
      <vt:lpstr>Aptos Display</vt:lpstr>
      <vt:lpstr>Arial</vt:lpstr>
      <vt:lpstr>Arial (body)</vt:lpstr>
      <vt:lpstr>Arial,Sans-Serif</vt:lpstr>
      <vt:lpstr>Calibri</vt:lpstr>
      <vt:lpstr>GH Guardian Headline</vt:lpstr>
      <vt:lpstr>Montserrat ExtraBold</vt:lpstr>
      <vt:lpstr>Times</vt:lpstr>
      <vt:lpstr>CKI Titles and Dividers</vt:lpstr>
      <vt:lpstr>CKI Content Slides</vt:lpstr>
      <vt:lpstr>1_Office Theme</vt:lpstr>
      <vt:lpstr>1_CKI Titles and Dividers</vt:lpstr>
      <vt:lpstr>2_CKI Titles and Dividers</vt:lpstr>
      <vt:lpstr>1_CKI Content Slides</vt:lpstr>
      <vt:lpstr>think-cell Slide</vt:lpstr>
      <vt:lpstr>Reenergizing Nuclear</vt:lpstr>
      <vt:lpstr>Table of contents</vt:lpstr>
      <vt:lpstr>The Nuclear Opportunity</vt:lpstr>
      <vt:lpstr>PowerPoint Presentation</vt:lpstr>
      <vt:lpstr>Properly managed, nuclear energy is as safe and low waste as renewables and more land efficient</vt:lpstr>
      <vt:lpstr>Disproportionate media coverage of nuclear accidents influences public opinion and policy at the expense of nuclear deployment</vt:lpstr>
      <vt:lpstr>Nuclear is a proven source of stable baseload power, offering a more cost-competitive and reliable solution than renewables</vt:lpstr>
      <vt:lpstr>Nuclear comparable to batteries and geothermal in baseload and  grid-stability properties; outperforms in capacity and discharge duration</vt:lpstr>
      <vt:lpstr>Nuclear energy has decreased from its peak of 17% of global power to 9% today as supply moves from the West to APAC</vt:lpstr>
      <vt:lpstr>Nuclear projected to generate 6-11% of global electricity by 2050 and prevent 1 to 3 GT CO2 annually until 2050</vt:lpstr>
      <vt:lpstr>Life extension is most economically favorable option; new smaller reactors are costlier yet safer and less wasteful</vt:lpstr>
      <vt:lpstr>The average age of nuclear power plants doubled since 2000 to 31 years, indicating the need to extend their lifetime beyond 40 years</vt:lpstr>
      <vt:lpstr>Extending the lifetime of all nuclear plants by 10 years adds ~30,000 TWh and saves ~950 MtCO2e but comes with uncertainty</vt:lpstr>
      <vt:lpstr>Palisades restart driven by state-level support for nuclear and workforce advances, but technical and regulatory barriers remain</vt:lpstr>
      <vt:lpstr>Global nuclear capacity set to double if all announced and initiated plants materialize; China responsible for ~30% of new plants</vt:lpstr>
      <vt:lpstr>Off-grid SMRs are a mid- to long-term solution for increased energy demand from hyperscale and colocation data centers</vt:lpstr>
      <vt:lpstr>Technological Developments</vt:lpstr>
      <vt:lpstr>PowerPoint Presentation</vt:lpstr>
      <vt:lpstr>Emerging SMR technology is small and flexible, providing an off-grid and off-site solution for nuclear power</vt:lpstr>
      <vt:lpstr>All reactor types use similar mechanics and different coolants; small modular reactors simplify the existing design</vt:lpstr>
      <vt:lpstr>Water-cooled reactors dominate today’s nuclear landscape; advanced coolant types offer efficiency and safety gains</vt:lpstr>
      <vt:lpstr>HTGRs, LMRs, and MSRs have higher efficiency, produce less nuclear waste, and have versatile industrial applications</vt:lpstr>
      <vt:lpstr>Water-cooled reactors have evolved significantly over time to become safer, standardized, more efficient, and more modular</vt:lpstr>
      <vt:lpstr>Nuclear-produced ‘pink’ hydrogen offers an emission-free, cost-competitive, and subsidized option; scaling remains a challenge</vt:lpstr>
      <vt:lpstr>TerraPower leads in advanced reactors, breaking ground in 2024 for its 345 MW natrium reactor planned for 2030</vt:lpstr>
      <vt:lpstr>Deployment and Public Perception</vt:lpstr>
      <vt:lpstr>PowerPoint Presentation</vt:lpstr>
      <vt:lpstr>At an LCOE of ~$182/MWh, nuclear is far above gas or renewables with storage solutions; reactor life extension is cheapest option</vt:lpstr>
      <vt:lpstr>Lowering capital cost, which account for ~80% of LCOE component costs, is key to scaling nuclear technologies</vt:lpstr>
      <vt:lpstr>Poor project management among key drivers of time and cost overruns in new European and North American large reactor builds</vt:lpstr>
      <vt:lpstr>Employing digital tools, streamlined program design, and regulatory collaboration, effective project management cuts complexity, cost overruns </vt:lpstr>
      <vt:lpstr>Improvements in design and delivery of NPPs lower the risk profile and significantly reduce costs across the nuclear project lifecycle</vt:lpstr>
      <vt:lpstr>SMRs have the potential to close the cost gap with large reactors but only if shorter construction times are achieved</vt:lpstr>
      <vt:lpstr>Deep geological disposal remains the preferred option for high-level (radioactive) nuclear waste management</vt:lpstr>
      <vt:lpstr>While Onkalo operates only for Finland’s waste, it created a blueprint for global precedent</vt:lpstr>
      <vt:lpstr>A majority of the public supports nuclear energy deployment, driven by a strong preference for energy reliability</vt:lpstr>
      <vt:lpstr>Supply Chain</vt:lpstr>
      <vt:lpstr>PowerPoint Presentation</vt:lpstr>
      <vt:lpstr>The traditionally Western nuclear supply chain is increasingly dominated by Chinese players</vt:lpstr>
      <vt:lpstr>Reactor manufacturing has shifted from the U.S. and Europe to Russian and Chinese OEMs</vt:lpstr>
      <vt:lpstr>Uranium producing and consuming countries have little overlap, as most uranium resources are in Kazakhstan, Canada, and Australia</vt:lpstr>
      <vt:lpstr>Mining and enrichment are dominated by few businesses in  non-Western countries; fuel fabrication is more decentralized</vt:lpstr>
      <vt:lpstr>Global Policy</vt:lpstr>
      <vt:lpstr>PowerPoint Presentation</vt:lpstr>
      <vt:lpstr>Governments have regained interest in nuclear power as a crucial emission-free energy source and a key factor in energy security</vt:lpstr>
      <vt:lpstr>Ongoing policy support continues to propel China’s rapid capacity expansion; renewed political backing expected to spur U.S. growth</vt:lpstr>
      <vt:lpstr>PowerPoint Presentation</vt:lpstr>
      <vt:lpstr>EU countries are divided on nuclear energy policy, with some having phased out or planning to phase out nuclear power</vt:lpstr>
      <vt:lpstr>France is expanding nuclear power and developing advanced reactors; Germany is considering reversing its phaseout</vt:lpstr>
      <vt:lpstr>More than half of the nuclear power plants in France went off the grid in the summer of 2022 due to maintenance nuclear shutdowns </vt:lpstr>
      <vt:lpstr>China is leading the global increase in nuclear capacity and development in new nuclear technologies </vt:lpstr>
      <vt:lpstr>Japan, Korea, and India all aim to increase nuclear capacity to enhance energy security and reduce reliance on fossil fuel</vt:lpstr>
      <vt:lpstr>Since 2013, Japan has restarted 14 nuclear reactors (~13 GW) under new, stricter safety standards</vt:lpstr>
      <vt:lpstr>Many African countries are considering including nuclear power in their future energy mix; 8 plants are planned or under construction</vt:lpstr>
      <vt:lpstr>Fusion Technology</vt:lpstr>
      <vt:lpstr>PowerPoint Presentation</vt:lpstr>
      <vt:lpstr>In fusion, two light nuclei fuse release energy without highly radioactive byproducts or emissions</vt:lpstr>
      <vt:lpstr>Fusion energy has achieved four of the six milestones to get to commercial viability</vt:lpstr>
      <vt:lpstr>Magnetic and laser-based confinement are in competition as companies take the fusion baton from flagship research projects</vt:lpstr>
      <vt:lpstr>Over half of fusion startups based in U.S., ~one-third in California</vt:lpstr>
      <vt:lpstr>The two leading startups in MCF and ICF are Commonwealth Fusion Systems and Marvel Fusion, respectively</vt:lpstr>
      <vt:lpstr>Despite a long timeline to commercialization, fusion is collecting significantly more funding than fission, driven by ambitious policy</vt:lpstr>
      <vt:lpstr>CKI Nuclear Team</vt:lpstr>
      <vt:lpstr>Appendix</vt:lpstr>
      <vt:lpstr>Comparison of current and upcoming nuclear and geothermal technologies for clean baseload electricity supply</vt:lpstr>
      <vt:lpstr>Traditional reactors have a proven safety track record, while SMRs take it further with built-in passive protections​</vt:lpstr>
      <vt:lpstr>Various U.S. demographic groups support including nuclear in the energy mix and favor expanding nuclear capacity</vt:lpstr>
      <vt:lpstr>Nuclear waste is much smaller in volume and has significantly fewer negative externalities than any other energy source</vt:lpstr>
      <vt:lpstr>Nuclear power operations are highly dependent on strategic elements such as lithium-7, uranium, zirconium, and indium</vt:lpstr>
      <vt:lpstr>Post-Fukushima, Germany quickly decided to shut down reactors; France maintained policy stance given its high reliance on nuclear</vt:lpstr>
      <vt:lpstr>Glossary</vt:lpstr>
      <vt:lpstr>Glossary (cont.)</vt:lpstr>
      <vt:lpstr>Units, Calculations, and 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Quint Houwink</dc:creator>
  <cp:lastModifiedBy>Farchi Behar, Ariela</cp:lastModifiedBy>
  <cp:revision>75</cp:revision>
  <cp:lastPrinted>2017-02-15T14:23:56Z</cp:lastPrinted>
  <dcterms:created xsi:type="dcterms:W3CDTF">2023-06-12T14:35:38Z</dcterms:created>
  <dcterms:modified xsi:type="dcterms:W3CDTF">2026-05-22T15:2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21AA9D6497144788A110546513D1DD</vt:lpwstr>
  </property>
</Properties>
</file>